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Masters/slideMaster62.xml" ContentType="application/vnd.openxmlformats-officedocument.presentationml.slideMaster+xml"/>
  <Override PartName="/ppt/slideMasters/slideMaster63.xml" ContentType="application/vnd.openxmlformats-officedocument.presentationml.slideMaster+xml"/>
  <Override PartName="/ppt/slideMasters/slideMaster64.xml" ContentType="application/vnd.openxmlformats-officedocument.presentationml.slideMaster+xml"/>
  <Override PartName="/ppt/slideMasters/slideMaster65.xml" ContentType="application/vnd.openxmlformats-officedocument.presentationml.slideMaster+xml"/>
  <Override PartName="/ppt/slideMasters/slideMaster66.xml" ContentType="application/vnd.openxmlformats-officedocument.presentationml.slideMaster+xml"/>
  <Override PartName="/ppt/slideMasters/slideMaster67.xml" ContentType="application/vnd.openxmlformats-officedocument.presentationml.slideMaster+xml"/>
  <Override PartName="/ppt/slideMasters/slideMaster68.xml" ContentType="application/vnd.openxmlformats-officedocument.presentationml.slideMaster+xml"/>
  <Override PartName="/ppt/slideMasters/slideMaster69.xml" ContentType="application/vnd.openxmlformats-officedocument.presentationml.slideMaster+xml"/>
  <Override PartName="/ppt/slideMasters/slideMaster70.xml" ContentType="application/vnd.openxmlformats-officedocument.presentationml.slideMaster+xml"/>
  <Override PartName="/ppt/slideMasters/slideMaster71.xml" ContentType="application/vnd.openxmlformats-officedocument.presentationml.slideMaster+xml"/>
  <Override PartName="/ppt/slideMasters/slideMaster72.xml" ContentType="application/vnd.openxmlformats-officedocument.presentationml.slideMaster+xml"/>
  <Override PartName="/ppt/slideMasters/slideMaster73.xml" ContentType="application/vnd.openxmlformats-officedocument.presentationml.slideMaster+xml"/>
  <Override PartName="/ppt/slideMasters/slideMaster74.xml" ContentType="application/vnd.openxmlformats-officedocument.presentationml.slideMaster+xml"/>
  <Override PartName="/ppt/slideMasters/slideMaster75.xml" ContentType="application/vnd.openxmlformats-officedocument.presentationml.slideMaster+xml"/>
  <Override PartName="/ppt/slideMasters/slideMaster7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embeddings/oleObject3.bin" ContentType="application/vnd.openxmlformats-officedocument.oleObject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embeddings/oleObject4.bin" ContentType="application/vnd.openxmlformats-officedocument.oleObject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embeddings/oleObject5.bin" ContentType="application/vnd.openxmlformats-officedocument.oleObject"/>
  <Override PartName="/ppt/tags/tag16.xml" ContentType="application/vnd.openxmlformats-officedocument.presentationml.tags+xml"/>
  <Override PartName="/ppt/embeddings/oleObject6.bin" ContentType="application/vnd.openxmlformats-officedocument.oleObject"/>
  <Override PartName="/ppt/tags/tag17.xml" ContentType="application/vnd.openxmlformats-officedocument.presentationml.tags+xml"/>
  <Override PartName="/ppt/embeddings/oleObject7.bin" ContentType="application/vnd.openxmlformats-officedocument.oleObject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embeddings/oleObject8.bin" ContentType="application/vnd.openxmlformats-officedocument.oleObject"/>
  <Override PartName="/ppt/tags/tag19.xml" ContentType="application/vnd.openxmlformats-officedocument.presentationml.tags+xml"/>
  <Override PartName="/ppt/embeddings/oleObject9.bin" ContentType="application/vnd.openxmlformats-officedocument.oleObject"/>
  <Override PartName="/ppt/tags/tag20.xml" ContentType="application/vnd.openxmlformats-officedocument.presentationml.tags+xml"/>
  <Override PartName="/ppt/embeddings/oleObject10.bin" ContentType="application/vnd.openxmlformats-officedocument.oleObject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embeddings/oleObject11.bin" ContentType="application/vnd.openxmlformats-officedocument.oleObject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embeddings/oleObject12.bin" ContentType="application/vnd.openxmlformats-officedocument.oleObject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embeddings/oleObject13.bin" ContentType="application/vnd.openxmlformats-officedocument.oleObject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33.xml" ContentType="application/vnd.openxmlformats-officedocument.presentationml.tags+xml"/>
  <Override PartName="/ppt/embeddings/oleObject14.bin" ContentType="application/vnd.openxmlformats-officedocument.oleObject"/>
  <Override PartName="/ppt/tags/tag34.xml" ContentType="application/vnd.openxmlformats-officedocument.presentationml.tags+xml"/>
  <Override PartName="/ppt/embeddings/oleObject15.bin" ContentType="application/vnd.openxmlformats-officedocument.oleObject"/>
  <Override PartName="/ppt/tags/tag35.xml" ContentType="application/vnd.openxmlformats-officedocument.presentationml.tags+xml"/>
  <Override PartName="/ppt/embeddings/oleObject16.bin" ContentType="application/vnd.openxmlformats-officedocument.oleObject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embeddings/oleObject17.bin" ContentType="application/vnd.openxmlformats-officedocument.oleObject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embeddings/oleObject18.bin" ContentType="application/vnd.openxmlformats-officedocument.oleObject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embeddings/oleObject19.bin" ContentType="application/vnd.openxmlformats-officedocument.oleObject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48.xml" ContentType="application/vnd.openxmlformats-officedocument.presentationml.tags+xml"/>
  <Override PartName="/ppt/embeddings/oleObject20.bin" ContentType="application/vnd.openxmlformats-officedocument.oleObject"/>
  <Override PartName="/ppt/tags/tag49.xml" ContentType="application/vnd.openxmlformats-officedocument.presentationml.tags+xml"/>
  <Override PartName="/ppt/embeddings/oleObject21.bin" ContentType="application/vnd.openxmlformats-officedocument.oleObject"/>
  <Override PartName="/ppt/tags/tag50.xml" ContentType="application/vnd.openxmlformats-officedocument.presentationml.tags+xml"/>
  <Override PartName="/ppt/embeddings/oleObject22.bin" ContentType="application/vnd.openxmlformats-officedocument.oleObject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embeddings/oleObject23.bin" ContentType="application/vnd.openxmlformats-officedocument.oleObject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embeddings/oleObject24.bin" ContentType="application/vnd.openxmlformats-officedocument.oleObject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embeddings/oleObject25.bin" ContentType="application/vnd.openxmlformats-officedocument.oleObject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ags/tag63.xml" ContentType="application/vnd.openxmlformats-officedocument.presentationml.tags+xml"/>
  <Override PartName="/ppt/embeddings/oleObject26.bin" ContentType="application/vnd.openxmlformats-officedocument.oleObject"/>
  <Override PartName="/ppt/tags/tag64.xml" ContentType="application/vnd.openxmlformats-officedocument.presentationml.tags+xml"/>
  <Override PartName="/ppt/embeddings/oleObject27.bin" ContentType="application/vnd.openxmlformats-officedocument.oleObject"/>
  <Override PartName="/ppt/tags/tag65.xml" ContentType="application/vnd.openxmlformats-officedocument.presentationml.tags+xml"/>
  <Override PartName="/ppt/embeddings/oleObject28.bin" ContentType="application/vnd.openxmlformats-officedocument.oleObject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embeddings/oleObject29.bin" ContentType="application/vnd.openxmlformats-officedocument.oleObject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embeddings/oleObject30.bin" ContentType="application/vnd.openxmlformats-officedocument.oleObject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embeddings/oleObject31.bin" ContentType="application/vnd.openxmlformats-officedocument.oleObject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tags/tag78.xml" ContentType="application/vnd.openxmlformats-officedocument.presentationml.tags+xml"/>
  <Override PartName="/ppt/embeddings/oleObject32.bin" ContentType="application/vnd.openxmlformats-officedocument.oleObject"/>
  <Override PartName="/ppt/tags/tag79.xml" ContentType="application/vnd.openxmlformats-officedocument.presentationml.tags+xml"/>
  <Override PartName="/ppt/embeddings/oleObject33.bin" ContentType="application/vnd.openxmlformats-officedocument.oleObject"/>
  <Override PartName="/ppt/tags/tag80.xml" ContentType="application/vnd.openxmlformats-officedocument.presentationml.tags+xml"/>
  <Override PartName="/ppt/embeddings/oleObject34.bin" ContentType="application/vnd.openxmlformats-officedocument.oleObject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embeddings/oleObject35.bin" ContentType="application/vnd.openxmlformats-officedocument.oleObject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embeddings/oleObject36.bin" ContentType="application/vnd.openxmlformats-officedocument.oleObject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embeddings/oleObject37.bin" ContentType="application/vnd.openxmlformats-officedocument.oleObject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7.xml" ContentType="application/vnd.openxmlformats-officedocument.theme+xml"/>
  <Override PartName="/ppt/tags/tag93.xml" ContentType="application/vnd.openxmlformats-officedocument.presentationml.tags+xml"/>
  <Override PartName="/ppt/embeddings/oleObject38.bin" ContentType="application/vnd.openxmlformats-officedocument.oleObject"/>
  <Override PartName="/ppt/tags/tag94.xml" ContentType="application/vnd.openxmlformats-officedocument.presentationml.tags+xml"/>
  <Override PartName="/ppt/embeddings/oleObject39.bin" ContentType="application/vnd.openxmlformats-officedocument.oleObject"/>
  <Override PartName="/ppt/tags/tag95.xml" ContentType="application/vnd.openxmlformats-officedocument.presentationml.tags+xml"/>
  <Override PartName="/ppt/embeddings/oleObject40.bin" ContentType="application/vnd.openxmlformats-officedocument.oleObject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embeddings/oleObject41.bin" ContentType="application/vnd.openxmlformats-officedocument.oleObject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embeddings/oleObject42.bin" ContentType="application/vnd.openxmlformats-officedocument.oleObject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embeddings/oleObject43.bin" ContentType="application/vnd.openxmlformats-officedocument.oleObject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8.xml" ContentType="application/vnd.openxmlformats-officedocument.theme+xml"/>
  <Override PartName="/ppt/tags/tag108.xml" ContentType="application/vnd.openxmlformats-officedocument.presentationml.tags+xml"/>
  <Override PartName="/ppt/embeddings/oleObject44.bin" ContentType="application/vnd.openxmlformats-officedocument.oleObject"/>
  <Override PartName="/ppt/tags/tag109.xml" ContentType="application/vnd.openxmlformats-officedocument.presentationml.tags+xml"/>
  <Override PartName="/ppt/embeddings/oleObject45.bin" ContentType="application/vnd.openxmlformats-officedocument.oleObject"/>
  <Override PartName="/ppt/tags/tag110.xml" ContentType="application/vnd.openxmlformats-officedocument.presentationml.tags+xml"/>
  <Override PartName="/ppt/embeddings/oleObject46.bin" ContentType="application/vnd.openxmlformats-officedocument.oleObject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embeddings/oleObject47.bin" ContentType="application/vnd.openxmlformats-officedocument.oleObject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embeddings/oleObject48.bin" ContentType="application/vnd.openxmlformats-officedocument.oleObject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embeddings/oleObject49.bin" ContentType="application/vnd.openxmlformats-officedocument.oleObject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9.xml" ContentType="application/vnd.openxmlformats-officedocument.theme+xml"/>
  <Override PartName="/ppt/tags/tag123.xml" ContentType="application/vnd.openxmlformats-officedocument.presentationml.tags+xml"/>
  <Override PartName="/ppt/embeddings/oleObject50.bin" ContentType="application/vnd.openxmlformats-officedocument.oleObject"/>
  <Override PartName="/ppt/tags/tag124.xml" ContentType="application/vnd.openxmlformats-officedocument.presentationml.tags+xml"/>
  <Override PartName="/ppt/embeddings/oleObject51.bin" ContentType="application/vnd.openxmlformats-officedocument.oleObject"/>
  <Override PartName="/ppt/tags/tag125.xml" ContentType="application/vnd.openxmlformats-officedocument.presentationml.tags+xml"/>
  <Override PartName="/ppt/embeddings/oleObject52.bin" ContentType="application/vnd.openxmlformats-officedocument.oleObject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embeddings/oleObject53.bin" ContentType="application/vnd.openxmlformats-officedocument.oleObject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embeddings/oleObject54.bin" ContentType="application/vnd.openxmlformats-officedocument.oleObject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embeddings/oleObject55.bin" ContentType="application/vnd.openxmlformats-officedocument.oleObject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0.xml" ContentType="application/vnd.openxmlformats-officedocument.theme+xml"/>
  <Override PartName="/ppt/tags/tag138.xml" ContentType="application/vnd.openxmlformats-officedocument.presentationml.tags+xml"/>
  <Override PartName="/ppt/embeddings/oleObject56.bin" ContentType="application/vnd.openxmlformats-officedocument.oleObject"/>
  <Override PartName="/ppt/tags/tag139.xml" ContentType="application/vnd.openxmlformats-officedocument.presentationml.tags+xml"/>
  <Override PartName="/ppt/embeddings/oleObject57.bin" ContentType="application/vnd.openxmlformats-officedocument.oleObject"/>
  <Override PartName="/ppt/tags/tag140.xml" ContentType="application/vnd.openxmlformats-officedocument.presentationml.tags+xml"/>
  <Override PartName="/ppt/embeddings/oleObject58.bin" ContentType="application/vnd.openxmlformats-officedocument.oleObject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embeddings/oleObject59.bin" ContentType="application/vnd.openxmlformats-officedocument.oleObject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embeddings/oleObject60.bin" ContentType="application/vnd.openxmlformats-officedocument.oleObject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embeddings/oleObject61.bin" ContentType="application/vnd.openxmlformats-officedocument.oleObject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1.xml" ContentType="application/vnd.openxmlformats-officedocument.theme+xml"/>
  <Override PartName="/ppt/tags/tag153.xml" ContentType="application/vnd.openxmlformats-officedocument.presentationml.tags+xml"/>
  <Override PartName="/ppt/embeddings/oleObject62.bin" ContentType="application/vnd.openxmlformats-officedocument.oleObject"/>
  <Override PartName="/ppt/tags/tag154.xml" ContentType="application/vnd.openxmlformats-officedocument.presentationml.tags+xml"/>
  <Override PartName="/ppt/embeddings/oleObject63.bin" ContentType="application/vnd.openxmlformats-officedocument.oleObject"/>
  <Override PartName="/ppt/tags/tag155.xml" ContentType="application/vnd.openxmlformats-officedocument.presentationml.tags+xml"/>
  <Override PartName="/ppt/embeddings/oleObject64.bin" ContentType="application/vnd.openxmlformats-officedocument.oleObject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embeddings/oleObject65.bin" ContentType="application/vnd.openxmlformats-officedocument.oleObject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embeddings/oleObject66.bin" ContentType="application/vnd.openxmlformats-officedocument.oleObject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embeddings/oleObject67.bin" ContentType="application/vnd.openxmlformats-officedocument.oleObject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2.xml" ContentType="application/vnd.openxmlformats-officedocument.theme+xml"/>
  <Override PartName="/ppt/tags/tag168.xml" ContentType="application/vnd.openxmlformats-officedocument.presentationml.tags+xml"/>
  <Override PartName="/ppt/embeddings/oleObject68.bin" ContentType="application/vnd.openxmlformats-officedocument.oleObject"/>
  <Override PartName="/ppt/tags/tag169.xml" ContentType="application/vnd.openxmlformats-officedocument.presentationml.tags+xml"/>
  <Override PartName="/ppt/embeddings/oleObject69.bin" ContentType="application/vnd.openxmlformats-officedocument.oleObject"/>
  <Override PartName="/ppt/tags/tag170.xml" ContentType="application/vnd.openxmlformats-officedocument.presentationml.tags+xml"/>
  <Override PartName="/ppt/embeddings/oleObject70.bin" ContentType="application/vnd.openxmlformats-officedocument.oleObject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embeddings/oleObject71.bin" ContentType="application/vnd.openxmlformats-officedocument.oleObject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embeddings/oleObject72.bin" ContentType="application/vnd.openxmlformats-officedocument.oleObject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embeddings/oleObject73.bin" ContentType="application/vnd.openxmlformats-officedocument.oleObject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3.xml" ContentType="application/vnd.openxmlformats-officedocument.theme+xml"/>
  <Override PartName="/ppt/tags/tag183.xml" ContentType="application/vnd.openxmlformats-officedocument.presentationml.tags+xml"/>
  <Override PartName="/ppt/embeddings/oleObject74.bin" ContentType="application/vnd.openxmlformats-officedocument.oleObject"/>
  <Override PartName="/ppt/tags/tag184.xml" ContentType="application/vnd.openxmlformats-officedocument.presentationml.tags+xml"/>
  <Override PartName="/ppt/embeddings/oleObject75.bin" ContentType="application/vnd.openxmlformats-officedocument.oleObject"/>
  <Override PartName="/ppt/tags/tag185.xml" ContentType="application/vnd.openxmlformats-officedocument.presentationml.tags+xml"/>
  <Override PartName="/ppt/embeddings/oleObject76.bin" ContentType="application/vnd.openxmlformats-officedocument.oleObject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embeddings/oleObject77.bin" ContentType="application/vnd.openxmlformats-officedocument.oleObject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embeddings/oleObject78.bin" ContentType="application/vnd.openxmlformats-officedocument.oleObject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embeddings/oleObject79.bin" ContentType="application/vnd.openxmlformats-officedocument.oleObject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4.xml" ContentType="application/vnd.openxmlformats-officedocument.theme+xml"/>
  <Override PartName="/ppt/tags/tag198.xml" ContentType="application/vnd.openxmlformats-officedocument.presentationml.tags+xml"/>
  <Override PartName="/ppt/embeddings/oleObject80.bin" ContentType="application/vnd.openxmlformats-officedocument.oleObject"/>
  <Override PartName="/ppt/tags/tag199.xml" ContentType="application/vnd.openxmlformats-officedocument.presentationml.tags+xml"/>
  <Override PartName="/ppt/embeddings/oleObject81.bin" ContentType="application/vnd.openxmlformats-officedocument.oleObject"/>
  <Override PartName="/ppt/tags/tag200.xml" ContentType="application/vnd.openxmlformats-officedocument.presentationml.tags+xml"/>
  <Override PartName="/ppt/embeddings/oleObject82.bin" ContentType="application/vnd.openxmlformats-officedocument.oleObject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embeddings/oleObject83.bin" ContentType="application/vnd.openxmlformats-officedocument.oleObject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embeddings/oleObject84.bin" ContentType="application/vnd.openxmlformats-officedocument.oleObject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embeddings/oleObject85.bin" ContentType="application/vnd.openxmlformats-officedocument.oleObject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5.xml" ContentType="application/vnd.openxmlformats-officedocument.theme+xml"/>
  <Override PartName="/ppt/tags/tag213.xml" ContentType="application/vnd.openxmlformats-officedocument.presentationml.tags+xml"/>
  <Override PartName="/ppt/embeddings/oleObject86.bin" ContentType="application/vnd.openxmlformats-officedocument.oleObject"/>
  <Override PartName="/ppt/tags/tag214.xml" ContentType="application/vnd.openxmlformats-officedocument.presentationml.tags+xml"/>
  <Override PartName="/ppt/embeddings/oleObject87.bin" ContentType="application/vnd.openxmlformats-officedocument.oleObject"/>
  <Override PartName="/ppt/tags/tag215.xml" ContentType="application/vnd.openxmlformats-officedocument.presentationml.tags+xml"/>
  <Override PartName="/ppt/embeddings/oleObject88.bin" ContentType="application/vnd.openxmlformats-officedocument.oleObject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embeddings/oleObject89.bin" ContentType="application/vnd.openxmlformats-officedocument.oleObject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embeddings/oleObject90.bin" ContentType="application/vnd.openxmlformats-officedocument.oleObject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embeddings/oleObject91.bin" ContentType="application/vnd.openxmlformats-officedocument.oleObject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16.xml" ContentType="application/vnd.openxmlformats-officedocument.theme+xml"/>
  <Override PartName="/ppt/tags/tag228.xml" ContentType="application/vnd.openxmlformats-officedocument.presentationml.tags+xml"/>
  <Override PartName="/ppt/embeddings/oleObject92.bin" ContentType="application/vnd.openxmlformats-officedocument.oleObject"/>
  <Override PartName="/ppt/tags/tag229.xml" ContentType="application/vnd.openxmlformats-officedocument.presentationml.tags+xml"/>
  <Override PartName="/ppt/embeddings/oleObject93.bin" ContentType="application/vnd.openxmlformats-officedocument.oleObject"/>
  <Override PartName="/ppt/tags/tag230.xml" ContentType="application/vnd.openxmlformats-officedocument.presentationml.tags+xml"/>
  <Override PartName="/ppt/embeddings/oleObject94.bin" ContentType="application/vnd.openxmlformats-officedocument.oleObject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embeddings/oleObject95.bin" ContentType="application/vnd.openxmlformats-officedocument.oleObject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embeddings/oleObject96.bin" ContentType="application/vnd.openxmlformats-officedocument.oleObject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embeddings/oleObject97.bin" ContentType="application/vnd.openxmlformats-officedocument.oleObject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17.xml" ContentType="application/vnd.openxmlformats-officedocument.theme+xml"/>
  <Override PartName="/ppt/tags/tag243.xml" ContentType="application/vnd.openxmlformats-officedocument.presentationml.tags+xml"/>
  <Override PartName="/ppt/embeddings/oleObject98.bin" ContentType="application/vnd.openxmlformats-officedocument.oleObject"/>
  <Override PartName="/ppt/tags/tag244.xml" ContentType="application/vnd.openxmlformats-officedocument.presentationml.tags+xml"/>
  <Override PartName="/ppt/embeddings/oleObject99.bin" ContentType="application/vnd.openxmlformats-officedocument.oleObject"/>
  <Override PartName="/ppt/tags/tag245.xml" ContentType="application/vnd.openxmlformats-officedocument.presentationml.tags+xml"/>
  <Override PartName="/ppt/embeddings/oleObject100.bin" ContentType="application/vnd.openxmlformats-officedocument.oleObject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embeddings/oleObject101.bin" ContentType="application/vnd.openxmlformats-officedocument.oleObject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embeddings/oleObject102.bin" ContentType="application/vnd.openxmlformats-officedocument.oleObject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embeddings/oleObject103.bin" ContentType="application/vnd.openxmlformats-officedocument.oleObject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18.xml" ContentType="application/vnd.openxmlformats-officedocument.theme+xml"/>
  <Override PartName="/ppt/tags/tag258.xml" ContentType="application/vnd.openxmlformats-officedocument.presentationml.tags+xml"/>
  <Override PartName="/ppt/embeddings/oleObject104.bin" ContentType="application/vnd.openxmlformats-officedocument.oleObject"/>
  <Override PartName="/ppt/tags/tag259.xml" ContentType="application/vnd.openxmlformats-officedocument.presentationml.tags+xml"/>
  <Override PartName="/ppt/embeddings/oleObject105.bin" ContentType="application/vnd.openxmlformats-officedocument.oleObject"/>
  <Override PartName="/ppt/tags/tag260.xml" ContentType="application/vnd.openxmlformats-officedocument.presentationml.tags+xml"/>
  <Override PartName="/ppt/embeddings/oleObject106.bin" ContentType="application/vnd.openxmlformats-officedocument.oleObject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embeddings/oleObject107.bin" ContentType="application/vnd.openxmlformats-officedocument.oleObject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embeddings/oleObject108.bin" ContentType="application/vnd.openxmlformats-officedocument.oleObject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embeddings/oleObject109.bin" ContentType="application/vnd.openxmlformats-officedocument.oleObject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19.xml" ContentType="application/vnd.openxmlformats-officedocument.theme+xml"/>
  <Override PartName="/ppt/tags/tag273.xml" ContentType="application/vnd.openxmlformats-officedocument.presentationml.tags+xml"/>
  <Override PartName="/ppt/embeddings/oleObject110.bin" ContentType="application/vnd.openxmlformats-officedocument.oleObject"/>
  <Override PartName="/ppt/tags/tag274.xml" ContentType="application/vnd.openxmlformats-officedocument.presentationml.tags+xml"/>
  <Override PartName="/ppt/embeddings/oleObject111.bin" ContentType="application/vnd.openxmlformats-officedocument.oleObject"/>
  <Override PartName="/ppt/tags/tag275.xml" ContentType="application/vnd.openxmlformats-officedocument.presentationml.tags+xml"/>
  <Override PartName="/ppt/embeddings/oleObject112.bin" ContentType="application/vnd.openxmlformats-officedocument.oleObject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embeddings/oleObject113.bin" ContentType="application/vnd.openxmlformats-officedocument.oleObject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embeddings/oleObject114.bin" ContentType="application/vnd.openxmlformats-officedocument.oleObject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embeddings/oleObject115.bin" ContentType="application/vnd.openxmlformats-officedocument.oleObject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20.xml" ContentType="application/vnd.openxmlformats-officedocument.theme+xml"/>
  <Override PartName="/ppt/tags/tag288.xml" ContentType="application/vnd.openxmlformats-officedocument.presentationml.tags+xml"/>
  <Override PartName="/ppt/embeddings/oleObject116.bin" ContentType="application/vnd.openxmlformats-officedocument.oleObject"/>
  <Override PartName="/ppt/tags/tag289.xml" ContentType="application/vnd.openxmlformats-officedocument.presentationml.tags+xml"/>
  <Override PartName="/ppt/embeddings/oleObject117.bin" ContentType="application/vnd.openxmlformats-officedocument.oleObject"/>
  <Override PartName="/ppt/tags/tag290.xml" ContentType="application/vnd.openxmlformats-officedocument.presentationml.tags+xml"/>
  <Override PartName="/ppt/embeddings/oleObject118.bin" ContentType="application/vnd.openxmlformats-officedocument.oleObject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embeddings/oleObject119.bin" ContentType="application/vnd.openxmlformats-officedocument.oleObject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embeddings/oleObject120.bin" ContentType="application/vnd.openxmlformats-officedocument.oleObject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embeddings/oleObject121.bin" ContentType="application/vnd.openxmlformats-officedocument.oleObject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heme/theme21.xml" ContentType="application/vnd.openxmlformats-officedocument.theme+xml"/>
  <Override PartName="/ppt/tags/tag303.xml" ContentType="application/vnd.openxmlformats-officedocument.presentationml.tags+xml"/>
  <Override PartName="/ppt/embeddings/oleObject122.bin" ContentType="application/vnd.openxmlformats-officedocument.oleObject"/>
  <Override PartName="/ppt/tags/tag304.xml" ContentType="application/vnd.openxmlformats-officedocument.presentationml.tags+xml"/>
  <Override PartName="/ppt/embeddings/oleObject123.bin" ContentType="application/vnd.openxmlformats-officedocument.oleObject"/>
  <Override PartName="/ppt/tags/tag305.xml" ContentType="application/vnd.openxmlformats-officedocument.presentationml.tags+xml"/>
  <Override PartName="/ppt/embeddings/oleObject124.bin" ContentType="application/vnd.openxmlformats-officedocument.oleObject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embeddings/oleObject125.bin" ContentType="application/vnd.openxmlformats-officedocument.oleObject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embeddings/oleObject126.bin" ContentType="application/vnd.openxmlformats-officedocument.oleObject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embeddings/oleObject127.bin" ContentType="application/vnd.openxmlformats-officedocument.oleObject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heme/theme22.xml" ContentType="application/vnd.openxmlformats-officedocument.theme+xml"/>
  <Override PartName="/ppt/tags/tag318.xml" ContentType="application/vnd.openxmlformats-officedocument.presentationml.tags+xml"/>
  <Override PartName="/ppt/embeddings/oleObject128.bin" ContentType="application/vnd.openxmlformats-officedocument.oleObject"/>
  <Override PartName="/ppt/tags/tag319.xml" ContentType="application/vnd.openxmlformats-officedocument.presentationml.tags+xml"/>
  <Override PartName="/ppt/embeddings/oleObject129.bin" ContentType="application/vnd.openxmlformats-officedocument.oleObject"/>
  <Override PartName="/ppt/tags/tag320.xml" ContentType="application/vnd.openxmlformats-officedocument.presentationml.tags+xml"/>
  <Override PartName="/ppt/embeddings/oleObject130.bin" ContentType="application/vnd.openxmlformats-officedocument.oleObject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embeddings/oleObject131.bin" ContentType="application/vnd.openxmlformats-officedocument.oleObject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embeddings/oleObject132.bin" ContentType="application/vnd.openxmlformats-officedocument.oleObject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embeddings/oleObject133.bin" ContentType="application/vnd.openxmlformats-officedocument.oleObject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23.xml" ContentType="application/vnd.openxmlformats-officedocument.theme+xml"/>
  <Override PartName="/ppt/tags/tag333.xml" ContentType="application/vnd.openxmlformats-officedocument.presentationml.tags+xml"/>
  <Override PartName="/ppt/embeddings/oleObject134.bin" ContentType="application/vnd.openxmlformats-officedocument.oleObject"/>
  <Override PartName="/ppt/tags/tag334.xml" ContentType="application/vnd.openxmlformats-officedocument.presentationml.tags+xml"/>
  <Override PartName="/ppt/embeddings/oleObject135.bin" ContentType="application/vnd.openxmlformats-officedocument.oleObject"/>
  <Override PartName="/ppt/tags/tag335.xml" ContentType="application/vnd.openxmlformats-officedocument.presentationml.tags+xml"/>
  <Override PartName="/ppt/embeddings/oleObject136.bin" ContentType="application/vnd.openxmlformats-officedocument.oleObject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embeddings/oleObject137.bin" ContentType="application/vnd.openxmlformats-officedocument.oleObject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embeddings/oleObject138.bin" ContentType="application/vnd.openxmlformats-officedocument.oleObject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embeddings/oleObject139.bin" ContentType="application/vnd.openxmlformats-officedocument.oleObject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heme/theme24.xml" ContentType="application/vnd.openxmlformats-officedocument.theme+xml"/>
  <Override PartName="/ppt/tags/tag348.xml" ContentType="application/vnd.openxmlformats-officedocument.presentationml.tags+xml"/>
  <Override PartName="/ppt/embeddings/oleObject140.bin" ContentType="application/vnd.openxmlformats-officedocument.oleObject"/>
  <Override PartName="/ppt/tags/tag349.xml" ContentType="application/vnd.openxmlformats-officedocument.presentationml.tags+xml"/>
  <Override PartName="/ppt/embeddings/oleObject141.bin" ContentType="application/vnd.openxmlformats-officedocument.oleObject"/>
  <Override PartName="/ppt/tags/tag350.xml" ContentType="application/vnd.openxmlformats-officedocument.presentationml.tags+xml"/>
  <Override PartName="/ppt/embeddings/oleObject142.bin" ContentType="application/vnd.openxmlformats-officedocument.oleObject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embeddings/oleObject143.bin" ContentType="application/vnd.openxmlformats-officedocument.oleObject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embeddings/oleObject144.bin" ContentType="application/vnd.openxmlformats-officedocument.oleObject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embeddings/oleObject145.bin" ContentType="application/vnd.openxmlformats-officedocument.oleObject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25.xml" ContentType="application/vnd.openxmlformats-officedocument.theme+xml"/>
  <Override PartName="/ppt/tags/tag363.xml" ContentType="application/vnd.openxmlformats-officedocument.presentationml.tags+xml"/>
  <Override PartName="/ppt/embeddings/oleObject146.bin" ContentType="application/vnd.openxmlformats-officedocument.oleObject"/>
  <Override PartName="/ppt/tags/tag364.xml" ContentType="application/vnd.openxmlformats-officedocument.presentationml.tags+xml"/>
  <Override PartName="/ppt/embeddings/oleObject147.bin" ContentType="application/vnd.openxmlformats-officedocument.oleObject"/>
  <Override PartName="/ppt/tags/tag365.xml" ContentType="application/vnd.openxmlformats-officedocument.presentationml.tags+xml"/>
  <Override PartName="/ppt/embeddings/oleObject148.bin" ContentType="application/vnd.openxmlformats-officedocument.oleObject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embeddings/oleObject149.bin" ContentType="application/vnd.openxmlformats-officedocument.oleObject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embeddings/oleObject150.bin" ContentType="application/vnd.openxmlformats-officedocument.oleObject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embeddings/oleObject151.bin" ContentType="application/vnd.openxmlformats-officedocument.oleObject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26.xml" ContentType="application/vnd.openxmlformats-officedocument.theme+xml"/>
  <Override PartName="/ppt/tags/tag378.xml" ContentType="application/vnd.openxmlformats-officedocument.presentationml.tags+xml"/>
  <Override PartName="/ppt/embeddings/oleObject152.bin" ContentType="application/vnd.openxmlformats-officedocument.oleObject"/>
  <Override PartName="/ppt/tags/tag379.xml" ContentType="application/vnd.openxmlformats-officedocument.presentationml.tags+xml"/>
  <Override PartName="/ppt/embeddings/oleObject153.bin" ContentType="application/vnd.openxmlformats-officedocument.oleObject"/>
  <Override PartName="/ppt/tags/tag380.xml" ContentType="application/vnd.openxmlformats-officedocument.presentationml.tags+xml"/>
  <Override PartName="/ppt/embeddings/oleObject154.bin" ContentType="application/vnd.openxmlformats-officedocument.oleObject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embeddings/oleObject155.bin" ContentType="application/vnd.openxmlformats-officedocument.oleObject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embeddings/oleObject156.bin" ContentType="application/vnd.openxmlformats-officedocument.oleObject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embeddings/oleObject157.bin" ContentType="application/vnd.openxmlformats-officedocument.oleObject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theme/theme27.xml" ContentType="application/vnd.openxmlformats-officedocument.theme+xml"/>
  <Override PartName="/ppt/tags/tag393.xml" ContentType="application/vnd.openxmlformats-officedocument.presentationml.tags+xml"/>
  <Override PartName="/ppt/embeddings/oleObject158.bin" ContentType="application/vnd.openxmlformats-officedocument.oleObject"/>
  <Override PartName="/ppt/tags/tag394.xml" ContentType="application/vnd.openxmlformats-officedocument.presentationml.tags+xml"/>
  <Override PartName="/ppt/embeddings/oleObject159.bin" ContentType="application/vnd.openxmlformats-officedocument.oleObject"/>
  <Override PartName="/ppt/tags/tag395.xml" ContentType="application/vnd.openxmlformats-officedocument.presentationml.tags+xml"/>
  <Override PartName="/ppt/embeddings/oleObject160.bin" ContentType="application/vnd.openxmlformats-officedocument.oleObject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embeddings/oleObject161.bin" ContentType="application/vnd.openxmlformats-officedocument.oleObject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embeddings/oleObject162.bin" ContentType="application/vnd.openxmlformats-officedocument.oleObject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embeddings/oleObject163.bin" ContentType="application/vnd.openxmlformats-officedocument.oleObject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theme/theme28.xml" ContentType="application/vnd.openxmlformats-officedocument.theme+xml"/>
  <Override PartName="/ppt/tags/tag408.xml" ContentType="application/vnd.openxmlformats-officedocument.presentationml.tags+xml"/>
  <Override PartName="/ppt/embeddings/oleObject164.bin" ContentType="application/vnd.openxmlformats-officedocument.oleObject"/>
  <Override PartName="/ppt/tags/tag409.xml" ContentType="application/vnd.openxmlformats-officedocument.presentationml.tags+xml"/>
  <Override PartName="/ppt/embeddings/oleObject165.bin" ContentType="application/vnd.openxmlformats-officedocument.oleObject"/>
  <Override PartName="/ppt/tags/tag410.xml" ContentType="application/vnd.openxmlformats-officedocument.presentationml.tags+xml"/>
  <Override PartName="/ppt/embeddings/oleObject166.bin" ContentType="application/vnd.openxmlformats-officedocument.oleObject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embeddings/oleObject167.bin" ContentType="application/vnd.openxmlformats-officedocument.oleObject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embeddings/oleObject168.bin" ContentType="application/vnd.openxmlformats-officedocument.oleObject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embeddings/oleObject169.bin" ContentType="application/vnd.openxmlformats-officedocument.oleObject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theme/theme29.xml" ContentType="application/vnd.openxmlformats-officedocument.theme+xml"/>
  <Override PartName="/ppt/tags/tag423.xml" ContentType="application/vnd.openxmlformats-officedocument.presentationml.tags+xml"/>
  <Override PartName="/ppt/embeddings/oleObject170.bin" ContentType="application/vnd.openxmlformats-officedocument.oleObject"/>
  <Override PartName="/ppt/tags/tag424.xml" ContentType="application/vnd.openxmlformats-officedocument.presentationml.tags+xml"/>
  <Override PartName="/ppt/embeddings/oleObject171.bin" ContentType="application/vnd.openxmlformats-officedocument.oleObject"/>
  <Override PartName="/ppt/tags/tag425.xml" ContentType="application/vnd.openxmlformats-officedocument.presentationml.tags+xml"/>
  <Override PartName="/ppt/embeddings/oleObject172.bin" ContentType="application/vnd.openxmlformats-officedocument.oleObject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embeddings/oleObject173.bin" ContentType="application/vnd.openxmlformats-officedocument.oleObject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embeddings/oleObject174.bin" ContentType="application/vnd.openxmlformats-officedocument.oleObject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embeddings/oleObject175.bin" ContentType="application/vnd.openxmlformats-officedocument.oleObject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theme/theme30.xml" ContentType="application/vnd.openxmlformats-officedocument.theme+xml"/>
  <Override PartName="/ppt/tags/tag438.xml" ContentType="application/vnd.openxmlformats-officedocument.presentationml.tags+xml"/>
  <Override PartName="/ppt/embeddings/oleObject176.bin" ContentType="application/vnd.openxmlformats-officedocument.oleObject"/>
  <Override PartName="/ppt/tags/tag439.xml" ContentType="application/vnd.openxmlformats-officedocument.presentationml.tags+xml"/>
  <Override PartName="/ppt/embeddings/oleObject177.bin" ContentType="application/vnd.openxmlformats-officedocument.oleObject"/>
  <Override PartName="/ppt/tags/tag440.xml" ContentType="application/vnd.openxmlformats-officedocument.presentationml.tags+xml"/>
  <Override PartName="/ppt/embeddings/oleObject178.bin" ContentType="application/vnd.openxmlformats-officedocument.oleObject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embeddings/oleObject179.bin" ContentType="application/vnd.openxmlformats-officedocument.oleObject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embeddings/oleObject180.bin" ContentType="application/vnd.openxmlformats-officedocument.oleObject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embeddings/oleObject181.bin" ContentType="application/vnd.openxmlformats-officedocument.oleObject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theme/theme31.xml" ContentType="application/vnd.openxmlformats-officedocument.theme+xml"/>
  <Override PartName="/ppt/tags/tag453.xml" ContentType="application/vnd.openxmlformats-officedocument.presentationml.tags+xml"/>
  <Override PartName="/ppt/embeddings/oleObject182.bin" ContentType="application/vnd.openxmlformats-officedocument.oleObject"/>
  <Override PartName="/ppt/tags/tag454.xml" ContentType="application/vnd.openxmlformats-officedocument.presentationml.tags+xml"/>
  <Override PartName="/ppt/embeddings/oleObject183.bin" ContentType="application/vnd.openxmlformats-officedocument.oleObject"/>
  <Override PartName="/ppt/tags/tag455.xml" ContentType="application/vnd.openxmlformats-officedocument.presentationml.tags+xml"/>
  <Override PartName="/ppt/embeddings/oleObject184.bin" ContentType="application/vnd.openxmlformats-officedocument.oleObject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embeddings/oleObject185.bin" ContentType="application/vnd.openxmlformats-officedocument.oleObject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embeddings/oleObject186.bin" ContentType="application/vnd.openxmlformats-officedocument.oleObject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embeddings/oleObject187.bin" ContentType="application/vnd.openxmlformats-officedocument.oleObject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theme/theme32.xml" ContentType="application/vnd.openxmlformats-officedocument.theme+xml"/>
  <Override PartName="/ppt/tags/tag468.xml" ContentType="application/vnd.openxmlformats-officedocument.presentationml.tags+xml"/>
  <Override PartName="/ppt/embeddings/oleObject188.bin" ContentType="application/vnd.openxmlformats-officedocument.oleObject"/>
  <Override PartName="/ppt/tags/tag469.xml" ContentType="application/vnd.openxmlformats-officedocument.presentationml.tags+xml"/>
  <Override PartName="/ppt/embeddings/oleObject189.bin" ContentType="application/vnd.openxmlformats-officedocument.oleObject"/>
  <Override PartName="/ppt/tags/tag470.xml" ContentType="application/vnd.openxmlformats-officedocument.presentationml.tags+xml"/>
  <Override PartName="/ppt/embeddings/oleObject190.bin" ContentType="application/vnd.openxmlformats-officedocument.oleObject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embeddings/oleObject191.bin" ContentType="application/vnd.openxmlformats-officedocument.oleObject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embeddings/oleObject192.bin" ContentType="application/vnd.openxmlformats-officedocument.oleObject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embeddings/oleObject193.bin" ContentType="application/vnd.openxmlformats-officedocument.oleObject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theme/theme33.xml" ContentType="application/vnd.openxmlformats-officedocument.theme+xml"/>
  <Override PartName="/ppt/tags/tag483.xml" ContentType="application/vnd.openxmlformats-officedocument.presentationml.tags+xml"/>
  <Override PartName="/ppt/embeddings/oleObject194.bin" ContentType="application/vnd.openxmlformats-officedocument.oleObject"/>
  <Override PartName="/ppt/tags/tag484.xml" ContentType="application/vnd.openxmlformats-officedocument.presentationml.tags+xml"/>
  <Override PartName="/ppt/embeddings/oleObject195.bin" ContentType="application/vnd.openxmlformats-officedocument.oleObject"/>
  <Override PartName="/ppt/tags/tag485.xml" ContentType="application/vnd.openxmlformats-officedocument.presentationml.tags+xml"/>
  <Override PartName="/ppt/embeddings/oleObject196.bin" ContentType="application/vnd.openxmlformats-officedocument.oleObject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embeddings/oleObject197.bin" ContentType="application/vnd.openxmlformats-officedocument.oleObject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embeddings/oleObject198.bin" ContentType="application/vnd.openxmlformats-officedocument.oleObject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embeddings/oleObject199.bin" ContentType="application/vnd.openxmlformats-officedocument.oleObject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heme/theme34.xml" ContentType="application/vnd.openxmlformats-officedocument.theme+xml"/>
  <Override PartName="/ppt/tags/tag498.xml" ContentType="application/vnd.openxmlformats-officedocument.presentationml.tags+xml"/>
  <Override PartName="/ppt/embeddings/oleObject200.bin" ContentType="application/vnd.openxmlformats-officedocument.oleObject"/>
  <Override PartName="/ppt/tags/tag499.xml" ContentType="application/vnd.openxmlformats-officedocument.presentationml.tags+xml"/>
  <Override PartName="/ppt/embeddings/oleObject201.bin" ContentType="application/vnd.openxmlformats-officedocument.oleObject"/>
  <Override PartName="/ppt/tags/tag500.xml" ContentType="application/vnd.openxmlformats-officedocument.presentationml.tags+xml"/>
  <Override PartName="/ppt/embeddings/oleObject202.bin" ContentType="application/vnd.openxmlformats-officedocument.oleObject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embeddings/oleObject203.bin" ContentType="application/vnd.openxmlformats-officedocument.oleObject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embeddings/oleObject204.bin" ContentType="application/vnd.openxmlformats-officedocument.oleObject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embeddings/oleObject205.bin" ContentType="application/vnd.openxmlformats-officedocument.oleObject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theme/theme35.xml" ContentType="application/vnd.openxmlformats-officedocument.theme+xml"/>
  <Override PartName="/ppt/tags/tag513.xml" ContentType="application/vnd.openxmlformats-officedocument.presentationml.tags+xml"/>
  <Override PartName="/ppt/embeddings/oleObject206.bin" ContentType="application/vnd.openxmlformats-officedocument.oleObject"/>
  <Override PartName="/ppt/tags/tag514.xml" ContentType="application/vnd.openxmlformats-officedocument.presentationml.tags+xml"/>
  <Override PartName="/ppt/embeddings/oleObject207.bin" ContentType="application/vnd.openxmlformats-officedocument.oleObject"/>
  <Override PartName="/ppt/tags/tag515.xml" ContentType="application/vnd.openxmlformats-officedocument.presentationml.tags+xml"/>
  <Override PartName="/ppt/embeddings/oleObject208.bin" ContentType="application/vnd.openxmlformats-officedocument.oleObject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embeddings/oleObject209.bin" ContentType="application/vnd.openxmlformats-officedocument.oleObject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embeddings/oleObject210.bin" ContentType="application/vnd.openxmlformats-officedocument.oleObject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embeddings/oleObject211.bin" ContentType="application/vnd.openxmlformats-officedocument.oleObject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theme/theme36.xml" ContentType="application/vnd.openxmlformats-officedocument.theme+xml"/>
  <Override PartName="/ppt/tags/tag528.xml" ContentType="application/vnd.openxmlformats-officedocument.presentationml.tags+xml"/>
  <Override PartName="/ppt/embeddings/oleObject212.bin" ContentType="application/vnd.openxmlformats-officedocument.oleObject"/>
  <Override PartName="/ppt/tags/tag529.xml" ContentType="application/vnd.openxmlformats-officedocument.presentationml.tags+xml"/>
  <Override PartName="/ppt/embeddings/oleObject213.bin" ContentType="application/vnd.openxmlformats-officedocument.oleObject"/>
  <Override PartName="/ppt/tags/tag530.xml" ContentType="application/vnd.openxmlformats-officedocument.presentationml.tags+xml"/>
  <Override PartName="/ppt/embeddings/oleObject214.bin" ContentType="application/vnd.openxmlformats-officedocument.oleObject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embeddings/oleObject215.bin" ContentType="application/vnd.openxmlformats-officedocument.oleObject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embeddings/oleObject216.bin" ContentType="application/vnd.openxmlformats-officedocument.oleObject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embeddings/oleObject217.bin" ContentType="application/vnd.openxmlformats-officedocument.oleObject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theme/theme37.xml" ContentType="application/vnd.openxmlformats-officedocument.theme+xml"/>
  <Override PartName="/ppt/tags/tag543.xml" ContentType="application/vnd.openxmlformats-officedocument.presentationml.tags+xml"/>
  <Override PartName="/ppt/embeddings/oleObject218.bin" ContentType="application/vnd.openxmlformats-officedocument.oleObject"/>
  <Override PartName="/ppt/tags/tag544.xml" ContentType="application/vnd.openxmlformats-officedocument.presentationml.tags+xml"/>
  <Override PartName="/ppt/embeddings/oleObject219.bin" ContentType="application/vnd.openxmlformats-officedocument.oleObject"/>
  <Override PartName="/ppt/tags/tag545.xml" ContentType="application/vnd.openxmlformats-officedocument.presentationml.tags+xml"/>
  <Override PartName="/ppt/embeddings/oleObject220.bin" ContentType="application/vnd.openxmlformats-officedocument.oleObject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embeddings/oleObject221.bin" ContentType="application/vnd.openxmlformats-officedocument.oleObject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embeddings/oleObject222.bin" ContentType="application/vnd.openxmlformats-officedocument.oleObject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embeddings/oleObject223.bin" ContentType="application/vnd.openxmlformats-officedocument.oleObject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theme/theme38.xml" ContentType="application/vnd.openxmlformats-officedocument.theme+xml"/>
  <Override PartName="/ppt/tags/tag558.xml" ContentType="application/vnd.openxmlformats-officedocument.presentationml.tags+xml"/>
  <Override PartName="/ppt/embeddings/oleObject224.bin" ContentType="application/vnd.openxmlformats-officedocument.oleObject"/>
  <Override PartName="/ppt/tags/tag559.xml" ContentType="application/vnd.openxmlformats-officedocument.presentationml.tags+xml"/>
  <Override PartName="/ppt/embeddings/oleObject225.bin" ContentType="application/vnd.openxmlformats-officedocument.oleObject"/>
  <Override PartName="/ppt/tags/tag560.xml" ContentType="application/vnd.openxmlformats-officedocument.presentationml.tags+xml"/>
  <Override PartName="/ppt/embeddings/oleObject226.bin" ContentType="application/vnd.openxmlformats-officedocument.oleObject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embeddings/oleObject227.bin" ContentType="application/vnd.openxmlformats-officedocument.oleObject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embeddings/oleObject228.bin" ContentType="application/vnd.openxmlformats-officedocument.oleObject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embeddings/oleObject229.bin" ContentType="application/vnd.openxmlformats-officedocument.oleObject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theme/theme39.xml" ContentType="application/vnd.openxmlformats-officedocument.theme+xml"/>
  <Override PartName="/ppt/tags/tag573.xml" ContentType="application/vnd.openxmlformats-officedocument.presentationml.tags+xml"/>
  <Override PartName="/ppt/embeddings/oleObject230.bin" ContentType="application/vnd.openxmlformats-officedocument.oleObject"/>
  <Override PartName="/ppt/tags/tag574.xml" ContentType="application/vnd.openxmlformats-officedocument.presentationml.tags+xml"/>
  <Override PartName="/ppt/embeddings/oleObject231.bin" ContentType="application/vnd.openxmlformats-officedocument.oleObject"/>
  <Override PartName="/ppt/tags/tag575.xml" ContentType="application/vnd.openxmlformats-officedocument.presentationml.tags+xml"/>
  <Override PartName="/ppt/embeddings/oleObject232.bin" ContentType="application/vnd.openxmlformats-officedocument.oleObject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embeddings/oleObject233.bin" ContentType="application/vnd.openxmlformats-officedocument.oleObject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embeddings/oleObject234.bin" ContentType="application/vnd.openxmlformats-officedocument.oleObject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embeddings/oleObject235.bin" ContentType="application/vnd.openxmlformats-officedocument.oleObject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theme/theme40.xml" ContentType="application/vnd.openxmlformats-officedocument.theme+xml"/>
  <Override PartName="/ppt/tags/tag588.xml" ContentType="application/vnd.openxmlformats-officedocument.presentationml.tags+xml"/>
  <Override PartName="/ppt/embeddings/oleObject236.bin" ContentType="application/vnd.openxmlformats-officedocument.oleObject"/>
  <Override PartName="/ppt/tags/tag589.xml" ContentType="application/vnd.openxmlformats-officedocument.presentationml.tags+xml"/>
  <Override PartName="/ppt/embeddings/oleObject237.bin" ContentType="application/vnd.openxmlformats-officedocument.oleObject"/>
  <Override PartName="/ppt/tags/tag590.xml" ContentType="application/vnd.openxmlformats-officedocument.presentationml.tags+xml"/>
  <Override PartName="/ppt/embeddings/oleObject238.bin" ContentType="application/vnd.openxmlformats-officedocument.oleObject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embeddings/oleObject239.bin" ContentType="application/vnd.openxmlformats-officedocument.oleObject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embeddings/oleObject240.bin" ContentType="application/vnd.openxmlformats-officedocument.oleObject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embeddings/oleObject241.bin" ContentType="application/vnd.openxmlformats-officedocument.oleObject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theme/theme41.xml" ContentType="application/vnd.openxmlformats-officedocument.theme+xml"/>
  <Override PartName="/ppt/tags/tag603.xml" ContentType="application/vnd.openxmlformats-officedocument.presentationml.tags+xml"/>
  <Override PartName="/ppt/embeddings/oleObject242.bin" ContentType="application/vnd.openxmlformats-officedocument.oleObject"/>
  <Override PartName="/ppt/tags/tag604.xml" ContentType="application/vnd.openxmlformats-officedocument.presentationml.tags+xml"/>
  <Override PartName="/ppt/embeddings/oleObject243.bin" ContentType="application/vnd.openxmlformats-officedocument.oleObject"/>
  <Override PartName="/ppt/tags/tag605.xml" ContentType="application/vnd.openxmlformats-officedocument.presentationml.tags+xml"/>
  <Override PartName="/ppt/embeddings/oleObject244.bin" ContentType="application/vnd.openxmlformats-officedocument.oleObject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embeddings/oleObject245.bin" ContentType="application/vnd.openxmlformats-officedocument.oleObject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embeddings/oleObject246.bin" ContentType="application/vnd.openxmlformats-officedocument.oleObject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embeddings/oleObject247.bin" ContentType="application/vnd.openxmlformats-officedocument.oleObject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theme/theme42.xml" ContentType="application/vnd.openxmlformats-officedocument.theme+xml"/>
  <Override PartName="/ppt/tags/tag618.xml" ContentType="application/vnd.openxmlformats-officedocument.presentationml.tags+xml"/>
  <Override PartName="/ppt/embeddings/oleObject248.bin" ContentType="application/vnd.openxmlformats-officedocument.oleObject"/>
  <Override PartName="/ppt/tags/tag619.xml" ContentType="application/vnd.openxmlformats-officedocument.presentationml.tags+xml"/>
  <Override PartName="/ppt/embeddings/oleObject249.bin" ContentType="application/vnd.openxmlformats-officedocument.oleObject"/>
  <Override PartName="/ppt/tags/tag620.xml" ContentType="application/vnd.openxmlformats-officedocument.presentationml.tags+xml"/>
  <Override PartName="/ppt/embeddings/oleObject250.bin" ContentType="application/vnd.openxmlformats-officedocument.oleObject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embeddings/oleObject251.bin" ContentType="application/vnd.openxmlformats-officedocument.oleObject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embeddings/oleObject252.bin" ContentType="application/vnd.openxmlformats-officedocument.oleObject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embeddings/oleObject253.bin" ContentType="application/vnd.openxmlformats-officedocument.oleObject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theme/theme43.xml" ContentType="application/vnd.openxmlformats-officedocument.theme+xml"/>
  <Override PartName="/ppt/tags/tag633.xml" ContentType="application/vnd.openxmlformats-officedocument.presentationml.tags+xml"/>
  <Override PartName="/ppt/embeddings/oleObject254.bin" ContentType="application/vnd.openxmlformats-officedocument.oleObject"/>
  <Override PartName="/ppt/tags/tag634.xml" ContentType="application/vnd.openxmlformats-officedocument.presentationml.tags+xml"/>
  <Override PartName="/ppt/embeddings/oleObject255.bin" ContentType="application/vnd.openxmlformats-officedocument.oleObject"/>
  <Override PartName="/ppt/tags/tag635.xml" ContentType="application/vnd.openxmlformats-officedocument.presentationml.tags+xml"/>
  <Override PartName="/ppt/embeddings/oleObject256.bin" ContentType="application/vnd.openxmlformats-officedocument.oleObject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embeddings/oleObject257.bin" ContentType="application/vnd.openxmlformats-officedocument.oleObject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embeddings/oleObject258.bin" ContentType="application/vnd.openxmlformats-officedocument.oleObject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embeddings/oleObject259.bin" ContentType="application/vnd.openxmlformats-officedocument.oleObject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theme/theme44.xml" ContentType="application/vnd.openxmlformats-officedocument.theme+xml"/>
  <Override PartName="/ppt/tags/tag648.xml" ContentType="application/vnd.openxmlformats-officedocument.presentationml.tags+xml"/>
  <Override PartName="/ppt/embeddings/oleObject260.bin" ContentType="application/vnd.openxmlformats-officedocument.oleObject"/>
  <Override PartName="/ppt/tags/tag649.xml" ContentType="application/vnd.openxmlformats-officedocument.presentationml.tags+xml"/>
  <Override PartName="/ppt/embeddings/oleObject261.bin" ContentType="application/vnd.openxmlformats-officedocument.oleObject"/>
  <Override PartName="/ppt/tags/tag650.xml" ContentType="application/vnd.openxmlformats-officedocument.presentationml.tags+xml"/>
  <Override PartName="/ppt/embeddings/oleObject262.bin" ContentType="application/vnd.openxmlformats-officedocument.oleObject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embeddings/oleObject263.bin" ContentType="application/vnd.openxmlformats-officedocument.oleObject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embeddings/oleObject264.bin" ContentType="application/vnd.openxmlformats-officedocument.oleObject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embeddings/oleObject265.bin" ContentType="application/vnd.openxmlformats-officedocument.oleObject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theme/theme45.xml" ContentType="application/vnd.openxmlformats-officedocument.theme+xml"/>
  <Override PartName="/ppt/tags/tag663.xml" ContentType="application/vnd.openxmlformats-officedocument.presentationml.tags+xml"/>
  <Override PartName="/ppt/embeddings/oleObject266.bin" ContentType="application/vnd.openxmlformats-officedocument.oleObject"/>
  <Override PartName="/ppt/tags/tag664.xml" ContentType="application/vnd.openxmlformats-officedocument.presentationml.tags+xml"/>
  <Override PartName="/ppt/embeddings/oleObject267.bin" ContentType="application/vnd.openxmlformats-officedocument.oleObject"/>
  <Override PartName="/ppt/tags/tag665.xml" ContentType="application/vnd.openxmlformats-officedocument.presentationml.tags+xml"/>
  <Override PartName="/ppt/embeddings/oleObject268.bin" ContentType="application/vnd.openxmlformats-officedocument.oleObject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embeddings/oleObject269.bin" ContentType="application/vnd.openxmlformats-officedocument.oleObject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embeddings/oleObject270.bin" ContentType="application/vnd.openxmlformats-officedocument.oleObject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embeddings/oleObject271.bin" ContentType="application/vnd.openxmlformats-officedocument.oleObject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theme/theme46.xml" ContentType="application/vnd.openxmlformats-officedocument.theme+xml"/>
  <Override PartName="/ppt/tags/tag678.xml" ContentType="application/vnd.openxmlformats-officedocument.presentationml.tags+xml"/>
  <Override PartName="/ppt/embeddings/oleObject272.bin" ContentType="application/vnd.openxmlformats-officedocument.oleObject"/>
  <Override PartName="/ppt/tags/tag679.xml" ContentType="application/vnd.openxmlformats-officedocument.presentationml.tags+xml"/>
  <Override PartName="/ppt/embeddings/oleObject273.bin" ContentType="application/vnd.openxmlformats-officedocument.oleObject"/>
  <Override PartName="/ppt/tags/tag680.xml" ContentType="application/vnd.openxmlformats-officedocument.presentationml.tags+xml"/>
  <Override PartName="/ppt/embeddings/oleObject274.bin" ContentType="application/vnd.openxmlformats-officedocument.oleObject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embeddings/oleObject275.bin" ContentType="application/vnd.openxmlformats-officedocument.oleObject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embeddings/oleObject276.bin" ContentType="application/vnd.openxmlformats-officedocument.oleObject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embeddings/oleObject277.bin" ContentType="application/vnd.openxmlformats-officedocument.oleObject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theme/theme47.xml" ContentType="application/vnd.openxmlformats-officedocument.theme+xml"/>
  <Override PartName="/ppt/tags/tag693.xml" ContentType="application/vnd.openxmlformats-officedocument.presentationml.tags+xml"/>
  <Override PartName="/ppt/embeddings/oleObject278.bin" ContentType="application/vnd.openxmlformats-officedocument.oleObject"/>
  <Override PartName="/ppt/tags/tag694.xml" ContentType="application/vnd.openxmlformats-officedocument.presentationml.tags+xml"/>
  <Override PartName="/ppt/embeddings/oleObject279.bin" ContentType="application/vnd.openxmlformats-officedocument.oleObject"/>
  <Override PartName="/ppt/tags/tag695.xml" ContentType="application/vnd.openxmlformats-officedocument.presentationml.tags+xml"/>
  <Override PartName="/ppt/embeddings/oleObject280.bin" ContentType="application/vnd.openxmlformats-officedocument.oleObject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embeddings/oleObject281.bin" ContentType="application/vnd.openxmlformats-officedocument.oleObject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embeddings/oleObject282.bin" ContentType="application/vnd.openxmlformats-officedocument.oleObject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embeddings/oleObject283.bin" ContentType="application/vnd.openxmlformats-officedocument.oleObject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theme/theme48.xml" ContentType="application/vnd.openxmlformats-officedocument.theme+xml"/>
  <Override PartName="/ppt/tags/tag708.xml" ContentType="application/vnd.openxmlformats-officedocument.presentationml.tags+xml"/>
  <Override PartName="/ppt/embeddings/oleObject284.bin" ContentType="application/vnd.openxmlformats-officedocument.oleObject"/>
  <Override PartName="/ppt/tags/tag709.xml" ContentType="application/vnd.openxmlformats-officedocument.presentationml.tags+xml"/>
  <Override PartName="/ppt/embeddings/oleObject285.bin" ContentType="application/vnd.openxmlformats-officedocument.oleObject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embeddings/oleObject286.bin" ContentType="application/vnd.openxmlformats-officedocument.oleObject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embeddings/oleObject287.bin" ContentType="application/vnd.openxmlformats-officedocument.oleObject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embeddings/oleObject288.bin" ContentType="application/vnd.openxmlformats-officedocument.oleObject"/>
  <Override PartName="/ppt/tags/tag722.xml" ContentType="application/vnd.openxmlformats-officedocument.presentationml.tags+xml"/>
  <Override PartName="/ppt/embeddings/oleObject289.bin" ContentType="application/vnd.openxmlformats-officedocument.oleObject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theme/theme49.xml" ContentType="application/vnd.openxmlformats-officedocument.theme+xml"/>
  <Override PartName="/ppt/tags/tag723.xml" ContentType="application/vnd.openxmlformats-officedocument.presentationml.tags+xml"/>
  <Override PartName="/ppt/embeddings/oleObject290.bin" ContentType="application/vnd.openxmlformats-officedocument.oleObject"/>
  <Override PartName="/ppt/tags/tag724.xml" ContentType="application/vnd.openxmlformats-officedocument.presentationml.tags+xml"/>
  <Override PartName="/ppt/embeddings/oleObject291.bin" ContentType="application/vnd.openxmlformats-officedocument.oleObject"/>
  <Override PartName="/ppt/tags/tag725.xml" ContentType="application/vnd.openxmlformats-officedocument.presentationml.tags+xml"/>
  <Override PartName="/ppt/embeddings/oleObject292.bin" ContentType="application/vnd.openxmlformats-officedocument.oleObject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embeddings/oleObject293.bin" ContentType="application/vnd.openxmlformats-officedocument.oleObject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embeddings/oleObject294.bin" ContentType="application/vnd.openxmlformats-officedocument.oleObject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embeddings/oleObject295.bin" ContentType="application/vnd.openxmlformats-officedocument.oleObject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theme/theme50.xml" ContentType="application/vnd.openxmlformats-officedocument.theme+xml"/>
  <Override PartName="/ppt/tags/tag738.xml" ContentType="application/vnd.openxmlformats-officedocument.presentationml.tags+xml"/>
  <Override PartName="/ppt/embeddings/oleObject296.bin" ContentType="application/vnd.openxmlformats-officedocument.oleObject"/>
  <Override PartName="/ppt/tags/tag739.xml" ContentType="application/vnd.openxmlformats-officedocument.presentationml.tags+xml"/>
  <Override PartName="/ppt/embeddings/oleObject297.bin" ContentType="application/vnd.openxmlformats-officedocument.oleObject"/>
  <Override PartName="/ppt/tags/tag740.xml" ContentType="application/vnd.openxmlformats-officedocument.presentationml.tags+xml"/>
  <Override PartName="/ppt/embeddings/oleObject298.bin" ContentType="application/vnd.openxmlformats-officedocument.oleObject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embeddings/oleObject299.bin" ContentType="application/vnd.openxmlformats-officedocument.oleObject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embeddings/oleObject300.bin" ContentType="application/vnd.openxmlformats-officedocument.oleObject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embeddings/oleObject301.bin" ContentType="application/vnd.openxmlformats-officedocument.oleObject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theme/theme51.xml" ContentType="application/vnd.openxmlformats-officedocument.theme+xml"/>
  <Override PartName="/ppt/tags/tag753.xml" ContentType="application/vnd.openxmlformats-officedocument.presentationml.tags+xml"/>
  <Override PartName="/ppt/embeddings/oleObject302.bin" ContentType="application/vnd.openxmlformats-officedocument.oleObject"/>
  <Override PartName="/ppt/tags/tag754.xml" ContentType="application/vnd.openxmlformats-officedocument.presentationml.tags+xml"/>
  <Override PartName="/ppt/embeddings/oleObject303.bin" ContentType="application/vnd.openxmlformats-officedocument.oleObject"/>
  <Override PartName="/ppt/tags/tag755.xml" ContentType="application/vnd.openxmlformats-officedocument.presentationml.tags+xml"/>
  <Override PartName="/ppt/embeddings/oleObject304.bin" ContentType="application/vnd.openxmlformats-officedocument.oleObject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embeddings/oleObject305.bin" ContentType="application/vnd.openxmlformats-officedocument.oleObject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embeddings/oleObject306.bin" ContentType="application/vnd.openxmlformats-officedocument.oleObject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embeddings/oleObject307.bin" ContentType="application/vnd.openxmlformats-officedocument.oleObject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theme/theme52.xml" ContentType="application/vnd.openxmlformats-officedocument.theme+xml"/>
  <Override PartName="/ppt/tags/tag768.xml" ContentType="application/vnd.openxmlformats-officedocument.presentationml.tags+xml"/>
  <Override PartName="/ppt/embeddings/oleObject308.bin" ContentType="application/vnd.openxmlformats-officedocument.oleObject"/>
  <Override PartName="/ppt/tags/tag769.xml" ContentType="application/vnd.openxmlformats-officedocument.presentationml.tags+xml"/>
  <Override PartName="/ppt/embeddings/oleObject309.bin" ContentType="application/vnd.openxmlformats-officedocument.oleObject"/>
  <Override PartName="/ppt/tags/tag770.xml" ContentType="application/vnd.openxmlformats-officedocument.presentationml.tags+xml"/>
  <Override PartName="/ppt/embeddings/oleObject310.bin" ContentType="application/vnd.openxmlformats-officedocument.oleObject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embeddings/oleObject311.bin" ContentType="application/vnd.openxmlformats-officedocument.oleObject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embeddings/oleObject312.bin" ContentType="application/vnd.openxmlformats-officedocument.oleObject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embeddings/oleObject313.bin" ContentType="application/vnd.openxmlformats-officedocument.oleObject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theme/theme53.xml" ContentType="application/vnd.openxmlformats-officedocument.theme+xml"/>
  <Override PartName="/ppt/tags/tag783.xml" ContentType="application/vnd.openxmlformats-officedocument.presentationml.tags+xml"/>
  <Override PartName="/ppt/embeddings/oleObject314.bin" ContentType="application/vnd.openxmlformats-officedocument.oleObject"/>
  <Override PartName="/ppt/tags/tag784.xml" ContentType="application/vnd.openxmlformats-officedocument.presentationml.tags+xml"/>
  <Override PartName="/ppt/embeddings/oleObject315.bin" ContentType="application/vnd.openxmlformats-officedocument.oleObject"/>
  <Override PartName="/ppt/tags/tag785.xml" ContentType="application/vnd.openxmlformats-officedocument.presentationml.tags+xml"/>
  <Override PartName="/ppt/embeddings/oleObject316.bin" ContentType="application/vnd.openxmlformats-officedocument.oleObject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embeddings/oleObject317.bin" ContentType="application/vnd.openxmlformats-officedocument.oleObject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embeddings/oleObject318.bin" ContentType="application/vnd.openxmlformats-officedocument.oleObject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embeddings/oleObject319.bin" ContentType="application/vnd.openxmlformats-officedocument.oleObject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theme/theme54.xml" ContentType="application/vnd.openxmlformats-officedocument.theme+xml"/>
  <Override PartName="/ppt/tags/tag798.xml" ContentType="application/vnd.openxmlformats-officedocument.presentationml.tags+xml"/>
  <Override PartName="/ppt/embeddings/oleObject320.bin" ContentType="application/vnd.openxmlformats-officedocument.oleObject"/>
  <Override PartName="/ppt/tags/tag799.xml" ContentType="application/vnd.openxmlformats-officedocument.presentationml.tags+xml"/>
  <Override PartName="/ppt/embeddings/oleObject321.bin" ContentType="application/vnd.openxmlformats-officedocument.oleObject"/>
  <Override PartName="/ppt/tags/tag800.xml" ContentType="application/vnd.openxmlformats-officedocument.presentationml.tags+xml"/>
  <Override PartName="/ppt/embeddings/oleObject322.bin" ContentType="application/vnd.openxmlformats-officedocument.oleObject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embeddings/oleObject323.bin" ContentType="application/vnd.openxmlformats-officedocument.oleObject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embeddings/oleObject324.bin" ContentType="application/vnd.openxmlformats-officedocument.oleObject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embeddings/oleObject325.bin" ContentType="application/vnd.openxmlformats-officedocument.oleObject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theme/theme55.xml" ContentType="application/vnd.openxmlformats-officedocument.theme+xml"/>
  <Override PartName="/ppt/tags/tag813.xml" ContentType="application/vnd.openxmlformats-officedocument.presentationml.tags+xml"/>
  <Override PartName="/ppt/embeddings/oleObject326.bin" ContentType="application/vnd.openxmlformats-officedocument.oleObject"/>
  <Override PartName="/ppt/tags/tag814.xml" ContentType="application/vnd.openxmlformats-officedocument.presentationml.tags+xml"/>
  <Override PartName="/ppt/embeddings/oleObject327.bin" ContentType="application/vnd.openxmlformats-officedocument.oleObject"/>
  <Override PartName="/ppt/tags/tag815.xml" ContentType="application/vnd.openxmlformats-officedocument.presentationml.tags+xml"/>
  <Override PartName="/ppt/embeddings/oleObject328.bin" ContentType="application/vnd.openxmlformats-officedocument.oleObject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embeddings/oleObject329.bin" ContentType="application/vnd.openxmlformats-officedocument.oleObject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embeddings/oleObject330.bin" ContentType="application/vnd.openxmlformats-officedocument.oleObject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embeddings/oleObject331.bin" ContentType="application/vnd.openxmlformats-officedocument.oleObject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theme/theme56.xml" ContentType="application/vnd.openxmlformats-officedocument.theme+xml"/>
  <Override PartName="/ppt/tags/tag828.xml" ContentType="application/vnd.openxmlformats-officedocument.presentationml.tags+xml"/>
  <Override PartName="/ppt/embeddings/oleObject332.bin" ContentType="application/vnd.openxmlformats-officedocument.oleObject"/>
  <Override PartName="/ppt/tags/tag829.xml" ContentType="application/vnd.openxmlformats-officedocument.presentationml.tags+xml"/>
  <Override PartName="/ppt/embeddings/oleObject333.bin" ContentType="application/vnd.openxmlformats-officedocument.oleObject"/>
  <Override PartName="/ppt/tags/tag830.xml" ContentType="application/vnd.openxmlformats-officedocument.presentationml.tags+xml"/>
  <Override PartName="/ppt/embeddings/oleObject334.bin" ContentType="application/vnd.openxmlformats-officedocument.oleObject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embeddings/oleObject335.bin" ContentType="application/vnd.openxmlformats-officedocument.oleObject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embeddings/oleObject336.bin" ContentType="application/vnd.openxmlformats-officedocument.oleObject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embeddings/oleObject337.bin" ContentType="application/vnd.openxmlformats-officedocument.oleObject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theme/theme57.xml" ContentType="application/vnd.openxmlformats-officedocument.theme+xml"/>
  <Override PartName="/ppt/tags/tag843.xml" ContentType="application/vnd.openxmlformats-officedocument.presentationml.tags+xml"/>
  <Override PartName="/ppt/embeddings/oleObject338.bin" ContentType="application/vnd.openxmlformats-officedocument.oleObject"/>
  <Override PartName="/ppt/tags/tag844.xml" ContentType="application/vnd.openxmlformats-officedocument.presentationml.tags+xml"/>
  <Override PartName="/ppt/embeddings/oleObject339.bin" ContentType="application/vnd.openxmlformats-officedocument.oleObject"/>
  <Override PartName="/ppt/tags/tag845.xml" ContentType="application/vnd.openxmlformats-officedocument.presentationml.tags+xml"/>
  <Override PartName="/ppt/embeddings/oleObject340.bin" ContentType="application/vnd.openxmlformats-officedocument.oleObject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embeddings/oleObject341.bin" ContentType="application/vnd.openxmlformats-officedocument.oleObject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embeddings/oleObject342.bin" ContentType="application/vnd.openxmlformats-officedocument.oleObject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embeddings/oleObject343.bin" ContentType="application/vnd.openxmlformats-officedocument.oleObject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theme/theme58.xml" ContentType="application/vnd.openxmlformats-officedocument.theme+xml"/>
  <Override PartName="/ppt/tags/tag858.xml" ContentType="application/vnd.openxmlformats-officedocument.presentationml.tags+xml"/>
  <Override PartName="/ppt/embeddings/oleObject344.bin" ContentType="application/vnd.openxmlformats-officedocument.oleObject"/>
  <Override PartName="/ppt/tags/tag859.xml" ContentType="application/vnd.openxmlformats-officedocument.presentationml.tags+xml"/>
  <Override PartName="/ppt/embeddings/oleObject345.bin" ContentType="application/vnd.openxmlformats-officedocument.oleObject"/>
  <Override PartName="/ppt/tags/tag860.xml" ContentType="application/vnd.openxmlformats-officedocument.presentationml.tags+xml"/>
  <Override PartName="/ppt/embeddings/oleObject346.bin" ContentType="application/vnd.openxmlformats-officedocument.oleObject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embeddings/oleObject347.bin" ContentType="application/vnd.openxmlformats-officedocument.oleObject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embeddings/oleObject348.bin" ContentType="application/vnd.openxmlformats-officedocument.oleObject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embeddings/oleObject349.bin" ContentType="application/vnd.openxmlformats-officedocument.oleObject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theme/theme59.xml" ContentType="application/vnd.openxmlformats-officedocument.theme+xml"/>
  <Override PartName="/ppt/tags/tag873.xml" ContentType="application/vnd.openxmlformats-officedocument.presentationml.tags+xml"/>
  <Override PartName="/ppt/embeddings/oleObject350.bin" ContentType="application/vnd.openxmlformats-officedocument.oleObject"/>
  <Override PartName="/ppt/tags/tag874.xml" ContentType="application/vnd.openxmlformats-officedocument.presentationml.tags+xml"/>
  <Override PartName="/ppt/embeddings/oleObject351.bin" ContentType="application/vnd.openxmlformats-officedocument.oleObject"/>
  <Override PartName="/ppt/tags/tag875.xml" ContentType="application/vnd.openxmlformats-officedocument.presentationml.tags+xml"/>
  <Override PartName="/ppt/embeddings/oleObject352.bin" ContentType="application/vnd.openxmlformats-officedocument.oleObject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embeddings/oleObject353.bin" ContentType="application/vnd.openxmlformats-officedocument.oleObject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embeddings/oleObject354.bin" ContentType="application/vnd.openxmlformats-officedocument.oleObject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embeddings/oleObject355.bin" ContentType="application/vnd.openxmlformats-officedocument.oleObject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theme/theme60.xml" ContentType="application/vnd.openxmlformats-officedocument.theme+xml"/>
  <Override PartName="/ppt/tags/tag888.xml" ContentType="application/vnd.openxmlformats-officedocument.presentationml.tags+xml"/>
  <Override PartName="/ppt/embeddings/oleObject356.bin" ContentType="application/vnd.openxmlformats-officedocument.oleObject"/>
  <Override PartName="/ppt/tags/tag889.xml" ContentType="application/vnd.openxmlformats-officedocument.presentationml.tags+xml"/>
  <Override PartName="/ppt/embeddings/oleObject357.bin" ContentType="application/vnd.openxmlformats-officedocument.oleObject"/>
  <Override PartName="/ppt/tags/tag890.xml" ContentType="application/vnd.openxmlformats-officedocument.presentationml.tags+xml"/>
  <Override PartName="/ppt/embeddings/oleObject358.bin" ContentType="application/vnd.openxmlformats-officedocument.oleObject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embeddings/oleObject359.bin" ContentType="application/vnd.openxmlformats-officedocument.oleObject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embeddings/oleObject360.bin" ContentType="application/vnd.openxmlformats-officedocument.oleObject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embeddings/oleObject361.bin" ContentType="application/vnd.openxmlformats-officedocument.oleObject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theme/theme61.xml" ContentType="application/vnd.openxmlformats-officedocument.theme+xml"/>
  <Override PartName="/ppt/tags/tag903.xml" ContentType="application/vnd.openxmlformats-officedocument.presentationml.tags+xml"/>
  <Override PartName="/ppt/embeddings/oleObject362.bin" ContentType="application/vnd.openxmlformats-officedocument.oleObject"/>
  <Override PartName="/ppt/tags/tag904.xml" ContentType="application/vnd.openxmlformats-officedocument.presentationml.tags+xml"/>
  <Override PartName="/ppt/embeddings/oleObject363.bin" ContentType="application/vnd.openxmlformats-officedocument.oleObject"/>
  <Override PartName="/ppt/tags/tag905.xml" ContentType="application/vnd.openxmlformats-officedocument.presentationml.tags+xml"/>
  <Override PartName="/ppt/embeddings/oleObject364.bin" ContentType="application/vnd.openxmlformats-officedocument.oleObject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embeddings/oleObject365.bin" ContentType="application/vnd.openxmlformats-officedocument.oleObject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embeddings/oleObject366.bin" ContentType="application/vnd.openxmlformats-officedocument.oleObject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embeddings/oleObject367.bin" ContentType="application/vnd.openxmlformats-officedocument.oleObject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theme/theme62.xml" ContentType="application/vnd.openxmlformats-officedocument.theme+xml"/>
  <Override PartName="/ppt/tags/tag918.xml" ContentType="application/vnd.openxmlformats-officedocument.presentationml.tags+xml"/>
  <Override PartName="/ppt/embeddings/oleObject368.bin" ContentType="application/vnd.openxmlformats-officedocument.oleObject"/>
  <Override PartName="/ppt/tags/tag919.xml" ContentType="application/vnd.openxmlformats-officedocument.presentationml.tags+xml"/>
  <Override PartName="/ppt/embeddings/oleObject369.bin" ContentType="application/vnd.openxmlformats-officedocument.oleObject"/>
  <Override PartName="/ppt/tags/tag920.xml" ContentType="application/vnd.openxmlformats-officedocument.presentationml.tags+xml"/>
  <Override PartName="/ppt/embeddings/oleObject370.bin" ContentType="application/vnd.openxmlformats-officedocument.oleObject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embeddings/oleObject371.bin" ContentType="application/vnd.openxmlformats-officedocument.oleObject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embeddings/oleObject372.bin" ContentType="application/vnd.openxmlformats-officedocument.oleObject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embeddings/oleObject373.bin" ContentType="application/vnd.openxmlformats-officedocument.oleObject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theme/theme63.xml" ContentType="application/vnd.openxmlformats-officedocument.theme+xml"/>
  <Override PartName="/ppt/tags/tag933.xml" ContentType="application/vnd.openxmlformats-officedocument.presentationml.tags+xml"/>
  <Override PartName="/ppt/embeddings/oleObject374.bin" ContentType="application/vnd.openxmlformats-officedocument.oleObject"/>
  <Override PartName="/ppt/tags/tag934.xml" ContentType="application/vnd.openxmlformats-officedocument.presentationml.tags+xml"/>
  <Override PartName="/ppt/embeddings/oleObject375.bin" ContentType="application/vnd.openxmlformats-officedocument.oleObject"/>
  <Override PartName="/ppt/tags/tag935.xml" ContentType="application/vnd.openxmlformats-officedocument.presentationml.tags+xml"/>
  <Override PartName="/ppt/embeddings/oleObject376.bin" ContentType="application/vnd.openxmlformats-officedocument.oleObject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embeddings/oleObject377.bin" ContentType="application/vnd.openxmlformats-officedocument.oleObject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embeddings/oleObject378.bin" ContentType="application/vnd.openxmlformats-officedocument.oleObject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embeddings/oleObject379.bin" ContentType="application/vnd.openxmlformats-officedocument.oleObject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theme/theme64.xml" ContentType="application/vnd.openxmlformats-officedocument.theme+xml"/>
  <Override PartName="/ppt/tags/tag948.xml" ContentType="application/vnd.openxmlformats-officedocument.presentationml.tags+xml"/>
  <Override PartName="/ppt/embeddings/oleObject380.bin" ContentType="application/vnd.openxmlformats-officedocument.oleObject"/>
  <Override PartName="/ppt/tags/tag949.xml" ContentType="application/vnd.openxmlformats-officedocument.presentationml.tags+xml"/>
  <Override PartName="/ppt/embeddings/oleObject381.bin" ContentType="application/vnd.openxmlformats-officedocument.oleObject"/>
  <Override PartName="/ppt/tags/tag950.xml" ContentType="application/vnd.openxmlformats-officedocument.presentationml.tags+xml"/>
  <Override PartName="/ppt/embeddings/oleObject382.bin" ContentType="application/vnd.openxmlformats-officedocument.oleObject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embeddings/oleObject383.bin" ContentType="application/vnd.openxmlformats-officedocument.oleObject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embeddings/oleObject384.bin" ContentType="application/vnd.openxmlformats-officedocument.oleObject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embeddings/oleObject385.bin" ContentType="application/vnd.openxmlformats-officedocument.oleObject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theme/theme65.xml" ContentType="application/vnd.openxmlformats-officedocument.theme+xml"/>
  <Override PartName="/ppt/tags/tag963.xml" ContentType="application/vnd.openxmlformats-officedocument.presentationml.tags+xml"/>
  <Override PartName="/ppt/embeddings/oleObject386.bin" ContentType="application/vnd.openxmlformats-officedocument.oleObject"/>
  <Override PartName="/ppt/tags/tag964.xml" ContentType="application/vnd.openxmlformats-officedocument.presentationml.tags+xml"/>
  <Override PartName="/ppt/embeddings/oleObject387.bin" ContentType="application/vnd.openxmlformats-officedocument.oleObject"/>
  <Override PartName="/ppt/tags/tag965.xml" ContentType="application/vnd.openxmlformats-officedocument.presentationml.tags+xml"/>
  <Override PartName="/ppt/embeddings/oleObject388.bin" ContentType="application/vnd.openxmlformats-officedocument.oleObject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embeddings/oleObject389.bin" ContentType="application/vnd.openxmlformats-officedocument.oleObject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embeddings/oleObject390.bin" ContentType="application/vnd.openxmlformats-officedocument.oleObject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embeddings/oleObject391.bin" ContentType="application/vnd.openxmlformats-officedocument.oleObject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theme/theme66.xml" ContentType="application/vnd.openxmlformats-officedocument.theme+xml"/>
  <Override PartName="/ppt/tags/tag978.xml" ContentType="application/vnd.openxmlformats-officedocument.presentationml.tags+xml"/>
  <Override PartName="/ppt/embeddings/oleObject392.bin" ContentType="application/vnd.openxmlformats-officedocument.oleObject"/>
  <Override PartName="/ppt/tags/tag979.xml" ContentType="application/vnd.openxmlformats-officedocument.presentationml.tags+xml"/>
  <Override PartName="/ppt/embeddings/oleObject393.bin" ContentType="application/vnd.openxmlformats-officedocument.oleObject"/>
  <Override PartName="/ppt/tags/tag980.xml" ContentType="application/vnd.openxmlformats-officedocument.presentationml.tags+xml"/>
  <Override PartName="/ppt/embeddings/oleObject394.bin" ContentType="application/vnd.openxmlformats-officedocument.oleObject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embeddings/oleObject395.bin" ContentType="application/vnd.openxmlformats-officedocument.oleObject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embeddings/oleObject396.bin" ContentType="application/vnd.openxmlformats-officedocument.oleObject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embeddings/oleObject397.bin" ContentType="application/vnd.openxmlformats-officedocument.oleObject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theme/theme67.xml" ContentType="application/vnd.openxmlformats-officedocument.theme+xml"/>
  <Override PartName="/ppt/tags/tag993.xml" ContentType="application/vnd.openxmlformats-officedocument.presentationml.tags+xml"/>
  <Override PartName="/ppt/embeddings/oleObject398.bin" ContentType="application/vnd.openxmlformats-officedocument.oleObject"/>
  <Override PartName="/ppt/tags/tag994.xml" ContentType="application/vnd.openxmlformats-officedocument.presentationml.tags+xml"/>
  <Override PartName="/ppt/embeddings/oleObject399.bin" ContentType="application/vnd.openxmlformats-officedocument.oleObject"/>
  <Override PartName="/ppt/tags/tag995.xml" ContentType="application/vnd.openxmlformats-officedocument.presentationml.tags+xml"/>
  <Override PartName="/ppt/embeddings/oleObject400.bin" ContentType="application/vnd.openxmlformats-officedocument.oleObject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embeddings/oleObject401.bin" ContentType="application/vnd.openxmlformats-officedocument.oleObject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embeddings/oleObject402.bin" ContentType="application/vnd.openxmlformats-officedocument.oleObject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embeddings/oleObject403.bin" ContentType="application/vnd.openxmlformats-officedocument.oleObject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theme/theme68.xml" ContentType="application/vnd.openxmlformats-officedocument.theme+xml"/>
  <Override PartName="/ppt/tags/tag1008.xml" ContentType="application/vnd.openxmlformats-officedocument.presentationml.tags+xml"/>
  <Override PartName="/ppt/embeddings/oleObject404.bin" ContentType="application/vnd.openxmlformats-officedocument.oleObject"/>
  <Override PartName="/ppt/tags/tag1009.xml" ContentType="application/vnd.openxmlformats-officedocument.presentationml.tags+xml"/>
  <Override PartName="/ppt/embeddings/oleObject405.bin" ContentType="application/vnd.openxmlformats-officedocument.oleObject"/>
  <Override PartName="/ppt/tags/tag1010.xml" ContentType="application/vnd.openxmlformats-officedocument.presentationml.tags+xml"/>
  <Override PartName="/ppt/embeddings/oleObject406.bin" ContentType="application/vnd.openxmlformats-officedocument.oleObject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embeddings/oleObject407.bin" ContentType="application/vnd.openxmlformats-officedocument.oleObject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embeddings/oleObject408.bin" ContentType="application/vnd.openxmlformats-officedocument.oleObject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embeddings/oleObject409.bin" ContentType="application/vnd.openxmlformats-officedocument.oleObject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theme/theme69.xml" ContentType="application/vnd.openxmlformats-officedocument.theme+xml"/>
  <Override PartName="/ppt/tags/tag1023.xml" ContentType="application/vnd.openxmlformats-officedocument.presentationml.tags+xml"/>
  <Override PartName="/ppt/embeddings/oleObject410.bin" ContentType="application/vnd.openxmlformats-officedocument.oleObject"/>
  <Override PartName="/ppt/tags/tag1024.xml" ContentType="application/vnd.openxmlformats-officedocument.presentationml.tags+xml"/>
  <Override PartName="/ppt/embeddings/oleObject411.bin" ContentType="application/vnd.openxmlformats-officedocument.oleObject"/>
  <Override PartName="/ppt/tags/tag1025.xml" ContentType="application/vnd.openxmlformats-officedocument.presentationml.tags+xml"/>
  <Override PartName="/ppt/embeddings/oleObject412.bin" ContentType="application/vnd.openxmlformats-officedocument.oleObject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embeddings/oleObject413.bin" ContentType="application/vnd.openxmlformats-officedocument.oleObject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embeddings/oleObject414.bin" ContentType="application/vnd.openxmlformats-officedocument.oleObject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embeddings/oleObject415.bin" ContentType="application/vnd.openxmlformats-officedocument.oleObject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theme/theme70.xml" ContentType="application/vnd.openxmlformats-officedocument.theme+xml"/>
  <Override PartName="/ppt/tags/tag1038.xml" ContentType="application/vnd.openxmlformats-officedocument.presentationml.tags+xml"/>
  <Override PartName="/ppt/embeddings/oleObject416.bin" ContentType="application/vnd.openxmlformats-officedocument.oleObject"/>
  <Override PartName="/ppt/tags/tag1039.xml" ContentType="application/vnd.openxmlformats-officedocument.presentationml.tags+xml"/>
  <Override PartName="/ppt/embeddings/oleObject417.bin" ContentType="application/vnd.openxmlformats-officedocument.oleObject"/>
  <Override PartName="/ppt/tags/tag1040.xml" ContentType="application/vnd.openxmlformats-officedocument.presentationml.tags+xml"/>
  <Override PartName="/ppt/embeddings/oleObject418.bin" ContentType="application/vnd.openxmlformats-officedocument.oleObject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embeddings/oleObject419.bin" ContentType="application/vnd.openxmlformats-officedocument.oleObject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embeddings/oleObject420.bin" ContentType="application/vnd.openxmlformats-officedocument.oleObject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embeddings/oleObject421.bin" ContentType="application/vnd.openxmlformats-officedocument.oleObject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theme/theme71.xml" ContentType="application/vnd.openxmlformats-officedocument.theme+xml"/>
  <Override PartName="/ppt/tags/tag1053.xml" ContentType="application/vnd.openxmlformats-officedocument.presentationml.tags+xml"/>
  <Override PartName="/ppt/embeddings/oleObject422.bin" ContentType="application/vnd.openxmlformats-officedocument.oleObject"/>
  <Override PartName="/ppt/tags/tag1054.xml" ContentType="application/vnd.openxmlformats-officedocument.presentationml.tags+xml"/>
  <Override PartName="/ppt/embeddings/oleObject423.bin" ContentType="application/vnd.openxmlformats-officedocument.oleObject"/>
  <Override PartName="/ppt/tags/tag1055.xml" ContentType="application/vnd.openxmlformats-officedocument.presentationml.tags+xml"/>
  <Override PartName="/ppt/embeddings/oleObject424.bin" ContentType="application/vnd.openxmlformats-officedocument.oleObject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embeddings/oleObject425.bin" ContentType="application/vnd.openxmlformats-officedocument.oleObject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embeddings/oleObject426.bin" ContentType="application/vnd.openxmlformats-officedocument.oleObject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embeddings/oleObject427.bin" ContentType="application/vnd.openxmlformats-officedocument.oleObject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theme/theme72.xml" ContentType="application/vnd.openxmlformats-officedocument.theme+xml"/>
  <Override PartName="/ppt/tags/tag1068.xml" ContentType="application/vnd.openxmlformats-officedocument.presentationml.tags+xml"/>
  <Override PartName="/ppt/embeddings/oleObject428.bin" ContentType="application/vnd.openxmlformats-officedocument.oleObject"/>
  <Override PartName="/ppt/tags/tag1069.xml" ContentType="application/vnd.openxmlformats-officedocument.presentationml.tags+xml"/>
  <Override PartName="/ppt/embeddings/oleObject429.bin" ContentType="application/vnd.openxmlformats-officedocument.oleObject"/>
  <Override PartName="/ppt/tags/tag1070.xml" ContentType="application/vnd.openxmlformats-officedocument.presentationml.tags+xml"/>
  <Override PartName="/ppt/embeddings/oleObject430.bin" ContentType="application/vnd.openxmlformats-officedocument.oleObject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embeddings/oleObject431.bin" ContentType="application/vnd.openxmlformats-officedocument.oleObject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embeddings/oleObject432.bin" ContentType="application/vnd.openxmlformats-officedocument.oleObject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embeddings/oleObject433.bin" ContentType="application/vnd.openxmlformats-officedocument.oleObject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theme/theme73.xml" ContentType="application/vnd.openxmlformats-officedocument.theme+xml"/>
  <Override PartName="/ppt/tags/tag1083.xml" ContentType="application/vnd.openxmlformats-officedocument.presentationml.tags+xml"/>
  <Override PartName="/ppt/embeddings/oleObject434.bin" ContentType="application/vnd.openxmlformats-officedocument.oleObject"/>
  <Override PartName="/ppt/tags/tag1084.xml" ContentType="application/vnd.openxmlformats-officedocument.presentationml.tags+xml"/>
  <Override PartName="/ppt/embeddings/oleObject435.bin" ContentType="application/vnd.openxmlformats-officedocument.oleObject"/>
  <Override PartName="/ppt/tags/tag1085.xml" ContentType="application/vnd.openxmlformats-officedocument.presentationml.tags+xml"/>
  <Override PartName="/ppt/embeddings/oleObject436.bin" ContentType="application/vnd.openxmlformats-officedocument.oleObject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embeddings/oleObject437.bin" ContentType="application/vnd.openxmlformats-officedocument.oleObject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embeddings/oleObject438.bin" ContentType="application/vnd.openxmlformats-officedocument.oleObject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embeddings/oleObject439.bin" ContentType="application/vnd.openxmlformats-officedocument.oleObject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theme/theme74.xml" ContentType="application/vnd.openxmlformats-officedocument.theme+xml"/>
  <Override PartName="/ppt/tags/tag1098.xml" ContentType="application/vnd.openxmlformats-officedocument.presentationml.tags+xml"/>
  <Override PartName="/ppt/embeddings/oleObject440.bin" ContentType="application/vnd.openxmlformats-officedocument.oleObject"/>
  <Override PartName="/ppt/tags/tag1099.xml" ContentType="application/vnd.openxmlformats-officedocument.presentationml.tags+xml"/>
  <Override PartName="/ppt/embeddings/oleObject441.bin" ContentType="application/vnd.openxmlformats-officedocument.oleObject"/>
  <Override PartName="/ppt/tags/tag1100.xml" ContentType="application/vnd.openxmlformats-officedocument.presentationml.tags+xml"/>
  <Override PartName="/ppt/embeddings/oleObject442.bin" ContentType="application/vnd.openxmlformats-officedocument.oleObject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embeddings/oleObject443.bin" ContentType="application/vnd.openxmlformats-officedocument.oleObject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embeddings/oleObject444.bin" ContentType="application/vnd.openxmlformats-officedocument.oleObject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embeddings/oleObject445.bin" ContentType="application/vnd.openxmlformats-officedocument.oleObject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theme/theme75.xml" ContentType="application/vnd.openxmlformats-officedocument.theme+xml"/>
  <Override PartName="/ppt/tags/tag1113.xml" ContentType="application/vnd.openxmlformats-officedocument.presentationml.tags+xml"/>
  <Override PartName="/ppt/embeddings/oleObject446.bin" ContentType="application/vnd.openxmlformats-officedocument.oleObject"/>
  <Override PartName="/ppt/tags/tag1114.xml" ContentType="application/vnd.openxmlformats-officedocument.presentationml.tags+xml"/>
  <Override PartName="/ppt/embeddings/oleObject447.bin" ContentType="application/vnd.openxmlformats-officedocument.oleObject"/>
  <Override PartName="/ppt/tags/tag1115.xml" ContentType="application/vnd.openxmlformats-officedocument.presentationml.tags+xml"/>
  <Override PartName="/ppt/embeddings/oleObject448.bin" ContentType="application/vnd.openxmlformats-officedocument.oleObject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embeddings/oleObject449.bin" ContentType="application/vnd.openxmlformats-officedocument.oleObject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embeddings/oleObject450.bin" ContentType="application/vnd.openxmlformats-officedocument.oleObject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embeddings/oleObject451.bin" ContentType="application/vnd.openxmlformats-officedocument.oleObject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theme/theme76.xml" ContentType="application/vnd.openxmlformats-officedocument.theme+xml"/>
  <Override PartName="/ppt/tags/tag1128.xml" ContentType="application/vnd.openxmlformats-officedocument.presentationml.tags+xml"/>
  <Override PartName="/ppt/embeddings/oleObject452.bin" ContentType="application/vnd.openxmlformats-officedocument.oleObject"/>
  <Override PartName="/ppt/tags/tag1129.xml" ContentType="application/vnd.openxmlformats-officedocument.presentationml.tags+xml"/>
  <Override PartName="/ppt/embeddings/oleObject453.bin" ContentType="application/vnd.openxmlformats-officedocument.oleObject"/>
  <Override PartName="/ppt/tags/tag1130.xml" ContentType="application/vnd.openxmlformats-officedocument.presentationml.tags+xml"/>
  <Override PartName="/ppt/embeddings/oleObject454.bin" ContentType="application/vnd.openxmlformats-officedocument.oleObject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embeddings/oleObject455.bin" ContentType="application/vnd.openxmlformats-officedocument.oleObject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embeddings/oleObject456.bin" ContentType="application/vnd.openxmlformats-officedocument.oleObject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embeddings/oleObject457.bin" ContentType="application/vnd.openxmlformats-officedocument.oleObject"/>
  <Override PartName="/ppt/theme/theme77.xml" ContentType="application/vnd.openxmlformats-officedocument.theme+xml"/>
  <Override PartName="/ppt/tags/tag1143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458.bin" ContentType="application/vnd.openxmlformats-officedocument.oleObject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notesSlides/notesSlide2.xml" ContentType="application/vnd.openxmlformats-officedocument.presentationml.notesSlide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embeddings/oleObject459.bin" ContentType="application/vnd.openxmlformats-officedocument.oleObject"/>
  <Override PartName="/ppt/tags/tag1231.xml" ContentType="application/vnd.openxmlformats-officedocument.presentationml.tags+xml"/>
  <Override PartName="/ppt/embeddings/oleObject460.bin" ContentType="application/vnd.openxmlformats-officedocument.oleObject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461.bin" ContentType="application/vnd.openxmlformats-officedocument.oleObject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notesSlides/notesSlide4.xml" ContentType="application/vnd.openxmlformats-officedocument.presentationml.notesSlide+xml"/>
  <Override PartName="/ppt/tags/tag1249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462.bin" ContentType="application/vnd.openxmlformats-officedocument.oleObject"/>
  <Override PartName="/ppt/tags/tag1250.xml" ContentType="application/vnd.openxmlformats-officedocument.presentationml.tags+xml"/>
  <Override PartName="/ppt/embeddings/oleObject463.bin" ContentType="application/vnd.openxmlformats-officedocument.oleObject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notesSlides/notesSlide6.xml" ContentType="application/vnd.openxmlformats-officedocument.presentationml.notesSlide+xml"/>
  <Override PartName="/ppt/tags/tag1253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464.bin" ContentType="application/vnd.openxmlformats-officedocument.oleObject"/>
  <Override PartName="/ppt/tags/tag1254.xml" ContentType="application/vnd.openxmlformats-officedocument.presentationml.tags+xml"/>
  <Override PartName="/ppt/notesSlides/notesSlide8.xml" ContentType="application/vnd.openxmlformats-officedocument.presentationml.notesSlide+xml"/>
  <Override PartName="/ppt/embeddings/oleObject465.bin" ContentType="application/vnd.openxmlformats-officedocument.oleObject"/>
  <Override PartName="/ppt/tags/tag1255.xml" ContentType="application/vnd.openxmlformats-officedocument.presentationml.tags+xml"/>
  <Override PartName="/ppt/notesSlides/notesSlide9.xml" ContentType="application/vnd.openxmlformats-officedocument.presentationml.notesSlide+xml"/>
  <Override PartName="/ppt/embeddings/oleObject466.bin" ContentType="application/vnd.openxmlformats-officedocument.oleObject"/>
  <Override PartName="/ppt/tags/tag1256.xml" ContentType="application/vnd.openxmlformats-officedocument.presentationml.tags+xml"/>
  <Override PartName="/ppt/notesSlides/notesSlide10.xml" ContentType="application/vnd.openxmlformats-officedocument.presentationml.notesSlide+xml"/>
  <Override PartName="/ppt/embeddings/oleObject467.bin" ContentType="application/vnd.openxmlformats-officedocument.oleObject"/>
  <Override PartName="/ppt/tags/tag1257.xml" ContentType="application/vnd.openxmlformats-officedocument.presentationml.tags+xml"/>
  <Override PartName="/ppt/notesSlides/notesSlide11.xml" ContentType="application/vnd.openxmlformats-officedocument.presentationml.notesSlide+xml"/>
  <Override PartName="/ppt/embeddings/oleObject468.bin" ContentType="application/vnd.openxmlformats-officedocument.oleObject"/>
  <Override PartName="/ppt/tags/tag1258.xml" ContentType="application/vnd.openxmlformats-officedocument.presentationml.tags+xml"/>
  <Override PartName="/ppt/notesSlides/notesSlide12.xml" ContentType="application/vnd.openxmlformats-officedocument.presentationml.notesSlide+xml"/>
  <Override PartName="/ppt/embeddings/oleObject469.bin" ContentType="application/vnd.openxmlformats-officedocument.oleObject"/>
  <Override PartName="/ppt/tags/tag1259.xml" ContentType="application/vnd.openxmlformats-officedocument.presentationml.tags+xml"/>
  <Override PartName="/ppt/notesSlides/notesSlide13.xml" ContentType="application/vnd.openxmlformats-officedocument.presentationml.notesSlide+xml"/>
  <Override PartName="/ppt/embeddings/oleObject470.bin" ContentType="application/vnd.openxmlformats-officedocument.oleObject"/>
  <Override PartName="/ppt/tags/tag1260.xml" ContentType="application/vnd.openxmlformats-officedocument.presentationml.tags+xml"/>
  <Override PartName="/ppt/notesSlides/notesSlide14.xml" ContentType="application/vnd.openxmlformats-officedocument.presentationml.notesSlide+xml"/>
  <Override PartName="/ppt/embeddings/oleObject471.bin" ContentType="application/vnd.openxmlformats-officedocument.oleObject"/>
  <Override PartName="/ppt/tags/tag1261.xml" ContentType="application/vnd.openxmlformats-officedocument.presentationml.tags+xml"/>
  <Override PartName="/ppt/notesSlides/notesSlide15.xml" ContentType="application/vnd.openxmlformats-officedocument.presentationml.notesSlide+xml"/>
  <Override PartName="/ppt/embeddings/oleObject472.bin" ContentType="application/vnd.openxmlformats-officedocument.oleObject"/>
  <Override PartName="/ppt/tags/tag1262.xml" ContentType="application/vnd.openxmlformats-officedocument.presentationml.tags+xml"/>
  <Override PartName="/ppt/notesSlides/notesSlide16.xml" ContentType="application/vnd.openxmlformats-officedocument.presentationml.notesSlide+xml"/>
  <Override PartName="/ppt/embeddings/oleObject473.bin" ContentType="application/vnd.openxmlformats-officedocument.oleObject"/>
  <Override PartName="/ppt/tags/tag1263.xml" ContentType="application/vnd.openxmlformats-officedocument.presentationml.tags+xml"/>
  <Override PartName="/ppt/notesSlides/notesSlide17.xml" ContentType="application/vnd.openxmlformats-officedocument.presentationml.notesSlide+xml"/>
  <Override PartName="/ppt/embeddings/oleObject474.bin" ContentType="application/vnd.openxmlformats-officedocument.oleObject"/>
  <Override PartName="/ppt/tags/tag1264.xml" ContentType="application/vnd.openxmlformats-officedocument.presentationml.tags+xml"/>
  <Override PartName="/ppt/notesSlides/notesSlide18.xml" ContentType="application/vnd.openxmlformats-officedocument.presentationml.notesSlide+xml"/>
  <Override PartName="/ppt/embeddings/oleObject475.bin" ContentType="application/vnd.openxmlformats-officedocument.oleObject"/>
  <Override PartName="/ppt/tags/tag1265.xml" ContentType="application/vnd.openxmlformats-officedocument.presentationml.tags+xml"/>
  <Override PartName="/ppt/notesSlides/notesSlide19.xml" ContentType="application/vnd.openxmlformats-officedocument.presentationml.notesSlide+xml"/>
  <Override PartName="/ppt/embeddings/oleObject476.bin" ContentType="application/vnd.openxmlformats-officedocument.oleObject"/>
  <Override PartName="/ppt/tags/tag1266.xml" ContentType="application/vnd.openxmlformats-officedocument.presentationml.tags+xml"/>
  <Override PartName="/ppt/notesSlides/notesSlide20.xml" ContentType="application/vnd.openxmlformats-officedocument.presentationml.notesSlide+xml"/>
  <Override PartName="/ppt/embeddings/oleObject477.bin" ContentType="application/vnd.openxmlformats-officedocument.oleObject"/>
  <Override PartName="/ppt/tags/tag1267.xml" ContentType="application/vnd.openxmlformats-officedocument.presentationml.tags+xml"/>
  <Override PartName="/ppt/notesSlides/notesSlide21.xml" ContentType="application/vnd.openxmlformats-officedocument.presentationml.notesSlide+xml"/>
  <Override PartName="/ppt/embeddings/oleObject478.bin" ContentType="application/vnd.openxmlformats-officedocument.oleObject"/>
  <Override PartName="/ppt/tags/tag1268.xml" ContentType="application/vnd.openxmlformats-officedocument.presentationml.tags+xml"/>
  <Override PartName="/ppt/notesSlides/notesSlide22.xml" ContentType="application/vnd.openxmlformats-officedocument.presentationml.notesSlide+xml"/>
  <Override PartName="/ppt/embeddings/oleObject479.bin" ContentType="application/vnd.openxmlformats-officedocument.oleObject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notesSlides/notesSlide23.xml" ContentType="application/vnd.openxmlformats-officedocument.presentationml.notesSlide+xml"/>
  <Override PartName="/ppt/tags/tag1271.xml" ContentType="application/vnd.openxmlformats-officedocument.presentationml.tags+xml"/>
  <Override PartName="/ppt/notesSlides/notesSlide24.xml" ContentType="application/vnd.openxmlformats-officedocument.presentationml.notesSlide+xml"/>
  <Override PartName="/ppt/embeddings/oleObject480.bin" ContentType="application/vnd.openxmlformats-officedocument.oleObject"/>
  <Override PartName="/ppt/tags/tag1272.xml" ContentType="application/vnd.openxmlformats-officedocument.presentationml.tags+xml"/>
  <Override PartName="/ppt/notesSlides/notesSlide25.xml" ContentType="application/vnd.openxmlformats-officedocument.presentationml.notesSlide+xml"/>
  <Override PartName="/ppt/embeddings/oleObject481.bin" ContentType="application/vnd.openxmlformats-officedocument.oleObject"/>
  <Override PartName="/ppt/tags/tag1273.xml" ContentType="application/vnd.openxmlformats-officedocument.presentationml.tags+xml"/>
  <Override PartName="/ppt/embeddings/oleObject482.bin" ContentType="application/vnd.openxmlformats-officedocument.oleObject"/>
  <Override PartName="/ppt/tags/tag1274.xml" ContentType="application/vnd.openxmlformats-officedocument.presentationml.tags+xml"/>
  <Override PartName="/ppt/embeddings/oleObject483.bin" ContentType="application/vnd.openxmlformats-officedocument.oleObject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notesSlides/notesSlide26.xml" ContentType="application/vnd.openxmlformats-officedocument.presentationml.notesSlide+xml"/>
  <Override PartName="/ppt/tags/tag1280.xml" ContentType="application/vnd.openxmlformats-officedocument.presentationml.tags+xml"/>
  <Override PartName="/ppt/embeddings/oleObject484.bin" ContentType="application/vnd.openxmlformats-officedocument.oleObject"/>
  <Override PartName="/ppt/tags/tag1281.xml" ContentType="application/vnd.openxmlformats-officedocument.presentationml.tags+xml"/>
  <Override PartName="/ppt/embeddings/oleObject485.bin" ContentType="application/vnd.openxmlformats-officedocument.oleObject"/>
  <Override PartName="/ppt/tags/tag1282.xml" ContentType="application/vnd.openxmlformats-officedocument.presentationml.tags+xml"/>
  <Override PartName="/ppt/embeddings/oleObject486.bin" ContentType="application/vnd.openxmlformats-officedocument.oleObject"/>
  <Override PartName="/ppt/tags/tag1283.xml" ContentType="application/vnd.openxmlformats-officedocument.presentationml.tags+xml"/>
  <Override PartName="/ppt/embeddings/oleObject487.bin" ContentType="application/vnd.openxmlformats-officedocument.oleObject"/>
  <Override PartName="/ppt/tags/tag1284.xml" ContentType="application/vnd.openxmlformats-officedocument.presentationml.tags+xml"/>
  <Override PartName="/ppt/embeddings/oleObject488.bin" ContentType="application/vnd.openxmlformats-officedocument.oleObject"/>
  <Override PartName="/ppt/tags/tag1285.xml" ContentType="application/vnd.openxmlformats-officedocument.presentationml.tags+xml"/>
  <Override PartName="/ppt/embeddings/oleObject489.bin" ContentType="application/vnd.openxmlformats-officedocument.oleObject"/>
  <Override PartName="/ppt/tags/tag1286.xml" ContentType="application/vnd.openxmlformats-officedocument.presentationml.tags+xml"/>
  <Override PartName="/ppt/embeddings/oleObject490.bin" ContentType="application/vnd.openxmlformats-officedocument.oleObject"/>
  <Override PartName="/ppt/tags/tag1287.xml" ContentType="application/vnd.openxmlformats-officedocument.presentationml.tags+xml"/>
  <Override PartName="/ppt/embeddings/oleObject491.bin" ContentType="application/vnd.openxmlformats-officedocument.oleObject"/>
  <Override PartName="/ppt/tags/tag1288.xml" ContentType="application/vnd.openxmlformats-officedocument.presentationml.tags+xml"/>
  <Override PartName="/ppt/embeddings/oleObject492.bin" ContentType="application/vnd.openxmlformats-officedocument.oleObject"/>
  <Override PartName="/ppt/tags/tag1289.xml" ContentType="application/vnd.openxmlformats-officedocument.presentationml.tags+xml"/>
  <Override PartName="/ppt/embeddings/oleObject493.bin" ContentType="application/vnd.openxmlformats-officedocument.oleObject"/>
  <Override PartName="/ppt/tags/tag1290.xml" ContentType="application/vnd.openxmlformats-officedocument.presentationml.tags+xml"/>
  <Override PartName="/ppt/embeddings/oleObject494.bin" ContentType="application/vnd.openxmlformats-officedocument.oleObject"/>
  <Override PartName="/ppt/tags/tag1291.xml" ContentType="application/vnd.openxmlformats-officedocument.presentationml.tags+xml"/>
  <Override PartName="/ppt/embeddings/oleObject495.bin" ContentType="application/vnd.openxmlformats-officedocument.oleObject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notesSlides/notesSlide27.xml" ContentType="application/vnd.openxmlformats-officedocument.presentationml.notesSlide+xml"/>
  <Override PartName="/ppt/embeddings/oleObject496.bin" ContentType="application/vnd.openxmlformats-officedocument.oleObject"/>
  <Override PartName="/ppt/tags/tag1301.xml" ContentType="application/vnd.openxmlformats-officedocument.presentationml.tags+xml"/>
  <Override PartName="/ppt/embeddings/oleObject497.bin" ContentType="application/vnd.openxmlformats-officedocument.oleObject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notesSlides/notesSlide28.xml" ContentType="application/vnd.openxmlformats-officedocument.presentationml.notesSlide+xml"/>
  <Override PartName="/ppt/tags/tag1464.xml" ContentType="application/vnd.openxmlformats-officedocument.presentationml.tags+xml"/>
  <Override PartName="/ppt/notesSlides/notesSlide29.xml" ContentType="application/vnd.openxmlformats-officedocument.presentationml.notesSlide+xml"/>
  <Override PartName="/ppt/embeddings/oleObject498.bin" ContentType="application/vnd.openxmlformats-officedocument.oleObject"/>
  <Override PartName="/ppt/tags/tag1465.xml" ContentType="application/vnd.openxmlformats-officedocument.presentationml.tags+xml"/>
  <Override PartName="/ppt/embeddings/oleObject499.bin" ContentType="application/vnd.openxmlformats-officedocument.oleObject"/>
  <Override PartName="/ppt/tags/tag1466.xml" ContentType="application/vnd.openxmlformats-officedocument.presentationml.tags+xml"/>
  <Override PartName="/ppt/embeddings/oleObject500.bin" ContentType="application/vnd.openxmlformats-officedocument.oleObject"/>
  <Override PartName="/ppt/tags/tag1467.xml" ContentType="application/vnd.openxmlformats-officedocument.presentationml.tags+xml"/>
  <Override PartName="/ppt/embeddings/oleObject501.bin" ContentType="application/vnd.openxmlformats-officedocument.oleObject"/>
  <Override PartName="/ppt/tags/tag1468.xml" ContentType="application/vnd.openxmlformats-officedocument.presentationml.tags+xml"/>
  <Override PartName="/ppt/embeddings/oleObject502.bin" ContentType="application/vnd.openxmlformats-officedocument.oleObject"/>
  <Override PartName="/ppt/tags/tag1469.xml" ContentType="application/vnd.openxmlformats-officedocument.presentationml.tags+xml"/>
  <Override PartName="/ppt/embeddings/oleObject503.bin" ContentType="application/vnd.openxmlformats-officedocument.oleObject"/>
  <Override PartName="/ppt/tags/tag1470.xml" ContentType="application/vnd.openxmlformats-officedocument.presentationml.tags+xml"/>
  <Override PartName="/ppt/notesSlides/notesSlide30.xml" ContentType="application/vnd.openxmlformats-officedocument.presentationml.notesSlide+xml"/>
  <Override PartName="/ppt/embeddings/oleObject504.bin" ContentType="application/vnd.openxmlformats-officedocument.oleObject"/>
  <Override PartName="/ppt/tags/tag1471.xml" ContentType="application/vnd.openxmlformats-officedocument.presentationml.tags+xml"/>
  <Override PartName="/ppt/embeddings/oleObject505.bin" ContentType="application/vnd.openxmlformats-officedocument.oleObject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notesSlides/notesSlide31.xml" ContentType="application/vnd.openxmlformats-officedocument.presentationml.notesSlide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notesSlides/notesSlide32.xml" ContentType="application/vnd.openxmlformats-officedocument.presentationml.notesSlide+xml"/>
  <Override PartName="/ppt/tags/tag1636.xml" ContentType="application/vnd.openxmlformats-officedocument.presentationml.tags+xml"/>
  <Override PartName="/ppt/embeddings/oleObject506.bin" ContentType="application/vnd.openxmlformats-officedocument.oleObject"/>
  <Override PartName="/ppt/tags/tag1637.xml" ContentType="application/vnd.openxmlformats-officedocument.presentationml.tags+xml"/>
  <Override PartName="/ppt/embeddings/oleObject507.bin" ContentType="application/vnd.openxmlformats-officedocument.oleObject"/>
  <Override PartName="/ppt/tags/tag1638.xml" ContentType="application/vnd.openxmlformats-officedocument.presentationml.tags+xml"/>
  <Override PartName="/ppt/embeddings/oleObject508.bin" ContentType="application/vnd.openxmlformats-officedocument.oleObject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notesSlides/notesSlide33.xml" ContentType="application/vnd.openxmlformats-officedocument.presentationml.notesSlide+xml"/>
  <Override PartName="/ppt/tags/tag1641.xml" ContentType="application/vnd.openxmlformats-officedocument.presentationml.tags+xml"/>
  <Override PartName="/ppt/embeddings/oleObject509.bin" ContentType="application/vnd.openxmlformats-officedocument.oleObject"/>
  <Override PartName="/ppt/tags/tag1642.xml" ContentType="application/vnd.openxmlformats-officedocument.presentationml.tags+xml"/>
  <Override PartName="/ppt/embeddings/oleObject510.bin" ContentType="application/vnd.openxmlformats-officedocument.oleObject"/>
  <Override PartName="/ppt/tags/tag1643.xml" ContentType="application/vnd.openxmlformats-officedocument.presentationml.tags+xml"/>
  <Override PartName="/ppt/embeddings/oleObject511.bin" ContentType="application/vnd.openxmlformats-officedocument.oleObject"/>
  <Override PartName="/ppt/tags/tag1644.xml" ContentType="application/vnd.openxmlformats-officedocument.presentationml.tags+xml"/>
  <Override PartName="/ppt/embeddings/oleObject512.bin" ContentType="application/vnd.openxmlformats-officedocument.oleObject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notesSlides/notesSlide34.xml" ContentType="application/vnd.openxmlformats-officedocument.presentationml.notesSlide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notesSlides/notesSlide35.xml" ContentType="application/vnd.openxmlformats-officedocument.presentationml.notesSlide+xml"/>
  <Override PartName="/ppt/tags/tag1649.xml" ContentType="application/vnd.openxmlformats-officedocument.presentationml.tags+xml"/>
  <Override PartName="/ppt/embeddings/oleObject513.bin" ContentType="application/vnd.openxmlformats-officedocument.oleObject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embeddings/oleObject514.bin" ContentType="application/vnd.openxmlformats-officedocument.oleObject"/>
  <Override PartName="/ppt/tags/tag1658.xml" ContentType="application/vnd.openxmlformats-officedocument.presentationml.tags+xml"/>
  <Override PartName="/ppt/embeddings/oleObject515.bin" ContentType="application/vnd.openxmlformats-officedocument.oleObject"/>
  <Override PartName="/ppt/tags/tag1659.xml" ContentType="application/vnd.openxmlformats-officedocument.presentationml.tags+xml"/>
  <Override PartName="/ppt/embeddings/oleObject516.bin" ContentType="application/vnd.openxmlformats-officedocument.oleObject"/>
  <Override PartName="/ppt/tags/tag1660.xml" ContentType="application/vnd.openxmlformats-officedocument.presentationml.tags+xml"/>
  <Override PartName="/ppt/embeddings/oleObject517.bin" ContentType="application/vnd.openxmlformats-officedocument.oleObject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notesSlides/notesSlide36.xml" ContentType="application/vnd.openxmlformats-officedocument.presentationml.notesSlide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notesSlides/notesSlide37.xml" ContentType="application/vnd.openxmlformats-officedocument.presentationml.notesSlide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embeddings/oleObject518.bin" ContentType="application/vnd.openxmlformats-officedocument.oleObject"/>
  <Override PartName="/ppt/tags/tag1757.xml" ContentType="application/vnd.openxmlformats-officedocument.presentationml.tags+xml"/>
  <Override PartName="/ppt/embeddings/oleObject519.bin" ContentType="application/vnd.openxmlformats-officedocument.oleObject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embeddings/oleObject520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3" r:id="rId2"/>
    <p:sldMasterId id="2147483686" r:id="rId3"/>
    <p:sldMasterId id="2147483699" r:id="rId4"/>
    <p:sldMasterId id="2147483712" r:id="rId5"/>
    <p:sldMasterId id="2147483729" r:id="rId6"/>
    <p:sldMasterId id="2147483742" r:id="rId7"/>
    <p:sldMasterId id="2147483755" r:id="rId8"/>
    <p:sldMasterId id="2147483768" r:id="rId9"/>
    <p:sldMasterId id="2147483781" r:id="rId10"/>
    <p:sldMasterId id="2147483794" r:id="rId11"/>
    <p:sldMasterId id="2147483805" r:id="rId12"/>
    <p:sldMasterId id="2147483818" r:id="rId13"/>
    <p:sldMasterId id="2147483829" r:id="rId14"/>
    <p:sldMasterId id="2147483840" r:id="rId15"/>
    <p:sldMasterId id="2147483853" r:id="rId16"/>
    <p:sldMasterId id="2147483866" r:id="rId17"/>
    <p:sldMasterId id="2147483878" r:id="rId18"/>
    <p:sldMasterId id="2147483891" r:id="rId19"/>
    <p:sldMasterId id="2147483904" r:id="rId20"/>
    <p:sldMasterId id="2147483918" r:id="rId21"/>
    <p:sldMasterId id="2147483930" r:id="rId22"/>
    <p:sldMasterId id="2147483942" r:id="rId23"/>
    <p:sldMasterId id="2147483955" r:id="rId24"/>
    <p:sldMasterId id="2147483967" r:id="rId25"/>
    <p:sldMasterId id="2147483980" r:id="rId26"/>
    <p:sldMasterId id="2147483993" r:id="rId27"/>
    <p:sldMasterId id="2147484006" r:id="rId28"/>
    <p:sldMasterId id="2147484019" r:id="rId29"/>
    <p:sldMasterId id="2147484032" r:id="rId30"/>
    <p:sldMasterId id="2147484044" r:id="rId31"/>
    <p:sldMasterId id="2147484057" r:id="rId32"/>
    <p:sldMasterId id="2147484070" r:id="rId33"/>
    <p:sldMasterId id="2147484083" r:id="rId34"/>
    <p:sldMasterId id="2147484096" r:id="rId35"/>
    <p:sldMasterId id="2147484109" r:id="rId36"/>
    <p:sldMasterId id="2147484118" r:id="rId37"/>
    <p:sldMasterId id="2147484131" r:id="rId38"/>
    <p:sldMasterId id="2147484144" r:id="rId39"/>
    <p:sldMasterId id="2147484157" r:id="rId40"/>
    <p:sldMasterId id="2147484170" r:id="rId41"/>
    <p:sldMasterId id="2147484181" r:id="rId42"/>
    <p:sldMasterId id="2147484192" r:id="rId43"/>
    <p:sldMasterId id="2147484205" r:id="rId44"/>
    <p:sldMasterId id="2147484218" r:id="rId45"/>
    <p:sldMasterId id="2147484231" r:id="rId46"/>
    <p:sldMasterId id="2147484244" r:id="rId47"/>
    <p:sldMasterId id="2147484257" r:id="rId48"/>
    <p:sldMasterId id="2147484270" r:id="rId49"/>
    <p:sldMasterId id="2147484282" r:id="rId50"/>
    <p:sldMasterId id="2147484295" r:id="rId51"/>
    <p:sldMasterId id="2147484308" r:id="rId52"/>
    <p:sldMasterId id="2147484321" r:id="rId53"/>
    <p:sldMasterId id="2147484334" r:id="rId54"/>
    <p:sldMasterId id="2147484346" r:id="rId55"/>
    <p:sldMasterId id="2147484359" r:id="rId56"/>
    <p:sldMasterId id="2147484371" r:id="rId57"/>
    <p:sldMasterId id="2147484382" r:id="rId58"/>
    <p:sldMasterId id="2147484393" r:id="rId59"/>
    <p:sldMasterId id="2147484405" r:id="rId60"/>
    <p:sldMasterId id="2147484417" r:id="rId61"/>
    <p:sldMasterId id="2147484429" r:id="rId62"/>
    <p:sldMasterId id="2147484441" r:id="rId63"/>
    <p:sldMasterId id="2147484453" r:id="rId64"/>
    <p:sldMasterId id="2147484466" r:id="rId65"/>
    <p:sldMasterId id="2147484479" r:id="rId66"/>
    <p:sldMasterId id="2147484492" r:id="rId67"/>
    <p:sldMasterId id="2147484502" r:id="rId68"/>
    <p:sldMasterId id="2147484515" r:id="rId69"/>
    <p:sldMasterId id="2147484528" r:id="rId70"/>
    <p:sldMasterId id="2147484541" r:id="rId71"/>
    <p:sldMasterId id="2147484554" r:id="rId72"/>
    <p:sldMasterId id="2147484566" r:id="rId73"/>
    <p:sldMasterId id="2147484579" r:id="rId74"/>
    <p:sldMasterId id="2147484591" r:id="rId75"/>
    <p:sldMasterId id="2147484601" r:id="rId76"/>
  </p:sldMasterIdLst>
  <p:notesMasterIdLst>
    <p:notesMasterId r:id="rId181"/>
  </p:notesMasterIdLst>
  <p:sldIdLst>
    <p:sldId id="420" r:id="rId77"/>
    <p:sldId id="421" r:id="rId78"/>
    <p:sldId id="422" r:id="rId79"/>
    <p:sldId id="423" r:id="rId80"/>
    <p:sldId id="424" r:id="rId81"/>
    <p:sldId id="425" r:id="rId82"/>
    <p:sldId id="426" r:id="rId83"/>
    <p:sldId id="427" r:id="rId84"/>
    <p:sldId id="428" r:id="rId85"/>
    <p:sldId id="429" r:id="rId86"/>
    <p:sldId id="430" r:id="rId87"/>
    <p:sldId id="431" r:id="rId88"/>
    <p:sldId id="432" r:id="rId89"/>
    <p:sldId id="433" r:id="rId90"/>
    <p:sldId id="434" r:id="rId91"/>
    <p:sldId id="435" r:id="rId92"/>
    <p:sldId id="436" r:id="rId93"/>
    <p:sldId id="437" r:id="rId94"/>
    <p:sldId id="438" r:id="rId95"/>
    <p:sldId id="439" r:id="rId96"/>
    <p:sldId id="440" r:id="rId97"/>
    <p:sldId id="441" r:id="rId98"/>
    <p:sldId id="442" r:id="rId99"/>
    <p:sldId id="443" r:id="rId100"/>
    <p:sldId id="444" r:id="rId101"/>
    <p:sldId id="445" r:id="rId102"/>
    <p:sldId id="446" r:id="rId103"/>
    <p:sldId id="447" r:id="rId104"/>
    <p:sldId id="448" r:id="rId105"/>
    <p:sldId id="449" r:id="rId106"/>
    <p:sldId id="450" r:id="rId107"/>
    <p:sldId id="451" r:id="rId108"/>
    <p:sldId id="547" r:id="rId109"/>
    <p:sldId id="548" r:id="rId110"/>
    <p:sldId id="549" r:id="rId111"/>
    <p:sldId id="455" r:id="rId112"/>
    <p:sldId id="539" r:id="rId113"/>
    <p:sldId id="456" r:id="rId114"/>
    <p:sldId id="457" r:id="rId115"/>
    <p:sldId id="458" r:id="rId116"/>
    <p:sldId id="459" r:id="rId117"/>
    <p:sldId id="460" r:id="rId118"/>
    <p:sldId id="461" r:id="rId119"/>
    <p:sldId id="462" r:id="rId120"/>
    <p:sldId id="463" r:id="rId121"/>
    <p:sldId id="464" r:id="rId122"/>
    <p:sldId id="465" r:id="rId123"/>
    <p:sldId id="551" r:id="rId124"/>
    <p:sldId id="467" r:id="rId125"/>
    <p:sldId id="468" r:id="rId126"/>
    <p:sldId id="550" r:id="rId127"/>
    <p:sldId id="528" r:id="rId128"/>
    <p:sldId id="529" r:id="rId129"/>
    <p:sldId id="530" r:id="rId130"/>
    <p:sldId id="531" r:id="rId131"/>
    <p:sldId id="532" r:id="rId132"/>
    <p:sldId id="533" r:id="rId133"/>
    <p:sldId id="534" r:id="rId134"/>
    <p:sldId id="545" r:id="rId135"/>
    <p:sldId id="536" r:id="rId136"/>
    <p:sldId id="537" r:id="rId137"/>
    <p:sldId id="538" r:id="rId138"/>
    <p:sldId id="481" r:id="rId139"/>
    <p:sldId id="546" r:id="rId140"/>
    <p:sldId id="483" r:id="rId141"/>
    <p:sldId id="484" r:id="rId142"/>
    <p:sldId id="485" r:id="rId143"/>
    <p:sldId id="486" r:id="rId144"/>
    <p:sldId id="487" r:id="rId145"/>
    <p:sldId id="488" r:id="rId146"/>
    <p:sldId id="489" r:id="rId147"/>
    <p:sldId id="490" r:id="rId148"/>
    <p:sldId id="491" r:id="rId149"/>
    <p:sldId id="498" r:id="rId150"/>
    <p:sldId id="494" r:id="rId151"/>
    <p:sldId id="495" r:id="rId152"/>
    <p:sldId id="496" r:id="rId153"/>
    <p:sldId id="497" r:id="rId154"/>
    <p:sldId id="499" r:id="rId155"/>
    <p:sldId id="500" r:id="rId156"/>
    <p:sldId id="501" r:id="rId157"/>
    <p:sldId id="502" r:id="rId158"/>
    <p:sldId id="503" r:id="rId159"/>
    <p:sldId id="504" r:id="rId160"/>
    <p:sldId id="505" r:id="rId161"/>
    <p:sldId id="506" r:id="rId162"/>
    <p:sldId id="507" r:id="rId163"/>
    <p:sldId id="508" r:id="rId164"/>
    <p:sldId id="509" r:id="rId165"/>
    <p:sldId id="510" r:id="rId166"/>
    <p:sldId id="511" r:id="rId167"/>
    <p:sldId id="512" r:id="rId168"/>
    <p:sldId id="513" r:id="rId169"/>
    <p:sldId id="514" r:id="rId170"/>
    <p:sldId id="515" r:id="rId171"/>
    <p:sldId id="516" r:id="rId172"/>
    <p:sldId id="517" r:id="rId173"/>
    <p:sldId id="527" r:id="rId174"/>
    <p:sldId id="519" r:id="rId175"/>
    <p:sldId id="540" r:id="rId176"/>
    <p:sldId id="541" r:id="rId177"/>
    <p:sldId id="542" r:id="rId178"/>
    <p:sldId id="543" r:id="rId179"/>
    <p:sldId id="526" r:id="rId180"/>
  </p:sldIdLst>
  <p:sldSz cx="9144000" cy="6858000" type="screen4x3"/>
  <p:notesSz cx="6858000" cy="9144000"/>
  <p:custDataLst>
    <p:tags r:id="rId183"/>
  </p:custDataLst>
  <p:defaultTextStyle>
    <a:defPPr>
      <a:defRPr lang="es-E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117" userDrawn="1">
          <p15:clr>
            <a:srgbClr val="A4A3A4"/>
          </p15:clr>
        </p15:guide>
        <p15:guide id="2" pos="11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64" autoAdjust="0"/>
    <p:restoredTop sz="94434" autoAdjust="0"/>
  </p:normalViewPr>
  <p:slideViewPr>
    <p:cSldViewPr snapToObjects="1">
      <p:cViewPr varScale="1">
        <p:scale>
          <a:sx n="125" d="100"/>
          <a:sy n="125" d="100"/>
        </p:scale>
        <p:origin x="-2352" y="-96"/>
      </p:cViewPr>
      <p:guideLst>
        <p:guide orient="horz" pos="1117"/>
        <p:guide pos="11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2162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142" Type="http://schemas.openxmlformats.org/officeDocument/2006/relationships/slide" Target="slides/slide66.xml"/><Relationship Id="rId143" Type="http://schemas.openxmlformats.org/officeDocument/2006/relationships/slide" Target="slides/slide67.xml"/><Relationship Id="rId144" Type="http://schemas.openxmlformats.org/officeDocument/2006/relationships/slide" Target="slides/slide68.xml"/><Relationship Id="rId145" Type="http://schemas.openxmlformats.org/officeDocument/2006/relationships/slide" Target="slides/slide69.xml"/><Relationship Id="rId146" Type="http://schemas.openxmlformats.org/officeDocument/2006/relationships/slide" Target="slides/slide70.xml"/><Relationship Id="rId147" Type="http://schemas.openxmlformats.org/officeDocument/2006/relationships/slide" Target="slides/slide71.xml"/><Relationship Id="rId148" Type="http://schemas.openxmlformats.org/officeDocument/2006/relationships/slide" Target="slides/slide72.xml"/><Relationship Id="rId149" Type="http://schemas.openxmlformats.org/officeDocument/2006/relationships/slide" Target="slides/slide73.xml"/><Relationship Id="rId180" Type="http://schemas.openxmlformats.org/officeDocument/2006/relationships/slide" Target="slides/slide104.xml"/><Relationship Id="rId181" Type="http://schemas.openxmlformats.org/officeDocument/2006/relationships/notesMaster" Target="notesMasters/notesMaster1.xml"/><Relationship Id="rId182" Type="http://schemas.openxmlformats.org/officeDocument/2006/relationships/printerSettings" Target="printerSettings/printerSettings1.bin"/><Relationship Id="rId40" Type="http://schemas.openxmlformats.org/officeDocument/2006/relationships/slideMaster" Target="slideMasters/slideMaster40.xml"/><Relationship Id="rId41" Type="http://schemas.openxmlformats.org/officeDocument/2006/relationships/slideMaster" Target="slideMasters/slideMaster41.xml"/><Relationship Id="rId42" Type="http://schemas.openxmlformats.org/officeDocument/2006/relationships/slideMaster" Target="slideMasters/slideMaster42.xml"/><Relationship Id="rId43" Type="http://schemas.openxmlformats.org/officeDocument/2006/relationships/slideMaster" Target="slideMasters/slideMaster43.xml"/><Relationship Id="rId44" Type="http://schemas.openxmlformats.org/officeDocument/2006/relationships/slideMaster" Target="slideMasters/slideMaster44.xml"/><Relationship Id="rId45" Type="http://schemas.openxmlformats.org/officeDocument/2006/relationships/slideMaster" Target="slideMasters/slideMaster45.xml"/><Relationship Id="rId46" Type="http://schemas.openxmlformats.org/officeDocument/2006/relationships/slideMaster" Target="slideMasters/slideMaster46.xml"/><Relationship Id="rId47" Type="http://schemas.openxmlformats.org/officeDocument/2006/relationships/slideMaster" Target="slideMasters/slideMaster47.xml"/><Relationship Id="rId48" Type="http://schemas.openxmlformats.org/officeDocument/2006/relationships/slideMaster" Target="slideMasters/slideMaster48.xml"/><Relationship Id="rId49" Type="http://schemas.openxmlformats.org/officeDocument/2006/relationships/slideMaster" Target="slideMasters/slideMaster49.xml"/><Relationship Id="rId183" Type="http://schemas.openxmlformats.org/officeDocument/2006/relationships/tags" Target="tags/tag1.xml"/><Relationship Id="rId184" Type="http://schemas.openxmlformats.org/officeDocument/2006/relationships/presProps" Target="presProps.xml"/><Relationship Id="rId185" Type="http://schemas.openxmlformats.org/officeDocument/2006/relationships/viewProps" Target="viewProps.xml"/><Relationship Id="rId186" Type="http://schemas.openxmlformats.org/officeDocument/2006/relationships/theme" Target="theme/theme1.xml"/><Relationship Id="rId187" Type="http://schemas.openxmlformats.org/officeDocument/2006/relationships/tableStyles" Target="tableStyles.xml"/><Relationship Id="rId80" Type="http://schemas.openxmlformats.org/officeDocument/2006/relationships/slide" Target="slides/slide4.xml"/><Relationship Id="rId81" Type="http://schemas.openxmlformats.org/officeDocument/2006/relationships/slide" Target="slides/slide5.xml"/><Relationship Id="rId82" Type="http://schemas.openxmlformats.org/officeDocument/2006/relationships/slide" Target="slides/slide6.xml"/><Relationship Id="rId83" Type="http://schemas.openxmlformats.org/officeDocument/2006/relationships/slide" Target="slides/slide7.xml"/><Relationship Id="rId84" Type="http://schemas.openxmlformats.org/officeDocument/2006/relationships/slide" Target="slides/slide8.xml"/><Relationship Id="rId85" Type="http://schemas.openxmlformats.org/officeDocument/2006/relationships/slide" Target="slides/slide9.xml"/><Relationship Id="rId86" Type="http://schemas.openxmlformats.org/officeDocument/2006/relationships/slide" Target="slides/slide10.xml"/><Relationship Id="rId87" Type="http://schemas.openxmlformats.org/officeDocument/2006/relationships/slide" Target="slides/slide11.xml"/><Relationship Id="rId88" Type="http://schemas.openxmlformats.org/officeDocument/2006/relationships/slide" Target="slides/slide12.xml"/><Relationship Id="rId89" Type="http://schemas.openxmlformats.org/officeDocument/2006/relationships/slide" Target="slides/slide13.xml"/><Relationship Id="rId110" Type="http://schemas.openxmlformats.org/officeDocument/2006/relationships/slide" Target="slides/slide34.xml"/><Relationship Id="rId111" Type="http://schemas.openxmlformats.org/officeDocument/2006/relationships/slide" Target="slides/slide35.xml"/><Relationship Id="rId112" Type="http://schemas.openxmlformats.org/officeDocument/2006/relationships/slide" Target="slides/slide36.xml"/><Relationship Id="rId113" Type="http://schemas.openxmlformats.org/officeDocument/2006/relationships/slide" Target="slides/slide37.xml"/><Relationship Id="rId114" Type="http://schemas.openxmlformats.org/officeDocument/2006/relationships/slide" Target="slides/slide38.xml"/><Relationship Id="rId115" Type="http://schemas.openxmlformats.org/officeDocument/2006/relationships/slide" Target="slides/slide39.xml"/><Relationship Id="rId116" Type="http://schemas.openxmlformats.org/officeDocument/2006/relationships/slide" Target="slides/slide40.xml"/><Relationship Id="rId117" Type="http://schemas.openxmlformats.org/officeDocument/2006/relationships/slide" Target="slides/slide41.xml"/><Relationship Id="rId118" Type="http://schemas.openxmlformats.org/officeDocument/2006/relationships/slide" Target="slides/slide42.xml"/><Relationship Id="rId119" Type="http://schemas.openxmlformats.org/officeDocument/2006/relationships/slide" Target="slides/slide43.xml"/><Relationship Id="rId150" Type="http://schemas.openxmlformats.org/officeDocument/2006/relationships/slide" Target="slides/slide74.xml"/><Relationship Id="rId151" Type="http://schemas.openxmlformats.org/officeDocument/2006/relationships/slide" Target="slides/slide75.xml"/><Relationship Id="rId152" Type="http://schemas.openxmlformats.org/officeDocument/2006/relationships/slide" Target="slides/slide76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Relationship Id="rId153" Type="http://schemas.openxmlformats.org/officeDocument/2006/relationships/slide" Target="slides/slide77.xml"/><Relationship Id="rId154" Type="http://schemas.openxmlformats.org/officeDocument/2006/relationships/slide" Target="slides/slide78.xml"/><Relationship Id="rId155" Type="http://schemas.openxmlformats.org/officeDocument/2006/relationships/slide" Target="slides/slide79.xml"/><Relationship Id="rId156" Type="http://schemas.openxmlformats.org/officeDocument/2006/relationships/slide" Target="slides/slide80.xml"/><Relationship Id="rId157" Type="http://schemas.openxmlformats.org/officeDocument/2006/relationships/slide" Target="slides/slide81.xml"/><Relationship Id="rId158" Type="http://schemas.openxmlformats.org/officeDocument/2006/relationships/slide" Target="slides/slide82.xml"/><Relationship Id="rId159" Type="http://schemas.openxmlformats.org/officeDocument/2006/relationships/slide" Target="slides/slide83.xml"/><Relationship Id="rId50" Type="http://schemas.openxmlformats.org/officeDocument/2006/relationships/slideMaster" Target="slideMasters/slideMaster50.xml"/><Relationship Id="rId51" Type="http://schemas.openxmlformats.org/officeDocument/2006/relationships/slideMaster" Target="slideMasters/slideMaster51.xml"/><Relationship Id="rId52" Type="http://schemas.openxmlformats.org/officeDocument/2006/relationships/slideMaster" Target="slideMasters/slideMaster52.xml"/><Relationship Id="rId53" Type="http://schemas.openxmlformats.org/officeDocument/2006/relationships/slideMaster" Target="slideMasters/slideMaster53.xml"/><Relationship Id="rId54" Type="http://schemas.openxmlformats.org/officeDocument/2006/relationships/slideMaster" Target="slideMasters/slideMaster54.xml"/><Relationship Id="rId55" Type="http://schemas.openxmlformats.org/officeDocument/2006/relationships/slideMaster" Target="slideMasters/slideMaster55.xml"/><Relationship Id="rId56" Type="http://schemas.openxmlformats.org/officeDocument/2006/relationships/slideMaster" Target="slideMasters/slideMaster56.xml"/><Relationship Id="rId57" Type="http://schemas.openxmlformats.org/officeDocument/2006/relationships/slideMaster" Target="slideMasters/slideMaster57.xml"/><Relationship Id="rId58" Type="http://schemas.openxmlformats.org/officeDocument/2006/relationships/slideMaster" Target="slideMasters/slideMaster58.xml"/><Relationship Id="rId59" Type="http://schemas.openxmlformats.org/officeDocument/2006/relationships/slideMaster" Target="slideMasters/slideMaster59.xml"/><Relationship Id="rId90" Type="http://schemas.openxmlformats.org/officeDocument/2006/relationships/slide" Target="slides/slide14.xml"/><Relationship Id="rId91" Type="http://schemas.openxmlformats.org/officeDocument/2006/relationships/slide" Target="slides/slide15.xml"/><Relationship Id="rId92" Type="http://schemas.openxmlformats.org/officeDocument/2006/relationships/slide" Target="slides/slide16.xml"/><Relationship Id="rId93" Type="http://schemas.openxmlformats.org/officeDocument/2006/relationships/slide" Target="slides/slide17.xml"/><Relationship Id="rId94" Type="http://schemas.openxmlformats.org/officeDocument/2006/relationships/slide" Target="slides/slide18.xml"/><Relationship Id="rId95" Type="http://schemas.openxmlformats.org/officeDocument/2006/relationships/slide" Target="slides/slide19.xml"/><Relationship Id="rId96" Type="http://schemas.openxmlformats.org/officeDocument/2006/relationships/slide" Target="slides/slide20.xml"/><Relationship Id="rId97" Type="http://schemas.openxmlformats.org/officeDocument/2006/relationships/slide" Target="slides/slide21.xml"/><Relationship Id="rId98" Type="http://schemas.openxmlformats.org/officeDocument/2006/relationships/slide" Target="slides/slide22.xml"/><Relationship Id="rId99" Type="http://schemas.openxmlformats.org/officeDocument/2006/relationships/slide" Target="slides/slide23.xml"/><Relationship Id="rId120" Type="http://schemas.openxmlformats.org/officeDocument/2006/relationships/slide" Target="slides/slide44.xml"/><Relationship Id="rId121" Type="http://schemas.openxmlformats.org/officeDocument/2006/relationships/slide" Target="slides/slide45.xml"/><Relationship Id="rId122" Type="http://schemas.openxmlformats.org/officeDocument/2006/relationships/slide" Target="slides/slide46.xml"/><Relationship Id="rId123" Type="http://schemas.openxmlformats.org/officeDocument/2006/relationships/slide" Target="slides/slide47.xml"/><Relationship Id="rId124" Type="http://schemas.openxmlformats.org/officeDocument/2006/relationships/slide" Target="slides/slide48.xml"/><Relationship Id="rId125" Type="http://schemas.openxmlformats.org/officeDocument/2006/relationships/slide" Target="slides/slide49.xml"/><Relationship Id="rId126" Type="http://schemas.openxmlformats.org/officeDocument/2006/relationships/slide" Target="slides/slide50.xml"/><Relationship Id="rId127" Type="http://schemas.openxmlformats.org/officeDocument/2006/relationships/slide" Target="slides/slide51.xml"/><Relationship Id="rId128" Type="http://schemas.openxmlformats.org/officeDocument/2006/relationships/slide" Target="slides/slide52.xml"/><Relationship Id="rId129" Type="http://schemas.openxmlformats.org/officeDocument/2006/relationships/slide" Target="slides/slide53.xml"/><Relationship Id="rId160" Type="http://schemas.openxmlformats.org/officeDocument/2006/relationships/slide" Target="slides/slide84.xml"/><Relationship Id="rId161" Type="http://schemas.openxmlformats.org/officeDocument/2006/relationships/slide" Target="slides/slide85.xml"/><Relationship Id="rId162" Type="http://schemas.openxmlformats.org/officeDocument/2006/relationships/slide" Target="slides/slide86.xml"/><Relationship Id="rId20" Type="http://schemas.openxmlformats.org/officeDocument/2006/relationships/slideMaster" Target="slideMasters/slideMaster20.xml"/><Relationship Id="rId21" Type="http://schemas.openxmlformats.org/officeDocument/2006/relationships/slideMaster" Target="slideMasters/slideMaster21.xml"/><Relationship Id="rId22" Type="http://schemas.openxmlformats.org/officeDocument/2006/relationships/slideMaster" Target="slideMasters/slideMaster22.xml"/><Relationship Id="rId23" Type="http://schemas.openxmlformats.org/officeDocument/2006/relationships/slideMaster" Target="slideMasters/slideMaster23.xml"/><Relationship Id="rId24" Type="http://schemas.openxmlformats.org/officeDocument/2006/relationships/slideMaster" Target="slideMasters/slideMaster24.xml"/><Relationship Id="rId25" Type="http://schemas.openxmlformats.org/officeDocument/2006/relationships/slideMaster" Target="slideMasters/slideMaster25.xml"/><Relationship Id="rId26" Type="http://schemas.openxmlformats.org/officeDocument/2006/relationships/slideMaster" Target="slideMasters/slideMaster26.xml"/><Relationship Id="rId27" Type="http://schemas.openxmlformats.org/officeDocument/2006/relationships/slideMaster" Target="slideMasters/slideMaster27.xml"/><Relationship Id="rId28" Type="http://schemas.openxmlformats.org/officeDocument/2006/relationships/slideMaster" Target="slideMasters/slideMaster28.xml"/><Relationship Id="rId29" Type="http://schemas.openxmlformats.org/officeDocument/2006/relationships/slideMaster" Target="slideMasters/slideMaster29.xml"/><Relationship Id="rId163" Type="http://schemas.openxmlformats.org/officeDocument/2006/relationships/slide" Target="slides/slide87.xml"/><Relationship Id="rId164" Type="http://schemas.openxmlformats.org/officeDocument/2006/relationships/slide" Target="slides/slide88.xml"/><Relationship Id="rId165" Type="http://schemas.openxmlformats.org/officeDocument/2006/relationships/slide" Target="slides/slide89.xml"/><Relationship Id="rId166" Type="http://schemas.openxmlformats.org/officeDocument/2006/relationships/slide" Target="slides/slide90.xml"/><Relationship Id="rId167" Type="http://schemas.openxmlformats.org/officeDocument/2006/relationships/slide" Target="slides/slide91.xml"/><Relationship Id="rId168" Type="http://schemas.openxmlformats.org/officeDocument/2006/relationships/slide" Target="slides/slide92.xml"/><Relationship Id="rId169" Type="http://schemas.openxmlformats.org/officeDocument/2006/relationships/slide" Target="slides/slide93.xml"/><Relationship Id="rId60" Type="http://schemas.openxmlformats.org/officeDocument/2006/relationships/slideMaster" Target="slideMasters/slideMaster60.xml"/><Relationship Id="rId61" Type="http://schemas.openxmlformats.org/officeDocument/2006/relationships/slideMaster" Target="slideMasters/slideMaster61.xml"/><Relationship Id="rId62" Type="http://schemas.openxmlformats.org/officeDocument/2006/relationships/slideMaster" Target="slideMasters/slideMaster62.xml"/><Relationship Id="rId63" Type="http://schemas.openxmlformats.org/officeDocument/2006/relationships/slideMaster" Target="slideMasters/slideMaster63.xml"/><Relationship Id="rId64" Type="http://schemas.openxmlformats.org/officeDocument/2006/relationships/slideMaster" Target="slideMasters/slideMaster64.xml"/><Relationship Id="rId65" Type="http://schemas.openxmlformats.org/officeDocument/2006/relationships/slideMaster" Target="slideMasters/slideMaster65.xml"/><Relationship Id="rId66" Type="http://schemas.openxmlformats.org/officeDocument/2006/relationships/slideMaster" Target="slideMasters/slideMaster66.xml"/><Relationship Id="rId67" Type="http://schemas.openxmlformats.org/officeDocument/2006/relationships/slideMaster" Target="slideMasters/slideMaster67.xml"/><Relationship Id="rId68" Type="http://schemas.openxmlformats.org/officeDocument/2006/relationships/slideMaster" Target="slideMasters/slideMaster68.xml"/><Relationship Id="rId69" Type="http://schemas.openxmlformats.org/officeDocument/2006/relationships/slideMaster" Target="slideMasters/slideMaster69.xml"/><Relationship Id="rId130" Type="http://schemas.openxmlformats.org/officeDocument/2006/relationships/slide" Target="slides/slide54.xml"/><Relationship Id="rId131" Type="http://schemas.openxmlformats.org/officeDocument/2006/relationships/slide" Target="slides/slide55.xml"/><Relationship Id="rId132" Type="http://schemas.openxmlformats.org/officeDocument/2006/relationships/slide" Target="slides/slide56.xml"/><Relationship Id="rId133" Type="http://schemas.openxmlformats.org/officeDocument/2006/relationships/slide" Target="slides/slide57.xml"/><Relationship Id="rId134" Type="http://schemas.openxmlformats.org/officeDocument/2006/relationships/slide" Target="slides/slide58.xml"/><Relationship Id="rId135" Type="http://schemas.openxmlformats.org/officeDocument/2006/relationships/slide" Target="slides/slide59.xml"/><Relationship Id="rId136" Type="http://schemas.openxmlformats.org/officeDocument/2006/relationships/slide" Target="slides/slide60.xml"/><Relationship Id="rId137" Type="http://schemas.openxmlformats.org/officeDocument/2006/relationships/slide" Target="slides/slide61.xml"/><Relationship Id="rId138" Type="http://schemas.openxmlformats.org/officeDocument/2006/relationships/slide" Target="slides/slide62.xml"/><Relationship Id="rId139" Type="http://schemas.openxmlformats.org/officeDocument/2006/relationships/slide" Target="slides/slide63.xml"/><Relationship Id="rId170" Type="http://schemas.openxmlformats.org/officeDocument/2006/relationships/slide" Target="slides/slide94.xml"/><Relationship Id="rId171" Type="http://schemas.openxmlformats.org/officeDocument/2006/relationships/slide" Target="slides/slide95.xml"/><Relationship Id="rId172" Type="http://schemas.openxmlformats.org/officeDocument/2006/relationships/slide" Target="slides/slide96.xml"/><Relationship Id="rId30" Type="http://schemas.openxmlformats.org/officeDocument/2006/relationships/slideMaster" Target="slideMasters/slideMaster30.xml"/><Relationship Id="rId31" Type="http://schemas.openxmlformats.org/officeDocument/2006/relationships/slideMaster" Target="slideMasters/slideMaster31.xml"/><Relationship Id="rId32" Type="http://schemas.openxmlformats.org/officeDocument/2006/relationships/slideMaster" Target="slideMasters/slideMaster32.xml"/><Relationship Id="rId33" Type="http://schemas.openxmlformats.org/officeDocument/2006/relationships/slideMaster" Target="slideMasters/slideMaster33.xml"/><Relationship Id="rId34" Type="http://schemas.openxmlformats.org/officeDocument/2006/relationships/slideMaster" Target="slideMasters/slideMaster34.xml"/><Relationship Id="rId35" Type="http://schemas.openxmlformats.org/officeDocument/2006/relationships/slideMaster" Target="slideMasters/slideMaster35.xml"/><Relationship Id="rId36" Type="http://schemas.openxmlformats.org/officeDocument/2006/relationships/slideMaster" Target="slideMasters/slideMaster36.xml"/><Relationship Id="rId37" Type="http://schemas.openxmlformats.org/officeDocument/2006/relationships/slideMaster" Target="slideMasters/slideMaster37.xml"/><Relationship Id="rId38" Type="http://schemas.openxmlformats.org/officeDocument/2006/relationships/slideMaster" Target="slideMasters/slideMaster38.xml"/><Relationship Id="rId39" Type="http://schemas.openxmlformats.org/officeDocument/2006/relationships/slideMaster" Target="slideMasters/slideMaster39.xml"/><Relationship Id="rId173" Type="http://schemas.openxmlformats.org/officeDocument/2006/relationships/slide" Target="slides/slide97.xml"/><Relationship Id="rId174" Type="http://schemas.openxmlformats.org/officeDocument/2006/relationships/slide" Target="slides/slide98.xml"/><Relationship Id="rId175" Type="http://schemas.openxmlformats.org/officeDocument/2006/relationships/slide" Target="slides/slide99.xml"/><Relationship Id="rId176" Type="http://schemas.openxmlformats.org/officeDocument/2006/relationships/slide" Target="slides/slide100.xml"/><Relationship Id="rId177" Type="http://schemas.openxmlformats.org/officeDocument/2006/relationships/slide" Target="slides/slide101.xml"/><Relationship Id="rId178" Type="http://schemas.openxmlformats.org/officeDocument/2006/relationships/slide" Target="slides/slide102.xml"/><Relationship Id="rId179" Type="http://schemas.openxmlformats.org/officeDocument/2006/relationships/slide" Target="slides/slide103.xml"/><Relationship Id="rId70" Type="http://schemas.openxmlformats.org/officeDocument/2006/relationships/slideMaster" Target="slideMasters/slideMaster70.xml"/><Relationship Id="rId71" Type="http://schemas.openxmlformats.org/officeDocument/2006/relationships/slideMaster" Target="slideMasters/slideMaster71.xml"/><Relationship Id="rId72" Type="http://schemas.openxmlformats.org/officeDocument/2006/relationships/slideMaster" Target="slideMasters/slideMaster72.xml"/><Relationship Id="rId73" Type="http://schemas.openxmlformats.org/officeDocument/2006/relationships/slideMaster" Target="slideMasters/slideMaster73.xml"/><Relationship Id="rId74" Type="http://schemas.openxmlformats.org/officeDocument/2006/relationships/slideMaster" Target="slideMasters/slideMaster74.xml"/><Relationship Id="rId75" Type="http://schemas.openxmlformats.org/officeDocument/2006/relationships/slideMaster" Target="slideMasters/slideMaster75.xml"/><Relationship Id="rId76" Type="http://schemas.openxmlformats.org/officeDocument/2006/relationships/slideMaster" Target="slideMasters/slideMaster76.xml"/><Relationship Id="rId77" Type="http://schemas.openxmlformats.org/officeDocument/2006/relationships/slide" Target="slides/slide1.xml"/><Relationship Id="rId78" Type="http://schemas.openxmlformats.org/officeDocument/2006/relationships/slide" Target="slides/slide2.xml"/><Relationship Id="rId79" Type="http://schemas.openxmlformats.org/officeDocument/2006/relationships/slide" Target="slides/slide3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100" Type="http://schemas.openxmlformats.org/officeDocument/2006/relationships/slide" Target="slides/slide24.xml"/><Relationship Id="rId101" Type="http://schemas.openxmlformats.org/officeDocument/2006/relationships/slide" Target="slides/slide25.xml"/><Relationship Id="rId102" Type="http://schemas.openxmlformats.org/officeDocument/2006/relationships/slide" Target="slides/slide26.xml"/><Relationship Id="rId103" Type="http://schemas.openxmlformats.org/officeDocument/2006/relationships/slide" Target="slides/slide27.xml"/><Relationship Id="rId104" Type="http://schemas.openxmlformats.org/officeDocument/2006/relationships/slide" Target="slides/slide28.xml"/><Relationship Id="rId105" Type="http://schemas.openxmlformats.org/officeDocument/2006/relationships/slide" Target="slides/slide29.xml"/><Relationship Id="rId106" Type="http://schemas.openxmlformats.org/officeDocument/2006/relationships/slide" Target="slides/slide30.xml"/><Relationship Id="rId107" Type="http://schemas.openxmlformats.org/officeDocument/2006/relationships/slide" Target="slides/slide31.xml"/><Relationship Id="rId108" Type="http://schemas.openxmlformats.org/officeDocument/2006/relationships/slide" Target="slides/slide32.xml"/><Relationship Id="rId109" Type="http://schemas.openxmlformats.org/officeDocument/2006/relationships/slide" Target="slides/slide33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9" Type="http://schemas.openxmlformats.org/officeDocument/2006/relationships/slideMaster" Target="slideMasters/slideMaster9.xml"/><Relationship Id="rId140" Type="http://schemas.openxmlformats.org/officeDocument/2006/relationships/slide" Target="slides/slide64.xml"/><Relationship Id="rId141" Type="http://schemas.openxmlformats.org/officeDocument/2006/relationships/slide" Target="slides/slide6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509669D-1344-4286-8073-20FD2156BD74}" type="datetimeFigureOut">
              <a:rPr lang="es-ES"/>
              <a:pPr>
                <a:defRPr/>
              </a:pPr>
              <a:t>09/07/15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s-ES" noProof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 noProof="0" smtClean="0"/>
              <a:t>Haga clic para modificar el estilo de texto del patrón</a:t>
            </a:r>
          </a:p>
          <a:p>
            <a:pPr lvl="1"/>
            <a:r>
              <a:rPr lang="es-ES_tradnl" noProof="0" smtClean="0"/>
              <a:t>Segundo nivel</a:t>
            </a:r>
          </a:p>
          <a:p>
            <a:pPr lvl="2"/>
            <a:r>
              <a:rPr lang="es-ES_tradnl" noProof="0" smtClean="0"/>
              <a:t>Tercer nivel</a:t>
            </a:r>
          </a:p>
          <a:p>
            <a:pPr lvl="3"/>
            <a:r>
              <a:rPr lang="es-ES_tradnl" noProof="0" smtClean="0"/>
              <a:t>Cuarto nivel</a:t>
            </a:r>
          </a:p>
          <a:p>
            <a:pPr lvl="4"/>
            <a:r>
              <a:rPr lang="es-ES_tradnl" noProof="0" smtClean="0"/>
              <a:t>Quinto nivel</a:t>
            </a:r>
            <a:endParaRPr lang="es-ES" noProof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D1DECE9-9BA0-4930-B9EA-9D7B2677605C}" type="slidenum">
              <a:rPr lang="es-ES"/>
              <a:pPr>
                <a:defRPr/>
              </a:pPr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620036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9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3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3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1.xml"/></Relationships>
</file>

<file path=ppt/notesSlides/_rels/notesSlide3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3.xml"/></Relationships>
</file>

<file path=ppt/notesSlides/_rels/notesSlide3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4.xml"/></Relationships>
</file>

<file path=ppt/notesSlides/_rels/notesSlide3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1.xml"/></Relationships>
</file>

<file path=ppt/notesSlides/_rels/notesSlide3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6.xml"/></Relationships>
</file>

<file path=ppt/notesSlides/_rels/notesSlide3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7.xml"/></Relationships>
</file>

<file path=ppt/notesSlides/_rels/notesSlide3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4.xml"/></Relationships>
</file>

<file path=ppt/notesSlides/_rels/notesSlide3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8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505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4505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z="1400" smtClean="0"/>
          </a:p>
        </p:txBody>
      </p:sp>
    </p:spTree>
    <p:extLst>
      <p:ext uri="{BB962C8B-B14F-4D97-AF65-F5344CB8AC3E}">
        <p14:creationId xmlns:p14="http://schemas.microsoft.com/office/powerpoint/2010/main" val="76310795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80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680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163267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E22C91-3F02-4B27-ABCA-FFC52E257F42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3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60761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884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885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165315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6306CF7-866F-4137-B714-318A032FBE8D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4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41254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089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8089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168387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A728BA9-1521-4D90-B281-F82A073DA2F1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5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68270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294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8294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170435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8375BC0-4ADC-4F61-8563-24090FF5526F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0402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499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8499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173507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4CED90-9758-4071-9D5B-115DBAFBC20B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7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12813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704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8704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176579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55AAFCD-701A-4FE4-BB09-651496D5DBAE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8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22774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908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8909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17965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D457869-6A43-4EFE-A861-CF1CFC845583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9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5602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113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9113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18272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F11DEA-8DDC-4910-B48D-EE8D70CB7E30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0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3893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318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9318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185795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B616F77-C983-404A-9CEE-EF6870FEB51E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9373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52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9523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18784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13BFC68-76F9-49EA-979F-AB47E0D2A2E8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2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69922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812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2525" y="684213"/>
            <a:ext cx="4556125" cy="34163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481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27525"/>
            <a:ext cx="5489575" cy="4103688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5227848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52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9523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18784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13BFC68-76F9-49EA-979F-AB47E0D2A2E8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3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110186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52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9523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18784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13BFC68-76F9-49EA-979F-AB47E0D2A2E8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4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13434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52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9523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18784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13BFC68-76F9-49EA-979F-AB47E0D2A2E8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5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849922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342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2525" y="684213"/>
            <a:ext cx="4556125" cy="34163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34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27525"/>
            <a:ext cx="5489575" cy="4103688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79667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065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065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15405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6D26EAC-D883-47DA-844F-20731A482511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7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973034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115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8FE36C4-01AD-41DF-8181-64861047C9B1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8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3054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1413" y="682625"/>
            <a:ext cx="4575175" cy="34321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54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41813"/>
            <a:ext cx="5486400" cy="4116387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</p:spTree>
    <p:extLst>
      <p:ext uri="{BB962C8B-B14F-4D97-AF65-F5344CB8AC3E}">
        <p14:creationId xmlns:p14="http://schemas.microsoft.com/office/powerpoint/2010/main" val="50319461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627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33646D7-21CA-49C5-A5B3-B8476CF148CC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1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3095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2525" y="692150"/>
            <a:ext cx="4559300" cy="34194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095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1813"/>
            <a:ext cx="5029200" cy="4116387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70552770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8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C9B6BDA-084E-48F6-84EF-A258A2CE6B4B}" type="slidenum">
              <a:rPr lang="en-US" smtClean="0"/>
              <a:pPr/>
              <a:t>59</a:t>
            </a:fld>
            <a:endParaRPr lang="en-US" smtClean="0"/>
          </a:p>
        </p:txBody>
      </p:sp>
      <p:sp>
        <p:nvSpPr>
          <p:cNvPr id="3368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8688" y="738188"/>
            <a:ext cx="4940300" cy="3705225"/>
          </a:xfrm>
          <a:ln/>
        </p:spPr>
      </p:sp>
      <p:sp>
        <p:nvSpPr>
          <p:cNvPr id="3369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0069" y="4688966"/>
            <a:ext cx="5437549" cy="4444066"/>
          </a:xfrm>
          <a:noFill/>
          <a:ln/>
        </p:spPr>
        <p:txBody>
          <a:bodyPr/>
          <a:lstStyle/>
          <a:p>
            <a:pPr eaLnBrk="1" hangingPunct="1"/>
            <a:endParaRPr lang="pt-BR" smtClean="0"/>
          </a:p>
        </p:txBody>
      </p:sp>
    </p:spTree>
    <p:extLst>
      <p:ext uri="{BB962C8B-B14F-4D97-AF65-F5344CB8AC3E}">
        <p14:creationId xmlns:p14="http://schemas.microsoft.com/office/powerpoint/2010/main" val="239742876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0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B996D0E-0585-4D6A-9CB3-F9C009A0C63C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3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3351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8875" y="690563"/>
            <a:ext cx="4543425" cy="3408362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3335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27525"/>
            <a:ext cx="5030788" cy="4102100"/>
          </a:xfrm>
          <a:noFill/>
        </p:spPr>
        <p:txBody>
          <a:bodyPr wrap="square" lIns="97960" tIns="48121" rIns="97960" bIns="48121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14639575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8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C9B6BDA-084E-48F6-84EF-A258A2CE6B4B}" type="slidenum">
              <a:rPr lang="en-US" smtClean="0"/>
              <a:pPr/>
              <a:t>64</a:t>
            </a:fld>
            <a:endParaRPr lang="en-US" smtClean="0"/>
          </a:p>
        </p:txBody>
      </p:sp>
      <p:sp>
        <p:nvSpPr>
          <p:cNvPr id="3368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8688" y="738188"/>
            <a:ext cx="4940300" cy="3705225"/>
          </a:xfrm>
          <a:ln/>
        </p:spPr>
      </p:sp>
      <p:sp>
        <p:nvSpPr>
          <p:cNvPr id="3369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0069" y="4688966"/>
            <a:ext cx="5437549" cy="4444066"/>
          </a:xfrm>
          <a:noFill/>
          <a:ln/>
        </p:spPr>
        <p:txBody>
          <a:bodyPr/>
          <a:lstStyle/>
          <a:p>
            <a:pPr eaLnBrk="1" hangingPunct="1"/>
            <a:endParaRPr lang="pt-BR" smtClean="0"/>
          </a:p>
        </p:txBody>
      </p:sp>
    </p:spTree>
    <p:extLst>
      <p:ext uri="{BB962C8B-B14F-4D97-AF65-F5344CB8AC3E}">
        <p14:creationId xmlns:p14="http://schemas.microsoft.com/office/powerpoint/2010/main" val="1649821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0737" name="Rectangle 4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7B958BA-7F0E-4023-80C9-0A70F37BA92C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258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58371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89879058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644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40F1671-6D15-4A9E-AC0D-388D5935463B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1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346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1413" y="682625"/>
            <a:ext cx="4575175" cy="34321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4643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41813"/>
            <a:ext cx="5486400" cy="4116387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</p:spTree>
    <p:extLst>
      <p:ext uri="{BB962C8B-B14F-4D97-AF65-F5344CB8AC3E}">
        <p14:creationId xmlns:p14="http://schemas.microsoft.com/office/powerpoint/2010/main" val="135957989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054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E988B6-BB85-469B-90E6-43B5661636D7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3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349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8875" y="690563"/>
            <a:ext cx="4543425" cy="3408362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334950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27525"/>
            <a:ext cx="5030788" cy="4102100"/>
          </a:xfrm>
          <a:noFill/>
        </p:spPr>
        <p:txBody>
          <a:bodyPr wrap="square" lIns="97960" tIns="48121" rIns="97960" bIns="48121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139573917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257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2525" y="684213"/>
            <a:ext cx="4556125" cy="34163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5257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27525"/>
            <a:ext cx="5489575" cy="4103688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25685607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076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2525" y="684213"/>
            <a:ext cx="4556125" cy="34163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6077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27525"/>
            <a:ext cx="5489575" cy="4103688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07847044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409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5C8D6C7-ED9E-49F3-935F-8C560BFC973F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6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366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2525" y="692150"/>
            <a:ext cx="4559300" cy="34194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669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1813"/>
            <a:ext cx="5029200" cy="4116387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5719162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614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1986499-37FB-4B95-A2E3-1DB401C1B163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7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368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2525" y="692150"/>
            <a:ext cx="4559300" cy="34194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6896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1813"/>
            <a:ext cx="5029200" cy="4116387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41547482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715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2525" y="684213"/>
            <a:ext cx="4556125" cy="34163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715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27525"/>
            <a:ext cx="5489575" cy="4103688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80061648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715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2525" y="684213"/>
            <a:ext cx="4556125" cy="34163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715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27525"/>
            <a:ext cx="5489575" cy="4103688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782920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246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2525" y="684213"/>
            <a:ext cx="4556125" cy="34163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6246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27525"/>
            <a:ext cx="5489575" cy="4103688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8822123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4513" name="Marcador de imagen de diapositiva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64514" name="Marcador de nota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smtClean="0"/>
          </a:p>
        </p:txBody>
      </p:sp>
      <p:sp>
        <p:nvSpPr>
          <p:cNvPr id="1146883" name="Marcador de número de diapositiva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329C33B-9C83-4777-B254-6F6A233B1F54}" type="slidenum">
              <a:rPr lang="es-E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es-E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27115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86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2525" y="684213"/>
            <a:ext cx="4556125" cy="34163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6861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27525"/>
            <a:ext cx="5489575" cy="4103688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0904851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065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065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15405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6D26EAC-D883-47DA-844F-20731A482511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22079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270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270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15712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8C327F-F4EE-4412-A444-90B11DFDD93C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1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5245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475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475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160195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BD58EB6-92A2-409F-AC0F-100282573D17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44110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6.vml"/><Relationship Id="rId2" Type="http://schemas.openxmlformats.org/officeDocument/2006/relationships/tags" Target="../tags/tag16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58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58.vml"/><Relationship Id="rId2" Type="http://schemas.openxmlformats.org/officeDocument/2006/relationships/tags" Target="../tags/tag14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4" Type="http://schemas.openxmlformats.org/officeDocument/2006/relationships/tags" Target="../tags/tag143.xml"/><Relationship Id="rId5" Type="http://schemas.openxmlformats.org/officeDocument/2006/relationships/slideMaster" Target="../slideMasters/slideMaster10.xml"/><Relationship Id="rId6" Type="http://schemas.openxmlformats.org/officeDocument/2006/relationships/oleObject" Target="../embeddings/oleObject59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59.vml"/><Relationship Id="rId2" Type="http://schemas.openxmlformats.org/officeDocument/2006/relationships/tags" Target="../tags/tag141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4" Type="http://schemas.openxmlformats.org/officeDocument/2006/relationships/tags" Target="../tags/tag146.xml"/><Relationship Id="rId5" Type="http://schemas.openxmlformats.org/officeDocument/2006/relationships/tags" Target="../tags/tag147.xml"/><Relationship Id="rId6" Type="http://schemas.openxmlformats.org/officeDocument/2006/relationships/slideMaster" Target="../slideMasters/slideMaster10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60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60.vml"/><Relationship Id="rId2" Type="http://schemas.openxmlformats.org/officeDocument/2006/relationships/tags" Target="../tags/tag14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4" Type="http://schemas.openxmlformats.org/officeDocument/2006/relationships/tags" Target="../tags/tag150.xml"/><Relationship Id="rId5" Type="http://schemas.openxmlformats.org/officeDocument/2006/relationships/tags" Target="../tags/tag151.xml"/><Relationship Id="rId6" Type="http://schemas.openxmlformats.org/officeDocument/2006/relationships/tags" Target="../tags/tag152.xml"/><Relationship Id="rId7" Type="http://schemas.openxmlformats.org/officeDocument/2006/relationships/slideMaster" Target="../slideMasters/slideMaster10.xml"/><Relationship Id="rId8" Type="http://schemas.openxmlformats.org/officeDocument/2006/relationships/oleObject" Target="../embeddings/oleObject61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61.vml"/><Relationship Id="rId2" Type="http://schemas.openxmlformats.org/officeDocument/2006/relationships/tags" Target="../tags/tag14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6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63.vml"/><Relationship Id="rId2" Type="http://schemas.openxmlformats.org/officeDocument/2006/relationships/tags" Target="../tags/tag15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64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7.png"/><Relationship Id="rId1" Type="http://schemas.openxmlformats.org/officeDocument/2006/relationships/vmlDrawing" Target="../drawings/vmlDrawing64.vml"/><Relationship Id="rId2" Type="http://schemas.openxmlformats.org/officeDocument/2006/relationships/tags" Target="../tags/tag15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4" Type="http://schemas.openxmlformats.org/officeDocument/2006/relationships/tags" Target="../tags/tag158.xml"/><Relationship Id="rId5" Type="http://schemas.openxmlformats.org/officeDocument/2006/relationships/slideMaster" Target="../slideMasters/slideMaster11.xml"/><Relationship Id="rId6" Type="http://schemas.openxmlformats.org/officeDocument/2006/relationships/oleObject" Target="../embeddings/oleObject65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7.png"/><Relationship Id="rId10" Type="http://schemas.openxmlformats.org/officeDocument/2006/relationships/image" Target="../media/image8.jpeg"/><Relationship Id="rId1" Type="http://schemas.openxmlformats.org/officeDocument/2006/relationships/vmlDrawing" Target="../drawings/vmlDrawing65.vml"/><Relationship Id="rId2" Type="http://schemas.openxmlformats.org/officeDocument/2006/relationships/tags" Target="../tags/tag156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4" Type="http://schemas.openxmlformats.org/officeDocument/2006/relationships/tags" Target="../tags/tag161.xml"/><Relationship Id="rId5" Type="http://schemas.openxmlformats.org/officeDocument/2006/relationships/tags" Target="../tags/tag162.xml"/><Relationship Id="rId6" Type="http://schemas.openxmlformats.org/officeDocument/2006/relationships/slideMaster" Target="../slideMasters/slideMaster11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66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66.vml"/><Relationship Id="rId2" Type="http://schemas.openxmlformats.org/officeDocument/2006/relationships/tags" Target="../tags/tag159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4" Type="http://schemas.openxmlformats.org/officeDocument/2006/relationships/tags" Target="../tags/tag165.xml"/><Relationship Id="rId5" Type="http://schemas.openxmlformats.org/officeDocument/2006/relationships/tags" Target="../tags/tag166.xml"/><Relationship Id="rId6" Type="http://schemas.openxmlformats.org/officeDocument/2006/relationships/tags" Target="../tags/tag167.xml"/><Relationship Id="rId7" Type="http://schemas.openxmlformats.org/officeDocument/2006/relationships/slideMaster" Target="../slideMasters/slideMaster11.xml"/><Relationship Id="rId8" Type="http://schemas.openxmlformats.org/officeDocument/2006/relationships/oleObject" Target="../embeddings/oleObject67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67.vml"/><Relationship Id="rId2" Type="http://schemas.openxmlformats.org/officeDocument/2006/relationships/tags" Target="../tags/tag16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69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69.vml"/><Relationship Id="rId2" Type="http://schemas.openxmlformats.org/officeDocument/2006/relationships/tags" Target="../tags/tag169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70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70.vml"/><Relationship Id="rId2" Type="http://schemas.openxmlformats.org/officeDocument/2006/relationships/tags" Target="../tags/tag17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7.vml"/><Relationship Id="rId2" Type="http://schemas.openxmlformats.org/officeDocument/2006/relationships/tags" Target="../tags/tag17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4" Type="http://schemas.openxmlformats.org/officeDocument/2006/relationships/tags" Target="../tags/tag173.xml"/><Relationship Id="rId5" Type="http://schemas.openxmlformats.org/officeDocument/2006/relationships/slideMaster" Target="../slideMasters/slideMaster12.xml"/><Relationship Id="rId6" Type="http://schemas.openxmlformats.org/officeDocument/2006/relationships/oleObject" Target="../embeddings/oleObject71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71.vml"/><Relationship Id="rId2" Type="http://schemas.openxmlformats.org/officeDocument/2006/relationships/tags" Target="../tags/tag171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4" Type="http://schemas.openxmlformats.org/officeDocument/2006/relationships/tags" Target="../tags/tag176.xml"/><Relationship Id="rId5" Type="http://schemas.openxmlformats.org/officeDocument/2006/relationships/tags" Target="../tags/tag177.xml"/><Relationship Id="rId6" Type="http://schemas.openxmlformats.org/officeDocument/2006/relationships/slideMaster" Target="../slideMasters/slideMaster12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72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72.vml"/><Relationship Id="rId2" Type="http://schemas.openxmlformats.org/officeDocument/2006/relationships/tags" Target="../tags/tag17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4" Type="http://schemas.openxmlformats.org/officeDocument/2006/relationships/tags" Target="../tags/tag180.xml"/><Relationship Id="rId5" Type="http://schemas.openxmlformats.org/officeDocument/2006/relationships/tags" Target="../tags/tag181.xml"/><Relationship Id="rId6" Type="http://schemas.openxmlformats.org/officeDocument/2006/relationships/tags" Target="../tags/tag182.xml"/><Relationship Id="rId7" Type="http://schemas.openxmlformats.org/officeDocument/2006/relationships/slideMaster" Target="../slideMasters/slideMaster12.xml"/><Relationship Id="rId8" Type="http://schemas.openxmlformats.org/officeDocument/2006/relationships/oleObject" Target="../embeddings/oleObject73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73.vml"/><Relationship Id="rId2" Type="http://schemas.openxmlformats.org/officeDocument/2006/relationships/tags" Target="../tags/tag17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75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75.vml"/><Relationship Id="rId2" Type="http://schemas.openxmlformats.org/officeDocument/2006/relationships/tags" Target="../tags/tag184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76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7.png"/><Relationship Id="rId1" Type="http://schemas.openxmlformats.org/officeDocument/2006/relationships/vmlDrawing" Target="../drawings/vmlDrawing76.vml"/><Relationship Id="rId2" Type="http://schemas.openxmlformats.org/officeDocument/2006/relationships/tags" Target="../tags/tag18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9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9.vml"/><Relationship Id="rId2" Type="http://schemas.openxmlformats.org/officeDocument/2006/relationships/tags" Target="../tags/tag19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4" Type="http://schemas.openxmlformats.org/officeDocument/2006/relationships/tags" Target="../tags/tag188.xml"/><Relationship Id="rId5" Type="http://schemas.openxmlformats.org/officeDocument/2006/relationships/slideMaster" Target="../slideMasters/slideMaster13.xml"/><Relationship Id="rId6" Type="http://schemas.openxmlformats.org/officeDocument/2006/relationships/oleObject" Target="../embeddings/oleObject77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7.png"/><Relationship Id="rId10" Type="http://schemas.openxmlformats.org/officeDocument/2006/relationships/image" Target="../media/image8.jpeg"/><Relationship Id="rId1" Type="http://schemas.openxmlformats.org/officeDocument/2006/relationships/vmlDrawing" Target="../drawings/vmlDrawing77.vml"/><Relationship Id="rId2" Type="http://schemas.openxmlformats.org/officeDocument/2006/relationships/tags" Target="../tags/tag186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4" Type="http://schemas.openxmlformats.org/officeDocument/2006/relationships/tags" Target="../tags/tag191.xml"/><Relationship Id="rId5" Type="http://schemas.openxmlformats.org/officeDocument/2006/relationships/tags" Target="../tags/tag192.xml"/><Relationship Id="rId6" Type="http://schemas.openxmlformats.org/officeDocument/2006/relationships/slideMaster" Target="../slideMasters/slideMaster13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78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78.vml"/><Relationship Id="rId2" Type="http://schemas.openxmlformats.org/officeDocument/2006/relationships/tags" Target="../tags/tag189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4" Type="http://schemas.openxmlformats.org/officeDocument/2006/relationships/tags" Target="../tags/tag195.xml"/><Relationship Id="rId5" Type="http://schemas.openxmlformats.org/officeDocument/2006/relationships/tags" Target="../tags/tag196.xml"/><Relationship Id="rId6" Type="http://schemas.openxmlformats.org/officeDocument/2006/relationships/tags" Target="../tags/tag197.xml"/><Relationship Id="rId7" Type="http://schemas.openxmlformats.org/officeDocument/2006/relationships/slideMaster" Target="../slideMasters/slideMaster13.xml"/><Relationship Id="rId8" Type="http://schemas.openxmlformats.org/officeDocument/2006/relationships/oleObject" Target="../embeddings/oleObject79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79.vml"/><Relationship Id="rId2" Type="http://schemas.openxmlformats.org/officeDocument/2006/relationships/tags" Target="../tags/tag19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81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81.vml"/><Relationship Id="rId2" Type="http://schemas.openxmlformats.org/officeDocument/2006/relationships/tags" Target="../tags/tag199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82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7.png"/><Relationship Id="rId1" Type="http://schemas.openxmlformats.org/officeDocument/2006/relationships/vmlDrawing" Target="../drawings/vmlDrawing82.vml"/><Relationship Id="rId2" Type="http://schemas.openxmlformats.org/officeDocument/2006/relationships/tags" Target="../tags/tag20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10.vml"/><Relationship Id="rId2" Type="http://schemas.openxmlformats.org/officeDocument/2006/relationships/tags" Target="../tags/tag20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4" Type="http://schemas.openxmlformats.org/officeDocument/2006/relationships/tags" Target="../tags/tag203.xml"/><Relationship Id="rId5" Type="http://schemas.openxmlformats.org/officeDocument/2006/relationships/slideMaster" Target="../slideMasters/slideMaster14.xml"/><Relationship Id="rId6" Type="http://schemas.openxmlformats.org/officeDocument/2006/relationships/oleObject" Target="../embeddings/oleObject83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7.png"/><Relationship Id="rId10" Type="http://schemas.openxmlformats.org/officeDocument/2006/relationships/image" Target="../media/image8.jpeg"/><Relationship Id="rId1" Type="http://schemas.openxmlformats.org/officeDocument/2006/relationships/vmlDrawing" Target="../drawings/vmlDrawing83.vml"/><Relationship Id="rId2" Type="http://schemas.openxmlformats.org/officeDocument/2006/relationships/tags" Target="../tags/tag201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4" Type="http://schemas.openxmlformats.org/officeDocument/2006/relationships/tags" Target="../tags/tag206.xml"/><Relationship Id="rId5" Type="http://schemas.openxmlformats.org/officeDocument/2006/relationships/tags" Target="../tags/tag207.xml"/><Relationship Id="rId6" Type="http://schemas.openxmlformats.org/officeDocument/2006/relationships/slideMaster" Target="../slideMasters/slideMaster14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84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84.vml"/><Relationship Id="rId2" Type="http://schemas.openxmlformats.org/officeDocument/2006/relationships/tags" Target="../tags/tag204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4" Type="http://schemas.openxmlformats.org/officeDocument/2006/relationships/tags" Target="../tags/tag210.xml"/><Relationship Id="rId5" Type="http://schemas.openxmlformats.org/officeDocument/2006/relationships/tags" Target="../tags/tag211.xml"/><Relationship Id="rId6" Type="http://schemas.openxmlformats.org/officeDocument/2006/relationships/tags" Target="../tags/tag212.xml"/><Relationship Id="rId7" Type="http://schemas.openxmlformats.org/officeDocument/2006/relationships/slideMaster" Target="../slideMasters/slideMaster14.xml"/><Relationship Id="rId8" Type="http://schemas.openxmlformats.org/officeDocument/2006/relationships/oleObject" Target="../embeddings/oleObject85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85.vml"/><Relationship Id="rId2" Type="http://schemas.openxmlformats.org/officeDocument/2006/relationships/tags" Target="../tags/tag20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87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87.vml"/><Relationship Id="rId2" Type="http://schemas.openxmlformats.org/officeDocument/2006/relationships/tags" Target="../tags/tag214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88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88.vml"/><Relationship Id="rId2" Type="http://schemas.openxmlformats.org/officeDocument/2006/relationships/tags" Target="../tags/tag2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4" Type="http://schemas.openxmlformats.org/officeDocument/2006/relationships/tags" Target="../tags/tag218.xml"/><Relationship Id="rId5" Type="http://schemas.openxmlformats.org/officeDocument/2006/relationships/slideMaster" Target="../slideMasters/slideMaster15.xml"/><Relationship Id="rId6" Type="http://schemas.openxmlformats.org/officeDocument/2006/relationships/oleObject" Target="../embeddings/oleObject89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89.vml"/><Relationship Id="rId2" Type="http://schemas.openxmlformats.org/officeDocument/2006/relationships/tags" Target="../tags/tag216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4" Type="http://schemas.openxmlformats.org/officeDocument/2006/relationships/tags" Target="../tags/tag221.xml"/><Relationship Id="rId5" Type="http://schemas.openxmlformats.org/officeDocument/2006/relationships/tags" Target="../tags/tag222.xml"/><Relationship Id="rId6" Type="http://schemas.openxmlformats.org/officeDocument/2006/relationships/slideMaster" Target="../slideMasters/slideMaster15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90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90.vml"/><Relationship Id="rId2" Type="http://schemas.openxmlformats.org/officeDocument/2006/relationships/tags" Target="../tags/tag219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4" Type="http://schemas.openxmlformats.org/officeDocument/2006/relationships/tags" Target="../tags/tag225.xml"/><Relationship Id="rId5" Type="http://schemas.openxmlformats.org/officeDocument/2006/relationships/tags" Target="../tags/tag226.xml"/><Relationship Id="rId6" Type="http://schemas.openxmlformats.org/officeDocument/2006/relationships/tags" Target="../tags/tag227.xml"/><Relationship Id="rId7" Type="http://schemas.openxmlformats.org/officeDocument/2006/relationships/slideMaster" Target="../slideMasters/slideMaster15.xml"/><Relationship Id="rId8" Type="http://schemas.openxmlformats.org/officeDocument/2006/relationships/oleObject" Target="../embeddings/oleObject91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91.vml"/><Relationship Id="rId2" Type="http://schemas.openxmlformats.org/officeDocument/2006/relationships/tags" Target="../tags/tag22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9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93.vml"/><Relationship Id="rId2" Type="http://schemas.openxmlformats.org/officeDocument/2006/relationships/tags" Target="../tags/tag229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94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94.vml"/><Relationship Id="rId2" Type="http://schemas.openxmlformats.org/officeDocument/2006/relationships/tags" Target="../tags/tag230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4" Type="http://schemas.openxmlformats.org/officeDocument/2006/relationships/tags" Target="../tags/tag233.xml"/><Relationship Id="rId5" Type="http://schemas.openxmlformats.org/officeDocument/2006/relationships/slideMaster" Target="../slideMasters/slideMaster16.xml"/><Relationship Id="rId6" Type="http://schemas.openxmlformats.org/officeDocument/2006/relationships/oleObject" Target="../embeddings/oleObject95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95.vml"/><Relationship Id="rId2" Type="http://schemas.openxmlformats.org/officeDocument/2006/relationships/tags" Target="../tags/tag23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tags" Target="../tags/tag235.xml"/><Relationship Id="rId4" Type="http://schemas.openxmlformats.org/officeDocument/2006/relationships/tags" Target="../tags/tag236.xml"/><Relationship Id="rId5" Type="http://schemas.openxmlformats.org/officeDocument/2006/relationships/tags" Target="../tags/tag237.xml"/><Relationship Id="rId6" Type="http://schemas.openxmlformats.org/officeDocument/2006/relationships/slideMaster" Target="../slideMasters/slideMaster16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96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96.vml"/><Relationship Id="rId2" Type="http://schemas.openxmlformats.org/officeDocument/2006/relationships/tags" Target="../tags/tag23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4" Type="http://schemas.openxmlformats.org/officeDocument/2006/relationships/tags" Target="../tags/tag240.xml"/><Relationship Id="rId5" Type="http://schemas.openxmlformats.org/officeDocument/2006/relationships/tags" Target="../tags/tag241.xml"/><Relationship Id="rId6" Type="http://schemas.openxmlformats.org/officeDocument/2006/relationships/tags" Target="../tags/tag242.xml"/><Relationship Id="rId7" Type="http://schemas.openxmlformats.org/officeDocument/2006/relationships/slideMaster" Target="../slideMasters/slideMaster16.xml"/><Relationship Id="rId8" Type="http://schemas.openxmlformats.org/officeDocument/2006/relationships/oleObject" Target="../embeddings/oleObject97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97.vml"/><Relationship Id="rId2" Type="http://schemas.openxmlformats.org/officeDocument/2006/relationships/tags" Target="../tags/tag23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99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99.vml"/><Relationship Id="rId2" Type="http://schemas.openxmlformats.org/officeDocument/2006/relationships/tags" Target="../tags/tag244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100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100.vml"/><Relationship Id="rId2" Type="http://schemas.openxmlformats.org/officeDocument/2006/relationships/tags" Target="../tags/tag24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4" Type="http://schemas.openxmlformats.org/officeDocument/2006/relationships/tags" Target="../tags/tag248.xml"/><Relationship Id="rId5" Type="http://schemas.openxmlformats.org/officeDocument/2006/relationships/slideMaster" Target="../slideMasters/slideMaster17.xml"/><Relationship Id="rId6" Type="http://schemas.openxmlformats.org/officeDocument/2006/relationships/oleObject" Target="../embeddings/oleObject101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101.vml"/><Relationship Id="rId2" Type="http://schemas.openxmlformats.org/officeDocument/2006/relationships/tags" Target="../tags/tag24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slideMaster" Target="../slideMasters/slideMaster2.xml"/><Relationship Id="rId6" Type="http://schemas.openxmlformats.org/officeDocument/2006/relationships/oleObject" Target="../embeddings/oleObject11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11.vml"/><Relationship Id="rId2" Type="http://schemas.openxmlformats.org/officeDocument/2006/relationships/tags" Target="../tags/tag2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4" Type="http://schemas.openxmlformats.org/officeDocument/2006/relationships/tags" Target="../tags/tag251.xml"/><Relationship Id="rId5" Type="http://schemas.openxmlformats.org/officeDocument/2006/relationships/tags" Target="../tags/tag252.xml"/><Relationship Id="rId6" Type="http://schemas.openxmlformats.org/officeDocument/2006/relationships/slideMaster" Target="../slideMasters/slideMaster17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102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102.vml"/><Relationship Id="rId2" Type="http://schemas.openxmlformats.org/officeDocument/2006/relationships/tags" Target="../tags/tag249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4" Type="http://schemas.openxmlformats.org/officeDocument/2006/relationships/tags" Target="../tags/tag255.xml"/><Relationship Id="rId5" Type="http://schemas.openxmlformats.org/officeDocument/2006/relationships/tags" Target="../tags/tag256.xml"/><Relationship Id="rId6" Type="http://schemas.openxmlformats.org/officeDocument/2006/relationships/tags" Target="../tags/tag257.xml"/><Relationship Id="rId7" Type="http://schemas.openxmlformats.org/officeDocument/2006/relationships/slideMaster" Target="../slideMasters/slideMaster17.xml"/><Relationship Id="rId8" Type="http://schemas.openxmlformats.org/officeDocument/2006/relationships/oleObject" Target="../embeddings/oleObject103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03.vml"/><Relationship Id="rId2" Type="http://schemas.openxmlformats.org/officeDocument/2006/relationships/tags" Target="../tags/tag25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105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05.vml"/><Relationship Id="rId2" Type="http://schemas.openxmlformats.org/officeDocument/2006/relationships/tags" Target="../tags/tag259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4" Type="http://schemas.openxmlformats.org/officeDocument/2006/relationships/oleObject" Target="../embeddings/oleObject106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106.vml"/><Relationship Id="rId2" Type="http://schemas.openxmlformats.org/officeDocument/2006/relationships/tags" Target="../tags/tag26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tags" Target="../tags/tag262.xml"/><Relationship Id="rId4" Type="http://schemas.openxmlformats.org/officeDocument/2006/relationships/tags" Target="../tags/tag263.xml"/><Relationship Id="rId5" Type="http://schemas.openxmlformats.org/officeDocument/2006/relationships/slideMaster" Target="../slideMasters/slideMaster18.xml"/><Relationship Id="rId6" Type="http://schemas.openxmlformats.org/officeDocument/2006/relationships/oleObject" Target="../embeddings/oleObject107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107.vml"/><Relationship Id="rId2" Type="http://schemas.openxmlformats.org/officeDocument/2006/relationships/tags" Target="../tags/tag26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4" Type="http://schemas.openxmlformats.org/officeDocument/2006/relationships/tags" Target="../tags/tag26.xml"/><Relationship Id="rId5" Type="http://schemas.openxmlformats.org/officeDocument/2006/relationships/tags" Target="../tags/tag27.xml"/><Relationship Id="rId6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12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12.vml"/><Relationship Id="rId2" Type="http://schemas.openxmlformats.org/officeDocument/2006/relationships/tags" Target="../tags/tag24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4" Type="http://schemas.openxmlformats.org/officeDocument/2006/relationships/tags" Target="../tags/tag266.xml"/><Relationship Id="rId5" Type="http://schemas.openxmlformats.org/officeDocument/2006/relationships/tags" Target="../tags/tag267.xml"/><Relationship Id="rId6" Type="http://schemas.openxmlformats.org/officeDocument/2006/relationships/slideMaster" Target="../slideMasters/slideMaster18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108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108.vml"/><Relationship Id="rId2" Type="http://schemas.openxmlformats.org/officeDocument/2006/relationships/tags" Target="../tags/tag264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4" Type="http://schemas.openxmlformats.org/officeDocument/2006/relationships/tags" Target="../tags/tag270.xml"/><Relationship Id="rId5" Type="http://schemas.openxmlformats.org/officeDocument/2006/relationships/tags" Target="../tags/tag271.xml"/><Relationship Id="rId6" Type="http://schemas.openxmlformats.org/officeDocument/2006/relationships/tags" Target="../tags/tag272.xml"/><Relationship Id="rId7" Type="http://schemas.openxmlformats.org/officeDocument/2006/relationships/slideMaster" Target="../slideMasters/slideMaster18.xml"/><Relationship Id="rId8" Type="http://schemas.openxmlformats.org/officeDocument/2006/relationships/oleObject" Target="../embeddings/oleObject109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09.vml"/><Relationship Id="rId2" Type="http://schemas.openxmlformats.org/officeDocument/2006/relationships/tags" Target="../tags/tag268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111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11.vml"/><Relationship Id="rId2" Type="http://schemas.openxmlformats.org/officeDocument/2006/relationships/tags" Target="../tags/tag274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4" Type="http://schemas.openxmlformats.org/officeDocument/2006/relationships/oleObject" Target="../embeddings/oleObject112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112.vml"/><Relationship Id="rId2" Type="http://schemas.openxmlformats.org/officeDocument/2006/relationships/tags" Target="../tags/tag27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tags" Target="../tags/tag277.xml"/><Relationship Id="rId4" Type="http://schemas.openxmlformats.org/officeDocument/2006/relationships/tags" Target="../tags/tag278.xml"/><Relationship Id="rId5" Type="http://schemas.openxmlformats.org/officeDocument/2006/relationships/slideMaster" Target="../slideMasters/slideMaster19.xml"/><Relationship Id="rId6" Type="http://schemas.openxmlformats.org/officeDocument/2006/relationships/oleObject" Target="../embeddings/oleObject113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113.vml"/><Relationship Id="rId2" Type="http://schemas.openxmlformats.org/officeDocument/2006/relationships/tags" Target="../tags/tag276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tags" Target="../tags/tag280.xml"/><Relationship Id="rId4" Type="http://schemas.openxmlformats.org/officeDocument/2006/relationships/tags" Target="../tags/tag281.xml"/><Relationship Id="rId5" Type="http://schemas.openxmlformats.org/officeDocument/2006/relationships/tags" Target="../tags/tag282.xml"/><Relationship Id="rId6" Type="http://schemas.openxmlformats.org/officeDocument/2006/relationships/slideMaster" Target="../slideMasters/slideMaster19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114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114.vml"/><Relationship Id="rId2" Type="http://schemas.openxmlformats.org/officeDocument/2006/relationships/tags" Target="../tags/tag27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4" Type="http://schemas.openxmlformats.org/officeDocument/2006/relationships/tags" Target="../tags/tag30.xml"/><Relationship Id="rId5" Type="http://schemas.openxmlformats.org/officeDocument/2006/relationships/tags" Target="../tags/tag31.xml"/><Relationship Id="rId6" Type="http://schemas.openxmlformats.org/officeDocument/2006/relationships/tags" Target="../tags/tag32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13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3.vml"/><Relationship Id="rId2" Type="http://schemas.openxmlformats.org/officeDocument/2006/relationships/tags" Target="../tags/tag28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tags" Target="../tags/tag284.xml"/><Relationship Id="rId4" Type="http://schemas.openxmlformats.org/officeDocument/2006/relationships/tags" Target="../tags/tag285.xml"/><Relationship Id="rId5" Type="http://schemas.openxmlformats.org/officeDocument/2006/relationships/tags" Target="../tags/tag286.xml"/><Relationship Id="rId6" Type="http://schemas.openxmlformats.org/officeDocument/2006/relationships/tags" Target="../tags/tag287.xml"/><Relationship Id="rId7" Type="http://schemas.openxmlformats.org/officeDocument/2006/relationships/slideMaster" Target="../slideMasters/slideMaster19.xml"/><Relationship Id="rId8" Type="http://schemas.openxmlformats.org/officeDocument/2006/relationships/oleObject" Target="../embeddings/oleObject115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15.vml"/><Relationship Id="rId2" Type="http://schemas.openxmlformats.org/officeDocument/2006/relationships/tags" Target="../tags/tag28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117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17.vml"/><Relationship Id="rId2" Type="http://schemas.openxmlformats.org/officeDocument/2006/relationships/tags" Target="../tags/tag289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4" Type="http://schemas.openxmlformats.org/officeDocument/2006/relationships/oleObject" Target="../embeddings/oleObject118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118.vml"/><Relationship Id="rId2" Type="http://schemas.openxmlformats.org/officeDocument/2006/relationships/tags" Target="../tags/tag29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tags" Target="../tags/tag292.xml"/><Relationship Id="rId4" Type="http://schemas.openxmlformats.org/officeDocument/2006/relationships/tags" Target="../tags/tag293.xml"/><Relationship Id="rId5" Type="http://schemas.openxmlformats.org/officeDocument/2006/relationships/slideMaster" Target="../slideMasters/slideMaster20.xml"/><Relationship Id="rId6" Type="http://schemas.openxmlformats.org/officeDocument/2006/relationships/oleObject" Target="../embeddings/oleObject119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119.vml"/><Relationship Id="rId2" Type="http://schemas.openxmlformats.org/officeDocument/2006/relationships/tags" Target="../tags/tag291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tags" Target="../tags/tag295.xml"/><Relationship Id="rId4" Type="http://schemas.openxmlformats.org/officeDocument/2006/relationships/tags" Target="../tags/tag296.xml"/><Relationship Id="rId5" Type="http://schemas.openxmlformats.org/officeDocument/2006/relationships/tags" Target="../tags/tag297.xml"/><Relationship Id="rId6" Type="http://schemas.openxmlformats.org/officeDocument/2006/relationships/slideMaster" Target="../slideMasters/slideMaster20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120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120.vml"/><Relationship Id="rId2" Type="http://schemas.openxmlformats.org/officeDocument/2006/relationships/tags" Target="../tags/tag29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tags" Target="../tags/tag299.xml"/><Relationship Id="rId4" Type="http://schemas.openxmlformats.org/officeDocument/2006/relationships/tags" Target="../tags/tag300.xml"/><Relationship Id="rId5" Type="http://schemas.openxmlformats.org/officeDocument/2006/relationships/tags" Target="../tags/tag301.xml"/><Relationship Id="rId6" Type="http://schemas.openxmlformats.org/officeDocument/2006/relationships/tags" Target="../tags/tag302.xml"/><Relationship Id="rId7" Type="http://schemas.openxmlformats.org/officeDocument/2006/relationships/slideMaster" Target="../slideMasters/slideMaster20.xml"/><Relationship Id="rId8" Type="http://schemas.openxmlformats.org/officeDocument/2006/relationships/oleObject" Target="../embeddings/oleObject121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21.vml"/><Relationship Id="rId2" Type="http://schemas.openxmlformats.org/officeDocument/2006/relationships/tags" Target="../tags/tag29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12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23.vml"/><Relationship Id="rId2" Type="http://schemas.openxmlformats.org/officeDocument/2006/relationships/tags" Target="../tags/tag304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4" Type="http://schemas.openxmlformats.org/officeDocument/2006/relationships/oleObject" Target="../embeddings/oleObject124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124.vml"/><Relationship Id="rId2" Type="http://schemas.openxmlformats.org/officeDocument/2006/relationships/tags" Target="../tags/tag30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tags" Target="../tags/tag307.xml"/><Relationship Id="rId4" Type="http://schemas.openxmlformats.org/officeDocument/2006/relationships/tags" Target="../tags/tag308.xml"/><Relationship Id="rId5" Type="http://schemas.openxmlformats.org/officeDocument/2006/relationships/slideMaster" Target="../slideMasters/slideMaster21.xml"/><Relationship Id="rId6" Type="http://schemas.openxmlformats.org/officeDocument/2006/relationships/oleObject" Target="../embeddings/oleObject125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125.vml"/><Relationship Id="rId2" Type="http://schemas.openxmlformats.org/officeDocument/2006/relationships/tags" Target="../tags/tag306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4" Type="http://schemas.openxmlformats.org/officeDocument/2006/relationships/tags" Target="../tags/tag311.xml"/><Relationship Id="rId5" Type="http://schemas.openxmlformats.org/officeDocument/2006/relationships/tags" Target="../tags/tag312.xml"/><Relationship Id="rId6" Type="http://schemas.openxmlformats.org/officeDocument/2006/relationships/slideMaster" Target="../slideMasters/slideMaster21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126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126.vml"/><Relationship Id="rId2" Type="http://schemas.openxmlformats.org/officeDocument/2006/relationships/tags" Target="../tags/tag30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4" Type="http://schemas.openxmlformats.org/officeDocument/2006/relationships/tags" Target="../tags/tag315.xml"/><Relationship Id="rId5" Type="http://schemas.openxmlformats.org/officeDocument/2006/relationships/tags" Target="../tags/tag316.xml"/><Relationship Id="rId6" Type="http://schemas.openxmlformats.org/officeDocument/2006/relationships/tags" Target="../tags/tag317.xml"/><Relationship Id="rId7" Type="http://schemas.openxmlformats.org/officeDocument/2006/relationships/slideMaster" Target="../slideMasters/slideMaster21.xml"/><Relationship Id="rId8" Type="http://schemas.openxmlformats.org/officeDocument/2006/relationships/oleObject" Target="../embeddings/oleObject127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27.vml"/><Relationship Id="rId2" Type="http://schemas.openxmlformats.org/officeDocument/2006/relationships/tags" Target="../tags/tag31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129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29.vml"/><Relationship Id="rId2" Type="http://schemas.openxmlformats.org/officeDocument/2006/relationships/tags" Target="../tags/tag319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4" Type="http://schemas.openxmlformats.org/officeDocument/2006/relationships/oleObject" Target="../embeddings/oleObject130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130.vml"/><Relationship Id="rId2" Type="http://schemas.openxmlformats.org/officeDocument/2006/relationships/tags" Target="../tags/tag32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tags" Target="../tags/tag322.xml"/><Relationship Id="rId4" Type="http://schemas.openxmlformats.org/officeDocument/2006/relationships/tags" Target="../tags/tag323.xml"/><Relationship Id="rId5" Type="http://schemas.openxmlformats.org/officeDocument/2006/relationships/slideMaster" Target="../slideMasters/slideMaster22.xml"/><Relationship Id="rId6" Type="http://schemas.openxmlformats.org/officeDocument/2006/relationships/oleObject" Target="../embeddings/oleObject131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131.vml"/><Relationship Id="rId2" Type="http://schemas.openxmlformats.org/officeDocument/2006/relationships/tags" Target="../tags/tag321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tags" Target="../tags/tag325.xml"/><Relationship Id="rId4" Type="http://schemas.openxmlformats.org/officeDocument/2006/relationships/tags" Target="../tags/tag326.xml"/><Relationship Id="rId5" Type="http://schemas.openxmlformats.org/officeDocument/2006/relationships/tags" Target="../tags/tag327.xml"/><Relationship Id="rId6" Type="http://schemas.openxmlformats.org/officeDocument/2006/relationships/slideMaster" Target="../slideMasters/slideMaster22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132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132.vml"/><Relationship Id="rId2" Type="http://schemas.openxmlformats.org/officeDocument/2006/relationships/tags" Target="../tags/tag324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tags" Target="../tags/tag329.xml"/><Relationship Id="rId4" Type="http://schemas.openxmlformats.org/officeDocument/2006/relationships/tags" Target="../tags/tag330.xml"/><Relationship Id="rId5" Type="http://schemas.openxmlformats.org/officeDocument/2006/relationships/tags" Target="../tags/tag331.xml"/><Relationship Id="rId6" Type="http://schemas.openxmlformats.org/officeDocument/2006/relationships/tags" Target="../tags/tag332.xml"/><Relationship Id="rId7" Type="http://schemas.openxmlformats.org/officeDocument/2006/relationships/slideMaster" Target="../slideMasters/slideMaster22.xml"/><Relationship Id="rId8" Type="http://schemas.openxmlformats.org/officeDocument/2006/relationships/oleObject" Target="../embeddings/oleObject133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33.vml"/><Relationship Id="rId2" Type="http://schemas.openxmlformats.org/officeDocument/2006/relationships/tags" Target="../tags/tag32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135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35.vml"/><Relationship Id="rId2" Type="http://schemas.openxmlformats.org/officeDocument/2006/relationships/tags" Target="../tags/tag334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4" Type="http://schemas.openxmlformats.org/officeDocument/2006/relationships/oleObject" Target="../embeddings/oleObject136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136.vml"/><Relationship Id="rId2" Type="http://schemas.openxmlformats.org/officeDocument/2006/relationships/tags" Target="../tags/tag33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tags" Target="../tags/tag337.xml"/><Relationship Id="rId4" Type="http://schemas.openxmlformats.org/officeDocument/2006/relationships/tags" Target="../tags/tag338.xml"/><Relationship Id="rId5" Type="http://schemas.openxmlformats.org/officeDocument/2006/relationships/slideMaster" Target="../slideMasters/slideMaster23.xml"/><Relationship Id="rId6" Type="http://schemas.openxmlformats.org/officeDocument/2006/relationships/oleObject" Target="../embeddings/oleObject137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137.vml"/><Relationship Id="rId2" Type="http://schemas.openxmlformats.org/officeDocument/2006/relationships/tags" Target="../tags/tag336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tags" Target="../tags/tag340.xml"/><Relationship Id="rId4" Type="http://schemas.openxmlformats.org/officeDocument/2006/relationships/tags" Target="../tags/tag341.xml"/><Relationship Id="rId5" Type="http://schemas.openxmlformats.org/officeDocument/2006/relationships/tags" Target="../tags/tag342.xml"/><Relationship Id="rId6" Type="http://schemas.openxmlformats.org/officeDocument/2006/relationships/slideMaster" Target="../slideMasters/slideMaster23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138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138.vml"/><Relationship Id="rId2" Type="http://schemas.openxmlformats.org/officeDocument/2006/relationships/tags" Target="../tags/tag339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tags" Target="../tags/tag344.xml"/><Relationship Id="rId4" Type="http://schemas.openxmlformats.org/officeDocument/2006/relationships/tags" Target="../tags/tag345.xml"/><Relationship Id="rId5" Type="http://schemas.openxmlformats.org/officeDocument/2006/relationships/tags" Target="../tags/tag346.xml"/><Relationship Id="rId6" Type="http://schemas.openxmlformats.org/officeDocument/2006/relationships/tags" Target="../tags/tag347.xml"/><Relationship Id="rId7" Type="http://schemas.openxmlformats.org/officeDocument/2006/relationships/slideMaster" Target="../slideMasters/slideMaster23.xml"/><Relationship Id="rId8" Type="http://schemas.openxmlformats.org/officeDocument/2006/relationships/oleObject" Target="../embeddings/oleObject139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39.vml"/><Relationship Id="rId2" Type="http://schemas.openxmlformats.org/officeDocument/2006/relationships/tags" Target="../tags/tag34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15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5.vml"/><Relationship Id="rId2" Type="http://schemas.openxmlformats.org/officeDocument/2006/relationships/tags" Target="../tags/tag34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141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41.vml"/><Relationship Id="rId2" Type="http://schemas.openxmlformats.org/officeDocument/2006/relationships/tags" Target="../tags/tag349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4" Type="http://schemas.openxmlformats.org/officeDocument/2006/relationships/oleObject" Target="../embeddings/oleObject142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142.vml"/><Relationship Id="rId2" Type="http://schemas.openxmlformats.org/officeDocument/2006/relationships/tags" Target="../tags/tag35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tags" Target="../tags/tag352.xml"/><Relationship Id="rId4" Type="http://schemas.openxmlformats.org/officeDocument/2006/relationships/tags" Target="../tags/tag353.xml"/><Relationship Id="rId5" Type="http://schemas.openxmlformats.org/officeDocument/2006/relationships/slideMaster" Target="../slideMasters/slideMaster24.xml"/><Relationship Id="rId6" Type="http://schemas.openxmlformats.org/officeDocument/2006/relationships/oleObject" Target="../embeddings/oleObject143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143.vml"/><Relationship Id="rId2" Type="http://schemas.openxmlformats.org/officeDocument/2006/relationships/tags" Target="../tags/tag351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tags" Target="../tags/tag355.xml"/><Relationship Id="rId4" Type="http://schemas.openxmlformats.org/officeDocument/2006/relationships/tags" Target="../tags/tag356.xml"/><Relationship Id="rId5" Type="http://schemas.openxmlformats.org/officeDocument/2006/relationships/tags" Target="../tags/tag357.xml"/><Relationship Id="rId6" Type="http://schemas.openxmlformats.org/officeDocument/2006/relationships/slideMaster" Target="../slideMasters/slideMaster24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144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144.vml"/><Relationship Id="rId2" Type="http://schemas.openxmlformats.org/officeDocument/2006/relationships/tags" Target="../tags/tag354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tags" Target="../tags/tag359.xml"/><Relationship Id="rId4" Type="http://schemas.openxmlformats.org/officeDocument/2006/relationships/tags" Target="../tags/tag360.xml"/><Relationship Id="rId5" Type="http://schemas.openxmlformats.org/officeDocument/2006/relationships/tags" Target="../tags/tag361.xml"/><Relationship Id="rId6" Type="http://schemas.openxmlformats.org/officeDocument/2006/relationships/tags" Target="../tags/tag362.xml"/><Relationship Id="rId7" Type="http://schemas.openxmlformats.org/officeDocument/2006/relationships/slideMaster" Target="../slideMasters/slideMaster24.xml"/><Relationship Id="rId8" Type="http://schemas.openxmlformats.org/officeDocument/2006/relationships/oleObject" Target="../embeddings/oleObject145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45.vml"/><Relationship Id="rId2" Type="http://schemas.openxmlformats.org/officeDocument/2006/relationships/tags" Target="../tags/tag358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16.vml"/><Relationship Id="rId2" Type="http://schemas.openxmlformats.org/officeDocument/2006/relationships/tags" Target="../tags/tag35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147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47.vml"/><Relationship Id="rId2" Type="http://schemas.openxmlformats.org/officeDocument/2006/relationships/tags" Target="../tags/tag364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4" Type="http://schemas.openxmlformats.org/officeDocument/2006/relationships/oleObject" Target="../embeddings/oleObject148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148.vml"/><Relationship Id="rId2" Type="http://schemas.openxmlformats.org/officeDocument/2006/relationships/tags" Target="../tags/tag365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tags" Target="../tags/tag367.xml"/><Relationship Id="rId4" Type="http://schemas.openxmlformats.org/officeDocument/2006/relationships/tags" Target="../tags/tag368.xml"/><Relationship Id="rId5" Type="http://schemas.openxmlformats.org/officeDocument/2006/relationships/slideMaster" Target="../slideMasters/slideMaster25.xml"/><Relationship Id="rId6" Type="http://schemas.openxmlformats.org/officeDocument/2006/relationships/oleObject" Target="../embeddings/oleObject149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149.vml"/><Relationship Id="rId2" Type="http://schemas.openxmlformats.org/officeDocument/2006/relationships/tags" Target="../tags/tag366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tags" Target="../tags/tag370.xml"/><Relationship Id="rId4" Type="http://schemas.openxmlformats.org/officeDocument/2006/relationships/tags" Target="../tags/tag371.xml"/><Relationship Id="rId5" Type="http://schemas.openxmlformats.org/officeDocument/2006/relationships/tags" Target="../tags/tag372.xml"/><Relationship Id="rId6" Type="http://schemas.openxmlformats.org/officeDocument/2006/relationships/slideMaster" Target="../slideMasters/slideMaster25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150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150.vml"/><Relationship Id="rId2" Type="http://schemas.openxmlformats.org/officeDocument/2006/relationships/tags" Target="../tags/tag369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tags" Target="../tags/tag374.xml"/><Relationship Id="rId4" Type="http://schemas.openxmlformats.org/officeDocument/2006/relationships/tags" Target="../tags/tag375.xml"/><Relationship Id="rId5" Type="http://schemas.openxmlformats.org/officeDocument/2006/relationships/tags" Target="../tags/tag376.xml"/><Relationship Id="rId6" Type="http://schemas.openxmlformats.org/officeDocument/2006/relationships/tags" Target="../tags/tag377.xml"/><Relationship Id="rId7" Type="http://schemas.openxmlformats.org/officeDocument/2006/relationships/slideMaster" Target="../slideMasters/slideMaster25.xml"/><Relationship Id="rId8" Type="http://schemas.openxmlformats.org/officeDocument/2006/relationships/oleObject" Target="../embeddings/oleObject151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51.vml"/><Relationship Id="rId2" Type="http://schemas.openxmlformats.org/officeDocument/2006/relationships/tags" Target="../tags/tag37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15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53.vml"/><Relationship Id="rId2" Type="http://schemas.openxmlformats.org/officeDocument/2006/relationships/tags" Target="../tags/tag379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4" Type="http://schemas.openxmlformats.org/officeDocument/2006/relationships/oleObject" Target="../embeddings/oleObject154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154.vml"/><Relationship Id="rId2" Type="http://schemas.openxmlformats.org/officeDocument/2006/relationships/tags" Target="../tags/tag380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tags" Target="../tags/tag382.xml"/><Relationship Id="rId4" Type="http://schemas.openxmlformats.org/officeDocument/2006/relationships/tags" Target="../tags/tag383.xml"/><Relationship Id="rId5" Type="http://schemas.openxmlformats.org/officeDocument/2006/relationships/slideMaster" Target="../slideMasters/slideMaster26.xml"/><Relationship Id="rId6" Type="http://schemas.openxmlformats.org/officeDocument/2006/relationships/oleObject" Target="../embeddings/oleObject155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155.vml"/><Relationship Id="rId2" Type="http://schemas.openxmlformats.org/officeDocument/2006/relationships/tags" Target="../tags/tag381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tags" Target="../tags/tag385.xml"/><Relationship Id="rId4" Type="http://schemas.openxmlformats.org/officeDocument/2006/relationships/tags" Target="../tags/tag386.xml"/><Relationship Id="rId5" Type="http://schemas.openxmlformats.org/officeDocument/2006/relationships/tags" Target="../tags/tag387.xml"/><Relationship Id="rId6" Type="http://schemas.openxmlformats.org/officeDocument/2006/relationships/slideMaster" Target="../slideMasters/slideMaster26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156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156.vml"/><Relationship Id="rId2" Type="http://schemas.openxmlformats.org/officeDocument/2006/relationships/tags" Target="../tags/tag38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tags" Target="../tags/tag389.xml"/><Relationship Id="rId4" Type="http://schemas.openxmlformats.org/officeDocument/2006/relationships/tags" Target="../tags/tag390.xml"/><Relationship Id="rId5" Type="http://schemas.openxmlformats.org/officeDocument/2006/relationships/tags" Target="../tags/tag391.xml"/><Relationship Id="rId6" Type="http://schemas.openxmlformats.org/officeDocument/2006/relationships/tags" Target="../tags/tag392.xml"/><Relationship Id="rId7" Type="http://schemas.openxmlformats.org/officeDocument/2006/relationships/slideMaster" Target="../slideMasters/slideMaster26.xml"/><Relationship Id="rId8" Type="http://schemas.openxmlformats.org/officeDocument/2006/relationships/oleObject" Target="../embeddings/oleObject157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57.vml"/><Relationship Id="rId2" Type="http://schemas.openxmlformats.org/officeDocument/2006/relationships/tags" Target="../tags/tag388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159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59.vml"/><Relationship Id="rId2" Type="http://schemas.openxmlformats.org/officeDocument/2006/relationships/tags" Target="../tags/tag394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4" Type="http://schemas.openxmlformats.org/officeDocument/2006/relationships/oleObject" Target="../embeddings/oleObject160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160.vml"/><Relationship Id="rId2" Type="http://schemas.openxmlformats.org/officeDocument/2006/relationships/tags" Target="../tags/tag395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tags" Target="../tags/tag397.xml"/><Relationship Id="rId4" Type="http://schemas.openxmlformats.org/officeDocument/2006/relationships/tags" Target="../tags/tag398.xml"/><Relationship Id="rId5" Type="http://schemas.openxmlformats.org/officeDocument/2006/relationships/slideMaster" Target="../slideMasters/slideMaster27.xml"/><Relationship Id="rId6" Type="http://schemas.openxmlformats.org/officeDocument/2006/relationships/oleObject" Target="../embeddings/oleObject161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161.vml"/><Relationship Id="rId2" Type="http://schemas.openxmlformats.org/officeDocument/2006/relationships/tags" Target="../tags/tag39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4" Type="http://schemas.openxmlformats.org/officeDocument/2006/relationships/tags" Target="../tags/tag38.xml"/><Relationship Id="rId5" Type="http://schemas.openxmlformats.org/officeDocument/2006/relationships/slideMaster" Target="../slideMasters/slideMaster3.xml"/><Relationship Id="rId6" Type="http://schemas.openxmlformats.org/officeDocument/2006/relationships/oleObject" Target="../embeddings/oleObject17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17.vml"/><Relationship Id="rId2" Type="http://schemas.openxmlformats.org/officeDocument/2006/relationships/tags" Target="../tags/tag36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tags" Target="../tags/tag400.xml"/><Relationship Id="rId4" Type="http://schemas.openxmlformats.org/officeDocument/2006/relationships/tags" Target="../tags/tag401.xml"/><Relationship Id="rId5" Type="http://schemas.openxmlformats.org/officeDocument/2006/relationships/tags" Target="../tags/tag402.xml"/><Relationship Id="rId6" Type="http://schemas.openxmlformats.org/officeDocument/2006/relationships/slideMaster" Target="../slideMasters/slideMaster27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162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162.vml"/><Relationship Id="rId2" Type="http://schemas.openxmlformats.org/officeDocument/2006/relationships/tags" Target="../tags/tag399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tags" Target="../tags/tag404.xml"/><Relationship Id="rId4" Type="http://schemas.openxmlformats.org/officeDocument/2006/relationships/tags" Target="../tags/tag405.xml"/><Relationship Id="rId5" Type="http://schemas.openxmlformats.org/officeDocument/2006/relationships/tags" Target="../tags/tag406.xml"/><Relationship Id="rId6" Type="http://schemas.openxmlformats.org/officeDocument/2006/relationships/tags" Target="../tags/tag407.xml"/><Relationship Id="rId7" Type="http://schemas.openxmlformats.org/officeDocument/2006/relationships/slideMaster" Target="../slideMasters/slideMaster27.xml"/><Relationship Id="rId8" Type="http://schemas.openxmlformats.org/officeDocument/2006/relationships/oleObject" Target="../embeddings/oleObject163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63.vml"/><Relationship Id="rId2" Type="http://schemas.openxmlformats.org/officeDocument/2006/relationships/tags" Target="../tags/tag40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165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65.vml"/><Relationship Id="rId2" Type="http://schemas.openxmlformats.org/officeDocument/2006/relationships/tags" Target="../tags/tag409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4" Type="http://schemas.openxmlformats.org/officeDocument/2006/relationships/oleObject" Target="../embeddings/oleObject166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166.vml"/><Relationship Id="rId2" Type="http://schemas.openxmlformats.org/officeDocument/2006/relationships/tags" Target="../tags/tag410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4" Type="http://schemas.openxmlformats.org/officeDocument/2006/relationships/tags" Target="../tags/tag41.xml"/><Relationship Id="rId5" Type="http://schemas.openxmlformats.org/officeDocument/2006/relationships/tags" Target="../tags/tag42.xml"/><Relationship Id="rId6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18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18.vml"/><Relationship Id="rId2" Type="http://schemas.openxmlformats.org/officeDocument/2006/relationships/tags" Target="../tags/tag39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tags" Target="../tags/tag412.xml"/><Relationship Id="rId4" Type="http://schemas.openxmlformats.org/officeDocument/2006/relationships/tags" Target="../tags/tag413.xml"/><Relationship Id="rId5" Type="http://schemas.openxmlformats.org/officeDocument/2006/relationships/slideMaster" Target="../slideMasters/slideMaster28.xml"/><Relationship Id="rId6" Type="http://schemas.openxmlformats.org/officeDocument/2006/relationships/oleObject" Target="../embeddings/oleObject167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167.vml"/><Relationship Id="rId2" Type="http://schemas.openxmlformats.org/officeDocument/2006/relationships/tags" Target="../tags/tag411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tags" Target="../tags/tag415.xml"/><Relationship Id="rId4" Type="http://schemas.openxmlformats.org/officeDocument/2006/relationships/tags" Target="../tags/tag416.xml"/><Relationship Id="rId5" Type="http://schemas.openxmlformats.org/officeDocument/2006/relationships/tags" Target="../tags/tag417.xml"/><Relationship Id="rId6" Type="http://schemas.openxmlformats.org/officeDocument/2006/relationships/slideMaster" Target="../slideMasters/slideMaster28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168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168.vml"/><Relationship Id="rId2" Type="http://schemas.openxmlformats.org/officeDocument/2006/relationships/tags" Target="../tags/tag414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tags" Target="../tags/tag419.xml"/><Relationship Id="rId4" Type="http://schemas.openxmlformats.org/officeDocument/2006/relationships/tags" Target="../tags/tag420.xml"/><Relationship Id="rId5" Type="http://schemas.openxmlformats.org/officeDocument/2006/relationships/tags" Target="../tags/tag421.xml"/><Relationship Id="rId6" Type="http://schemas.openxmlformats.org/officeDocument/2006/relationships/tags" Target="../tags/tag422.xml"/><Relationship Id="rId7" Type="http://schemas.openxmlformats.org/officeDocument/2006/relationships/slideMaster" Target="../slideMasters/slideMaster28.xml"/><Relationship Id="rId8" Type="http://schemas.openxmlformats.org/officeDocument/2006/relationships/oleObject" Target="../embeddings/oleObject169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69.vml"/><Relationship Id="rId2" Type="http://schemas.openxmlformats.org/officeDocument/2006/relationships/tags" Target="../tags/tag418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171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71.vml"/><Relationship Id="rId2" Type="http://schemas.openxmlformats.org/officeDocument/2006/relationships/tags" Target="../tags/tag424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4" Type="http://schemas.openxmlformats.org/officeDocument/2006/relationships/oleObject" Target="../embeddings/oleObject172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172.vml"/><Relationship Id="rId2" Type="http://schemas.openxmlformats.org/officeDocument/2006/relationships/tags" Target="../tags/tag42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4" Type="http://schemas.openxmlformats.org/officeDocument/2006/relationships/tags" Target="../tags/tag45.xml"/><Relationship Id="rId5" Type="http://schemas.openxmlformats.org/officeDocument/2006/relationships/tags" Target="../tags/tag46.xml"/><Relationship Id="rId6" Type="http://schemas.openxmlformats.org/officeDocument/2006/relationships/tags" Target="../tags/tag47.xml"/><Relationship Id="rId7" Type="http://schemas.openxmlformats.org/officeDocument/2006/relationships/slideMaster" Target="../slideMasters/slideMaster3.xml"/><Relationship Id="rId8" Type="http://schemas.openxmlformats.org/officeDocument/2006/relationships/oleObject" Target="../embeddings/oleObject19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9.vml"/><Relationship Id="rId2" Type="http://schemas.openxmlformats.org/officeDocument/2006/relationships/tags" Target="../tags/tag4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tags" Target="../tags/tag427.xml"/><Relationship Id="rId4" Type="http://schemas.openxmlformats.org/officeDocument/2006/relationships/tags" Target="../tags/tag428.xml"/><Relationship Id="rId5" Type="http://schemas.openxmlformats.org/officeDocument/2006/relationships/slideMaster" Target="../slideMasters/slideMaster29.xml"/><Relationship Id="rId6" Type="http://schemas.openxmlformats.org/officeDocument/2006/relationships/oleObject" Target="../embeddings/oleObject173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173.vml"/><Relationship Id="rId2" Type="http://schemas.openxmlformats.org/officeDocument/2006/relationships/tags" Target="../tags/tag426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tags" Target="../tags/tag430.xml"/><Relationship Id="rId4" Type="http://schemas.openxmlformats.org/officeDocument/2006/relationships/tags" Target="../tags/tag431.xml"/><Relationship Id="rId5" Type="http://schemas.openxmlformats.org/officeDocument/2006/relationships/tags" Target="../tags/tag432.xml"/><Relationship Id="rId6" Type="http://schemas.openxmlformats.org/officeDocument/2006/relationships/slideMaster" Target="../slideMasters/slideMaster29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174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174.vml"/><Relationship Id="rId2" Type="http://schemas.openxmlformats.org/officeDocument/2006/relationships/tags" Target="../tags/tag429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tags" Target="../tags/tag434.xml"/><Relationship Id="rId4" Type="http://schemas.openxmlformats.org/officeDocument/2006/relationships/tags" Target="../tags/tag435.xml"/><Relationship Id="rId5" Type="http://schemas.openxmlformats.org/officeDocument/2006/relationships/tags" Target="../tags/tag436.xml"/><Relationship Id="rId6" Type="http://schemas.openxmlformats.org/officeDocument/2006/relationships/tags" Target="../tags/tag437.xml"/><Relationship Id="rId7" Type="http://schemas.openxmlformats.org/officeDocument/2006/relationships/slideMaster" Target="../slideMasters/slideMaster29.xml"/><Relationship Id="rId8" Type="http://schemas.openxmlformats.org/officeDocument/2006/relationships/oleObject" Target="../embeddings/oleObject175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75.vml"/><Relationship Id="rId2" Type="http://schemas.openxmlformats.org/officeDocument/2006/relationships/tags" Target="../tags/tag433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177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77.vml"/><Relationship Id="rId2" Type="http://schemas.openxmlformats.org/officeDocument/2006/relationships/tags" Target="../tags/tag439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4" Type="http://schemas.openxmlformats.org/officeDocument/2006/relationships/oleObject" Target="../embeddings/oleObject178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178.vml"/><Relationship Id="rId2" Type="http://schemas.openxmlformats.org/officeDocument/2006/relationships/tags" Target="../tags/tag44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tags" Target="../tags/tag442.xml"/><Relationship Id="rId4" Type="http://schemas.openxmlformats.org/officeDocument/2006/relationships/tags" Target="../tags/tag443.xml"/><Relationship Id="rId5" Type="http://schemas.openxmlformats.org/officeDocument/2006/relationships/slideMaster" Target="../slideMasters/slideMaster30.xml"/><Relationship Id="rId6" Type="http://schemas.openxmlformats.org/officeDocument/2006/relationships/oleObject" Target="../embeddings/oleObject179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179.vml"/><Relationship Id="rId2" Type="http://schemas.openxmlformats.org/officeDocument/2006/relationships/tags" Target="../tags/tag441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tags" Target="../tags/tag445.xml"/><Relationship Id="rId4" Type="http://schemas.openxmlformats.org/officeDocument/2006/relationships/tags" Target="../tags/tag446.xml"/><Relationship Id="rId5" Type="http://schemas.openxmlformats.org/officeDocument/2006/relationships/tags" Target="../tags/tag447.xml"/><Relationship Id="rId6" Type="http://schemas.openxmlformats.org/officeDocument/2006/relationships/slideMaster" Target="../slideMasters/slideMaster30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180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180.vml"/><Relationship Id="rId2" Type="http://schemas.openxmlformats.org/officeDocument/2006/relationships/tags" Target="../tags/tag444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tags" Target="../tags/tag449.xml"/><Relationship Id="rId4" Type="http://schemas.openxmlformats.org/officeDocument/2006/relationships/tags" Target="../tags/tag450.xml"/><Relationship Id="rId5" Type="http://schemas.openxmlformats.org/officeDocument/2006/relationships/tags" Target="../tags/tag451.xml"/><Relationship Id="rId6" Type="http://schemas.openxmlformats.org/officeDocument/2006/relationships/tags" Target="../tags/tag452.xml"/><Relationship Id="rId7" Type="http://schemas.openxmlformats.org/officeDocument/2006/relationships/slideMaster" Target="../slideMasters/slideMaster30.xml"/><Relationship Id="rId8" Type="http://schemas.openxmlformats.org/officeDocument/2006/relationships/oleObject" Target="../embeddings/oleObject181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81.vml"/><Relationship Id="rId2" Type="http://schemas.openxmlformats.org/officeDocument/2006/relationships/tags" Target="../tags/tag448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18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83.vml"/><Relationship Id="rId2" Type="http://schemas.openxmlformats.org/officeDocument/2006/relationships/tags" Target="../tags/tag454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4" Type="http://schemas.openxmlformats.org/officeDocument/2006/relationships/oleObject" Target="../embeddings/oleObject184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184.vml"/><Relationship Id="rId2" Type="http://schemas.openxmlformats.org/officeDocument/2006/relationships/tags" Target="../tags/tag45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tags" Target="../tags/tag457.xml"/><Relationship Id="rId4" Type="http://schemas.openxmlformats.org/officeDocument/2006/relationships/tags" Target="../tags/tag458.xml"/><Relationship Id="rId5" Type="http://schemas.openxmlformats.org/officeDocument/2006/relationships/slideMaster" Target="../slideMasters/slideMaster31.xml"/><Relationship Id="rId6" Type="http://schemas.openxmlformats.org/officeDocument/2006/relationships/oleObject" Target="../embeddings/oleObject185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185.vml"/><Relationship Id="rId2" Type="http://schemas.openxmlformats.org/officeDocument/2006/relationships/tags" Target="../tags/tag456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tags" Target="../tags/tag460.xml"/><Relationship Id="rId4" Type="http://schemas.openxmlformats.org/officeDocument/2006/relationships/tags" Target="../tags/tag461.xml"/><Relationship Id="rId5" Type="http://schemas.openxmlformats.org/officeDocument/2006/relationships/tags" Target="../tags/tag462.xml"/><Relationship Id="rId6" Type="http://schemas.openxmlformats.org/officeDocument/2006/relationships/slideMaster" Target="../slideMasters/slideMaster31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186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186.vml"/><Relationship Id="rId2" Type="http://schemas.openxmlformats.org/officeDocument/2006/relationships/tags" Target="../tags/tag459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tags" Target="../tags/tag464.xml"/><Relationship Id="rId4" Type="http://schemas.openxmlformats.org/officeDocument/2006/relationships/tags" Target="../tags/tag465.xml"/><Relationship Id="rId5" Type="http://schemas.openxmlformats.org/officeDocument/2006/relationships/tags" Target="../tags/tag466.xml"/><Relationship Id="rId6" Type="http://schemas.openxmlformats.org/officeDocument/2006/relationships/tags" Target="../tags/tag467.xml"/><Relationship Id="rId7" Type="http://schemas.openxmlformats.org/officeDocument/2006/relationships/slideMaster" Target="../slideMasters/slideMaster31.xml"/><Relationship Id="rId8" Type="http://schemas.openxmlformats.org/officeDocument/2006/relationships/oleObject" Target="../embeddings/oleObject187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87.vml"/><Relationship Id="rId2" Type="http://schemas.openxmlformats.org/officeDocument/2006/relationships/tags" Target="../tags/tag463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189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89.vml"/><Relationship Id="rId2" Type="http://schemas.openxmlformats.org/officeDocument/2006/relationships/tags" Target="../tags/tag469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4" Type="http://schemas.openxmlformats.org/officeDocument/2006/relationships/oleObject" Target="../embeddings/oleObject190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190.vml"/><Relationship Id="rId2" Type="http://schemas.openxmlformats.org/officeDocument/2006/relationships/tags" Target="../tags/tag470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tags" Target="../tags/tag472.xml"/><Relationship Id="rId4" Type="http://schemas.openxmlformats.org/officeDocument/2006/relationships/tags" Target="../tags/tag473.xml"/><Relationship Id="rId5" Type="http://schemas.openxmlformats.org/officeDocument/2006/relationships/slideMaster" Target="../slideMasters/slideMaster32.xml"/><Relationship Id="rId6" Type="http://schemas.openxmlformats.org/officeDocument/2006/relationships/oleObject" Target="../embeddings/oleObject191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191.vml"/><Relationship Id="rId2" Type="http://schemas.openxmlformats.org/officeDocument/2006/relationships/tags" Target="../tags/tag471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tags" Target="../tags/tag475.xml"/><Relationship Id="rId4" Type="http://schemas.openxmlformats.org/officeDocument/2006/relationships/tags" Target="../tags/tag476.xml"/><Relationship Id="rId5" Type="http://schemas.openxmlformats.org/officeDocument/2006/relationships/tags" Target="../tags/tag477.xml"/><Relationship Id="rId6" Type="http://schemas.openxmlformats.org/officeDocument/2006/relationships/slideMaster" Target="../slideMasters/slideMaster32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192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192.vml"/><Relationship Id="rId2" Type="http://schemas.openxmlformats.org/officeDocument/2006/relationships/tags" Target="../tags/tag474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tags" Target="../tags/tag479.xml"/><Relationship Id="rId4" Type="http://schemas.openxmlformats.org/officeDocument/2006/relationships/tags" Target="../tags/tag480.xml"/><Relationship Id="rId5" Type="http://schemas.openxmlformats.org/officeDocument/2006/relationships/tags" Target="../tags/tag481.xml"/><Relationship Id="rId6" Type="http://schemas.openxmlformats.org/officeDocument/2006/relationships/tags" Target="../tags/tag482.xml"/><Relationship Id="rId7" Type="http://schemas.openxmlformats.org/officeDocument/2006/relationships/slideMaster" Target="../slideMasters/slideMaster32.xml"/><Relationship Id="rId8" Type="http://schemas.openxmlformats.org/officeDocument/2006/relationships/oleObject" Target="../embeddings/oleObject193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93.vml"/><Relationship Id="rId2" Type="http://schemas.openxmlformats.org/officeDocument/2006/relationships/tags" Target="../tags/tag478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195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95.vml"/><Relationship Id="rId2" Type="http://schemas.openxmlformats.org/officeDocument/2006/relationships/tags" Target="../tags/tag484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4" Type="http://schemas.openxmlformats.org/officeDocument/2006/relationships/oleObject" Target="../embeddings/oleObject196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196.vml"/><Relationship Id="rId2" Type="http://schemas.openxmlformats.org/officeDocument/2006/relationships/tags" Target="../tags/tag485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tags" Target="../tags/tag487.xml"/><Relationship Id="rId4" Type="http://schemas.openxmlformats.org/officeDocument/2006/relationships/tags" Target="../tags/tag488.xml"/><Relationship Id="rId5" Type="http://schemas.openxmlformats.org/officeDocument/2006/relationships/slideMaster" Target="../slideMasters/slideMaster33.xml"/><Relationship Id="rId6" Type="http://schemas.openxmlformats.org/officeDocument/2006/relationships/oleObject" Target="../embeddings/oleObject197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197.vml"/><Relationship Id="rId2" Type="http://schemas.openxmlformats.org/officeDocument/2006/relationships/tags" Target="../tags/tag486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tags" Target="../tags/tag490.xml"/><Relationship Id="rId4" Type="http://schemas.openxmlformats.org/officeDocument/2006/relationships/tags" Target="../tags/tag491.xml"/><Relationship Id="rId5" Type="http://schemas.openxmlformats.org/officeDocument/2006/relationships/tags" Target="../tags/tag492.xml"/><Relationship Id="rId6" Type="http://schemas.openxmlformats.org/officeDocument/2006/relationships/slideMaster" Target="../slideMasters/slideMaster33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198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198.vml"/><Relationship Id="rId2" Type="http://schemas.openxmlformats.org/officeDocument/2006/relationships/tags" Target="../tags/tag489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tags" Target="../tags/tag494.xml"/><Relationship Id="rId4" Type="http://schemas.openxmlformats.org/officeDocument/2006/relationships/tags" Target="../tags/tag495.xml"/><Relationship Id="rId5" Type="http://schemas.openxmlformats.org/officeDocument/2006/relationships/tags" Target="../tags/tag496.xml"/><Relationship Id="rId6" Type="http://schemas.openxmlformats.org/officeDocument/2006/relationships/tags" Target="../tags/tag497.xml"/><Relationship Id="rId7" Type="http://schemas.openxmlformats.org/officeDocument/2006/relationships/slideMaster" Target="../slideMasters/slideMaster33.xml"/><Relationship Id="rId8" Type="http://schemas.openxmlformats.org/officeDocument/2006/relationships/oleObject" Target="../embeddings/oleObject199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199.vml"/><Relationship Id="rId2" Type="http://schemas.openxmlformats.org/officeDocument/2006/relationships/tags" Target="../tags/tag493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01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01.vml"/><Relationship Id="rId2" Type="http://schemas.openxmlformats.org/officeDocument/2006/relationships/tags" Target="../tags/tag499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4" Type="http://schemas.openxmlformats.org/officeDocument/2006/relationships/oleObject" Target="../embeddings/oleObject202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202.vml"/><Relationship Id="rId2" Type="http://schemas.openxmlformats.org/officeDocument/2006/relationships/tags" Target="../tags/tag500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1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1.vml"/><Relationship Id="rId2" Type="http://schemas.openxmlformats.org/officeDocument/2006/relationships/tags" Target="../tags/tag49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tags" Target="../tags/tag502.xml"/><Relationship Id="rId4" Type="http://schemas.openxmlformats.org/officeDocument/2006/relationships/tags" Target="../tags/tag503.xml"/><Relationship Id="rId5" Type="http://schemas.openxmlformats.org/officeDocument/2006/relationships/slideMaster" Target="../slideMasters/slideMaster34.xml"/><Relationship Id="rId6" Type="http://schemas.openxmlformats.org/officeDocument/2006/relationships/oleObject" Target="../embeddings/oleObject203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203.vml"/><Relationship Id="rId2" Type="http://schemas.openxmlformats.org/officeDocument/2006/relationships/tags" Target="../tags/tag501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tags" Target="../tags/tag505.xml"/><Relationship Id="rId4" Type="http://schemas.openxmlformats.org/officeDocument/2006/relationships/tags" Target="../tags/tag506.xml"/><Relationship Id="rId5" Type="http://schemas.openxmlformats.org/officeDocument/2006/relationships/tags" Target="../tags/tag507.xml"/><Relationship Id="rId6" Type="http://schemas.openxmlformats.org/officeDocument/2006/relationships/slideMaster" Target="../slideMasters/slideMaster34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204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204.vml"/><Relationship Id="rId2" Type="http://schemas.openxmlformats.org/officeDocument/2006/relationships/tags" Target="../tags/tag504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tags" Target="../tags/tag509.xml"/><Relationship Id="rId4" Type="http://schemas.openxmlformats.org/officeDocument/2006/relationships/tags" Target="../tags/tag510.xml"/><Relationship Id="rId5" Type="http://schemas.openxmlformats.org/officeDocument/2006/relationships/tags" Target="../tags/tag511.xml"/><Relationship Id="rId6" Type="http://schemas.openxmlformats.org/officeDocument/2006/relationships/tags" Target="../tags/tag512.xml"/><Relationship Id="rId7" Type="http://schemas.openxmlformats.org/officeDocument/2006/relationships/slideMaster" Target="../slideMasters/slideMaster34.xml"/><Relationship Id="rId8" Type="http://schemas.openxmlformats.org/officeDocument/2006/relationships/oleObject" Target="../embeddings/oleObject205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205.vml"/><Relationship Id="rId2" Type="http://schemas.openxmlformats.org/officeDocument/2006/relationships/tags" Target="../tags/tag508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07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07.vml"/><Relationship Id="rId2" Type="http://schemas.openxmlformats.org/officeDocument/2006/relationships/tags" Target="../tags/tag51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22.vml"/><Relationship Id="rId2" Type="http://schemas.openxmlformats.org/officeDocument/2006/relationships/tags" Target="../tags/tag50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4" Type="http://schemas.openxmlformats.org/officeDocument/2006/relationships/oleObject" Target="../embeddings/oleObject208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208.vml"/><Relationship Id="rId2" Type="http://schemas.openxmlformats.org/officeDocument/2006/relationships/tags" Target="../tags/tag515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tags" Target="../tags/tag517.xml"/><Relationship Id="rId4" Type="http://schemas.openxmlformats.org/officeDocument/2006/relationships/tags" Target="../tags/tag518.xml"/><Relationship Id="rId5" Type="http://schemas.openxmlformats.org/officeDocument/2006/relationships/slideMaster" Target="../slideMasters/slideMaster35.xml"/><Relationship Id="rId6" Type="http://schemas.openxmlformats.org/officeDocument/2006/relationships/oleObject" Target="../embeddings/oleObject209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209.vml"/><Relationship Id="rId2" Type="http://schemas.openxmlformats.org/officeDocument/2006/relationships/tags" Target="../tags/tag516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tags" Target="../tags/tag520.xml"/><Relationship Id="rId4" Type="http://schemas.openxmlformats.org/officeDocument/2006/relationships/tags" Target="../tags/tag521.xml"/><Relationship Id="rId5" Type="http://schemas.openxmlformats.org/officeDocument/2006/relationships/tags" Target="../tags/tag522.xml"/><Relationship Id="rId6" Type="http://schemas.openxmlformats.org/officeDocument/2006/relationships/slideMaster" Target="../slideMasters/slideMaster35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210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210.vml"/><Relationship Id="rId2" Type="http://schemas.openxmlformats.org/officeDocument/2006/relationships/tags" Target="../tags/tag519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tags" Target="../tags/tag524.xml"/><Relationship Id="rId4" Type="http://schemas.openxmlformats.org/officeDocument/2006/relationships/tags" Target="../tags/tag525.xml"/><Relationship Id="rId5" Type="http://schemas.openxmlformats.org/officeDocument/2006/relationships/tags" Target="../tags/tag526.xml"/><Relationship Id="rId6" Type="http://schemas.openxmlformats.org/officeDocument/2006/relationships/tags" Target="../tags/tag527.xml"/><Relationship Id="rId7" Type="http://schemas.openxmlformats.org/officeDocument/2006/relationships/slideMaster" Target="../slideMasters/slideMaster35.xml"/><Relationship Id="rId8" Type="http://schemas.openxmlformats.org/officeDocument/2006/relationships/oleObject" Target="../embeddings/oleObject211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211.vml"/><Relationship Id="rId2" Type="http://schemas.openxmlformats.org/officeDocument/2006/relationships/tags" Target="../tags/tag523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1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13.vml"/><Relationship Id="rId2" Type="http://schemas.openxmlformats.org/officeDocument/2006/relationships/tags" Target="../tags/tag529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4" Type="http://schemas.openxmlformats.org/officeDocument/2006/relationships/oleObject" Target="../embeddings/oleObject214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214.vml"/><Relationship Id="rId2" Type="http://schemas.openxmlformats.org/officeDocument/2006/relationships/tags" Target="../tags/tag530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tags" Target="../tags/tag532.xml"/><Relationship Id="rId4" Type="http://schemas.openxmlformats.org/officeDocument/2006/relationships/tags" Target="../tags/tag533.xml"/><Relationship Id="rId5" Type="http://schemas.openxmlformats.org/officeDocument/2006/relationships/slideMaster" Target="../slideMasters/slideMaster36.xml"/><Relationship Id="rId6" Type="http://schemas.openxmlformats.org/officeDocument/2006/relationships/oleObject" Target="../embeddings/oleObject215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215.vml"/><Relationship Id="rId2" Type="http://schemas.openxmlformats.org/officeDocument/2006/relationships/tags" Target="../tags/tag531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tags" Target="../tags/tag535.xml"/><Relationship Id="rId4" Type="http://schemas.openxmlformats.org/officeDocument/2006/relationships/tags" Target="../tags/tag536.xml"/><Relationship Id="rId5" Type="http://schemas.openxmlformats.org/officeDocument/2006/relationships/tags" Target="../tags/tag537.xml"/><Relationship Id="rId6" Type="http://schemas.openxmlformats.org/officeDocument/2006/relationships/slideMaster" Target="../slideMasters/slideMaster36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216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216.vml"/><Relationship Id="rId2" Type="http://schemas.openxmlformats.org/officeDocument/2006/relationships/tags" Target="../tags/tag534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tags" Target="../tags/tag539.xml"/><Relationship Id="rId4" Type="http://schemas.openxmlformats.org/officeDocument/2006/relationships/tags" Target="../tags/tag540.xml"/><Relationship Id="rId5" Type="http://schemas.openxmlformats.org/officeDocument/2006/relationships/tags" Target="../tags/tag541.xml"/><Relationship Id="rId6" Type="http://schemas.openxmlformats.org/officeDocument/2006/relationships/tags" Target="../tags/tag542.xml"/><Relationship Id="rId7" Type="http://schemas.openxmlformats.org/officeDocument/2006/relationships/slideMaster" Target="../slideMasters/slideMaster36.xml"/><Relationship Id="rId8" Type="http://schemas.openxmlformats.org/officeDocument/2006/relationships/oleObject" Target="../embeddings/oleObject217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217.vml"/><Relationship Id="rId2" Type="http://schemas.openxmlformats.org/officeDocument/2006/relationships/tags" Target="../tags/tag538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19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19.vml"/><Relationship Id="rId2" Type="http://schemas.openxmlformats.org/officeDocument/2006/relationships/tags" Target="../tags/tag544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4" Type="http://schemas.openxmlformats.org/officeDocument/2006/relationships/oleObject" Target="../embeddings/oleObject220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220.vml"/><Relationship Id="rId2" Type="http://schemas.openxmlformats.org/officeDocument/2006/relationships/tags" Target="../tags/tag545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tags" Target="../tags/tag547.xml"/><Relationship Id="rId4" Type="http://schemas.openxmlformats.org/officeDocument/2006/relationships/tags" Target="../tags/tag548.xml"/><Relationship Id="rId5" Type="http://schemas.openxmlformats.org/officeDocument/2006/relationships/slideMaster" Target="../slideMasters/slideMaster37.xml"/><Relationship Id="rId6" Type="http://schemas.openxmlformats.org/officeDocument/2006/relationships/oleObject" Target="../embeddings/oleObject221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221.vml"/><Relationship Id="rId2" Type="http://schemas.openxmlformats.org/officeDocument/2006/relationships/tags" Target="../tags/tag546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tags" Target="../tags/tag550.xml"/><Relationship Id="rId4" Type="http://schemas.openxmlformats.org/officeDocument/2006/relationships/tags" Target="../tags/tag551.xml"/><Relationship Id="rId5" Type="http://schemas.openxmlformats.org/officeDocument/2006/relationships/tags" Target="../tags/tag552.xml"/><Relationship Id="rId6" Type="http://schemas.openxmlformats.org/officeDocument/2006/relationships/slideMaster" Target="../slideMasters/slideMaster37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222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222.vml"/><Relationship Id="rId2" Type="http://schemas.openxmlformats.org/officeDocument/2006/relationships/tags" Target="../tags/tag549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tags" Target="../tags/tag554.xml"/><Relationship Id="rId4" Type="http://schemas.openxmlformats.org/officeDocument/2006/relationships/tags" Target="../tags/tag555.xml"/><Relationship Id="rId5" Type="http://schemas.openxmlformats.org/officeDocument/2006/relationships/tags" Target="../tags/tag556.xml"/><Relationship Id="rId6" Type="http://schemas.openxmlformats.org/officeDocument/2006/relationships/tags" Target="../tags/tag557.xml"/><Relationship Id="rId7" Type="http://schemas.openxmlformats.org/officeDocument/2006/relationships/slideMaster" Target="../slideMasters/slideMaster37.xml"/><Relationship Id="rId8" Type="http://schemas.openxmlformats.org/officeDocument/2006/relationships/oleObject" Target="../embeddings/oleObject223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223.vml"/><Relationship Id="rId2" Type="http://schemas.openxmlformats.org/officeDocument/2006/relationships/tags" Target="../tags/tag553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25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25.vml"/><Relationship Id="rId2" Type="http://schemas.openxmlformats.org/officeDocument/2006/relationships/tags" Target="../tags/tag559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4" Type="http://schemas.openxmlformats.org/officeDocument/2006/relationships/oleObject" Target="../embeddings/oleObject226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226.vml"/><Relationship Id="rId2" Type="http://schemas.openxmlformats.org/officeDocument/2006/relationships/tags" Target="../tags/tag560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4" Type="http://schemas.openxmlformats.org/officeDocument/2006/relationships/tags" Target="../tags/tag53.xml"/><Relationship Id="rId5" Type="http://schemas.openxmlformats.org/officeDocument/2006/relationships/slideMaster" Target="../slideMasters/slideMaster4.xml"/><Relationship Id="rId6" Type="http://schemas.openxmlformats.org/officeDocument/2006/relationships/oleObject" Target="../embeddings/oleObject23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23.vml"/><Relationship Id="rId2" Type="http://schemas.openxmlformats.org/officeDocument/2006/relationships/tags" Target="../tags/tag51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tags" Target="../tags/tag562.xml"/><Relationship Id="rId4" Type="http://schemas.openxmlformats.org/officeDocument/2006/relationships/tags" Target="../tags/tag563.xml"/><Relationship Id="rId5" Type="http://schemas.openxmlformats.org/officeDocument/2006/relationships/slideMaster" Target="../slideMasters/slideMaster38.xml"/><Relationship Id="rId6" Type="http://schemas.openxmlformats.org/officeDocument/2006/relationships/oleObject" Target="../embeddings/oleObject227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227.vml"/><Relationship Id="rId2" Type="http://schemas.openxmlformats.org/officeDocument/2006/relationships/tags" Target="../tags/tag561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tags" Target="../tags/tag565.xml"/><Relationship Id="rId4" Type="http://schemas.openxmlformats.org/officeDocument/2006/relationships/tags" Target="../tags/tag566.xml"/><Relationship Id="rId5" Type="http://schemas.openxmlformats.org/officeDocument/2006/relationships/tags" Target="../tags/tag567.xml"/><Relationship Id="rId6" Type="http://schemas.openxmlformats.org/officeDocument/2006/relationships/slideMaster" Target="../slideMasters/slideMaster38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228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228.vml"/><Relationship Id="rId2" Type="http://schemas.openxmlformats.org/officeDocument/2006/relationships/tags" Target="../tags/tag564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tags" Target="../tags/tag569.xml"/><Relationship Id="rId4" Type="http://schemas.openxmlformats.org/officeDocument/2006/relationships/tags" Target="../tags/tag570.xml"/><Relationship Id="rId5" Type="http://schemas.openxmlformats.org/officeDocument/2006/relationships/tags" Target="../tags/tag571.xml"/><Relationship Id="rId6" Type="http://schemas.openxmlformats.org/officeDocument/2006/relationships/tags" Target="../tags/tag572.xml"/><Relationship Id="rId7" Type="http://schemas.openxmlformats.org/officeDocument/2006/relationships/slideMaster" Target="../slideMasters/slideMaster38.xml"/><Relationship Id="rId8" Type="http://schemas.openxmlformats.org/officeDocument/2006/relationships/oleObject" Target="../embeddings/oleObject229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229.vml"/><Relationship Id="rId2" Type="http://schemas.openxmlformats.org/officeDocument/2006/relationships/tags" Target="../tags/tag568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31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31.vml"/><Relationship Id="rId2" Type="http://schemas.openxmlformats.org/officeDocument/2006/relationships/tags" Target="../tags/tag574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4" Type="http://schemas.openxmlformats.org/officeDocument/2006/relationships/oleObject" Target="../embeddings/oleObject232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232.vml"/><Relationship Id="rId2" Type="http://schemas.openxmlformats.org/officeDocument/2006/relationships/tags" Target="../tags/tag575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4" Type="http://schemas.openxmlformats.org/officeDocument/2006/relationships/tags" Target="../tags/tag56.xml"/><Relationship Id="rId5" Type="http://schemas.openxmlformats.org/officeDocument/2006/relationships/tags" Target="../tags/tag57.xml"/><Relationship Id="rId6" Type="http://schemas.openxmlformats.org/officeDocument/2006/relationships/slideMaster" Target="../slideMasters/slideMaster4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24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24.vml"/><Relationship Id="rId2" Type="http://schemas.openxmlformats.org/officeDocument/2006/relationships/tags" Target="../tags/tag54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tags" Target="../tags/tag577.xml"/><Relationship Id="rId4" Type="http://schemas.openxmlformats.org/officeDocument/2006/relationships/tags" Target="../tags/tag578.xml"/><Relationship Id="rId5" Type="http://schemas.openxmlformats.org/officeDocument/2006/relationships/slideMaster" Target="../slideMasters/slideMaster39.xml"/><Relationship Id="rId6" Type="http://schemas.openxmlformats.org/officeDocument/2006/relationships/oleObject" Target="../embeddings/oleObject233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233.vml"/><Relationship Id="rId2" Type="http://schemas.openxmlformats.org/officeDocument/2006/relationships/tags" Target="../tags/tag576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tags" Target="../tags/tag580.xml"/><Relationship Id="rId4" Type="http://schemas.openxmlformats.org/officeDocument/2006/relationships/tags" Target="../tags/tag581.xml"/><Relationship Id="rId5" Type="http://schemas.openxmlformats.org/officeDocument/2006/relationships/tags" Target="../tags/tag582.xml"/><Relationship Id="rId6" Type="http://schemas.openxmlformats.org/officeDocument/2006/relationships/slideMaster" Target="../slideMasters/slideMaster39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234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234.vml"/><Relationship Id="rId2" Type="http://schemas.openxmlformats.org/officeDocument/2006/relationships/tags" Target="../tags/tag579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tags" Target="../tags/tag584.xml"/><Relationship Id="rId4" Type="http://schemas.openxmlformats.org/officeDocument/2006/relationships/tags" Target="../tags/tag585.xml"/><Relationship Id="rId5" Type="http://schemas.openxmlformats.org/officeDocument/2006/relationships/tags" Target="../tags/tag586.xml"/><Relationship Id="rId6" Type="http://schemas.openxmlformats.org/officeDocument/2006/relationships/tags" Target="../tags/tag587.xml"/><Relationship Id="rId7" Type="http://schemas.openxmlformats.org/officeDocument/2006/relationships/slideMaster" Target="../slideMasters/slideMaster39.xml"/><Relationship Id="rId8" Type="http://schemas.openxmlformats.org/officeDocument/2006/relationships/oleObject" Target="../embeddings/oleObject235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235.vml"/><Relationship Id="rId2" Type="http://schemas.openxmlformats.org/officeDocument/2006/relationships/tags" Target="../tags/tag583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37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37.vml"/><Relationship Id="rId2" Type="http://schemas.openxmlformats.org/officeDocument/2006/relationships/tags" Target="../tags/tag589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4" Type="http://schemas.openxmlformats.org/officeDocument/2006/relationships/oleObject" Target="../embeddings/oleObject238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238.vml"/><Relationship Id="rId2" Type="http://schemas.openxmlformats.org/officeDocument/2006/relationships/tags" Target="../tags/tag590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4" Type="http://schemas.openxmlformats.org/officeDocument/2006/relationships/tags" Target="../tags/tag60.xml"/><Relationship Id="rId5" Type="http://schemas.openxmlformats.org/officeDocument/2006/relationships/tags" Target="../tags/tag61.xml"/><Relationship Id="rId6" Type="http://schemas.openxmlformats.org/officeDocument/2006/relationships/tags" Target="../tags/tag62.xml"/><Relationship Id="rId7" Type="http://schemas.openxmlformats.org/officeDocument/2006/relationships/slideMaster" Target="../slideMasters/slideMaster4.xml"/><Relationship Id="rId8" Type="http://schemas.openxmlformats.org/officeDocument/2006/relationships/oleObject" Target="../embeddings/oleObject25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25.vml"/><Relationship Id="rId2" Type="http://schemas.openxmlformats.org/officeDocument/2006/relationships/tags" Target="../tags/tag58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tags" Target="../tags/tag592.xml"/><Relationship Id="rId4" Type="http://schemas.openxmlformats.org/officeDocument/2006/relationships/tags" Target="../tags/tag593.xml"/><Relationship Id="rId5" Type="http://schemas.openxmlformats.org/officeDocument/2006/relationships/slideMaster" Target="../slideMasters/slideMaster40.xml"/><Relationship Id="rId6" Type="http://schemas.openxmlformats.org/officeDocument/2006/relationships/oleObject" Target="../embeddings/oleObject239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239.vml"/><Relationship Id="rId2" Type="http://schemas.openxmlformats.org/officeDocument/2006/relationships/tags" Target="../tags/tag591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tags" Target="../tags/tag595.xml"/><Relationship Id="rId4" Type="http://schemas.openxmlformats.org/officeDocument/2006/relationships/tags" Target="../tags/tag596.xml"/><Relationship Id="rId5" Type="http://schemas.openxmlformats.org/officeDocument/2006/relationships/tags" Target="../tags/tag597.xml"/><Relationship Id="rId6" Type="http://schemas.openxmlformats.org/officeDocument/2006/relationships/slideMaster" Target="../slideMasters/slideMaster40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240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240.vml"/><Relationship Id="rId2" Type="http://schemas.openxmlformats.org/officeDocument/2006/relationships/tags" Target="../tags/tag594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tags" Target="../tags/tag599.xml"/><Relationship Id="rId4" Type="http://schemas.openxmlformats.org/officeDocument/2006/relationships/tags" Target="../tags/tag600.xml"/><Relationship Id="rId5" Type="http://schemas.openxmlformats.org/officeDocument/2006/relationships/tags" Target="../tags/tag601.xml"/><Relationship Id="rId6" Type="http://schemas.openxmlformats.org/officeDocument/2006/relationships/tags" Target="../tags/tag602.xml"/><Relationship Id="rId7" Type="http://schemas.openxmlformats.org/officeDocument/2006/relationships/slideMaster" Target="../slideMasters/slideMaster40.xml"/><Relationship Id="rId8" Type="http://schemas.openxmlformats.org/officeDocument/2006/relationships/oleObject" Target="../embeddings/oleObject241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241.vml"/><Relationship Id="rId2" Type="http://schemas.openxmlformats.org/officeDocument/2006/relationships/tags" Target="../tags/tag598.xml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4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43.vml"/><Relationship Id="rId2" Type="http://schemas.openxmlformats.org/officeDocument/2006/relationships/tags" Target="../tags/tag604.xml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4" Type="http://schemas.openxmlformats.org/officeDocument/2006/relationships/oleObject" Target="../embeddings/oleObject244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7.png"/><Relationship Id="rId1" Type="http://schemas.openxmlformats.org/officeDocument/2006/relationships/vmlDrawing" Target="../drawings/vmlDrawing244.vml"/><Relationship Id="rId2" Type="http://schemas.openxmlformats.org/officeDocument/2006/relationships/tags" Target="../tags/tag605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tags" Target="../tags/tag607.xml"/><Relationship Id="rId4" Type="http://schemas.openxmlformats.org/officeDocument/2006/relationships/tags" Target="../tags/tag608.xml"/><Relationship Id="rId5" Type="http://schemas.openxmlformats.org/officeDocument/2006/relationships/slideMaster" Target="../slideMasters/slideMaster41.xml"/><Relationship Id="rId6" Type="http://schemas.openxmlformats.org/officeDocument/2006/relationships/oleObject" Target="../embeddings/oleObject245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7.png"/><Relationship Id="rId10" Type="http://schemas.openxmlformats.org/officeDocument/2006/relationships/image" Target="../media/image8.jpeg"/><Relationship Id="rId1" Type="http://schemas.openxmlformats.org/officeDocument/2006/relationships/vmlDrawing" Target="../drawings/vmlDrawing245.vml"/><Relationship Id="rId2" Type="http://schemas.openxmlformats.org/officeDocument/2006/relationships/tags" Target="../tags/tag606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tags" Target="../tags/tag610.xml"/><Relationship Id="rId4" Type="http://schemas.openxmlformats.org/officeDocument/2006/relationships/tags" Target="../tags/tag611.xml"/><Relationship Id="rId5" Type="http://schemas.openxmlformats.org/officeDocument/2006/relationships/tags" Target="../tags/tag612.xml"/><Relationship Id="rId6" Type="http://schemas.openxmlformats.org/officeDocument/2006/relationships/slideMaster" Target="../slideMasters/slideMaster41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246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246.vml"/><Relationship Id="rId2" Type="http://schemas.openxmlformats.org/officeDocument/2006/relationships/tags" Target="../tags/tag60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tags" Target="../tags/tag614.xml"/><Relationship Id="rId4" Type="http://schemas.openxmlformats.org/officeDocument/2006/relationships/tags" Target="../tags/tag615.xml"/><Relationship Id="rId5" Type="http://schemas.openxmlformats.org/officeDocument/2006/relationships/tags" Target="../tags/tag616.xml"/><Relationship Id="rId6" Type="http://schemas.openxmlformats.org/officeDocument/2006/relationships/tags" Target="../tags/tag617.xml"/><Relationship Id="rId7" Type="http://schemas.openxmlformats.org/officeDocument/2006/relationships/slideMaster" Target="../slideMasters/slideMaster41.xml"/><Relationship Id="rId8" Type="http://schemas.openxmlformats.org/officeDocument/2006/relationships/oleObject" Target="../embeddings/oleObject247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247.vml"/><Relationship Id="rId2" Type="http://schemas.openxmlformats.org/officeDocument/2006/relationships/tags" Target="../tags/tag613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49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49.vml"/><Relationship Id="rId2" Type="http://schemas.openxmlformats.org/officeDocument/2006/relationships/tags" Target="../tags/tag619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4" Type="http://schemas.openxmlformats.org/officeDocument/2006/relationships/oleObject" Target="../embeddings/oleObject250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7.png"/><Relationship Id="rId1" Type="http://schemas.openxmlformats.org/officeDocument/2006/relationships/vmlDrawing" Target="../drawings/vmlDrawing250.vml"/><Relationship Id="rId2" Type="http://schemas.openxmlformats.org/officeDocument/2006/relationships/tags" Target="../tags/tag620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tags" Target="../tags/tag622.xml"/><Relationship Id="rId4" Type="http://schemas.openxmlformats.org/officeDocument/2006/relationships/tags" Target="../tags/tag623.xml"/><Relationship Id="rId5" Type="http://schemas.openxmlformats.org/officeDocument/2006/relationships/slideMaster" Target="../slideMasters/slideMaster42.xml"/><Relationship Id="rId6" Type="http://schemas.openxmlformats.org/officeDocument/2006/relationships/oleObject" Target="../embeddings/oleObject251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7.png"/><Relationship Id="rId10" Type="http://schemas.openxmlformats.org/officeDocument/2006/relationships/image" Target="../media/image8.jpeg"/><Relationship Id="rId1" Type="http://schemas.openxmlformats.org/officeDocument/2006/relationships/vmlDrawing" Target="../drawings/vmlDrawing251.vml"/><Relationship Id="rId2" Type="http://schemas.openxmlformats.org/officeDocument/2006/relationships/tags" Target="../tags/tag621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tags" Target="../tags/tag625.xml"/><Relationship Id="rId4" Type="http://schemas.openxmlformats.org/officeDocument/2006/relationships/tags" Target="../tags/tag626.xml"/><Relationship Id="rId5" Type="http://schemas.openxmlformats.org/officeDocument/2006/relationships/tags" Target="../tags/tag627.xml"/><Relationship Id="rId6" Type="http://schemas.openxmlformats.org/officeDocument/2006/relationships/slideMaster" Target="../slideMasters/slideMaster42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252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252.vml"/><Relationship Id="rId2" Type="http://schemas.openxmlformats.org/officeDocument/2006/relationships/tags" Target="../tags/tag624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tags" Target="../tags/tag629.xml"/><Relationship Id="rId4" Type="http://schemas.openxmlformats.org/officeDocument/2006/relationships/tags" Target="../tags/tag630.xml"/><Relationship Id="rId5" Type="http://schemas.openxmlformats.org/officeDocument/2006/relationships/tags" Target="../tags/tag631.xml"/><Relationship Id="rId6" Type="http://schemas.openxmlformats.org/officeDocument/2006/relationships/tags" Target="../tags/tag632.xml"/><Relationship Id="rId7" Type="http://schemas.openxmlformats.org/officeDocument/2006/relationships/slideMaster" Target="../slideMasters/slideMaster42.xml"/><Relationship Id="rId8" Type="http://schemas.openxmlformats.org/officeDocument/2006/relationships/oleObject" Target="../embeddings/oleObject253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253.vml"/><Relationship Id="rId2" Type="http://schemas.openxmlformats.org/officeDocument/2006/relationships/tags" Target="../tags/tag62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55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55.vml"/><Relationship Id="rId2" Type="http://schemas.openxmlformats.org/officeDocument/2006/relationships/tags" Target="../tags/tag634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4" Type="http://schemas.openxmlformats.org/officeDocument/2006/relationships/oleObject" Target="../embeddings/oleObject256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256.vml"/><Relationship Id="rId2" Type="http://schemas.openxmlformats.org/officeDocument/2006/relationships/tags" Target="../tags/tag635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tags" Target="../tags/tag637.xml"/><Relationship Id="rId4" Type="http://schemas.openxmlformats.org/officeDocument/2006/relationships/tags" Target="../tags/tag638.xml"/><Relationship Id="rId5" Type="http://schemas.openxmlformats.org/officeDocument/2006/relationships/slideMaster" Target="../slideMasters/slideMaster43.xml"/><Relationship Id="rId6" Type="http://schemas.openxmlformats.org/officeDocument/2006/relationships/oleObject" Target="../embeddings/oleObject257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257.vml"/><Relationship Id="rId2" Type="http://schemas.openxmlformats.org/officeDocument/2006/relationships/tags" Target="../tags/tag636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tags" Target="../tags/tag640.xml"/><Relationship Id="rId4" Type="http://schemas.openxmlformats.org/officeDocument/2006/relationships/tags" Target="../tags/tag641.xml"/><Relationship Id="rId5" Type="http://schemas.openxmlformats.org/officeDocument/2006/relationships/tags" Target="../tags/tag642.xml"/><Relationship Id="rId6" Type="http://schemas.openxmlformats.org/officeDocument/2006/relationships/slideMaster" Target="../slideMasters/slideMaster43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258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258.vml"/><Relationship Id="rId2" Type="http://schemas.openxmlformats.org/officeDocument/2006/relationships/tags" Target="../tags/tag639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tags" Target="../tags/tag644.xml"/><Relationship Id="rId4" Type="http://schemas.openxmlformats.org/officeDocument/2006/relationships/tags" Target="../tags/tag645.xml"/><Relationship Id="rId5" Type="http://schemas.openxmlformats.org/officeDocument/2006/relationships/tags" Target="../tags/tag646.xml"/><Relationship Id="rId6" Type="http://schemas.openxmlformats.org/officeDocument/2006/relationships/tags" Target="../tags/tag647.xml"/><Relationship Id="rId7" Type="http://schemas.openxmlformats.org/officeDocument/2006/relationships/slideMaster" Target="../slideMasters/slideMaster43.xml"/><Relationship Id="rId8" Type="http://schemas.openxmlformats.org/officeDocument/2006/relationships/oleObject" Target="../embeddings/oleObject259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259.vml"/><Relationship Id="rId2" Type="http://schemas.openxmlformats.org/officeDocument/2006/relationships/tags" Target="../tags/tag643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61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61.vml"/><Relationship Id="rId2" Type="http://schemas.openxmlformats.org/officeDocument/2006/relationships/tags" Target="../tags/tag649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4.xml"/><Relationship Id="rId4" Type="http://schemas.openxmlformats.org/officeDocument/2006/relationships/oleObject" Target="../embeddings/oleObject262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262.vml"/><Relationship Id="rId2" Type="http://schemas.openxmlformats.org/officeDocument/2006/relationships/tags" Target="../tags/tag650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tags" Target="../tags/tag652.xml"/><Relationship Id="rId4" Type="http://schemas.openxmlformats.org/officeDocument/2006/relationships/tags" Target="../tags/tag653.xml"/><Relationship Id="rId5" Type="http://schemas.openxmlformats.org/officeDocument/2006/relationships/slideMaster" Target="../slideMasters/slideMaster44.xml"/><Relationship Id="rId6" Type="http://schemas.openxmlformats.org/officeDocument/2006/relationships/oleObject" Target="../embeddings/oleObject263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263.vml"/><Relationship Id="rId2" Type="http://schemas.openxmlformats.org/officeDocument/2006/relationships/tags" Target="../tags/tag651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tags" Target="../tags/tag655.xml"/><Relationship Id="rId4" Type="http://schemas.openxmlformats.org/officeDocument/2006/relationships/tags" Target="../tags/tag656.xml"/><Relationship Id="rId5" Type="http://schemas.openxmlformats.org/officeDocument/2006/relationships/tags" Target="../tags/tag657.xml"/><Relationship Id="rId6" Type="http://schemas.openxmlformats.org/officeDocument/2006/relationships/slideMaster" Target="../slideMasters/slideMaster44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264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264.vml"/><Relationship Id="rId2" Type="http://schemas.openxmlformats.org/officeDocument/2006/relationships/tags" Target="../tags/tag654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tags" Target="../tags/tag659.xml"/><Relationship Id="rId4" Type="http://schemas.openxmlformats.org/officeDocument/2006/relationships/tags" Target="../tags/tag660.xml"/><Relationship Id="rId5" Type="http://schemas.openxmlformats.org/officeDocument/2006/relationships/tags" Target="../tags/tag661.xml"/><Relationship Id="rId6" Type="http://schemas.openxmlformats.org/officeDocument/2006/relationships/tags" Target="../tags/tag662.xml"/><Relationship Id="rId7" Type="http://schemas.openxmlformats.org/officeDocument/2006/relationships/slideMaster" Target="../slideMasters/slideMaster44.xml"/><Relationship Id="rId8" Type="http://schemas.openxmlformats.org/officeDocument/2006/relationships/oleObject" Target="../embeddings/oleObject265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265.vml"/><Relationship Id="rId2" Type="http://schemas.openxmlformats.org/officeDocument/2006/relationships/tags" Target="../tags/tag65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67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67.vml"/><Relationship Id="rId2" Type="http://schemas.openxmlformats.org/officeDocument/2006/relationships/tags" Target="../tags/tag664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4" Type="http://schemas.openxmlformats.org/officeDocument/2006/relationships/oleObject" Target="../embeddings/oleObject268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268.vml"/><Relationship Id="rId2" Type="http://schemas.openxmlformats.org/officeDocument/2006/relationships/tags" Target="../tags/tag665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tags" Target="../tags/tag667.xml"/><Relationship Id="rId4" Type="http://schemas.openxmlformats.org/officeDocument/2006/relationships/tags" Target="../tags/tag668.xml"/><Relationship Id="rId5" Type="http://schemas.openxmlformats.org/officeDocument/2006/relationships/slideMaster" Target="../slideMasters/slideMaster45.xml"/><Relationship Id="rId6" Type="http://schemas.openxmlformats.org/officeDocument/2006/relationships/oleObject" Target="../embeddings/oleObject269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269.vml"/><Relationship Id="rId2" Type="http://schemas.openxmlformats.org/officeDocument/2006/relationships/tags" Target="../tags/tag666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tags" Target="../tags/tag670.xml"/><Relationship Id="rId4" Type="http://schemas.openxmlformats.org/officeDocument/2006/relationships/tags" Target="../tags/tag671.xml"/><Relationship Id="rId5" Type="http://schemas.openxmlformats.org/officeDocument/2006/relationships/tags" Target="../tags/tag672.xml"/><Relationship Id="rId6" Type="http://schemas.openxmlformats.org/officeDocument/2006/relationships/slideMaster" Target="../slideMasters/slideMaster45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270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270.vml"/><Relationship Id="rId2" Type="http://schemas.openxmlformats.org/officeDocument/2006/relationships/tags" Target="../tags/tag669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7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7.vml"/><Relationship Id="rId2" Type="http://schemas.openxmlformats.org/officeDocument/2006/relationships/tags" Target="../tags/tag64.xml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tags" Target="../tags/tag674.xml"/><Relationship Id="rId4" Type="http://schemas.openxmlformats.org/officeDocument/2006/relationships/tags" Target="../tags/tag675.xml"/><Relationship Id="rId5" Type="http://schemas.openxmlformats.org/officeDocument/2006/relationships/tags" Target="../tags/tag676.xml"/><Relationship Id="rId6" Type="http://schemas.openxmlformats.org/officeDocument/2006/relationships/tags" Target="../tags/tag677.xml"/><Relationship Id="rId7" Type="http://schemas.openxmlformats.org/officeDocument/2006/relationships/slideMaster" Target="../slideMasters/slideMaster45.xml"/><Relationship Id="rId8" Type="http://schemas.openxmlformats.org/officeDocument/2006/relationships/oleObject" Target="../embeddings/oleObject271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271.vml"/><Relationship Id="rId2" Type="http://schemas.openxmlformats.org/officeDocument/2006/relationships/tags" Target="../tags/tag673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7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73.vml"/><Relationship Id="rId2" Type="http://schemas.openxmlformats.org/officeDocument/2006/relationships/tags" Target="../tags/tag679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4" Type="http://schemas.openxmlformats.org/officeDocument/2006/relationships/oleObject" Target="../embeddings/oleObject274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274.vml"/><Relationship Id="rId2" Type="http://schemas.openxmlformats.org/officeDocument/2006/relationships/tags" Target="../tags/tag680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tags" Target="../tags/tag682.xml"/><Relationship Id="rId4" Type="http://schemas.openxmlformats.org/officeDocument/2006/relationships/tags" Target="../tags/tag683.xml"/><Relationship Id="rId5" Type="http://schemas.openxmlformats.org/officeDocument/2006/relationships/slideMaster" Target="../slideMasters/slideMaster46.xml"/><Relationship Id="rId6" Type="http://schemas.openxmlformats.org/officeDocument/2006/relationships/oleObject" Target="../embeddings/oleObject275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275.vml"/><Relationship Id="rId2" Type="http://schemas.openxmlformats.org/officeDocument/2006/relationships/tags" Target="../tags/tag68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28.vml"/><Relationship Id="rId2" Type="http://schemas.openxmlformats.org/officeDocument/2006/relationships/tags" Target="../tags/tag65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tags" Target="../tags/tag685.xml"/><Relationship Id="rId4" Type="http://schemas.openxmlformats.org/officeDocument/2006/relationships/tags" Target="../tags/tag686.xml"/><Relationship Id="rId5" Type="http://schemas.openxmlformats.org/officeDocument/2006/relationships/tags" Target="../tags/tag687.xml"/><Relationship Id="rId6" Type="http://schemas.openxmlformats.org/officeDocument/2006/relationships/slideMaster" Target="../slideMasters/slideMaster46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276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276.vml"/><Relationship Id="rId2" Type="http://schemas.openxmlformats.org/officeDocument/2006/relationships/tags" Target="../tags/tag684.xml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tags" Target="../tags/tag689.xml"/><Relationship Id="rId4" Type="http://schemas.openxmlformats.org/officeDocument/2006/relationships/tags" Target="../tags/tag690.xml"/><Relationship Id="rId5" Type="http://schemas.openxmlformats.org/officeDocument/2006/relationships/tags" Target="../tags/tag691.xml"/><Relationship Id="rId6" Type="http://schemas.openxmlformats.org/officeDocument/2006/relationships/tags" Target="../tags/tag692.xml"/><Relationship Id="rId7" Type="http://schemas.openxmlformats.org/officeDocument/2006/relationships/slideMaster" Target="../slideMasters/slideMaster46.xml"/><Relationship Id="rId8" Type="http://schemas.openxmlformats.org/officeDocument/2006/relationships/oleObject" Target="../embeddings/oleObject277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277.vml"/><Relationship Id="rId2" Type="http://schemas.openxmlformats.org/officeDocument/2006/relationships/tags" Target="../tags/tag688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79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79.vml"/><Relationship Id="rId2" Type="http://schemas.openxmlformats.org/officeDocument/2006/relationships/tags" Target="../tags/tag694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4" Type="http://schemas.openxmlformats.org/officeDocument/2006/relationships/oleObject" Target="../embeddings/oleObject280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280.vml"/><Relationship Id="rId2" Type="http://schemas.openxmlformats.org/officeDocument/2006/relationships/tags" Target="../tags/tag695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tags" Target="../tags/tag697.xml"/><Relationship Id="rId4" Type="http://schemas.openxmlformats.org/officeDocument/2006/relationships/tags" Target="../tags/tag698.xml"/><Relationship Id="rId5" Type="http://schemas.openxmlformats.org/officeDocument/2006/relationships/slideMaster" Target="../slideMasters/slideMaster47.xml"/><Relationship Id="rId6" Type="http://schemas.openxmlformats.org/officeDocument/2006/relationships/oleObject" Target="../embeddings/oleObject281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281.vml"/><Relationship Id="rId2" Type="http://schemas.openxmlformats.org/officeDocument/2006/relationships/tags" Target="../tags/tag69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tags" Target="../tags/tag700.xml"/><Relationship Id="rId4" Type="http://schemas.openxmlformats.org/officeDocument/2006/relationships/tags" Target="../tags/tag701.xml"/><Relationship Id="rId5" Type="http://schemas.openxmlformats.org/officeDocument/2006/relationships/tags" Target="../tags/tag702.xml"/><Relationship Id="rId6" Type="http://schemas.openxmlformats.org/officeDocument/2006/relationships/slideMaster" Target="../slideMasters/slideMaster47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282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282.vml"/><Relationship Id="rId2" Type="http://schemas.openxmlformats.org/officeDocument/2006/relationships/tags" Target="../tags/tag699.xml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tags" Target="../tags/tag704.xml"/><Relationship Id="rId4" Type="http://schemas.openxmlformats.org/officeDocument/2006/relationships/tags" Target="../tags/tag705.xml"/><Relationship Id="rId5" Type="http://schemas.openxmlformats.org/officeDocument/2006/relationships/tags" Target="../tags/tag706.xml"/><Relationship Id="rId6" Type="http://schemas.openxmlformats.org/officeDocument/2006/relationships/tags" Target="../tags/tag707.xml"/><Relationship Id="rId7" Type="http://schemas.openxmlformats.org/officeDocument/2006/relationships/slideMaster" Target="../slideMasters/slideMaster47.xml"/><Relationship Id="rId8" Type="http://schemas.openxmlformats.org/officeDocument/2006/relationships/oleObject" Target="../embeddings/oleObject283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283.vml"/><Relationship Id="rId2" Type="http://schemas.openxmlformats.org/officeDocument/2006/relationships/tags" Target="../tags/tag703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85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85.vml"/><Relationship Id="rId2" Type="http://schemas.openxmlformats.org/officeDocument/2006/relationships/tags" Target="../tags/tag709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tags" Target="../tags/tag711.xml"/><Relationship Id="rId4" Type="http://schemas.openxmlformats.org/officeDocument/2006/relationships/tags" Target="../tags/tag712.xml"/><Relationship Id="rId5" Type="http://schemas.openxmlformats.org/officeDocument/2006/relationships/slideMaster" Target="../slideMasters/slideMaster48.xml"/><Relationship Id="rId6" Type="http://schemas.openxmlformats.org/officeDocument/2006/relationships/oleObject" Target="../embeddings/oleObject286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286.vml"/><Relationship Id="rId2" Type="http://schemas.openxmlformats.org/officeDocument/2006/relationships/tags" Target="../tags/tag710.xml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tags" Target="../tags/tag714.xml"/><Relationship Id="rId4" Type="http://schemas.openxmlformats.org/officeDocument/2006/relationships/tags" Target="../tags/tag715.xml"/><Relationship Id="rId5" Type="http://schemas.openxmlformats.org/officeDocument/2006/relationships/tags" Target="../tags/tag716.xml"/><Relationship Id="rId6" Type="http://schemas.openxmlformats.org/officeDocument/2006/relationships/slideMaster" Target="../slideMasters/slideMaster48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287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287.vml"/><Relationship Id="rId2" Type="http://schemas.openxmlformats.org/officeDocument/2006/relationships/tags" Target="../tags/tag713.xml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tags" Target="../tags/tag718.xml"/><Relationship Id="rId4" Type="http://schemas.openxmlformats.org/officeDocument/2006/relationships/tags" Target="../tags/tag719.xml"/><Relationship Id="rId5" Type="http://schemas.openxmlformats.org/officeDocument/2006/relationships/tags" Target="../tags/tag720.xml"/><Relationship Id="rId6" Type="http://schemas.openxmlformats.org/officeDocument/2006/relationships/tags" Target="../tags/tag721.xml"/><Relationship Id="rId7" Type="http://schemas.openxmlformats.org/officeDocument/2006/relationships/slideMaster" Target="../slideMasters/slideMaster48.xml"/><Relationship Id="rId8" Type="http://schemas.openxmlformats.org/officeDocument/2006/relationships/oleObject" Target="../embeddings/oleObject288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288.vml"/><Relationship Id="rId2" Type="http://schemas.openxmlformats.org/officeDocument/2006/relationships/tags" Target="../tags/tag717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4" Type="http://schemas.openxmlformats.org/officeDocument/2006/relationships/oleObject" Target="../embeddings/oleObject289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289.vml"/><Relationship Id="rId2" Type="http://schemas.openxmlformats.org/officeDocument/2006/relationships/tags" Target="../tags/tag722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91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91.vml"/><Relationship Id="rId2" Type="http://schemas.openxmlformats.org/officeDocument/2006/relationships/tags" Target="../tags/tag724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4" Type="http://schemas.openxmlformats.org/officeDocument/2006/relationships/oleObject" Target="../embeddings/oleObject292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292.vml"/><Relationship Id="rId2" Type="http://schemas.openxmlformats.org/officeDocument/2006/relationships/tags" Target="../tags/tag725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tags" Target="../tags/tag727.xml"/><Relationship Id="rId4" Type="http://schemas.openxmlformats.org/officeDocument/2006/relationships/tags" Target="../tags/tag728.xml"/><Relationship Id="rId5" Type="http://schemas.openxmlformats.org/officeDocument/2006/relationships/slideMaster" Target="../slideMasters/slideMaster49.xml"/><Relationship Id="rId6" Type="http://schemas.openxmlformats.org/officeDocument/2006/relationships/oleObject" Target="../embeddings/oleObject293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293.vml"/><Relationship Id="rId2" Type="http://schemas.openxmlformats.org/officeDocument/2006/relationships/tags" Target="../tags/tag726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tags" Target="../tags/tag730.xml"/><Relationship Id="rId4" Type="http://schemas.openxmlformats.org/officeDocument/2006/relationships/tags" Target="../tags/tag731.xml"/><Relationship Id="rId5" Type="http://schemas.openxmlformats.org/officeDocument/2006/relationships/tags" Target="../tags/tag732.xml"/><Relationship Id="rId6" Type="http://schemas.openxmlformats.org/officeDocument/2006/relationships/slideMaster" Target="../slideMasters/slideMaster49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294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294.vml"/><Relationship Id="rId2" Type="http://schemas.openxmlformats.org/officeDocument/2006/relationships/tags" Target="../tags/tag729.xml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tags" Target="../tags/tag734.xml"/><Relationship Id="rId4" Type="http://schemas.openxmlformats.org/officeDocument/2006/relationships/tags" Target="../tags/tag735.xml"/><Relationship Id="rId5" Type="http://schemas.openxmlformats.org/officeDocument/2006/relationships/tags" Target="../tags/tag736.xml"/><Relationship Id="rId6" Type="http://schemas.openxmlformats.org/officeDocument/2006/relationships/tags" Target="../tags/tag737.xml"/><Relationship Id="rId7" Type="http://schemas.openxmlformats.org/officeDocument/2006/relationships/slideMaster" Target="../slideMasters/slideMaster49.xml"/><Relationship Id="rId8" Type="http://schemas.openxmlformats.org/officeDocument/2006/relationships/oleObject" Target="../embeddings/oleObject295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295.vml"/><Relationship Id="rId2" Type="http://schemas.openxmlformats.org/officeDocument/2006/relationships/tags" Target="../tags/tag73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4" Type="http://schemas.openxmlformats.org/officeDocument/2006/relationships/tags" Target="../tags/tag68.xml"/><Relationship Id="rId5" Type="http://schemas.openxmlformats.org/officeDocument/2006/relationships/slideMaster" Target="../slideMasters/slideMaster5.xml"/><Relationship Id="rId6" Type="http://schemas.openxmlformats.org/officeDocument/2006/relationships/oleObject" Target="../embeddings/oleObject29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29.vml"/><Relationship Id="rId2" Type="http://schemas.openxmlformats.org/officeDocument/2006/relationships/tags" Target="../tags/tag66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97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97.vml"/><Relationship Id="rId2" Type="http://schemas.openxmlformats.org/officeDocument/2006/relationships/tags" Target="../tags/tag739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4" Type="http://schemas.openxmlformats.org/officeDocument/2006/relationships/oleObject" Target="../embeddings/oleObject298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298.vml"/><Relationship Id="rId2" Type="http://schemas.openxmlformats.org/officeDocument/2006/relationships/tags" Target="../tags/tag740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tags" Target="../tags/tag742.xml"/><Relationship Id="rId4" Type="http://schemas.openxmlformats.org/officeDocument/2006/relationships/tags" Target="../tags/tag743.xml"/><Relationship Id="rId5" Type="http://schemas.openxmlformats.org/officeDocument/2006/relationships/slideMaster" Target="../slideMasters/slideMaster50.xml"/><Relationship Id="rId6" Type="http://schemas.openxmlformats.org/officeDocument/2006/relationships/oleObject" Target="../embeddings/oleObject299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299.vml"/><Relationship Id="rId2" Type="http://schemas.openxmlformats.org/officeDocument/2006/relationships/tags" Target="../tags/tag741.xml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tags" Target="../tags/tag745.xml"/><Relationship Id="rId4" Type="http://schemas.openxmlformats.org/officeDocument/2006/relationships/tags" Target="../tags/tag746.xml"/><Relationship Id="rId5" Type="http://schemas.openxmlformats.org/officeDocument/2006/relationships/tags" Target="../tags/tag747.xml"/><Relationship Id="rId6" Type="http://schemas.openxmlformats.org/officeDocument/2006/relationships/slideMaster" Target="../slideMasters/slideMaster50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300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300.vml"/><Relationship Id="rId2" Type="http://schemas.openxmlformats.org/officeDocument/2006/relationships/tags" Target="../tags/tag74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3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4" Type="http://schemas.openxmlformats.org/officeDocument/2006/relationships/tags" Target="../tags/tag71.xml"/><Relationship Id="rId5" Type="http://schemas.openxmlformats.org/officeDocument/2006/relationships/tags" Target="../tags/tag72.xml"/><Relationship Id="rId6" Type="http://schemas.openxmlformats.org/officeDocument/2006/relationships/slideMaster" Target="../slideMasters/slideMaster5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30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30.vml"/><Relationship Id="rId2" Type="http://schemas.openxmlformats.org/officeDocument/2006/relationships/tags" Target="../tags/tag69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tags" Target="../tags/tag749.xml"/><Relationship Id="rId4" Type="http://schemas.openxmlformats.org/officeDocument/2006/relationships/tags" Target="../tags/tag750.xml"/><Relationship Id="rId5" Type="http://schemas.openxmlformats.org/officeDocument/2006/relationships/tags" Target="../tags/tag751.xml"/><Relationship Id="rId6" Type="http://schemas.openxmlformats.org/officeDocument/2006/relationships/tags" Target="../tags/tag752.xml"/><Relationship Id="rId7" Type="http://schemas.openxmlformats.org/officeDocument/2006/relationships/slideMaster" Target="../slideMasters/slideMaster50.xml"/><Relationship Id="rId8" Type="http://schemas.openxmlformats.org/officeDocument/2006/relationships/oleObject" Target="../embeddings/oleObject301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301.vml"/><Relationship Id="rId2" Type="http://schemas.openxmlformats.org/officeDocument/2006/relationships/tags" Target="../tags/tag748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30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03.vml"/><Relationship Id="rId2" Type="http://schemas.openxmlformats.org/officeDocument/2006/relationships/tags" Target="../tags/tag754.xml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4" Type="http://schemas.openxmlformats.org/officeDocument/2006/relationships/oleObject" Target="../embeddings/oleObject304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304.vml"/><Relationship Id="rId2" Type="http://schemas.openxmlformats.org/officeDocument/2006/relationships/tags" Target="../tags/tag755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4" Type="http://schemas.openxmlformats.org/officeDocument/2006/relationships/tags" Target="../tags/tag75.xml"/><Relationship Id="rId5" Type="http://schemas.openxmlformats.org/officeDocument/2006/relationships/tags" Target="../tags/tag76.xml"/><Relationship Id="rId6" Type="http://schemas.openxmlformats.org/officeDocument/2006/relationships/tags" Target="../tags/tag77.xml"/><Relationship Id="rId7" Type="http://schemas.openxmlformats.org/officeDocument/2006/relationships/slideMaster" Target="../slideMasters/slideMaster5.xml"/><Relationship Id="rId8" Type="http://schemas.openxmlformats.org/officeDocument/2006/relationships/oleObject" Target="../embeddings/oleObject31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31.vml"/><Relationship Id="rId2" Type="http://schemas.openxmlformats.org/officeDocument/2006/relationships/tags" Target="../tags/tag73.xml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tags" Target="../tags/tag757.xml"/><Relationship Id="rId4" Type="http://schemas.openxmlformats.org/officeDocument/2006/relationships/tags" Target="../tags/tag758.xml"/><Relationship Id="rId5" Type="http://schemas.openxmlformats.org/officeDocument/2006/relationships/slideMaster" Target="../slideMasters/slideMaster51.xml"/><Relationship Id="rId6" Type="http://schemas.openxmlformats.org/officeDocument/2006/relationships/oleObject" Target="../embeddings/oleObject305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305.vml"/><Relationship Id="rId2" Type="http://schemas.openxmlformats.org/officeDocument/2006/relationships/tags" Target="../tags/tag756.xml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tags" Target="../tags/tag760.xml"/><Relationship Id="rId4" Type="http://schemas.openxmlformats.org/officeDocument/2006/relationships/tags" Target="../tags/tag761.xml"/><Relationship Id="rId5" Type="http://schemas.openxmlformats.org/officeDocument/2006/relationships/tags" Target="../tags/tag762.xml"/><Relationship Id="rId6" Type="http://schemas.openxmlformats.org/officeDocument/2006/relationships/slideMaster" Target="../slideMasters/slideMaster51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306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306.vml"/><Relationship Id="rId2" Type="http://schemas.openxmlformats.org/officeDocument/2006/relationships/tags" Target="../tags/tag759.xml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tags" Target="../tags/tag764.xml"/><Relationship Id="rId4" Type="http://schemas.openxmlformats.org/officeDocument/2006/relationships/tags" Target="../tags/tag765.xml"/><Relationship Id="rId5" Type="http://schemas.openxmlformats.org/officeDocument/2006/relationships/tags" Target="../tags/tag766.xml"/><Relationship Id="rId6" Type="http://schemas.openxmlformats.org/officeDocument/2006/relationships/tags" Target="../tags/tag767.xml"/><Relationship Id="rId7" Type="http://schemas.openxmlformats.org/officeDocument/2006/relationships/slideMaster" Target="../slideMasters/slideMaster51.xml"/><Relationship Id="rId8" Type="http://schemas.openxmlformats.org/officeDocument/2006/relationships/oleObject" Target="../embeddings/oleObject307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307.vml"/><Relationship Id="rId2" Type="http://schemas.openxmlformats.org/officeDocument/2006/relationships/tags" Target="../tags/tag763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309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09.vml"/><Relationship Id="rId2" Type="http://schemas.openxmlformats.org/officeDocument/2006/relationships/tags" Target="../tags/tag769.xml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4" Type="http://schemas.openxmlformats.org/officeDocument/2006/relationships/oleObject" Target="../embeddings/oleObject310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310.vml"/><Relationship Id="rId2" Type="http://schemas.openxmlformats.org/officeDocument/2006/relationships/tags" Target="../tags/tag770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tags" Target="../tags/tag772.xml"/><Relationship Id="rId4" Type="http://schemas.openxmlformats.org/officeDocument/2006/relationships/tags" Target="../tags/tag773.xml"/><Relationship Id="rId5" Type="http://schemas.openxmlformats.org/officeDocument/2006/relationships/slideMaster" Target="../slideMasters/slideMaster52.xml"/><Relationship Id="rId6" Type="http://schemas.openxmlformats.org/officeDocument/2006/relationships/oleObject" Target="../embeddings/oleObject311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311.vml"/><Relationship Id="rId2" Type="http://schemas.openxmlformats.org/officeDocument/2006/relationships/tags" Target="../tags/tag771.xml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tags" Target="../tags/tag775.xml"/><Relationship Id="rId4" Type="http://schemas.openxmlformats.org/officeDocument/2006/relationships/tags" Target="../tags/tag776.xml"/><Relationship Id="rId5" Type="http://schemas.openxmlformats.org/officeDocument/2006/relationships/tags" Target="../tags/tag777.xml"/><Relationship Id="rId6" Type="http://schemas.openxmlformats.org/officeDocument/2006/relationships/slideMaster" Target="../slideMasters/slideMaster52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312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312.vml"/><Relationship Id="rId2" Type="http://schemas.openxmlformats.org/officeDocument/2006/relationships/tags" Target="../tags/tag774.xml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tags" Target="../tags/tag779.xml"/><Relationship Id="rId4" Type="http://schemas.openxmlformats.org/officeDocument/2006/relationships/tags" Target="../tags/tag780.xml"/><Relationship Id="rId5" Type="http://schemas.openxmlformats.org/officeDocument/2006/relationships/tags" Target="../tags/tag781.xml"/><Relationship Id="rId6" Type="http://schemas.openxmlformats.org/officeDocument/2006/relationships/tags" Target="../tags/tag782.xml"/><Relationship Id="rId7" Type="http://schemas.openxmlformats.org/officeDocument/2006/relationships/slideMaster" Target="../slideMasters/slideMaster52.xml"/><Relationship Id="rId8" Type="http://schemas.openxmlformats.org/officeDocument/2006/relationships/oleObject" Target="../embeddings/oleObject313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313.vml"/><Relationship Id="rId2" Type="http://schemas.openxmlformats.org/officeDocument/2006/relationships/tags" Target="../tags/tag778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315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15.vml"/><Relationship Id="rId2" Type="http://schemas.openxmlformats.org/officeDocument/2006/relationships/tags" Target="../tags/tag784.xml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4" Type="http://schemas.openxmlformats.org/officeDocument/2006/relationships/oleObject" Target="../embeddings/oleObject316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316.vml"/><Relationship Id="rId2" Type="http://schemas.openxmlformats.org/officeDocument/2006/relationships/tags" Target="../tags/tag785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tags" Target="../tags/tag787.xml"/><Relationship Id="rId4" Type="http://schemas.openxmlformats.org/officeDocument/2006/relationships/tags" Target="../tags/tag788.xml"/><Relationship Id="rId5" Type="http://schemas.openxmlformats.org/officeDocument/2006/relationships/slideMaster" Target="../slideMasters/slideMaster53.xml"/><Relationship Id="rId6" Type="http://schemas.openxmlformats.org/officeDocument/2006/relationships/oleObject" Target="../embeddings/oleObject317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317.vml"/><Relationship Id="rId2" Type="http://schemas.openxmlformats.org/officeDocument/2006/relationships/tags" Target="../tags/tag786.xml"/></Relationships>
</file>

<file path=ppt/slideLayouts/_rels/slideLayout535.xml.rels><?xml version="1.0" encoding="UTF-8" standalone="yes"?>
<Relationships xmlns="http://schemas.openxmlformats.org/package/2006/relationships"><Relationship Id="rId3" Type="http://schemas.openxmlformats.org/officeDocument/2006/relationships/tags" Target="../tags/tag790.xml"/><Relationship Id="rId4" Type="http://schemas.openxmlformats.org/officeDocument/2006/relationships/tags" Target="../tags/tag791.xml"/><Relationship Id="rId5" Type="http://schemas.openxmlformats.org/officeDocument/2006/relationships/tags" Target="../tags/tag792.xml"/><Relationship Id="rId6" Type="http://schemas.openxmlformats.org/officeDocument/2006/relationships/slideMaster" Target="../slideMasters/slideMaster53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318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318.vml"/><Relationship Id="rId2" Type="http://schemas.openxmlformats.org/officeDocument/2006/relationships/tags" Target="../tags/tag789.xml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tags" Target="../tags/tag794.xml"/><Relationship Id="rId4" Type="http://schemas.openxmlformats.org/officeDocument/2006/relationships/tags" Target="../tags/tag795.xml"/><Relationship Id="rId5" Type="http://schemas.openxmlformats.org/officeDocument/2006/relationships/tags" Target="../tags/tag796.xml"/><Relationship Id="rId6" Type="http://schemas.openxmlformats.org/officeDocument/2006/relationships/tags" Target="../tags/tag797.xml"/><Relationship Id="rId7" Type="http://schemas.openxmlformats.org/officeDocument/2006/relationships/slideMaster" Target="../slideMasters/slideMaster53.xml"/><Relationship Id="rId8" Type="http://schemas.openxmlformats.org/officeDocument/2006/relationships/oleObject" Target="../embeddings/oleObject319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319.vml"/><Relationship Id="rId2" Type="http://schemas.openxmlformats.org/officeDocument/2006/relationships/tags" Target="../tags/tag793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4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321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21.vml"/><Relationship Id="rId2" Type="http://schemas.openxmlformats.org/officeDocument/2006/relationships/tags" Target="../tags/tag799.xml"/></Relationships>
</file>

<file path=ppt/slideLayouts/_rels/slideLayout5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4.xml"/><Relationship Id="rId4" Type="http://schemas.openxmlformats.org/officeDocument/2006/relationships/oleObject" Target="../embeddings/oleObject322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322.vml"/><Relationship Id="rId2" Type="http://schemas.openxmlformats.org/officeDocument/2006/relationships/tags" Target="../tags/tag800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tags" Target="../tags/tag802.xml"/><Relationship Id="rId4" Type="http://schemas.openxmlformats.org/officeDocument/2006/relationships/tags" Target="../tags/tag803.xml"/><Relationship Id="rId5" Type="http://schemas.openxmlformats.org/officeDocument/2006/relationships/slideMaster" Target="../slideMasters/slideMaster54.xml"/><Relationship Id="rId6" Type="http://schemas.openxmlformats.org/officeDocument/2006/relationships/oleObject" Target="../embeddings/oleObject323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323.vml"/><Relationship Id="rId2" Type="http://schemas.openxmlformats.org/officeDocument/2006/relationships/tags" Target="../tags/tag801.xml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tags" Target="../tags/tag805.xml"/><Relationship Id="rId4" Type="http://schemas.openxmlformats.org/officeDocument/2006/relationships/tags" Target="../tags/tag806.xml"/><Relationship Id="rId5" Type="http://schemas.openxmlformats.org/officeDocument/2006/relationships/tags" Target="../tags/tag807.xml"/><Relationship Id="rId6" Type="http://schemas.openxmlformats.org/officeDocument/2006/relationships/slideMaster" Target="../slideMasters/slideMaster54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324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324.vml"/><Relationship Id="rId2" Type="http://schemas.openxmlformats.org/officeDocument/2006/relationships/tags" Target="../tags/tag804.xml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tags" Target="../tags/tag809.xml"/><Relationship Id="rId4" Type="http://schemas.openxmlformats.org/officeDocument/2006/relationships/tags" Target="../tags/tag810.xml"/><Relationship Id="rId5" Type="http://schemas.openxmlformats.org/officeDocument/2006/relationships/tags" Target="../tags/tag811.xml"/><Relationship Id="rId6" Type="http://schemas.openxmlformats.org/officeDocument/2006/relationships/tags" Target="../tags/tag812.xml"/><Relationship Id="rId7" Type="http://schemas.openxmlformats.org/officeDocument/2006/relationships/slideMaster" Target="../slideMasters/slideMaster54.xml"/><Relationship Id="rId8" Type="http://schemas.openxmlformats.org/officeDocument/2006/relationships/oleObject" Target="../embeddings/oleObject325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325.vml"/><Relationship Id="rId2" Type="http://schemas.openxmlformats.org/officeDocument/2006/relationships/tags" Target="../tags/tag808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327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27.vml"/><Relationship Id="rId2" Type="http://schemas.openxmlformats.org/officeDocument/2006/relationships/tags" Target="../tags/tag814.xml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4" Type="http://schemas.openxmlformats.org/officeDocument/2006/relationships/oleObject" Target="../embeddings/oleObject328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328.vml"/><Relationship Id="rId2" Type="http://schemas.openxmlformats.org/officeDocument/2006/relationships/tags" Target="../tags/tag815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57.xml.rels><?xml version="1.0" encoding="UTF-8" standalone="yes"?>
<Relationships xmlns="http://schemas.openxmlformats.org/package/2006/relationships"><Relationship Id="rId3" Type="http://schemas.openxmlformats.org/officeDocument/2006/relationships/tags" Target="../tags/tag817.xml"/><Relationship Id="rId4" Type="http://schemas.openxmlformats.org/officeDocument/2006/relationships/tags" Target="../tags/tag818.xml"/><Relationship Id="rId5" Type="http://schemas.openxmlformats.org/officeDocument/2006/relationships/slideMaster" Target="../slideMasters/slideMaster55.xml"/><Relationship Id="rId6" Type="http://schemas.openxmlformats.org/officeDocument/2006/relationships/oleObject" Target="../embeddings/oleObject329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329.vml"/><Relationship Id="rId2" Type="http://schemas.openxmlformats.org/officeDocument/2006/relationships/tags" Target="../tags/tag816.xml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tags" Target="../tags/tag820.xml"/><Relationship Id="rId4" Type="http://schemas.openxmlformats.org/officeDocument/2006/relationships/tags" Target="../tags/tag821.xml"/><Relationship Id="rId5" Type="http://schemas.openxmlformats.org/officeDocument/2006/relationships/tags" Target="../tags/tag822.xml"/><Relationship Id="rId6" Type="http://schemas.openxmlformats.org/officeDocument/2006/relationships/slideMaster" Target="../slideMasters/slideMaster55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330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330.vml"/><Relationship Id="rId2" Type="http://schemas.openxmlformats.org/officeDocument/2006/relationships/tags" Target="../tags/tag819.xml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tags" Target="../tags/tag824.xml"/><Relationship Id="rId4" Type="http://schemas.openxmlformats.org/officeDocument/2006/relationships/tags" Target="../tags/tag825.xml"/><Relationship Id="rId5" Type="http://schemas.openxmlformats.org/officeDocument/2006/relationships/tags" Target="../tags/tag826.xml"/><Relationship Id="rId6" Type="http://schemas.openxmlformats.org/officeDocument/2006/relationships/tags" Target="../tags/tag827.xml"/><Relationship Id="rId7" Type="http://schemas.openxmlformats.org/officeDocument/2006/relationships/slideMaster" Target="../slideMasters/slideMaster55.xml"/><Relationship Id="rId8" Type="http://schemas.openxmlformats.org/officeDocument/2006/relationships/oleObject" Target="../embeddings/oleObject331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331.vml"/><Relationship Id="rId2" Type="http://schemas.openxmlformats.org/officeDocument/2006/relationships/tags" Target="../tags/tag82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3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3.vml"/><Relationship Id="rId2" Type="http://schemas.openxmlformats.org/officeDocument/2006/relationships/tags" Target="../tags/tag79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33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33.vml"/><Relationship Id="rId2" Type="http://schemas.openxmlformats.org/officeDocument/2006/relationships/tags" Target="../tags/tag829.xml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4" Type="http://schemas.openxmlformats.org/officeDocument/2006/relationships/oleObject" Target="../embeddings/oleObject334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334.vml"/><Relationship Id="rId2" Type="http://schemas.openxmlformats.org/officeDocument/2006/relationships/tags" Target="../tags/tag830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tags" Target="../tags/tag832.xml"/><Relationship Id="rId4" Type="http://schemas.openxmlformats.org/officeDocument/2006/relationships/tags" Target="../tags/tag833.xml"/><Relationship Id="rId5" Type="http://schemas.openxmlformats.org/officeDocument/2006/relationships/slideMaster" Target="../slideMasters/slideMaster56.xml"/><Relationship Id="rId6" Type="http://schemas.openxmlformats.org/officeDocument/2006/relationships/oleObject" Target="../embeddings/oleObject335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335.vml"/><Relationship Id="rId2" Type="http://schemas.openxmlformats.org/officeDocument/2006/relationships/tags" Target="../tags/tag83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34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34.vml"/><Relationship Id="rId2" Type="http://schemas.openxmlformats.org/officeDocument/2006/relationships/tags" Target="../tags/tag80.xml"/></Relationships>
</file>

<file path=ppt/slideLayouts/_rels/slideLayout570.xml.rels><?xml version="1.0" encoding="UTF-8" standalone="yes"?>
<Relationships xmlns="http://schemas.openxmlformats.org/package/2006/relationships"><Relationship Id="rId3" Type="http://schemas.openxmlformats.org/officeDocument/2006/relationships/tags" Target="../tags/tag835.xml"/><Relationship Id="rId4" Type="http://schemas.openxmlformats.org/officeDocument/2006/relationships/tags" Target="../tags/tag836.xml"/><Relationship Id="rId5" Type="http://schemas.openxmlformats.org/officeDocument/2006/relationships/tags" Target="../tags/tag837.xml"/><Relationship Id="rId6" Type="http://schemas.openxmlformats.org/officeDocument/2006/relationships/slideMaster" Target="../slideMasters/slideMaster56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336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336.vml"/><Relationship Id="rId2" Type="http://schemas.openxmlformats.org/officeDocument/2006/relationships/tags" Target="../tags/tag834.xml"/></Relationships>
</file>

<file path=ppt/slideLayouts/_rels/slideLayout571.xml.rels><?xml version="1.0" encoding="UTF-8" standalone="yes"?>
<Relationships xmlns="http://schemas.openxmlformats.org/package/2006/relationships"><Relationship Id="rId3" Type="http://schemas.openxmlformats.org/officeDocument/2006/relationships/tags" Target="../tags/tag839.xml"/><Relationship Id="rId4" Type="http://schemas.openxmlformats.org/officeDocument/2006/relationships/tags" Target="../tags/tag840.xml"/><Relationship Id="rId5" Type="http://schemas.openxmlformats.org/officeDocument/2006/relationships/tags" Target="../tags/tag841.xml"/><Relationship Id="rId6" Type="http://schemas.openxmlformats.org/officeDocument/2006/relationships/tags" Target="../tags/tag842.xml"/><Relationship Id="rId7" Type="http://schemas.openxmlformats.org/officeDocument/2006/relationships/slideMaster" Target="../slideMasters/slideMaster56.xml"/><Relationship Id="rId8" Type="http://schemas.openxmlformats.org/officeDocument/2006/relationships/oleObject" Target="../embeddings/oleObject337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337.vml"/><Relationship Id="rId2" Type="http://schemas.openxmlformats.org/officeDocument/2006/relationships/tags" Target="../tags/tag838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339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39.vml"/><Relationship Id="rId2" Type="http://schemas.openxmlformats.org/officeDocument/2006/relationships/tags" Target="../tags/tag844.xml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4" Type="http://schemas.openxmlformats.org/officeDocument/2006/relationships/oleObject" Target="../embeddings/oleObject340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7.png"/><Relationship Id="rId1" Type="http://schemas.openxmlformats.org/officeDocument/2006/relationships/vmlDrawing" Target="../drawings/vmlDrawing340.vml"/><Relationship Id="rId2" Type="http://schemas.openxmlformats.org/officeDocument/2006/relationships/tags" Target="../tags/tag845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0.xml.rels><?xml version="1.0" encoding="UTF-8" standalone="yes"?>
<Relationships xmlns="http://schemas.openxmlformats.org/package/2006/relationships"><Relationship Id="rId3" Type="http://schemas.openxmlformats.org/officeDocument/2006/relationships/tags" Target="../tags/tag847.xml"/><Relationship Id="rId4" Type="http://schemas.openxmlformats.org/officeDocument/2006/relationships/tags" Target="../tags/tag848.xml"/><Relationship Id="rId5" Type="http://schemas.openxmlformats.org/officeDocument/2006/relationships/slideMaster" Target="../slideMasters/slideMaster57.xml"/><Relationship Id="rId6" Type="http://schemas.openxmlformats.org/officeDocument/2006/relationships/oleObject" Target="../embeddings/oleObject341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7.png"/><Relationship Id="rId10" Type="http://schemas.openxmlformats.org/officeDocument/2006/relationships/image" Target="../media/image8.jpeg"/><Relationship Id="rId1" Type="http://schemas.openxmlformats.org/officeDocument/2006/relationships/vmlDrawing" Target="../drawings/vmlDrawing341.vml"/><Relationship Id="rId2" Type="http://schemas.openxmlformats.org/officeDocument/2006/relationships/tags" Target="../tags/tag846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tags" Target="../tags/tag850.xml"/><Relationship Id="rId4" Type="http://schemas.openxmlformats.org/officeDocument/2006/relationships/tags" Target="../tags/tag851.xml"/><Relationship Id="rId5" Type="http://schemas.openxmlformats.org/officeDocument/2006/relationships/tags" Target="../tags/tag852.xml"/><Relationship Id="rId6" Type="http://schemas.openxmlformats.org/officeDocument/2006/relationships/slideMaster" Target="../slideMasters/slideMaster57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342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342.vml"/><Relationship Id="rId2" Type="http://schemas.openxmlformats.org/officeDocument/2006/relationships/tags" Target="../tags/tag849.xml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tags" Target="../tags/tag854.xml"/><Relationship Id="rId4" Type="http://schemas.openxmlformats.org/officeDocument/2006/relationships/tags" Target="../tags/tag855.xml"/><Relationship Id="rId5" Type="http://schemas.openxmlformats.org/officeDocument/2006/relationships/tags" Target="../tags/tag856.xml"/><Relationship Id="rId6" Type="http://schemas.openxmlformats.org/officeDocument/2006/relationships/tags" Target="../tags/tag857.xml"/><Relationship Id="rId7" Type="http://schemas.openxmlformats.org/officeDocument/2006/relationships/slideMaster" Target="../slideMasters/slideMaster57.xml"/><Relationship Id="rId8" Type="http://schemas.openxmlformats.org/officeDocument/2006/relationships/oleObject" Target="../embeddings/oleObject343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343.vml"/><Relationship Id="rId2" Type="http://schemas.openxmlformats.org/officeDocument/2006/relationships/tags" Target="../tags/tag853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345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45.vml"/><Relationship Id="rId2" Type="http://schemas.openxmlformats.org/officeDocument/2006/relationships/tags" Target="../tags/tag859.xml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4" Type="http://schemas.openxmlformats.org/officeDocument/2006/relationships/oleObject" Target="../embeddings/oleObject346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7.png"/><Relationship Id="rId1" Type="http://schemas.openxmlformats.org/officeDocument/2006/relationships/vmlDrawing" Target="../drawings/vmlDrawing346.vml"/><Relationship Id="rId2" Type="http://schemas.openxmlformats.org/officeDocument/2006/relationships/tags" Target="../tags/tag860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tags" Target="../tags/tag862.xml"/><Relationship Id="rId4" Type="http://schemas.openxmlformats.org/officeDocument/2006/relationships/tags" Target="../tags/tag863.xml"/><Relationship Id="rId5" Type="http://schemas.openxmlformats.org/officeDocument/2006/relationships/slideMaster" Target="../slideMasters/slideMaster58.xml"/><Relationship Id="rId6" Type="http://schemas.openxmlformats.org/officeDocument/2006/relationships/oleObject" Target="../embeddings/oleObject347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7.png"/><Relationship Id="rId10" Type="http://schemas.openxmlformats.org/officeDocument/2006/relationships/image" Target="../media/image8.jpeg"/><Relationship Id="rId1" Type="http://schemas.openxmlformats.org/officeDocument/2006/relationships/vmlDrawing" Target="../drawings/vmlDrawing347.vml"/><Relationship Id="rId2" Type="http://schemas.openxmlformats.org/officeDocument/2006/relationships/tags" Target="../tags/tag861.xml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tags" Target="../tags/tag865.xml"/><Relationship Id="rId4" Type="http://schemas.openxmlformats.org/officeDocument/2006/relationships/tags" Target="../tags/tag866.xml"/><Relationship Id="rId5" Type="http://schemas.openxmlformats.org/officeDocument/2006/relationships/tags" Target="../tags/tag867.xml"/><Relationship Id="rId6" Type="http://schemas.openxmlformats.org/officeDocument/2006/relationships/slideMaster" Target="../slideMasters/slideMaster58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348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348.vml"/><Relationship Id="rId2" Type="http://schemas.openxmlformats.org/officeDocument/2006/relationships/tags" Target="../tags/tag864.xml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tags" Target="../tags/tag869.xml"/><Relationship Id="rId4" Type="http://schemas.openxmlformats.org/officeDocument/2006/relationships/tags" Target="../tags/tag870.xml"/><Relationship Id="rId5" Type="http://schemas.openxmlformats.org/officeDocument/2006/relationships/tags" Target="../tags/tag871.xml"/><Relationship Id="rId6" Type="http://schemas.openxmlformats.org/officeDocument/2006/relationships/tags" Target="../tags/tag872.xml"/><Relationship Id="rId7" Type="http://schemas.openxmlformats.org/officeDocument/2006/relationships/slideMaster" Target="../slideMasters/slideMaster58.xml"/><Relationship Id="rId8" Type="http://schemas.openxmlformats.org/officeDocument/2006/relationships/oleObject" Target="../embeddings/oleObject349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349.vml"/><Relationship Id="rId2" Type="http://schemas.openxmlformats.org/officeDocument/2006/relationships/tags" Target="../tags/tag868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9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351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51.vml"/><Relationship Id="rId2" Type="http://schemas.openxmlformats.org/officeDocument/2006/relationships/tags" Target="../tags/tag874.xml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9.xml"/><Relationship Id="rId4" Type="http://schemas.openxmlformats.org/officeDocument/2006/relationships/oleObject" Target="../embeddings/oleObject352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352.vml"/><Relationship Id="rId2" Type="http://schemas.openxmlformats.org/officeDocument/2006/relationships/tags" Target="../tags/tag875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4" Type="http://schemas.openxmlformats.org/officeDocument/2006/relationships/tags" Target="../tags/tag9.xml"/><Relationship Id="rId5" Type="http://schemas.openxmlformats.org/officeDocument/2006/relationships/tags" Target="../tags/tag10.xml"/><Relationship Id="rId6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4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4.vml"/><Relationship Id="rId2" Type="http://schemas.openxmlformats.org/officeDocument/2006/relationships/tags" Target="../tags/tag7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4" Type="http://schemas.openxmlformats.org/officeDocument/2006/relationships/tags" Target="../tags/tag83.xml"/><Relationship Id="rId5" Type="http://schemas.openxmlformats.org/officeDocument/2006/relationships/slideMaster" Target="../slideMasters/slideMaster6.xml"/><Relationship Id="rId6" Type="http://schemas.openxmlformats.org/officeDocument/2006/relationships/oleObject" Target="../embeddings/oleObject35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35.vml"/><Relationship Id="rId2" Type="http://schemas.openxmlformats.org/officeDocument/2006/relationships/tags" Target="../tags/tag81.xml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tags" Target="../tags/tag877.xml"/><Relationship Id="rId4" Type="http://schemas.openxmlformats.org/officeDocument/2006/relationships/tags" Target="../tags/tag878.xml"/><Relationship Id="rId5" Type="http://schemas.openxmlformats.org/officeDocument/2006/relationships/slideMaster" Target="../slideMasters/slideMaster59.xml"/><Relationship Id="rId6" Type="http://schemas.openxmlformats.org/officeDocument/2006/relationships/oleObject" Target="../embeddings/oleObject353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353.vml"/><Relationship Id="rId2" Type="http://schemas.openxmlformats.org/officeDocument/2006/relationships/tags" Target="../tags/tag876.xml"/></Relationships>
</file>

<file path=ppt/slideLayouts/_rels/slideLayout601.xml.rels><?xml version="1.0" encoding="UTF-8" standalone="yes"?>
<Relationships xmlns="http://schemas.openxmlformats.org/package/2006/relationships"><Relationship Id="rId3" Type="http://schemas.openxmlformats.org/officeDocument/2006/relationships/tags" Target="../tags/tag880.xml"/><Relationship Id="rId4" Type="http://schemas.openxmlformats.org/officeDocument/2006/relationships/tags" Target="../tags/tag881.xml"/><Relationship Id="rId5" Type="http://schemas.openxmlformats.org/officeDocument/2006/relationships/tags" Target="../tags/tag882.xml"/><Relationship Id="rId6" Type="http://schemas.openxmlformats.org/officeDocument/2006/relationships/slideMaster" Target="../slideMasters/slideMaster59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354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354.vml"/><Relationship Id="rId2" Type="http://schemas.openxmlformats.org/officeDocument/2006/relationships/tags" Target="../tags/tag879.xml"/></Relationships>
</file>

<file path=ppt/slideLayouts/_rels/slideLayout602.xml.rels><?xml version="1.0" encoding="UTF-8" standalone="yes"?>
<Relationships xmlns="http://schemas.openxmlformats.org/package/2006/relationships"><Relationship Id="rId3" Type="http://schemas.openxmlformats.org/officeDocument/2006/relationships/tags" Target="../tags/tag884.xml"/><Relationship Id="rId4" Type="http://schemas.openxmlformats.org/officeDocument/2006/relationships/tags" Target="../tags/tag885.xml"/><Relationship Id="rId5" Type="http://schemas.openxmlformats.org/officeDocument/2006/relationships/tags" Target="../tags/tag886.xml"/><Relationship Id="rId6" Type="http://schemas.openxmlformats.org/officeDocument/2006/relationships/tags" Target="../tags/tag887.xml"/><Relationship Id="rId7" Type="http://schemas.openxmlformats.org/officeDocument/2006/relationships/slideMaster" Target="../slideMasters/slideMaster59.xml"/><Relationship Id="rId8" Type="http://schemas.openxmlformats.org/officeDocument/2006/relationships/oleObject" Target="../embeddings/oleObject355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355.vml"/><Relationship Id="rId2" Type="http://schemas.openxmlformats.org/officeDocument/2006/relationships/tags" Target="../tags/tag883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0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357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57.vml"/><Relationship Id="rId2" Type="http://schemas.openxmlformats.org/officeDocument/2006/relationships/tags" Target="../tags/tag889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0.xml"/><Relationship Id="rId4" Type="http://schemas.openxmlformats.org/officeDocument/2006/relationships/oleObject" Target="../embeddings/oleObject358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358.vml"/><Relationship Id="rId2" Type="http://schemas.openxmlformats.org/officeDocument/2006/relationships/tags" Target="../tags/tag890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4" Type="http://schemas.openxmlformats.org/officeDocument/2006/relationships/tags" Target="../tags/tag86.xml"/><Relationship Id="rId5" Type="http://schemas.openxmlformats.org/officeDocument/2006/relationships/tags" Target="../tags/tag87.xml"/><Relationship Id="rId6" Type="http://schemas.openxmlformats.org/officeDocument/2006/relationships/slideMaster" Target="../slideMasters/slideMaster6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36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36.vml"/><Relationship Id="rId2" Type="http://schemas.openxmlformats.org/officeDocument/2006/relationships/tags" Target="../tags/tag84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tags" Target="../tags/tag892.xml"/><Relationship Id="rId4" Type="http://schemas.openxmlformats.org/officeDocument/2006/relationships/tags" Target="../tags/tag893.xml"/><Relationship Id="rId5" Type="http://schemas.openxmlformats.org/officeDocument/2006/relationships/slideMaster" Target="../slideMasters/slideMaster60.xml"/><Relationship Id="rId6" Type="http://schemas.openxmlformats.org/officeDocument/2006/relationships/oleObject" Target="../embeddings/oleObject359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359.vml"/><Relationship Id="rId2" Type="http://schemas.openxmlformats.org/officeDocument/2006/relationships/tags" Target="../tags/tag891.xml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tags" Target="../tags/tag895.xml"/><Relationship Id="rId4" Type="http://schemas.openxmlformats.org/officeDocument/2006/relationships/tags" Target="../tags/tag896.xml"/><Relationship Id="rId5" Type="http://schemas.openxmlformats.org/officeDocument/2006/relationships/tags" Target="../tags/tag897.xml"/><Relationship Id="rId6" Type="http://schemas.openxmlformats.org/officeDocument/2006/relationships/slideMaster" Target="../slideMasters/slideMaster60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360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360.vml"/><Relationship Id="rId2" Type="http://schemas.openxmlformats.org/officeDocument/2006/relationships/tags" Target="../tags/tag894.xml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tags" Target="../tags/tag899.xml"/><Relationship Id="rId4" Type="http://schemas.openxmlformats.org/officeDocument/2006/relationships/tags" Target="../tags/tag900.xml"/><Relationship Id="rId5" Type="http://schemas.openxmlformats.org/officeDocument/2006/relationships/tags" Target="../tags/tag901.xml"/><Relationship Id="rId6" Type="http://schemas.openxmlformats.org/officeDocument/2006/relationships/tags" Target="../tags/tag902.xml"/><Relationship Id="rId7" Type="http://schemas.openxmlformats.org/officeDocument/2006/relationships/slideMaster" Target="../slideMasters/slideMaster60.xml"/><Relationship Id="rId8" Type="http://schemas.openxmlformats.org/officeDocument/2006/relationships/oleObject" Target="../embeddings/oleObject361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361.vml"/><Relationship Id="rId2" Type="http://schemas.openxmlformats.org/officeDocument/2006/relationships/tags" Target="../tags/tag898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1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36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63.vml"/><Relationship Id="rId2" Type="http://schemas.openxmlformats.org/officeDocument/2006/relationships/tags" Target="../tags/tag904.xml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1.xml"/><Relationship Id="rId4" Type="http://schemas.openxmlformats.org/officeDocument/2006/relationships/oleObject" Target="../embeddings/oleObject364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364.vml"/><Relationship Id="rId2" Type="http://schemas.openxmlformats.org/officeDocument/2006/relationships/tags" Target="../tags/tag90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4" Type="http://schemas.openxmlformats.org/officeDocument/2006/relationships/tags" Target="../tags/tag90.xml"/><Relationship Id="rId5" Type="http://schemas.openxmlformats.org/officeDocument/2006/relationships/tags" Target="../tags/tag91.xml"/><Relationship Id="rId6" Type="http://schemas.openxmlformats.org/officeDocument/2006/relationships/tags" Target="../tags/tag92.xml"/><Relationship Id="rId7" Type="http://schemas.openxmlformats.org/officeDocument/2006/relationships/slideMaster" Target="../slideMasters/slideMaster6.xml"/><Relationship Id="rId8" Type="http://schemas.openxmlformats.org/officeDocument/2006/relationships/oleObject" Target="../embeddings/oleObject37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37.vml"/><Relationship Id="rId2" Type="http://schemas.openxmlformats.org/officeDocument/2006/relationships/tags" Target="../tags/tag88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tags" Target="../tags/tag907.xml"/><Relationship Id="rId4" Type="http://schemas.openxmlformats.org/officeDocument/2006/relationships/tags" Target="../tags/tag908.xml"/><Relationship Id="rId5" Type="http://schemas.openxmlformats.org/officeDocument/2006/relationships/slideMaster" Target="../slideMasters/slideMaster61.xml"/><Relationship Id="rId6" Type="http://schemas.openxmlformats.org/officeDocument/2006/relationships/oleObject" Target="../embeddings/oleObject365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365.vml"/><Relationship Id="rId2" Type="http://schemas.openxmlformats.org/officeDocument/2006/relationships/tags" Target="../tags/tag906.xml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tags" Target="../tags/tag910.xml"/><Relationship Id="rId4" Type="http://schemas.openxmlformats.org/officeDocument/2006/relationships/tags" Target="../tags/tag911.xml"/><Relationship Id="rId5" Type="http://schemas.openxmlformats.org/officeDocument/2006/relationships/tags" Target="../tags/tag912.xml"/><Relationship Id="rId6" Type="http://schemas.openxmlformats.org/officeDocument/2006/relationships/slideMaster" Target="../slideMasters/slideMaster61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366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366.vml"/><Relationship Id="rId2" Type="http://schemas.openxmlformats.org/officeDocument/2006/relationships/tags" Target="../tags/tag909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tags" Target="../tags/tag914.xml"/><Relationship Id="rId4" Type="http://schemas.openxmlformats.org/officeDocument/2006/relationships/tags" Target="../tags/tag915.xml"/><Relationship Id="rId5" Type="http://schemas.openxmlformats.org/officeDocument/2006/relationships/tags" Target="../tags/tag916.xml"/><Relationship Id="rId6" Type="http://schemas.openxmlformats.org/officeDocument/2006/relationships/tags" Target="../tags/tag917.xml"/><Relationship Id="rId7" Type="http://schemas.openxmlformats.org/officeDocument/2006/relationships/slideMaster" Target="../slideMasters/slideMaster61.xml"/><Relationship Id="rId8" Type="http://schemas.openxmlformats.org/officeDocument/2006/relationships/oleObject" Target="../embeddings/oleObject367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367.vml"/><Relationship Id="rId2" Type="http://schemas.openxmlformats.org/officeDocument/2006/relationships/tags" Target="../tags/tag913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2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369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69.vml"/><Relationship Id="rId2" Type="http://schemas.openxmlformats.org/officeDocument/2006/relationships/tags" Target="../tags/tag91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2.xml"/><Relationship Id="rId4" Type="http://schemas.openxmlformats.org/officeDocument/2006/relationships/oleObject" Target="../embeddings/oleObject370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370.vml"/><Relationship Id="rId2" Type="http://schemas.openxmlformats.org/officeDocument/2006/relationships/tags" Target="../tags/tag920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33.xml.rels><?xml version="1.0" encoding="UTF-8" standalone="yes"?>
<Relationships xmlns="http://schemas.openxmlformats.org/package/2006/relationships"><Relationship Id="rId3" Type="http://schemas.openxmlformats.org/officeDocument/2006/relationships/tags" Target="../tags/tag922.xml"/><Relationship Id="rId4" Type="http://schemas.openxmlformats.org/officeDocument/2006/relationships/tags" Target="../tags/tag923.xml"/><Relationship Id="rId5" Type="http://schemas.openxmlformats.org/officeDocument/2006/relationships/slideMaster" Target="../slideMasters/slideMaster62.xml"/><Relationship Id="rId6" Type="http://schemas.openxmlformats.org/officeDocument/2006/relationships/oleObject" Target="../embeddings/oleObject371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371.vml"/><Relationship Id="rId2" Type="http://schemas.openxmlformats.org/officeDocument/2006/relationships/tags" Target="../tags/tag921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tags" Target="../tags/tag925.xml"/><Relationship Id="rId4" Type="http://schemas.openxmlformats.org/officeDocument/2006/relationships/tags" Target="../tags/tag926.xml"/><Relationship Id="rId5" Type="http://schemas.openxmlformats.org/officeDocument/2006/relationships/tags" Target="../tags/tag927.xml"/><Relationship Id="rId6" Type="http://schemas.openxmlformats.org/officeDocument/2006/relationships/slideMaster" Target="../slideMasters/slideMaster62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372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372.vml"/><Relationship Id="rId2" Type="http://schemas.openxmlformats.org/officeDocument/2006/relationships/tags" Target="../tags/tag924.xml"/></Relationships>
</file>

<file path=ppt/slideLayouts/_rels/slideLayout635.xml.rels><?xml version="1.0" encoding="UTF-8" standalone="yes"?>
<Relationships xmlns="http://schemas.openxmlformats.org/package/2006/relationships"><Relationship Id="rId3" Type="http://schemas.openxmlformats.org/officeDocument/2006/relationships/tags" Target="../tags/tag929.xml"/><Relationship Id="rId4" Type="http://schemas.openxmlformats.org/officeDocument/2006/relationships/tags" Target="../tags/tag930.xml"/><Relationship Id="rId5" Type="http://schemas.openxmlformats.org/officeDocument/2006/relationships/tags" Target="../tags/tag931.xml"/><Relationship Id="rId6" Type="http://schemas.openxmlformats.org/officeDocument/2006/relationships/tags" Target="../tags/tag932.xml"/><Relationship Id="rId7" Type="http://schemas.openxmlformats.org/officeDocument/2006/relationships/slideMaster" Target="../slideMasters/slideMaster62.xml"/><Relationship Id="rId8" Type="http://schemas.openxmlformats.org/officeDocument/2006/relationships/oleObject" Target="../embeddings/oleObject373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373.vml"/><Relationship Id="rId2" Type="http://schemas.openxmlformats.org/officeDocument/2006/relationships/tags" Target="../tags/tag928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3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375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75.vml"/><Relationship Id="rId2" Type="http://schemas.openxmlformats.org/officeDocument/2006/relationships/tags" Target="../tags/tag934.xml"/></Relationships>
</file>

<file path=ppt/slideLayouts/_rels/slideLayout6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3.xml"/><Relationship Id="rId4" Type="http://schemas.openxmlformats.org/officeDocument/2006/relationships/oleObject" Target="../embeddings/oleObject376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376.vml"/><Relationship Id="rId2" Type="http://schemas.openxmlformats.org/officeDocument/2006/relationships/tags" Target="../tags/tag935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44.xml.rels><?xml version="1.0" encoding="UTF-8" standalone="yes"?>
<Relationships xmlns="http://schemas.openxmlformats.org/package/2006/relationships"><Relationship Id="rId3" Type="http://schemas.openxmlformats.org/officeDocument/2006/relationships/tags" Target="../tags/tag937.xml"/><Relationship Id="rId4" Type="http://schemas.openxmlformats.org/officeDocument/2006/relationships/tags" Target="../tags/tag938.xml"/><Relationship Id="rId5" Type="http://schemas.openxmlformats.org/officeDocument/2006/relationships/slideMaster" Target="../slideMasters/slideMaster63.xml"/><Relationship Id="rId6" Type="http://schemas.openxmlformats.org/officeDocument/2006/relationships/oleObject" Target="../embeddings/oleObject377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377.vml"/><Relationship Id="rId2" Type="http://schemas.openxmlformats.org/officeDocument/2006/relationships/tags" Target="../tags/tag936.xml"/></Relationships>
</file>

<file path=ppt/slideLayouts/_rels/slideLayout645.xml.rels><?xml version="1.0" encoding="UTF-8" standalone="yes"?>
<Relationships xmlns="http://schemas.openxmlformats.org/package/2006/relationships"><Relationship Id="rId3" Type="http://schemas.openxmlformats.org/officeDocument/2006/relationships/tags" Target="../tags/tag940.xml"/><Relationship Id="rId4" Type="http://schemas.openxmlformats.org/officeDocument/2006/relationships/tags" Target="../tags/tag941.xml"/><Relationship Id="rId5" Type="http://schemas.openxmlformats.org/officeDocument/2006/relationships/tags" Target="../tags/tag942.xml"/><Relationship Id="rId6" Type="http://schemas.openxmlformats.org/officeDocument/2006/relationships/slideMaster" Target="../slideMasters/slideMaster63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378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378.vml"/><Relationship Id="rId2" Type="http://schemas.openxmlformats.org/officeDocument/2006/relationships/tags" Target="../tags/tag939.xml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tags" Target="../tags/tag944.xml"/><Relationship Id="rId4" Type="http://schemas.openxmlformats.org/officeDocument/2006/relationships/tags" Target="../tags/tag945.xml"/><Relationship Id="rId5" Type="http://schemas.openxmlformats.org/officeDocument/2006/relationships/tags" Target="../tags/tag946.xml"/><Relationship Id="rId6" Type="http://schemas.openxmlformats.org/officeDocument/2006/relationships/tags" Target="../tags/tag947.xml"/><Relationship Id="rId7" Type="http://schemas.openxmlformats.org/officeDocument/2006/relationships/slideMaster" Target="../slideMasters/slideMaster63.xml"/><Relationship Id="rId8" Type="http://schemas.openxmlformats.org/officeDocument/2006/relationships/oleObject" Target="../embeddings/oleObject379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379.vml"/><Relationship Id="rId2" Type="http://schemas.openxmlformats.org/officeDocument/2006/relationships/tags" Target="../tags/tag943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4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381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81.vml"/><Relationship Id="rId2" Type="http://schemas.openxmlformats.org/officeDocument/2006/relationships/tags" Target="../tags/tag949.xml"/></Relationships>
</file>

<file path=ppt/slideLayouts/_rels/slideLayout6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4.xml"/><Relationship Id="rId4" Type="http://schemas.openxmlformats.org/officeDocument/2006/relationships/oleObject" Target="../embeddings/oleObject382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382.vml"/><Relationship Id="rId2" Type="http://schemas.openxmlformats.org/officeDocument/2006/relationships/tags" Target="../tags/tag950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tags" Target="../tags/tag952.xml"/><Relationship Id="rId4" Type="http://schemas.openxmlformats.org/officeDocument/2006/relationships/tags" Target="../tags/tag953.xml"/><Relationship Id="rId5" Type="http://schemas.openxmlformats.org/officeDocument/2006/relationships/slideMaster" Target="../slideMasters/slideMaster64.xml"/><Relationship Id="rId6" Type="http://schemas.openxmlformats.org/officeDocument/2006/relationships/oleObject" Target="../embeddings/oleObject383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383.vml"/><Relationship Id="rId2" Type="http://schemas.openxmlformats.org/officeDocument/2006/relationships/tags" Target="../tags/tag951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tags" Target="../tags/tag955.xml"/><Relationship Id="rId4" Type="http://schemas.openxmlformats.org/officeDocument/2006/relationships/tags" Target="../tags/tag956.xml"/><Relationship Id="rId5" Type="http://schemas.openxmlformats.org/officeDocument/2006/relationships/tags" Target="../tags/tag957.xml"/><Relationship Id="rId6" Type="http://schemas.openxmlformats.org/officeDocument/2006/relationships/slideMaster" Target="../slideMasters/slideMaster64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384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384.vml"/><Relationship Id="rId2" Type="http://schemas.openxmlformats.org/officeDocument/2006/relationships/tags" Target="../tags/tag954.xml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tags" Target="../tags/tag959.xml"/><Relationship Id="rId4" Type="http://schemas.openxmlformats.org/officeDocument/2006/relationships/tags" Target="../tags/tag960.xml"/><Relationship Id="rId5" Type="http://schemas.openxmlformats.org/officeDocument/2006/relationships/tags" Target="../tags/tag961.xml"/><Relationship Id="rId6" Type="http://schemas.openxmlformats.org/officeDocument/2006/relationships/tags" Target="../tags/tag962.xml"/><Relationship Id="rId7" Type="http://schemas.openxmlformats.org/officeDocument/2006/relationships/slideMaster" Target="../slideMasters/slideMaster64.xml"/><Relationship Id="rId8" Type="http://schemas.openxmlformats.org/officeDocument/2006/relationships/oleObject" Target="../embeddings/oleObject385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385.vml"/><Relationship Id="rId2" Type="http://schemas.openxmlformats.org/officeDocument/2006/relationships/tags" Target="../tags/tag958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6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387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87.vml"/><Relationship Id="rId2" Type="http://schemas.openxmlformats.org/officeDocument/2006/relationships/tags" Target="../tags/tag964.xml"/></Relationships>
</file>

<file path=ppt/slideLayouts/_rels/slideLayout6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4" Type="http://schemas.openxmlformats.org/officeDocument/2006/relationships/oleObject" Target="../embeddings/oleObject388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388.vml"/><Relationship Id="rId2" Type="http://schemas.openxmlformats.org/officeDocument/2006/relationships/tags" Target="../tags/tag965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667.xml.rels><?xml version="1.0" encoding="UTF-8" standalone="yes"?>
<Relationships xmlns="http://schemas.openxmlformats.org/package/2006/relationships"><Relationship Id="rId3" Type="http://schemas.openxmlformats.org/officeDocument/2006/relationships/tags" Target="../tags/tag967.xml"/><Relationship Id="rId4" Type="http://schemas.openxmlformats.org/officeDocument/2006/relationships/tags" Target="../tags/tag968.xml"/><Relationship Id="rId5" Type="http://schemas.openxmlformats.org/officeDocument/2006/relationships/slideMaster" Target="../slideMasters/slideMaster65.xml"/><Relationship Id="rId6" Type="http://schemas.openxmlformats.org/officeDocument/2006/relationships/oleObject" Target="../embeddings/oleObject389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389.vml"/><Relationship Id="rId2" Type="http://schemas.openxmlformats.org/officeDocument/2006/relationships/tags" Target="../tags/tag966.xml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tags" Target="../tags/tag970.xml"/><Relationship Id="rId4" Type="http://schemas.openxmlformats.org/officeDocument/2006/relationships/tags" Target="../tags/tag971.xml"/><Relationship Id="rId5" Type="http://schemas.openxmlformats.org/officeDocument/2006/relationships/tags" Target="../tags/tag972.xml"/><Relationship Id="rId6" Type="http://schemas.openxmlformats.org/officeDocument/2006/relationships/slideMaster" Target="../slideMasters/slideMaster65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390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390.vml"/><Relationship Id="rId2" Type="http://schemas.openxmlformats.org/officeDocument/2006/relationships/tags" Target="../tags/tag969.xml"/></Relationships>
</file>

<file path=ppt/slideLayouts/_rels/slideLayout669.xml.rels><?xml version="1.0" encoding="UTF-8" standalone="yes"?>
<Relationships xmlns="http://schemas.openxmlformats.org/package/2006/relationships"><Relationship Id="rId3" Type="http://schemas.openxmlformats.org/officeDocument/2006/relationships/tags" Target="../tags/tag974.xml"/><Relationship Id="rId4" Type="http://schemas.openxmlformats.org/officeDocument/2006/relationships/tags" Target="../tags/tag975.xml"/><Relationship Id="rId5" Type="http://schemas.openxmlformats.org/officeDocument/2006/relationships/tags" Target="../tags/tag976.xml"/><Relationship Id="rId6" Type="http://schemas.openxmlformats.org/officeDocument/2006/relationships/tags" Target="../tags/tag977.xml"/><Relationship Id="rId7" Type="http://schemas.openxmlformats.org/officeDocument/2006/relationships/slideMaster" Target="../slideMasters/slideMaster65.xml"/><Relationship Id="rId8" Type="http://schemas.openxmlformats.org/officeDocument/2006/relationships/oleObject" Target="../embeddings/oleObject391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391.vml"/><Relationship Id="rId2" Type="http://schemas.openxmlformats.org/officeDocument/2006/relationships/tags" Target="../tags/tag97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39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9.vml"/><Relationship Id="rId2" Type="http://schemas.openxmlformats.org/officeDocument/2006/relationships/tags" Target="../tags/tag94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6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39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93.vml"/><Relationship Id="rId2" Type="http://schemas.openxmlformats.org/officeDocument/2006/relationships/tags" Target="../tags/tag979.xml"/></Relationships>
</file>

<file path=ppt/slideLayouts/_rels/slideLayout6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6.xml"/><Relationship Id="rId4" Type="http://schemas.openxmlformats.org/officeDocument/2006/relationships/oleObject" Target="../embeddings/oleObject394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394.vml"/><Relationship Id="rId2" Type="http://schemas.openxmlformats.org/officeDocument/2006/relationships/tags" Target="../tags/tag980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679.xml.rels><?xml version="1.0" encoding="UTF-8" standalone="yes"?>
<Relationships xmlns="http://schemas.openxmlformats.org/package/2006/relationships"><Relationship Id="rId3" Type="http://schemas.openxmlformats.org/officeDocument/2006/relationships/tags" Target="../tags/tag982.xml"/><Relationship Id="rId4" Type="http://schemas.openxmlformats.org/officeDocument/2006/relationships/tags" Target="../tags/tag983.xml"/><Relationship Id="rId5" Type="http://schemas.openxmlformats.org/officeDocument/2006/relationships/slideMaster" Target="../slideMasters/slideMaster66.xml"/><Relationship Id="rId6" Type="http://schemas.openxmlformats.org/officeDocument/2006/relationships/oleObject" Target="../embeddings/oleObject395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395.vml"/><Relationship Id="rId2" Type="http://schemas.openxmlformats.org/officeDocument/2006/relationships/tags" Target="../tags/tag98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40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40.vml"/><Relationship Id="rId2" Type="http://schemas.openxmlformats.org/officeDocument/2006/relationships/tags" Target="../tags/tag95.xml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tags" Target="../tags/tag985.xml"/><Relationship Id="rId4" Type="http://schemas.openxmlformats.org/officeDocument/2006/relationships/tags" Target="../tags/tag986.xml"/><Relationship Id="rId5" Type="http://schemas.openxmlformats.org/officeDocument/2006/relationships/tags" Target="../tags/tag987.xml"/><Relationship Id="rId6" Type="http://schemas.openxmlformats.org/officeDocument/2006/relationships/slideMaster" Target="../slideMasters/slideMaster66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396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396.vml"/><Relationship Id="rId2" Type="http://schemas.openxmlformats.org/officeDocument/2006/relationships/tags" Target="../tags/tag984.xml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tags" Target="../tags/tag989.xml"/><Relationship Id="rId4" Type="http://schemas.openxmlformats.org/officeDocument/2006/relationships/tags" Target="../tags/tag990.xml"/><Relationship Id="rId5" Type="http://schemas.openxmlformats.org/officeDocument/2006/relationships/tags" Target="../tags/tag991.xml"/><Relationship Id="rId6" Type="http://schemas.openxmlformats.org/officeDocument/2006/relationships/tags" Target="../tags/tag992.xml"/><Relationship Id="rId7" Type="http://schemas.openxmlformats.org/officeDocument/2006/relationships/slideMaster" Target="../slideMasters/slideMaster66.xml"/><Relationship Id="rId8" Type="http://schemas.openxmlformats.org/officeDocument/2006/relationships/oleObject" Target="../embeddings/oleObject397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397.vml"/><Relationship Id="rId2" Type="http://schemas.openxmlformats.org/officeDocument/2006/relationships/tags" Target="../tags/tag988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6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399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399.vml"/><Relationship Id="rId2" Type="http://schemas.openxmlformats.org/officeDocument/2006/relationships/tags" Target="../tags/tag994.xml"/></Relationships>
</file>

<file path=ppt/slideLayouts/_rels/slideLayout6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4" Type="http://schemas.openxmlformats.org/officeDocument/2006/relationships/oleObject" Target="../embeddings/oleObject400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400.vml"/><Relationship Id="rId2" Type="http://schemas.openxmlformats.org/officeDocument/2006/relationships/tags" Target="../tags/tag995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691.xml.rels><?xml version="1.0" encoding="UTF-8" standalone="yes"?>
<Relationships xmlns="http://schemas.openxmlformats.org/package/2006/relationships"><Relationship Id="rId3" Type="http://schemas.openxmlformats.org/officeDocument/2006/relationships/tags" Target="../tags/tag997.xml"/><Relationship Id="rId4" Type="http://schemas.openxmlformats.org/officeDocument/2006/relationships/tags" Target="../tags/tag998.xml"/><Relationship Id="rId5" Type="http://schemas.openxmlformats.org/officeDocument/2006/relationships/slideMaster" Target="../slideMasters/slideMaster67.xml"/><Relationship Id="rId6" Type="http://schemas.openxmlformats.org/officeDocument/2006/relationships/oleObject" Target="../embeddings/oleObject401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401.vml"/><Relationship Id="rId2" Type="http://schemas.openxmlformats.org/officeDocument/2006/relationships/tags" Target="../tags/tag996.xml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tags" Target="../tags/tag1000.xml"/><Relationship Id="rId4" Type="http://schemas.openxmlformats.org/officeDocument/2006/relationships/tags" Target="../tags/tag1001.xml"/><Relationship Id="rId5" Type="http://schemas.openxmlformats.org/officeDocument/2006/relationships/tags" Target="../tags/tag1002.xml"/><Relationship Id="rId6" Type="http://schemas.openxmlformats.org/officeDocument/2006/relationships/slideMaster" Target="../slideMasters/slideMaster67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402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402.vml"/><Relationship Id="rId2" Type="http://schemas.openxmlformats.org/officeDocument/2006/relationships/tags" Target="../tags/tag999.xml"/></Relationships>
</file>

<file path=ppt/slideLayouts/_rels/slideLayout693.xml.rels><?xml version="1.0" encoding="UTF-8" standalone="yes"?>
<Relationships xmlns="http://schemas.openxmlformats.org/package/2006/relationships"><Relationship Id="rId3" Type="http://schemas.openxmlformats.org/officeDocument/2006/relationships/tags" Target="../tags/tag1004.xml"/><Relationship Id="rId4" Type="http://schemas.openxmlformats.org/officeDocument/2006/relationships/tags" Target="../tags/tag1005.xml"/><Relationship Id="rId5" Type="http://schemas.openxmlformats.org/officeDocument/2006/relationships/tags" Target="../tags/tag1006.xml"/><Relationship Id="rId6" Type="http://schemas.openxmlformats.org/officeDocument/2006/relationships/tags" Target="../tags/tag1007.xml"/><Relationship Id="rId7" Type="http://schemas.openxmlformats.org/officeDocument/2006/relationships/slideMaster" Target="../slideMasters/slideMaster67.xml"/><Relationship Id="rId8" Type="http://schemas.openxmlformats.org/officeDocument/2006/relationships/oleObject" Target="../embeddings/oleObject403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403.vml"/><Relationship Id="rId2" Type="http://schemas.openxmlformats.org/officeDocument/2006/relationships/tags" Target="../tags/tag1003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6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405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405.vml"/><Relationship Id="rId2" Type="http://schemas.openxmlformats.org/officeDocument/2006/relationships/tags" Target="../tags/tag1009.xml"/></Relationships>
</file>

<file path=ppt/slideLayouts/_rels/slideLayout6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4" Type="http://schemas.openxmlformats.org/officeDocument/2006/relationships/oleObject" Target="../embeddings/oleObject406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406.vml"/><Relationship Id="rId2" Type="http://schemas.openxmlformats.org/officeDocument/2006/relationships/tags" Target="../tags/tag1010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tags" Target="../tags/tag1012.xml"/><Relationship Id="rId4" Type="http://schemas.openxmlformats.org/officeDocument/2006/relationships/tags" Target="../tags/tag1013.xml"/><Relationship Id="rId5" Type="http://schemas.openxmlformats.org/officeDocument/2006/relationships/slideMaster" Target="../slideMasters/slideMaster68.xml"/><Relationship Id="rId6" Type="http://schemas.openxmlformats.org/officeDocument/2006/relationships/oleObject" Target="../embeddings/oleObject407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407.vml"/><Relationship Id="rId2" Type="http://schemas.openxmlformats.org/officeDocument/2006/relationships/tags" Target="../tags/tag101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4" Type="http://schemas.openxmlformats.org/officeDocument/2006/relationships/tags" Target="../tags/tag13.xml"/><Relationship Id="rId5" Type="http://schemas.openxmlformats.org/officeDocument/2006/relationships/tags" Target="../tags/tag14.xml"/><Relationship Id="rId6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8" Type="http://schemas.openxmlformats.org/officeDocument/2006/relationships/oleObject" Target="../embeddings/oleObject5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5.vml"/><Relationship Id="rId2" Type="http://schemas.openxmlformats.org/officeDocument/2006/relationships/tags" Target="../tags/tag1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tags" Target="../tags/tag1015.xml"/><Relationship Id="rId4" Type="http://schemas.openxmlformats.org/officeDocument/2006/relationships/tags" Target="../tags/tag1016.xml"/><Relationship Id="rId5" Type="http://schemas.openxmlformats.org/officeDocument/2006/relationships/tags" Target="../tags/tag1017.xml"/><Relationship Id="rId6" Type="http://schemas.openxmlformats.org/officeDocument/2006/relationships/slideMaster" Target="../slideMasters/slideMaster68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408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408.vml"/><Relationship Id="rId2" Type="http://schemas.openxmlformats.org/officeDocument/2006/relationships/tags" Target="../tags/tag1014.xml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tags" Target="../tags/tag1019.xml"/><Relationship Id="rId4" Type="http://schemas.openxmlformats.org/officeDocument/2006/relationships/tags" Target="../tags/tag1020.xml"/><Relationship Id="rId5" Type="http://schemas.openxmlformats.org/officeDocument/2006/relationships/tags" Target="../tags/tag1021.xml"/><Relationship Id="rId6" Type="http://schemas.openxmlformats.org/officeDocument/2006/relationships/tags" Target="../tags/tag1022.xml"/><Relationship Id="rId7" Type="http://schemas.openxmlformats.org/officeDocument/2006/relationships/slideMaster" Target="../slideMasters/slideMaster68.xml"/><Relationship Id="rId8" Type="http://schemas.openxmlformats.org/officeDocument/2006/relationships/oleObject" Target="../embeddings/oleObject409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409.vml"/><Relationship Id="rId2" Type="http://schemas.openxmlformats.org/officeDocument/2006/relationships/tags" Target="../tags/tag1018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9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411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411.vml"/><Relationship Id="rId2" Type="http://schemas.openxmlformats.org/officeDocument/2006/relationships/tags" Target="../tags/tag1024.xml"/></Relationships>
</file>

<file path=ppt/slideLayouts/_rels/slideLayout7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9.xml"/><Relationship Id="rId4" Type="http://schemas.openxmlformats.org/officeDocument/2006/relationships/oleObject" Target="../embeddings/oleObject412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412.vml"/><Relationship Id="rId2" Type="http://schemas.openxmlformats.org/officeDocument/2006/relationships/tags" Target="../tags/tag1025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4" Type="http://schemas.openxmlformats.org/officeDocument/2006/relationships/tags" Target="../tags/tag98.xml"/><Relationship Id="rId5" Type="http://schemas.openxmlformats.org/officeDocument/2006/relationships/slideMaster" Target="../slideMasters/slideMaster7.xml"/><Relationship Id="rId6" Type="http://schemas.openxmlformats.org/officeDocument/2006/relationships/oleObject" Target="../embeddings/oleObject41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41.vml"/><Relationship Id="rId2" Type="http://schemas.openxmlformats.org/officeDocument/2006/relationships/tags" Target="../tags/tag96.xml"/></Relationships>
</file>

<file path=ppt/slideLayouts/_rels/slideLayout710.xml.rels><?xml version="1.0" encoding="UTF-8" standalone="yes"?>
<Relationships xmlns="http://schemas.openxmlformats.org/package/2006/relationships"><Relationship Id="rId3" Type="http://schemas.openxmlformats.org/officeDocument/2006/relationships/tags" Target="../tags/tag1027.xml"/><Relationship Id="rId4" Type="http://schemas.openxmlformats.org/officeDocument/2006/relationships/tags" Target="../tags/tag1028.xml"/><Relationship Id="rId5" Type="http://schemas.openxmlformats.org/officeDocument/2006/relationships/slideMaster" Target="../slideMasters/slideMaster69.xml"/><Relationship Id="rId6" Type="http://schemas.openxmlformats.org/officeDocument/2006/relationships/oleObject" Target="../embeddings/oleObject413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413.vml"/><Relationship Id="rId2" Type="http://schemas.openxmlformats.org/officeDocument/2006/relationships/tags" Target="../tags/tag1026.xml"/></Relationships>
</file>

<file path=ppt/slideLayouts/_rels/slideLayout711.xml.rels><?xml version="1.0" encoding="UTF-8" standalone="yes"?>
<Relationships xmlns="http://schemas.openxmlformats.org/package/2006/relationships"><Relationship Id="rId3" Type="http://schemas.openxmlformats.org/officeDocument/2006/relationships/tags" Target="../tags/tag1030.xml"/><Relationship Id="rId4" Type="http://schemas.openxmlformats.org/officeDocument/2006/relationships/tags" Target="../tags/tag1031.xml"/><Relationship Id="rId5" Type="http://schemas.openxmlformats.org/officeDocument/2006/relationships/tags" Target="../tags/tag1032.xml"/><Relationship Id="rId6" Type="http://schemas.openxmlformats.org/officeDocument/2006/relationships/slideMaster" Target="../slideMasters/slideMaster69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414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414.vml"/><Relationship Id="rId2" Type="http://schemas.openxmlformats.org/officeDocument/2006/relationships/tags" Target="../tags/tag1029.xml"/></Relationships>
</file>

<file path=ppt/slideLayouts/_rels/slideLayout712.xml.rels><?xml version="1.0" encoding="UTF-8" standalone="yes"?>
<Relationships xmlns="http://schemas.openxmlformats.org/package/2006/relationships"><Relationship Id="rId3" Type="http://schemas.openxmlformats.org/officeDocument/2006/relationships/tags" Target="../tags/tag1034.xml"/><Relationship Id="rId4" Type="http://schemas.openxmlformats.org/officeDocument/2006/relationships/tags" Target="../tags/tag1035.xml"/><Relationship Id="rId5" Type="http://schemas.openxmlformats.org/officeDocument/2006/relationships/tags" Target="../tags/tag1036.xml"/><Relationship Id="rId6" Type="http://schemas.openxmlformats.org/officeDocument/2006/relationships/tags" Target="../tags/tag1037.xml"/><Relationship Id="rId7" Type="http://schemas.openxmlformats.org/officeDocument/2006/relationships/slideMaster" Target="../slideMasters/slideMaster69.xml"/><Relationship Id="rId8" Type="http://schemas.openxmlformats.org/officeDocument/2006/relationships/oleObject" Target="../embeddings/oleObject415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415.vml"/><Relationship Id="rId2" Type="http://schemas.openxmlformats.org/officeDocument/2006/relationships/tags" Target="../tags/tag1033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0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417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417.vml"/><Relationship Id="rId2" Type="http://schemas.openxmlformats.org/officeDocument/2006/relationships/tags" Target="../tags/tag1039.xml"/></Relationships>
</file>

<file path=ppt/slideLayouts/_rels/slideLayout7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0.xml"/><Relationship Id="rId4" Type="http://schemas.openxmlformats.org/officeDocument/2006/relationships/oleObject" Target="../embeddings/oleObject418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418.vml"/><Relationship Id="rId2" Type="http://schemas.openxmlformats.org/officeDocument/2006/relationships/tags" Target="../tags/tag1040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4" Type="http://schemas.openxmlformats.org/officeDocument/2006/relationships/tags" Target="../tags/tag101.xml"/><Relationship Id="rId5" Type="http://schemas.openxmlformats.org/officeDocument/2006/relationships/tags" Target="../tags/tag102.xml"/><Relationship Id="rId6" Type="http://schemas.openxmlformats.org/officeDocument/2006/relationships/slideMaster" Target="../slideMasters/slideMaster7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42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42.vml"/><Relationship Id="rId2" Type="http://schemas.openxmlformats.org/officeDocument/2006/relationships/tags" Target="../tags/tag99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21.xml.rels><?xml version="1.0" encoding="UTF-8" standalone="yes"?>
<Relationships xmlns="http://schemas.openxmlformats.org/package/2006/relationships"><Relationship Id="rId3" Type="http://schemas.openxmlformats.org/officeDocument/2006/relationships/tags" Target="../tags/tag1042.xml"/><Relationship Id="rId4" Type="http://schemas.openxmlformats.org/officeDocument/2006/relationships/tags" Target="../tags/tag1043.xml"/><Relationship Id="rId5" Type="http://schemas.openxmlformats.org/officeDocument/2006/relationships/slideMaster" Target="../slideMasters/slideMaster70.xml"/><Relationship Id="rId6" Type="http://schemas.openxmlformats.org/officeDocument/2006/relationships/oleObject" Target="../embeddings/oleObject419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419.vml"/><Relationship Id="rId2" Type="http://schemas.openxmlformats.org/officeDocument/2006/relationships/tags" Target="../tags/tag1041.xml"/></Relationships>
</file>

<file path=ppt/slideLayouts/_rels/slideLayout722.xml.rels><?xml version="1.0" encoding="UTF-8" standalone="yes"?>
<Relationships xmlns="http://schemas.openxmlformats.org/package/2006/relationships"><Relationship Id="rId3" Type="http://schemas.openxmlformats.org/officeDocument/2006/relationships/tags" Target="../tags/tag1045.xml"/><Relationship Id="rId4" Type="http://schemas.openxmlformats.org/officeDocument/2006/relationships/tags" Target="../tags/tag1046.xml"/><Relationship Id="rId5" Type="http://schemas.openxmlformats.org/officeDocument/2006/relationships/tags" Target="../tags/tag1047.xml"/><Relationship Id="rId6" Type="http://schemas.openxmlformats.org/officeDocument/2006/relationships/slideMaster" Target="../slideMasters/slideMaster70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420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420.vml"/><Relationship Id="rId2" Type="http://schemas.openxmlformats.org/officeDocument/2006/relationships/tags" Target="../tags/tag1044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tags" Target="../tags/tag1049.xml"/><Relationship Id="rId4" Type="http://schemas.openxmlformats.org/officeDocument/2006/relationships/tags" Target="../tags/tag1050.xml"/><Relationship Id="rId5" Type="http://schemas.openxmlformats.org/officeDocument/2006/relationships/tags" Target="../tags/tag1051.xml"/><Relationship Id="rId6" Type="http://schemas.openxmlformats.org/officeDocument/2006/relationships/tags" Target="../tags/tag1052.xml"/><Relationship Id="rId7" Type="http://schemas.openxmlformats.org/officeDocument/2006/relationships/slideMaster" Target="../slideMasters/slideMaster70.xml"/><Relationship Id="rId8" Type="http://schemas.openxmlformats.org/officeDocument/2006/relationships/oleObject" Target="../embeddings/oleObject421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421.vml"/><Relationship Id="rId2" Type="http://schemas.openxmlformats.org/officeDocument/2006/relationships/tags" Target="../tags/tag1048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1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42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423.vml"/><Relationship Id="rId2" Type="http://schemas.openxmlformats.org/officeDocument/2006/relationships/tags" Target="../tags/tag105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4" Type="http://schemas.openxmlformats.org/officeDocument/2006/relationships/tags" Target="../tags/tag105.xml"/><Relationship Id="rId5" Type="http://schemas.openxmlformats.org/officeDocument/2006/relationships/tags" Target="../tags/tag106.xml"/><Relationship Id="rId6" Type="http://schemas.openxmlformats.org/officeDocument/2006/relationships/tags" Target="../tags/tag107.xml"/><Relationship Id="rId7" Type="http://schemas.openxmlformats.org/officeDocument/2006/relationships/slideMaster" Target="../slideMasters/slideMaster7.xml"/><Relationship Id="rId8" Type="http://schemas.openxmlformats.org/officeDocument/2006/relationships/oleObject" Target="../embeddings/oleObject43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43.vml"/><Relationship Id="rId2" Type="http://schemas.openxmlformats.org/officeDocument/2006/relationships/tags" Target="../tags/tag103.xml"/></Relationships>
</file>

<file path=ppt/slideLayouts/_rels/slideLayout7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1.xml"/><Relationship Id="rId4" Type="http://schemas.openxmlformats.org/officeDocument/2006/relationships/oleObject" Target="../embeddings/oleObject424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424.vml"/><Relationship Id="rId2" Type="http://schemas.openxmlformats.org/officeDocument/2006/relationships/tags" Target="../tags/tag1055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33.xml.rels><?xml version="1.0" encoding="UTF-8" standalone="yes"?>
<Relationships xmlns="http://schemas.openxmlformats.org/package/2006/relationships"><Relationship Id="rId3" Type="http://schemas.openxmlformats.org/officeDocument/2006/relationships/tags" Target="../tags/tag1057.xml"/><Relationship Id="rId4" Type="http://schemas.openxmlformats.org/officeDocument/2006/relationships/tags" Target="../tags/tag1058.xml"/><Relationship Id="rId5" Type="http://schemas.openxmlformats.org/officeDocument/2006/relationships/slideMaster" Target="../slideMasters/slideMaster71.xml"/><Relationship Id="rId6" Type="http://schemas.openxmlformats.org/officeDocument/2006/relationships/oleObject" Target="../embeddings/oleObject425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425.vml"/><Relationship Id="rId2" Type="http://schemas.openxmlformats.org/officeDocument/2006/relationships/tags" Target="../tags/tag1056.xml"/></Relationships>
</file>

<file path=ppt/slideLayouts/_rels/slideLayout734.xml.rels><?xml version="1.0" encoding="UTF-8" standalone="yes"?>
<Relationships xmlns="http://schemas.openxmlformats.org/package/2006/relationships"><Relationship Id="rId3" Type="http://schemas.openxmlformats.org/officeDocument/2006/relationships/tags" Target="../tags/tag1060.xml"/><Relationship Id="rId4" Type="http://schemas.openxmlformats.org/officeDocument/2006/relationships/tags" Target="../tags/tag1061.xml"/><Relationship Id="rId5" Type="http://schemas.openxmlformats.org/officeDocument/2006/relationships/tags" Target="../tags/tag1062.xml"/><Relationship Id="rId6" Type="http://schemas.openxmlformats.org/officeDocument/2006/relationships/slideMaster" Target="../slideMasters/slideMaster71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426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426.vml"/><Relationship Id="rId2" Type="http://schemas.openxmlformats.org/officeDocument/2006/relationships/tags" Target="../tags/tag1059.xml"/></Relationships>
</file>

<file path=ppt/slideLayouts/_rels/slideLayout735.xml.rels><?xml version="1.0" encoding="UTF-8" standalone="yes"?>
<Relationships xmlns="http://schemas.openxmlformats.org/package/2006/relationships"><Relationship Id="rId3" Type="http://schemas.openxmlformats.org/officeDocument/2006/relationships/tags" Target="../tags/tag1064.xml"/><Relationship Id="rId4" Type="http://schemas.openxmlformats.org/officeDocument/2006/relationships/tags" Target="../tags/tag1065.xml"/><Relationship Id="rId5" Type="http://schemas.openxmlformats.org/officeDocument/2006/relationships/tags" Target="../tags/tag1066.xml"/><Relationship Id="rId6" Type="http://schemas.openxmlformats.org/officeDocument/2006/relationships/tags" Target="../tags/tag1067.xml"/><Relationship Id="rId7" Type="http://schemas.openxmlformats.org/officeDocument/2006/relationships/slideMaster" Target="../slideMasters/slideMaster71.xml"/><Relationship Id="rId8" Type="http://schemas.openxmlformats.org/officeDocument/2006/relationships/oleObject" Target="../embeddings/oleObject427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427.vml"/><Relationship Id="rId2" Type="http://schemas.openxmlformats.org/officeDocument/2006/relationships/tags" Target="../tags/tag1063.xml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2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429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429.vml"/><Relationship Id="rId2" Type="http://schemas.openxmlformats.org/officeDocument/2006/relationships/tags" Target="../tags/tag1069.xml"/></Relationships>
</file>

<file path=ppt/slideLayouts/_rels/slideLayout7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2.xml"/><Relationship Id="rId4" Type="http://schemas.openxmlformats.org/officeDocument/2006/relationships/oleObject" Target="../embeddings/oleObject430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430.vml"/><Relationship Id="rId2" Type="http://schemas.openxmlformats.org/officeDocument/2006/relationships/tags" Target="../tags/tag1070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44.xml.rels><?xml version="1.0" encoding="UTF-8" standalone="yes"?>
<Relationships xmlns="http://schemas.openxmlformats.org/package/2006/relationships"><Relationship Id="rId3" Type="http://schemas.openxmlformats.org/officeDocument/2006/relationships/tags" Target="../tags/tag1072.xml"/><Relationship Id="rId4" Type="http://schemas.openxmlformats.org/officeDocument/2006/relationships/tags" Target="../tags/tag1073.xml"/><Relationship Id="rId5" Type="http://schemas.openxmlformats.org/officeDocument/2006/relationships/slideMaster" Target="../slideMasters/slideMaster72.xml"/><Relationship Id="rId6" Type="http://schemas.openxmlformats.org/officeDocument/2006/relationships/oleObject" Target="../embeddings/oleObject431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431.vml"/><Relationship Id="rId2" Type="http://schemas.openxmlformats.org/officeDocument/2006/relationships/tags" Target="../tags/tag1071.xml"/></Relationships>
</file>

<file path=ppt/slideLayouts/_rels/slideLayout745.xml.rels><?xml version="1.0" encoding="UTF-8" standalone="yes"?>
<Relationships xmlns="http://schemas.openxmlformats.org/package/2006/relationships"><Relationship Id="rId3" Type="http://schemas.openxmlformats.org/officeDocument/2006/relationships/tags" Target="../tags/tag1075.xml"/><Relationship Id="rId4" Type="http://schemas.openxmlformats.org/officeDocument/2006/relationships/tags" Target="../tags/tag1076.xml"/><Relationship Id="rId5" Type="http://schemas.openxmlformats.org/officeDocument/2006/relationships/tags" Target="../tags/tag1077.xml"/><Relationship Id="rId6" Type="http://schemas.openxmlformats.org/officeDocument/2006/relationships/slideMaster" Target="../slideMasters/slideMaster72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432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432.vml"/><Relationship Id="rId2" Type="http://schemas.openxmlformats.org/officeDocument/2006/relationships/tags" Target="../tags/tag1074.xml"/></Relationships>
</file>

<file path=ppt/slideLayouts/_rels/slideLayout746.xml.rels><?xml version="1.0" encoding="UTF-8" standalone="yes"?>
<Relationships xmlns="http://schemas.openxmlformats.org/package/2006/relationships"><Relationship Id="rId3" Type="http://schemas.openxmlformats.org/officeDocument/2006/relationships/tags" Target="../tags/tag1079.xml"/><Relationship Id="rId4" Type="http://schemas.openxmlformats.org/officeDocument/2006/relationships/tags" Target="../tags/tag1080.xml"/><Relationship Id="rId5" Type="http://schemas.openxmlformats.org/officeDocument/2006/relationships/tags" Target="../tags/tag1081.xml"/><Relationship Id="rId6" Type="http://schemas.openxmlformats.org/officeDocument/2006/relationships/tags" Target="../tags/tag1082.xml"/><Relationship Id="rId7" Type="http://schemas.openxmlformats.org/officeDocument/2006/relationships/slideMaster" Target="../slideMasters/slideMaster72.xml"/><Relationship Id="rId8" Type="http://schemas.openxmlformats.org/officeDocument/2006/relationships/oleObject" Target="../embeddings/oleObject433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433.vml"/><Relationship Id="rId2" Type="http://schemas.openxmlformats.org/officeDocument/2006/relationships/tags" Target="../tags/tag1078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3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435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435.vml"/><Relationship Id="rId2" Type="http://schemas.openxmlformats.org/officeDocument/2006/relationships/tags" Target="../tags/tag1084.xml"/></Relationships>
</file>

<file path=ppt/slideLayouts/_rels/slideLayout7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3.xml"/><Relationship Id="rId4" Type="http://schemas.openxmlformats.org/officeDocument/2006/relationships/oleObject" Target="../embeddings/oleObject436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436.vml"/><Relationship Id="rId2" Type="http://schemas.openxmlformats.org/officeDocument/2006/relationships/tags" Target="../tags/tag108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752.xml.rels><?xml version="1.0" encoding="UTF-8" standalone="yes"?>
<Relationships xmlns="http://schemas.openxmlformats.org/package/2006/relationships"><Relationship Id="rId3" Type="http://schemas.openxmlformats.org/officeDocument/2006/relationships/tags" Target="../tags/tag1087.xml"/><Relationship Id="rId4" Type="http://schemas.openxmlformats.org/officeDocument/2006/relationships/tags" Target="../tags/tag1088.xml"/><Relationship Id="rId5" Type="http://schemas.openxmlformats.org/officeDocument/2006/relationships/slideMaster" Target="../slideMasters/slideMaster73.xml"/><Relationship Id="rId6" Type="http://schemas.openxmlformats.org/officeDocument/2006/relationships/oleObject" Target="../embeddings/oleObject437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437.vml"/><Relationship Id="rId2" Type="http://schemas.openxmlformats.org/officeDocument/2006/relationships/tags" Target="../tags/tag1086.xml"/></Relationships>
</file>

<file path=ppt/slideLayouts/_rels/slideLayout753.xml.rels><?xml version="1.0" encoding="UTF-8" standalone="yes"?>
<Relationships xmlns="http://schemas.openxmlformats.org/package/2006/relationships"><Relationship Id="rId3" Type="http://schemas.openxmlformats.org/officeDocument/2006/relationships/tags" Target="../tags/tag1090.xml"/><Relationship Id="rId4" Type="http://schemas.openxmlformats.org/officeDocument/2006/relationships/tags" Target="../tags/tag1091.xml"/><Relationship Id="rId5" Type="http://schemas.openxmlformats.org/officeDocument/2006/relationships/tags" Target="../tags/tag1092.xml"/><Relationship Id="rId6" Type="http://schemas.openxmlformats.org/officeDocument/2006/relationships/slideMaster" Target="../slideMasters/slideMaster73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438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438.vml"/><Relationship Id="rId2" Type="http://schemas.openxmlformats.org/officeDocument/2006/relationships/tags" Target="../tags/tag1089.xml"/></Relationships>
</file>

<file path=ppt/slideLayouts/_rels/slideLayout754.xml.rels><?xml version="1.0" encoding="UTF-8" standalone="yes"?>
<Relationships xmlns="http://schemas.openxmlformats.org/package/2006/relationships"><Relationship Id="rId3" Type="http://schemas.openxmlformats.org/officeDocument/2006/relationships/tags" Target="../tags/tag1094.xml"/><Relationship Id="rId4" Type="http://schemas.openxmlformats.org/officeDocument/2006/relationships/tags" Target="../tags/tag1095.xml"/><Relationship Id="rId5" Type="http://schemas.openxmlformats.org/officeDocument/2006/relationships/tags" Target="../tags/tag1096.xml"/><Relationship Id="rId6" Type="http://schemas.openxmlformats.org/officeDocument/2006/relationships/tags" Target="../tags/tag1097.xml"/><Relationship Id="rId7" Type="http://schemas.openxmlformats.org/officeDocument/2006/relationships/slideMaster" Target="../slideMasters/slideMaster73.xml"/><Relationship Id="rId8" Type="http://schemas.openxmlformats.org/officeDocument/2006/relationships/oleObject" Target="../embeddings/oleObject439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439.vml"/><Relationship Id="rId2" Type="http://schemas.openxmlformats.org/officeDocument/2006/relationships/tags" Target="../tags/tag1093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4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441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441.vml"/><Relationship Id="rId2" Type="http://schemas.openxmlformats.org/officeDocument/2006/relationships/tags" Target="../tags/tag1099.xml"/></Relationships>
</file>

<file path=ppt/slideLayouts/_rels/slideLayout7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4.xml"/><Relationship Id="rId4" Type="http://schemas.openxmlformats.org/officeDocument/2006/relationships/oleObject" Target="../embeddings/oleObject442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442.vml"/><Relationship Id="rId2" Type="http://schemas.openxmlformats.org/officeDocument/2006/relationships/tags" Target="../tags/tag1100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764.xml.rels><?xml version="1.0" encoding="UTF-8" standalone="yes"?>
<Relationships xmlns="http://schemas.openxmlformats.org/package/2006/relationships"><Relationship Id="rId3" Type="http://schemas.openxmlformats.org/officeDocument/2006/relationships/tags" Target="../tags/tag1102.xml"/><Relationship Id="rId4" Type="http://schemas.openxmlformats.org/officeDocument/2006/relationships/tags" Target="../tags/tag1103.xml"/><Relationship Id="rId5" Type="http://schemas.openxmlformats.org/officeDocument/2006/relationships/slideMaster" Target="../slideMasters/slideMaster74.xml"/><Relationship Id="rId6" Type="http://schemas.openxmlformats.org/officeDocument/2006/relationships/oleObject" Target="../embeddings/oleObject443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443.vml"/><Relationship Id="rId2" Type="http://schemas.openxmlformats.org/officeDocument/2006/relationships/tags" Target="../tags/tag1101.xml"/></Relationships>
</file>

<file path=ppt/slideLayouts/_rels/slideLayout765.xml.rels><?xml version="1.0" encoding="UTF-8" standalone="yes"?>
<Relationships xmlns="http://schemas.openxmlformats.org/package/2006/relationships"><Relationship Id="rId3" Type="http://schemas.openxmlformats.org/officeDocument/2006/relationships/tags" Target="../tags/tag1105.xml"/><Relationship Id="rId4" Type="http://schemas.openxmlformats.org/officeDocument/2006/relationships/tags" Target="../tags/tag1106.xml"/><Relationship Id="rId5" Type="http://schemas.openxmlformats.org/officeDocument/2006/relationships/tags" Target="../tags/tag1107.xml"/><Relationship Id="rId6" Type="http://schemas.openxmlformats.org/officeDocument/2006/relationships/slideMaster" Target="../slideMasters/slideMaster74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444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444.vml"/><Relationship Id="rId2" Type="http://schemas.openxmlformats.org/officeDocument/2006/relationships/tags" Target="../tags/tag1104.xml"/></Relationships>
</file>

<file path=ppt/slideLayouts/_rels/slideLayout766.xml.rels><?xml version="1.0" encoding="UTF-8" standalone="yes"?>
<Relationships xmlns="http://schemas.openxmlformats.org/package/2006/relationships"><Relationship Id="rId3" Type="http://schemas.openxmlformats.org/officeDocument/2006/relationships/tags" Target="../tags/tag1109.xml"/><Relationship Id="rId4" Type="http://schemas.openxmlformats.org/officeDocument/2006/relationships/tags" Target="../tags/tag1110.xml"/><Relationship Id="rId5" Type="http://schemas.openxmlformats.org/officeDocument/2006/relationships/tags" Target="../tags/tag1111.xml"/><Relationship Id="rId6" Type="http://schemas.openxmlformats.org/officeDocument/2006/relationships/tags" Target="../tags/tag1112.xml"/><Relationship Id="rId7" Type="http://schemas.openxmlformats.org/officeDocument/2006/relationships/slideMaster" Target="../slideMasters/slideMaster74.xml"/><Relationship Id="rId8" Type="http://schemas.openxmlformats.org/officeDocument/2006/relationships/oleObject" Target="../embeddings/oleObject445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445.vml"/><Relationship Id="rId2" Type="http://schemas.openxmlformats.org/officeDocument/2006/relationships/tags" Target="../tags/tag1108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45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45.vml"/><Relationship Id="rId2" Type="http://schemas.openxmlformats.org/officeDocument/2006/relationships/tags" Target="../tags/tag109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7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5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447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447.vml"/><Relationship Id="rId2" Type="http://schemas.openxmlformats.org/officeDocument/2006/relationships/tags" Target="../tags/tag1114.xml"/></Relationships>
</file>

<file path=ppt/slideLayouts/_rels/slideLayout7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5.xml"/><Relationship Id="rId4" Type="http://schemas.openxmlformats.org/officeDocument/2006/relationships/oleObject" Target="../embeddings/oleObject448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448.vml"/><Relationship Id="rId2" Type="http://schemas.openxmlformats.org/officeDocument/2006/relationships/tags" Target="../tags/tag1115.xml"/></Relationships>
</file>

<file path=ppt/slideLayouts/_rels/slideLayout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775.xml.rels><?xml version="1.0" encoding="UTF-8" standalone="yes"?>
<Relationships xmlns="http://schemas.openxmlformats.org/package/2006/relationships"><Relationship Id="rId3" Type="http://schemas.openxmlformats.org/officeDocument/2006/relationships/tags" Target="../tags/tag1117.xml"/><Relationship Id="rId4" Type="http://schemas.openxmlformats.org/officeDocument/2006/relationships/tags" Target="../tags/tag1118.xml"/><Relationship Id="rId5" Type="http://schemas.openxmlformats.org/officeDocument/2006/relationships/slideMaster" Target="../slideMasters/slideMaster75.xml"/><Relationship Id="rId6" Type="http://schemas.openxmlformats.org/officeDocument/2006/relationships/oleObject" Target="../embeddings/oleObject449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449.vml"/><Relationship Id="rId2" Type="http://schemas.openxmlformats.org/officeDocument/2006/relationships/tags" Target="../tags/tag1116.xml"/></Relationships>
</file>

<file path=ppt/slideLayouts/_rels/slideLayout776.xml.rels><?xml version="1.0" encoding="UTF-8" standalone="yes"?>
<Relationships xmlns="http://schemas.openxmlformats.org/package/2006/relationships"><Relationship Id="rId3" Type="http://schemas.openxmlformats.org/officeDocument/2006/relationships/tags" Target="../tags/tag1120.xml"/><Relationship Id="rId4" Type="http://schemas.openxmlformats.org/officeDocument/2006/relationships/tags" Target="../tags/tag1121.xml"/><Relationship Id="rId5" Type="http://schemas.openxmlformats.org/officeDocument/2006/relationships/tags" Target="../tags/tag1122.xml"/><Relationship Id="rId6" Type="http://schemas.openxmlformats.org/officeDocument/2006/relationships/slideMaster" Target="../slideMasters/slideMaster75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450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450.vml"/><Relationship Id="rId2" Type="http://schemas.openxmlformats.org/officeDocument/2006/relationships/tags" Target="../tags/tag1119.xml"/></Relationships>
</file>

<file path=ppt/slideLayouts/_rels/slideLayout777.xml.rels><?xml version="1.0" encoding="UTF-8" standalone="yes"?>
<Relationships xmlns="http://schemas.openxmlformats.org/package/2006/relationships"><Relationship Id="rId3" Type="http://schemas.openxmlformats.org/officeDocument/2006/relationships/tags" Target="../tags/tag1124.xml"/><Relationship Id="rId4" Type="http://schemas.openxmlformats.org/officeDocument/2006/relationships/tags" Target="../tags/tag1125.xml"/><Relationship Id="rId5" Type="http://schemas.openxmlformats.org/officeDocument/2006/relationships/tags" Target="../tags/tag1126.xml"/><Relationship Id="rId6" Type="http://schemas.openxmlformats.org/officeDocument/2006/relationships/tags" Target="../tags/tag1127.xml"/><Relationship Id="rId7" Type="http://schemas.openxmlformats.org/officeDocument/2006/relationships/slideMaster" Target="../slideMasters/slideMaster75.xml"/><Relationship Id="rId8" Type="http://schemas.openxmlformats.org/officeDocument/2006/relationships/oleObject" Target="../embeddings/oleObject451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451.vml"/><Relationship Id="rId2" Type="http://schemas.openxmlformats.org/officeDocument/2006/relationships/tags" Target="../tags/tag1123.xml"/></Relationships>
</file>

<file path=ppt/slideLayouts/_rels/slideLayout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46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46.vml"/><Relationship Id="rId2" Type="http://schemas.openxmlformats.org/officeDocument/2006/relationships/tags" Target="../tags/tag110.xml"/></Relationships>
</file>

<file path=ppt/slideLayouts/_rels/slideLayout7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6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453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453.vml"/><Relationship Id="rId2" Type="http://schemas.openxmlformats.org/officeDocument/2006/relationships/tags" Target="../tags/tag1129.xml"/></Relationships>
</file>

<file path=ppt/slideLayouts/_rels/slideLayout7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6.xml"/><Relationship Id="rId4" Type="http://schemas.openxmlformats.org/officeDocument/2006/relationships/oleObject" Target="../embeddings/oleObject454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454.vml"/><Relationship Id="rId2" Type="http://schemas.openxmlformats.org/officeDocument/2006/relationships/tags" Target="../tags/tag1130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784.xml.rels><?xml version="1.0" encoding="UTF-8" standalone="yes"?>
<Relationships xmlns="http://schemas.openxmlformats.org/package/2006/relationships"><Relationship Id="rId3" Type="http://schemas.openxmlformats.org/officeDocument/2006/relationships/tags" Target="../tags/tag1132.xml"/><Relationship Id="rId4" Type="http://schemas.openxmlformats.org/officeDocument/2006/relationships/tags" Target="../tags/tag1133.xml"/><Relationship Id="rId5" Type="http://schemas.openxmlformats.org/officeDocument/2006/relationships/slideMaster" Target="../slideMasters/slideMaster76.xml"/><Relationship Id="rId6" Type="http://schemas.openxmlformats.org/officeDocument/2006/relationships/oleObject" Target="../embeddings/oleObject455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455.vml"/><Relationship Id="rId2" Type="http://schemas.openxmlformats.org/officeDocument/2006/relationships/tags" Target="../tags/tag1131.xml"/></Relationships>
</file>

<file path=ppt/slideLayouts/_rels/slideLayout785.xml.rels><?xml version="1.0" encoding="UTF-8" standalone="yes"?>
<Relationships xmlns="http://schemas.openxmlformats.org/package/2006/relationships"><Relationship Id="rId3" Type="http://schemas.openxmlformats.org/officeDocument/2006/relationships/tags" Target="../tags/tag1135.xml"/><Relationship Id="rId4" Type="http://schemas.openxmlformats.org/officeDocument/2006/relationships/tags" Target="../tags/tag1136.xml"/><Relationship Id="rId5" Type="http://schemas.openxmlformats.org/officeDocument/2006/relationships/tags" Target="../tags/tag1137.xml"/><Relationship Id="rId6" Type="http://schemas.openxmlformats.org/officeDocument/2006/relationships/slideMaster" Target="../slideMasters/slideMaster76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456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456.vml"/><Relationship Id="rId2" Type="http://schemas.openxmlformats.org/officeDocument/2006/relationships/tags" Target="../tags/tag1134.xml"/></Relationships>
</file>

<file path=ppt/slideLayouts/_rels/slideLayout786.xml.rels><?xml version="1.0" encoding="UTF-8" standalone="yes"?>
<Relationships xmlns="http://schemas.openxmlformats.org/package/2006/relationships"><Relationship Id="rId3" Type="http://schemas.openxmlformats.org/officeDocument/2006/relationships/tags" Target="../tags/tag1139.xml"/><Relationship Id="rId4" Type="http://schemas.openxmlformats.org/officeDocument/2006/relationships/tags" Target="../tags/tag1140.xml"/><Relationship Id="rId5" Type="http://schemas.openxmlformats.org/officeDocument/2006/relationships/tags" Target="../tags/tag1141.xml"/><Relationship Id="rId6" Type="http://schemas.openxmlformats.org/officeDocument/2006/relationships/tags" Target="../tags/tag1142.xml"/><Relationship Id="rId7" Type="http://schemas.openxmlformats.org/officeDocument/2006/relationships/slideMaster" Target="../slideMasters/slideMaster76.xml"/><Relationship Id="rId8" Type="http://schemas.openxmlformats.org/officeDocument/2006/relationships/oleObject" Target="../embeddings/oleObject457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457.vml"/><Relationship Id="rId2" Type="http://schemas.openxmlformats.org/officeDocument/2006/relationships/tags" Target="../tags/tag1138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4" Type="http://schemas.openxmlformats.org/officeDocument/2006/relationships/tags" Target="../tags/tag113.xml"/><Relationship Id="rId5" Type="http://schemas.openxmlformats.org/officeDocument/2006/relationships/slideMaster" Target="../slideMasters/slideMaster8.xml"/><Relationship Id="rId6" Type="http://schemas.openxmlformats.org/officeDocument/2006/relationships/oleObject" Target="../embeddings/oleObject47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47.vml"/><Relationship Id="rId2" Type="http://schemas.openxmlformats.org/officeDocument/2006/relationships/tags" Target="../tags/tag111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4" Type="http://schemas.openxmlformats.org/officeDocument/2006/relationships/tags" Target="../tags/tag116.xml"/><Relationship Id="rId5" Type="http://schemas.openxmlformats.org/officeDocument/2006/relationships/tags" Target="../tags/tag117.xml"/><Relationship Id="rId6" Type="http://schemas.openxmlformats.org/officeDocument/2006/relationships/slideMaster" Target="../slideMasters/slideMaster8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48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48.vml"/><Relationship Id="rId2" Type="http://schemas.openxmlformats.org/officeDocument/2006/relationships/tags" Target="../tags/tag11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4" Type="http://schemas.openxmlformats.org/officeDocument/2006/relationships/tags" Target="../tags/tag120.xml"/><Relationship Id="rId5" Type="http://schemas.openxmlformats.org/officeDocument/2006/relationships/tags" Target="../tags/tag121.xml"/><Relationship Id="rId6" Type="http://schemas.openxmlformats.org/officeDocument/2006/relationships/tags" Target="../tags/tag122.xml"/><Relationship Id="rId7" Type="http://schemas.openxmlformats.org/officeDocument/2006/relationships/slideMaster" Target="../slideMasters/slideMaster8.xml"/><Relationship Id="rId8" Type="http://schemas.openxmlformats.org/officeDocument/2006/relationships/oleObject" Target="../embeddings/oleObject49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49.vml"/><Relationship Id="rId2" Type="http://schemas.openxmlformats.org/officeDocument/2006/relationships/tags" Target="../tags/tag11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51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51.vml"/><Relationship Id="rId2" Type="http://schemas.openxmlformats.org/officeDocument/2006/relationships/tags" Target="../tags/tag12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52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1" Type="http://schemas.openxmlformats.org/officeDocument/2006/relationships/vmlDrawing" Target="../drawings/vmlDrawing52.vml"/><Relationship Id="rId2" Type="http://schemas.openxmlformats.org/officeDocument/2006/relationships/tags" Target="../tags/tag12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4" Type="http://schemas.openxmlformats.org/officeDocument/2006/relationships/tags" Target="../tags/tag128.xml"/><Relationship Id="rId5" Type="http://schemas.openxmlformats.org/officeDocument/2006/relationships/slideMaster" Target="../slideMasters/slideMaster9.xml"/><Relationship Id="rId6" Type="http://schemas.openxmlformats.org/officeDocument/2006/relationships/oleObject" Target="../embeddings/oleObject53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9" Type="http://schemas.openxmlformats.org/officeDocument/2006/relationships/image" Target="../media/image3.png"/><Relationship Id="rId10" Type="http://schemas.openxmlformats.org/officeDocument/2006/relationships/image" Target="../media/image6.jpeg"/><Relationship Id="rId1" Type="http://schemas.openxmlformats.org/officeDocument/2006/relationships/vmlDrawing" Target="../drawings/vmlDrawing53.vml"/><Relationship Id="rId2" Type="http://schemas.openxmlformats.org/officeDocument/2006/relationships/tags" Target="../tags/tag12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4" Type="http://schemas.openxmlformats.org/officeDocument/2006/relationships/tags" Target="../tags/tag131.xml"/><Relationship Id="rId5" Type="http://schemas.openxmlformats.org/officeDocument/2006/relationships/tags" Target="../tags/tag132.xml"/><Relationship Id="rId6" Type="http://schemas.openxmlformats.org/officeDocument/2006/relationships/slideMaster" Target="../slideMasters/slideMaster9.xml"/><Relationship Id="rId7" Type="http://schemas.openxmlformats.org/officeDocument/2006/relationships/image" Target="../media/image5.png"/><Relationship Id="rId8" Type="http://schemas.openxmlformats.org/officeDocument/2006/relationships/oleObject" Target="../embeddings/oleObject54.bin"/><Relationship Id="rId9" Type="http://schemas.openxmlformats.org/officeDocument/2006/relationships/image" Target="../media/image4.emf"/><Relationship Id="rId1" Type="http://schemas.openxmlformats.org/officeDocument/2006/relationships/vmlDrawing" Target="../drawings/vmlDrawing54.vml"/><Relationship Id="rId2" Type="http://schemas.openxmlformats.org/officeDocument/2006/relationships/tags" Target="../tags/tag12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4" Type="http://schemas.openxmlformats.org/officeDocument/2006/relationships/tags" Target="../tags/tag135.xml"/><Relationship Id="rId5" Type="http://schemas.openxmlformats.org/officeDocument/2006/relationships/tags" Target="../tags/tag136.xml"/><Relationship Id="rId6" Type="http://schemas.openxmlformats.org/officeDocument/2006/relationships/tags" Target="../tags/tag137.xml"/><Relationship Id="rId7" Type="http://schemas.openxmlformats.org/officeDocument/2006/relationships/slideMaster" Target="../slideMasters/slideMaster9.xml"/><Relationship Id="rId8" Type="http://schemas.openxmlformats.org/officeDocument/2006/relationships/oleObject" Target="../embeddings/oleObject55.bin"/><Relationship Id="rId9" Type="http://schemas.openxmlformats.org/officeDocument/2006/relationships/image" Target="../media/image4.emf"/><Relationship Id="rId10" Type="http://schemas.openxmlformats.org/officeDocument/2006/relationships/image" Target="../media/image5.png"/><Relationship Id="rId1" Type="http://schemas.openxmlformats.org/officeDocument/2006/relationships/vmlDrawing" Target="../drawings/vmlDrawing55.vml"/><Relationship Id="rId2" Type="http://schemas.openxmlformats.org/officeDocument/2006/relationships/tags" Target="../tags/tag13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57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57.vml"/><Relationship Id="rId2" Type="http://schemas.openxmlformats.org/officeDocument/2006/relationships/tags" Target="../tags/tag13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76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86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 / Jan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8FFCFEF8-378C-4DF0-A1E9-9BF960B73532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1FF2DCBD-0A89-4794-A23D-952088A52391}" type="datetimeFigureOut">
              <a:rPr lang="en-US"/>
              <a:pPr>
                <a:defRPr/>
              </a:pPr>
              <a:t>09/07/15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EC9D7A6E-FF4B-4405-8373-5FBBB40DA519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389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E393D25-9653-40F1-97D2-597E2134CC6A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491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43DD3165-16A2-40F8-B002-D2142A6D5E92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594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696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798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901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AA860230-1B44-438A-A4CA-3934BB0BF12B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003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969505F6-E734-44B3-A7BD-B3C17B3C5424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 l="398"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 l="398"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106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208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310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13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767245DB-C079-4B76-AFCC-389DB42F5FEA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088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 / Jan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20B11764-94CE-46AB-8C2D-97BAD89A9EC8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9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ECF2CFA7-688B-412D-8194-C6260142C13B}" type="datetimeFigureOut">
              <a:rPr lang="pt-BR"/>
              <a:pPr>
                <a:defRPr/>
              </a:pPr>
              <a:t>09/07/15</a:t>
            </a:fld>
            <a:endParaRPr lang="pt-BR"/>
          </a:p>
        </p:txBody>
      </p:sp>
      <p:sp>
        <p:nvSpPr>
          <p:cNvPr id="10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1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E47DE11E-C278-4EF4-9438-42C2E0FAF42D}" type="slidenum">
              <a:rPr lang="pt-BR"/>
              <a:pPr>
                <a:defRPr/>
              </a:pPr>
              <a:t>‹Nr.›</a:t>
            </a:fld>
            <a:endParaRPr lang="pt-BR"/>
          </a:p>
        </p:txBody>
      </p:sp>
    </p:spTree>
  </p:cSld>
  <p:clrMapOvr>
    <a:masterClrMapping/>
  </p:clrMapOvr>
  <p:transition xmlns:p14="http://schemas.microsoft.com/office/powerpoint/2010/main"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15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04543081-6571-4E83-B71C-194F73A6D65E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618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720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822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92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3050111-1BC3-4C27-B68F-3AA088E526DE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190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27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4B920217-0B07-4553-8E71-53EBE2998821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 l="398"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 l="398"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130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232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334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37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F003333A-F8C1-4453-B47B-765837E11BA7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93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EE690A81-5A3A-4C07-B50E-96A1EE02CEBE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539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15769E5E-1C82-4D05-93A4-1D0A07C72C8B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 l="398"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 l="398"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642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744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846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949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46875" y="6610350"/>
            <a:ext cx="1901825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ne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94541569-7A20-44DB-8E01-9C76BF84F66F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51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46875" y="6610350"/>
            <a:ext cx="1901825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ne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58E99184-9EED-436A-91A7-A7A5CD4C3424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154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256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358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461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0594312A-01A3-46B7-A2DA-A1B50EB56A03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563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E8F510D-4838-43A7-A013-E89ABB3CF4CD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666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768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870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973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FB2F56E0-9997-4DC2-8F1C-C30103117805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075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41D3FA8C-D180-45E4-99F8-CE190CD7761E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95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8165572A-22BE-4481-B668-83A9CEDE23EE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178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280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TK 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382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48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26E2CF75-7E2D-41C7-B1F7-5682474B4989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587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B2A7BFF-01E3-4B19-B996-BF3A45BC28FC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498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690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792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89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99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9ABDB9B1-4FE6-4661-B855-2B9B3C59FBF1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099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C70457AC-7284-4B5D-B65A-7C325863300B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01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600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04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06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09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38311369-B438-4156-979B-FDE635E427A7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11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40C349C9-0F98-44EF-B7DD-73D06B9A17D4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13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816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18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02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46875" y="6610350"/>
            <a:ext cx="1901825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</a:rPr>
              <a:t>A.T. Kearney / Marist Institute/ June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0638EA5-A595-4200-BBC7-D86CD3C81D76}" type="slidenum">
              <a:rPr lang="en-US" sz="900">
                <a:solidFill>
                  <a:srgbClr val="ADABA1"/>
                </a:solidFill>
                <a:latin typeface="Arial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23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46875" y="6610350"/>
            <a:ext cx="1901825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</a:rPr>
              <a:t>A.T. Kearney / Marist Institute/ June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865D6C84-4CDC-4837-B8CD-8D624ACEC47D}" type="slidenum">
              <a:rPr lang="en-US" sz="900">
                <a:solidFill>
                  <a:srgbClr val="ADABA1"/>
                </a:solidFill>
                <a:latin typeface="Arial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225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328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430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33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23852CB5-5542-4E0A-9CC7-9B85B2DDBD22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635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24DDA71-47A4-4A9E-9B50-F1EE62EBE990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737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840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TK 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94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04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892E2A60-985E-4FD9-BE73-90C27428DB61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147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F82A925-9BA6-4E3F-B113-7DB8ADEFC081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249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352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702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45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55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C7BDCB52-24B6-4291-AB5B-4E5F9BED3025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659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12974A61-ECB8-4B5B-BC0B-FDB5D1E759B4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761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864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80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AD09F9AA-7443-4374-85C0-EF75E7DF735D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TK 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966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069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7D142C4B-6129-467F-97DD-A003A6F2C3C7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171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5902ED8-CB9F-490A-ABCA-70806286FED3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273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376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478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58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70555DE-4B80-4412-8131-FAA63A39166B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683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E9AC20AB-3E31-4AB4-B506-E4F85BD147C3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785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888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990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093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7D6BC8AA-4403-4FF5-BC19-F2BFB65910F4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195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23E9D6A8-19B9-4D61-B066-0203158FEBF0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07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40B4D0D5-858A-4D54-A2DD-A93AECEA6E91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297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400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50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0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86B7DB32-CCEA-4800-8346-0BFF78DA26A7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010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707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EA3F2606-7EB4-4BF7-A0AB-99CBAA55908D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809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912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01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11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82D89FB-311B-4A97-9243-271E4D545E7D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112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219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15EE0CD-20A5-40E9-99D7-14F62E995738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321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424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526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29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0E1E570A-1E8E-4310-B105-D2BEEA33E589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731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0C9FACF6-D743-4617-BF5B-DA11B0D5038F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833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936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TK 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038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14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2B2CA891-1B5A-43F4-9EDA-C27DA4D6B84B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43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ED71FCD-7AFD-4504-A5B9-04DB856E8212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345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448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550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53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9F9C1E6-AD21-4016-8675-2CE46EC675CD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755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186829E7-6A7D-4CA5-B6CC-F67F8908F326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857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960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06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16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87250E55-379D-4C68-B661-771E6E623F22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67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C629E6A9-0E10-49BF-9924-54C64C337825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369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472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57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7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CBAF194F-ACC5-4FDF-9F97-79543EB5B88B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214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779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12920681-061C-4F9B-8EC2-10C0AEB60F28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881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984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086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317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FE3999B6-926B-4D2A-8714-8BFC17647F6E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189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F00BECB1-1237-46B5-A06A-3BA9ABEE3ADA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291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A99A4D54-C315-499F-A164-8F3A8976F08D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393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496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598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70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46875" y="6610350"/>
            <a:ext cx="1901825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ne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53B96F6-1CD2-4FCF-A240-F58545AF378E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803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46875" y="6610350"/>
            <a:ext cx="1901825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ne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076E4EFF-9BB0-48B0-B6EF-CDC3C9321C71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905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008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110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213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BF45F8B-AF79-4AD2-8EA0-59A8FABC0197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315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22DD4AAE-1936-4A58-85C8-E808290AFEBA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417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520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62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72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FC3D9B55-9301-4549-90A1-A83718097492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419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F722DE0-457C-4AF4-A7EA-94B71B2C08F5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827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8D50590-FEFB-470B-9AA5-6A68B37A7645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929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032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13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23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3F975E8B-71CF-4E0A-8319-3555644001BE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522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39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71577E90-D5C8-4442-9500-05AB02266A94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41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44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46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49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29624EBC-52C7-4C3E-B62F-FF95EF079C5B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624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51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7B944D29-FCE4-4239-9EB8-2A46E38FA916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953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056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158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26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D99D661-DE59-4297-AF92-3F6ADA7EC88B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63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E096F7A-C34B-466F-9CA2-304E1B5BD424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 l="398"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 l="398"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465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568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670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773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0808F2F1-B623-4510-BB01-7723B1F2C38D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75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5F2F12B-98B6-46CD-A2B3-AFDAA553880E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 l="398"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 l="398"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977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080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18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28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74B8C75B-F498-4897-9D9C-A6D4C3AA984F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387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C6B426D8-E935-4F37-B484-08253770E8C1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489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592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694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79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2FA583BB-8672-4D2F-AA78-803994484090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99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0F98F06E-9AE8-4D6C-BAE5-EC38C8B80446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001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104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206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30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F85C807C-1BC7-4B5F-BD33-6E402A4638FF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11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A2263C77-6DDB-4005-A808-F53DC03C1FF5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513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726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616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718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82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76D8B95B-FB66-4D82-A425-DE72E4D0ABB9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923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1BAC6967-D448-4ACF-A585-EF163DE2A8C5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829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23D65442-9C50-4307-9795-BB942CBC9BE5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025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128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230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33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487302B4-DA8D-48D4-BC6A-0AF6F103F653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35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F455E01C-62B2-49F3-B8A5-FC024A726B41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537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640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74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45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 / Jan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35AEFAE4-2310-4460-A83B-AB6B443AE769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947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049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15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 / Jan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45DD194E-0473-4A0D-BB3A-DB28112EFD09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0D952E45-606F-4525-90EB-65C6CE0CC7E0}" type="datetimeFigureOut">
              <a:rPr lang="en-US"/>
              <a:pPr>
                <a:defRPr/>
              </a:pPr>
              <a:t>09/07/15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D6E3D019-45F5-4EC2-A4B7-96B4CAD4A75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254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35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359BE02-DBA4-4C41-80CB-5F58A5A812ED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59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308AA18-990A-4F71-9693-A58CA0E40A85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561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664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31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5EF60969-EB9E-4570-AE96-2512DA2CB49C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766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86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F5851DE-BBA4-4C41-9F91-08E42FE829C9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971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A8DE41EF-B2DA-4E92-908D-9B77FD7953CB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073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78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 / Jan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4952CDE-B0E0-4EB7-8317-6E7E37AA9C2F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034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176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278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38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36390335-4322-46DE-BD31-E3A000DA92E1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136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483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95DF98EE-67E6-46A4-844C-8BEAFFE9E744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585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688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790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89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A2E1795C-7786-48EF-A334-B71F4DC4C14A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995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33C8EF38-C921-4C65-9D09-B94594C88D87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097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200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30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4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CE66F61E-B175-44B4-A229-77C5D422E325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507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16581F30-F70C-4D6B-99B6-96C0F6EC5059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609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712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814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91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17F546D-0B05-42D2-B731-C5A9CD10B44B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019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0F9144A-4BA7-4300-AAAF-81F486023411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121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224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326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42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79225DB6-1F89-4FE4-B170-C19C895ACA8C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531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E5F3FFF1-CD2A-47DC-803D-B7DB7ED91776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633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736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238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838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94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EA94F880-A1C3-451E-8803-DDF0B6622F54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043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C2757CA7-E7E3-4CF4-BEA2-7DE592476D41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41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0E76382F-9F2A-4BE2-81EC-6E9A37387020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145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248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350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45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F40D0BC-007F-428D-A20E-E45791BAF732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555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506C6784-495D-495E-9F84-C755E8BC9411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 l="398"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 l="398"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657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760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86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96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C46A4CA-E750-405E-AFD0-DB21F7B7D387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067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20979D03-0187-463F-8FC5-A017CA1CD3D9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 l="398"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 l="398"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169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272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374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47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46875" y="6610350"/>
            <a:ext cx="1901825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ne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C1A269D2-A203-41D7-8ED4-344076060E33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781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43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59091821-B856-4744-93C1-25C3BA41DB24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79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46875" y="6610350"/>
            <a:ext cx="1901825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ne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E1A4CDE1-B67A-4E36-9F2F-497CCA81ADF4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81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84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86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8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4C293DFF-4091-4103-87EC-AEFC551DF2BA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546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91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FD63F583-EA7C-479D-8131-555C6386661E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193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96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398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50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3655D02A-5BFE-49D0-87A0-632145489419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648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603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CA207095-8A8B-4A9E-BEFC-FFE528BFAE08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705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808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TK 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910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01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368215E8-F02C-44DB-8382-4F5188C84333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115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0EF80752-CA81-47BC-A60E-1864808B9F7F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217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320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42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52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3E200A59-2341-4DC6-8C9A-35B0BF220B9F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627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A1ACFF9-2047-4E4D-8357-77EB3947B87B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729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832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TK 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934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03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C704374F-FE9A-497B-A332-552A341D44F9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139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3EC085AB-1274-4DC3-B85E-C998E9CC18E0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241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344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446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54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E62D414C-6CA5-4762-9772-5B4C465F4E0A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51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75D5AD78-84D8-4968-856C-8E9F45BF51C0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753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856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750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958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06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528155F-9E80-426C-8B11-40A217D4B14E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163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88B590A-BB5D-4F82-B19E-2A38F823DCF9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853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1B6F7C3A-1344-46A4-AD32-0EBBDBB7943E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265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368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470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57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925F72C1-0D8C-440C-A21A-A7F00D1DA5F2}" type="slidenum">
              <a:rPr lang="en-US" sz="900">
                <a:solidFill>
                  <a:srgbClr val="ADABA1"/>
                </a:solidFill>
                <a:latin typeface="Arial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675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030AE642-2AB9-4C60-B6E9-D8FCE22BFDAB}" type="slidenum">
              <a:rPr lang="en-US" sz="900">
                <a:solidFill>
                  <a:srgbClr val="ADABA1"/>
                </a:solidFill>
                <a:latin typeface="Arial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777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880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98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08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A23EE0F4-2F59-4C4C-947F-E752B810FCB5}" type="slidenum">
              <a:rPr lang="en-US" sz="900">
                <a:solidFill>
                  <a:srgbClr val="ADABA1"/>
                </a:solidFill>
                <a:latin typeface="Arial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187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48686C4-5251-43A5-8128-738082FF1F3A}" type="slidenum">
              <a:rPr lang="en-US" sz="900">
                <a:solidFill>
                  <a:srgbClr val="ADABA1"/>
                </a:solidFill>
                <a:latin typeface="Arial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836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289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392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494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59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C5F860D7-5FA6-467E-BFB5-0A217706E3FE}" type="slidenum">
              <a:rPr lang="en-US" sz="900">
                <a:solidFill>
                  <a:srgbClr val="ADABA1"/>
                </a:solidFill>
                <a:latin typeface="Arial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55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F1EE1A35-61E4-4C85-8C48-F202556E533B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699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C64B091-7408-458C-ABF9-87E427BAD07C}" type="slidenum">
              <a:rPr lang="en-US" sz="900">
                <a:solidFill>
                  <a:srgbClr val="ADABA1"/>
                </a:solidFill>
                <a:latin typeface="Arial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801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904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06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10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D0C71FF-7CE9-4EC9-B517-9A579D317825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058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211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A666D3FE-8C91-438F-BF17-A76CB70BCCDA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313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416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518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160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62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ED60FFFF-5A9E-43D2-A6F5-1568C59B1DB7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723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82F86BC2-D3C8-4EEE-909F-85E808776E2B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825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928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30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13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E28D06F7-508F-4255-933F-19CA346EE174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235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A298B68-6589-4AA1-8505-3451B8F427DA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337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440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54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64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6A03592-A52F-424F-B0E4-143C46D66F02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747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296268CF-C0E8-4FA8-BC4D-5D6D38B7540C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849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952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54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15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39FDCFB5-F2BF-4503-9F4A-5262243EF97F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259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17CD2894-98E9-4375-B788-1E6E33B3A766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361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464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262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566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66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50E9FCD5-944C-4CCC-974F-D6A6D6293833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771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59CE2E65-B65F-43B4-9CA9-D1D4C371D9EA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873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976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36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59DFEC6-BF7F-4B66-8E4E-5CB0DB026C44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078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18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8170E550-E892-4789-B407-2B3CCAFD998D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283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9D198BD-4931-4728-BAAD-06500E7CB169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385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488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67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1706C9E4-D616-4888-AE1A-6BFA9A3C1331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570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672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774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877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1798E642-3FDE-4233-9A41-20088C235BA7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" name="Picture 6" descr="006_PPT-top-band_rule-30mm-log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uadroTexto 1"/>
          <p:cNvSpPr txBox="1"/>
          <p:nvPr userDrawn="1"/>
        </p:nvSpPr>
        <p:spPr>
          <a:xfrm>
            <a:off x="8380413" y="6667500"/>
            <a:ext cx="0" cy="198438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>
            <a:spAutoFit/>
          </a:bodyPr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 err="1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979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4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3BC90F46-2AA5-4A8B-98BA-26BA2858CDE1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" name="Picture 6" descr="006_PPT-top-band_rule-30mm-logo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006_Sig-for-last-page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006_Sig-for-last-page.jp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5"/>
          <p:cNvCxnSpPr/>
          <p:nvPr userDrawn="1">
            <p:custDataLst>
              <p:tags r:id="rId4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Pictur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2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7" descr="006_PPT-seven-eighths-top-band-09_27-logo-on-bottom-left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082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4"/>
          <p:cNvCxnSpPr/>
          <p:nvPr userDrawn="1">
            <p:custDataLst>
              <p:tags r:id="rId5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46888" y="5073438"/>
            <a:ext cx="3967917" cy="193899"/>
          </a:xfrm>
          <a:noFill/>
          <a:ln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46888" y="4858080"/>
            <a:ext cx="3966838" cy="193899"/>
          </a:xfrm>
          <a:noFill/>
          <a:ln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0" y="722376"/>
            <a:ext cx="9144000" cy="2258568"/>
          </a:xfrm>
          <a:noFill/>
          <a:ln>
            <a:noFill/>
          </a:ln>
        </p:spPr>
        <p:txBody>
          <a:bodyPr anchor="ctr">
            <a:noAutofit/>
          </a:bodyPr>
          <a:lstStyle>
            <a:lvl1pPr marL="271463" marR="0" indent="-47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itchFamily="34" charset="0"/>
              <a:buNone/>
              <a:tabLst/>
              <a:defRPr baseline="0">
                <a:solidFill>
                  <a:srgbClr val="FF0000"/>
                </a:solidFill>
              </a:defRPr>
            </a:lvl1pPr>
            <a:lvl2pPr marL="182880" indent="0">
              <a:buNone/>
              <a:defRPr/>
            </a:lvl2pPr>
            <a:lvl3pPr marL="323238" indent="0">
              <a:buNone/>
              <a:defRPr/>
            </a:lvl3pPr>
            <a:lvl4pPr marL="510840" indent="0">
              <a:buNone/>
              <a:defRPr/>
            </a:lvl4pPr>
            <a:lvl5pPr marL="6552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Gre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184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"/>
          <p:cNvSpPr/>
          <p:nvPr userDrawn="1">
            <p:custDataLst>
              <p:tags r:id="rId3"/>
            </p:custDataLst>
          </p:nvPr>
        </p:nvSpPr>
        <p:spPr>
          <a:xfrm>
            <a:off x="0" y="722313"/>
            <a:ext cx="9144000" cy="2259012"/>
          </a:xfrm>
          <a:prstGeom prst="rect">
            <a:avLst/>
          </a:prstGeom>
          <a:solidFill>
            <a:srgbClr val="F6B000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4"/>
          <p:cNvCxnSpPr/>
          <p:nvPr userDrawn="1">
            <p:custDataLst>
              <p:tags r:id="rId6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Only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" descr="006_PPT-seven-eighths-top-band-09_27-logo-on-bottom-left.png"/>
          <p:cNvPicPr>
            <a:picLocks noChangeAspect="1"/>
          </p:cNvPicPr>
          <p:nvPr/>
        </p:nvPicPr>
        <p:blipFill>
          <a:blip r:embed="rId4"/>
          <a:srcRect t="3659"/>
          <a:stretch>
            <a:fillRect/>
          </a:stretch>
        </p:blipFill>
        <p:spPr bwMode="auto">
          <a:xfrm>
            <a:off x="0" y="0"/>
            <a:ext cx="9144000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286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6888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6888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vmlDrawing" Target="../drawings/vmlDrawing1.vml"/><Relationship Id="rId15" Type="http://schemas.openxmlformats.org/officeDocument/2006/relationships/tags" Target="../tags/tag2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18" Type="http://schemas.openxmlformats.org/officeDocument/2006/relationships/image" Target="../media/image2.png"/><Relationship Id="rId19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10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0.xml"/><Relationship Id="rId12" Type="http://schemas.openxmlformats.org/officeDocument/2006/relationships/vmlDrawing" Target="../drawings/vmlDrawing56.vml"/><Relationship Id="rId13" Type="http://schemas.openxmlformats.org/officeDocument/2006/relationships/tags" Target="../tags/tag138.xml"/><Relationship Id="rId14" Type="http://schemas.openxmlformats.org/officeDocument/2006/relationships/oleObject" Target="../embeddings/oleObject56.bin"/><Relationship Id="rId15" Type="http://schemas.openxmlformats.org/officeDocument/2006/relationships/image" Target="../media/image1.emf"/><Relationship Id="rId16" Type="http://schemas.openxmlformats.org/officeDocument/2006/relationships/image" Target="../media/image2.png"/><Relationship Id="rId17" Type="http://schemas.openxmlformats.org/officeDocument/2006/relationships/image" Target="../media/image3.png"/><Relationship Id="rId1" Type="http://schemas.openxmlformats.org/officeDocument/2006/relationships/slideLayout" Target="../slideLayouts/slideLayout99.xml"/><Relationship Id="rId2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08.xml"/></Relationships>
</file>

<file path=ppt/slideMasters/_rels/slideMaster11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62.vml"/><Relationship Id="rId12" Type="http://schemas.openxmlformats.org/officeDocument/2006/relationships/tags" Target="../tags/tag153.xml"/><Relationship Id="rId13" Type="http://schemas.openxmlformats.org/officeDocument/2006/relationships/oleObject" Target="../embeddings/oleObject62.bin"/><Relationship Id="rId14" Type="http://schemas.openxmlformats.org/officeDocument/2006/relationships/image" Target="../media/image1.emf"/><Relationship Id="rId15" Type="http://schemas.openxmlformats.org/officeDocument/2006/relationships/image" Target="../media/image2.png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5.xml"/><Relationship Id="rId8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17.xml"/><Relationship Id="rId10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2.xml"/><Relationship Id="rId12" Type="http://schemas.openxmlformats.org/officeDocument/2006/relationships/vmlDrawing" Target="../drawings/vmlDrawing68.vml"/><Relationship Id="rId13" Type="http://schemas.openxmlformats.org/officeDocument/2006/relationships/tags" Target="../tags/tag168.xml"/><Relationship Id="rId14" Type="http://schemas.openxmlformats.org/officeDocument/2006/relationships/oleObject" Target="../embeddings/oleObject68.bin"/><Relationship Id="rId15" Type="http://schemas.openxmlformats.org/officeDocument/2006/relationships/image" Target="../media/image1.emf"/><Relationship Id="rId16" Type="http://schemas.openxmlformats.org/officeDocument/2006/relationships/image" Target="../media/image2.png"/><Relationship Id="rId17" Type="http://schemas.openxmlformats.org/officeDocument/2006/relationships/image" Target="../media/image3.png"/><Relationship Id="rId1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4.xml"/><Relationship Id="rId8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27.xml"/></Relationships>
</file>

<file path=ppt/slideMasters/_rels/slideMaster13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74.vml"/><Relationship Id="rId12" Type="http://schemas.openxmlformats.org/officeDocument/2006/relationships/tags" Target="../tags/tag183.xml"/><Relationship Id="rId13" Type="http://schemas.openxmlformats.org/officeDocument/2006/relationships/oleObject" Target="../embeddings/oleObject74.bin"/><Relationship Id="rId14" Type="http://schemas.openxmlformats.org/officeDocument/2006/relationships/image" Target="../media/image1.emf"/><Relationship Id="rId15" Type="http://schemas.openxmlformats.org/officeDocument/2006/relationships/image" Target="../media/image2.png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4.xml"/><Relationship Id="rId8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36.xml"/><Relationship Id="rId10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80.vml"/><Relationship Id="rId12" Type="http://schemas.openxmlformats.org/officeDocument/2006/relationships/tags" Target="../tags/tag198.xml"/><Relationship Id="rId13" Type="http://schemas.openxmlformats.org/officeDocument/2006/relationships/oleObject" Target="../embeddings/oleObject80.bin"/><Relationship Id="rId14" Type="http://schemas.openxmlformats.org/officeDocument/2006/relationships/image" Target="../media/image1.emf"/><Relationship Id="rId15" Type="http://schemas.openxmlformats.org/officeDocument/2006/relationships/image" Target="../media/image2.png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143.xml"/><Relationship Id="rId8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5.xml"/><Relationship Id="rId10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86.vml"/><Relationship Id="rId12" Type="http://schemas.openxmlformats.org/officeDocument/2006/relationships/tags" Target="../tags/tag213.xml"/><Relationship Id="rId13" Type="http://schemas.openxmlformats.org/officeDocument/2006/relationships/oleObject" Target="../embeddings/oleObject86.bin"/><Relationship Id="rId14" Type="http://schemas.openxmlformats.org/officeDocument/2006/relationships/image" Target="../media/image1.emf"/><Relationship Id="rId15" Type="http://schemas.openxmlformats.org/officeDocument/2006/relationships/image" Target="../media/image2.png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46.xml"/><Relationship Id="rId2" Type="http://schemas.openxmlformats.org/officeDocument/2006/relationships/slideLayout" Target="../slideLayouts/slideLayout147.xml"/><Relationship Id="rId3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52.xml"/><Relationship Id="rId8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4.xml"/><Relationship Id="rId10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6.xml"/><Relationship Id="rId12" Type="http://schemas.openxmlformats.org/officeDocument/2006/relationships/vmlDrawing" Target="../drawings/vmlDrawing92.vml"/><Relationship Id="rId13" Type="http://schemas.openxmlformats.org/officeDocument/2006/relationships/tags" Target="../tags/tag228.xml"/><Relationship Id="rId14" Type="http://schemas.openxmlformats.org/officeDocument/2006/relationships/oleObject" Target="../embeddings/oleObject92.bin"/><Relationship Id="rId15" Type="http://schemas.openxmlformats.org/officeDocument/2006/relationships/image" Target="../media/image1.emf"/><Relationship Id="rId16" Type="http://schemas.openxmlformats.org/officeDocument/2006/relationships/image" Target="../media/image2.png"/><Relationship Id="rId17" Type="http://schemas.openxmlformats.org/officeDocument/2006/relationships/image" Target="../media/image3.png"/><Relationship Id="rId1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56.xml"/><Relationship Id="rId3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58.xml"/><Relationship Id="rId5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61.xml"/><Relationship Id="rId8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3.xml"/><Relationship Id="rId10" Type="http://schemas.openxmlformats.org/officeDocument/2006/relationships/slideLayout" Target="../slideLayouts/slideLayout164.xml"/></Relationships>
</file>

<file path=ppt/slideMasters/_rels/slideMaster17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7.xml"/><Relationship Id="rId12" Type="http://schemas.openxmlformats.org/officeDocument/2006/relationships/vmlDrawing" Target="../drawings/vmlDrawing98.vml"/><Relationship Id="rId13" Type="http://schemas.openxmlformats.org/officeDocument/2006/relationships/tags" Target="../tags/tag243.xml"/><Relationship Id="rId14" Type="http://schemas.openxmlformats.org/officeDocument/2006/relationships/oleObject" Target="../embeddings/oleObject98.bin"/><Relationship Id="rId15" Type="http://schemas.openxmlformats.org/officeDocument/2006/relationships/image" Target="../media/image1.emf"/><Relationship Id="rId16" Type="http://schemas.openxmlformats.org/officeDocument/2006/relationships/image" Target="../media/image2.png"/><Relationship Id="rId17" Type="http://schemas.openxmlformats.org/officeDocument/2006/relationships/image" Target="../media/image3.png"/><Relationship Id="rId1" Type="http://schemas.openxmlformats.org/officeDocument/2006/relationships/slideLayout" Target="../slideLayouts/slideLayout165.xml"/><Relationship Id="rId2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68.xml"/><Relationship Id="rId5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71.xml"/><Relationship Id="rId8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74.xml"/></Relationships>
</file>

<file path=ppt/slideMasters/_rels/slideMaster18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104.vml"/><Relationship Id="rId12" Type="http://schemas.openxmlformats.org/officeDocument/2006/relationships/tags" Target="../tags/tag258.xml"/><Relationship Id="rId13" Type="http://schemas.openxmlformats.org/officeDocument/2006/relationships/oleObject" Target="../embeddings/oleObject104.bin"/><Relationship Id="rId14" Type="http://schemas.openxmlformats.org/officeDocument/2006/relationships/image" Target="../media/image1.emf"/><Relationship Id="rId15" Type="http://schemas.openxmlformats.org/officeDocument/2006/relationships/image" Target="../media/image2.png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1.xml"/><Relationship Id="rId8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3.xml"/><Relationship Id="rId10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9.xml"/><Relationship Id="rId12" Type="http://schemas.openxmlformats.org/officeDocument/2006/relationships/vmlDrawing" Target="../drawings/vmlDrawing110.vml"/><Relationship Id="rId13" Type="http://schemas.openxmlformats.org/officeDocument/2006/relationships/tags" Target="../tags/tag273.xml"/><Relationship Id="rId14" Type="http://schemas.openxmlformats.org/officeDocument/2006/relationships/oleObject" Target="../embeddings/oleObject110.bin"/><Relationship Id="rId15" Type="http://schemas.openxmlformats.org/officeDocument/2006/relationships/image" Target="../media/image1.emf"/><Relationship Id="rId16" Type="http://schemas.openxmlformats.org/officeDocument/2006/relationships/image" Target="../media/image2.png"/><Relationship Id="rId17" Type="http://schemas.openxmlformats.org/officeDocument/2006/relationships/image" Target="../media/image3.png"/><Relationship Id="rId1" Type="http://schemas.openxmlformats.org/officeDocument/2006/relationships/slideLayout" Target="../slideLayouts/slideLayout184.xml"/><Relationship Id="rId2" Type="http://schemas.openxmlformats.org/officeDocument/2006/relationships/slideLayout" Target="../slideLayouts/slideLayout185.xml"/><Relationship Id="rId3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90.xml"/><Relationship Id="rId8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93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theme" Target="../theme/theme2.xml"/><Relationship Id="rId12" Type="http://schemas.openxmlformats.org/officeDocument/2006/relationships/vmlDrawing" Target="../drawings/vmlDrawing8.vml"/><Relationship Id="rId13" Type="http://schemas.openxmlformats.org/officeDocument/2006/relationships/tags" Target="../tags/tag18.xml"/><Relationship Id="rId14" Type="http://schemas.openxmlformats.org/officeDocument/2006/relationships/oleObject" Target="../embeddings/oleObject8.bin"/><Relationship Id="rId15" Type="http://schemas.openxmlformats.org/officeDocument/2006/relationships/image" Target="../media/image1.emf"/><Relationship Id="rId16" Type="http://schemas.openxmlformats.org/officeDocument/2006/relationships/image" Target="../media/image2.png"/><Relationship Id="rId17" Type="http://schemas.openxmlformats.org/officeDocument/2006/relationships/image" Target="../media/image3.png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7.xml"/><Relationship Id="rId6" Type="http://schemas.openxmlformats.org/officeDocument/2006/relationships/slideLayout" Target="../slideLayouts/slideLayout18.xml"/><Relationship Id="rId7" Type="http://schemas.openxmlformats.org/officeDocument/2006/relationships/slideLayout" Target="../slideLayouts/slideLayout19.xml"/><Relationship Id="rId8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2.xml"/></Relationships>
</file>

<file path=ppt/slideMasters/_rels/slideMaster20.xml.rels><?xml version="1.0" encoding="UTF-8" standalone="yes"?>
<Relationships xmlns="http://schemas.openxmlformats.org/package/2006/relationships"><Relationship Id="rId11" Type="http://schemas.openxmlformats.org/officeDocument/2006/relationships/theme" Target="../theme/theme20.xml"/><Relationship Id="rId12" Type="http://schemas.openxmlformats.org/officeDocument/2006/relationships/vmlDrawing" Target="../drawings/vmlDrawing116.vml"/><Relationship Id="rId13" Type="http://schemas.openxmlformats.org/officeDocument/2006/relationships/tags" Target="../tags/tag288.xml"/><Relationship Id="rId14" Type="http://schemas.openxmlformats.org/officeDocument/2006/relationships/oleObject" Target="../embeddings/oleObject116.bin"/><Relationship Id="rId15" Type="http://schemas.openxmlformats.org/officeDocument/2006/relationships/image" Target="../media/image1.emf"/><Relationship Id="rId16" Type="http://schemas.openxmlformats.org/officeDocument/2006/relationships/image" Target="../media/image2.png"/><Relationship Id="rId17" Type="http://schemas.openxmlformats.org/officeDocument/2006/relationships/image" Target="../media/image3.png"/><Relationship Id="rId1" Type="http://schemas.openxmlformats.org/officeDocument/2006/relationships/slideLayout" Target="../slideLayouts/slideLayout194.xml"/><Relationship Id="rId2" Type="http://schemas.openxmlformats.org/officeDocument/2006/relationships/slideLayout" Target="../slideLayouts/slideLayout195.xml"/><Relationship Id="rId3" Type="http://schemas.openxmlformats.org/officeDocument/2006/relationships/slideLayout" Target="../slideLayouts/slideLayout196.xml"/><Relationship Id="rId4" Type="http://schemas.openxmlformats.org/officeDocument/2006/relationships/slideLayout" Target="../slideLayouts/slideLayout197.xml"/><Relationship Id="rId5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200.xml"/><Relationship Id="rId8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2.xml"/><Relationship Id="rId10" Type="http://schemas.openxmlformats.org/officeDocument/2006/relationships/slideLayout" Target="../slideLayouts/slideLayout203.xml"/></Relationships>
</file>

<file path=ppt/slideMasters/_rels/slideMaster21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122.vml"/><Relationship Id="rId12" Type="http://schemas.openxmlformats.org/officeDocument/2006/relationships/tags" Target="../tags/tag303.xml"/><Relationship Id="rId13" Type="http://schemas.openxmlformats.org/officeDocument/2006/relationships/oleObject" Target="../embeddings/oleObject122.bin"/><Relationship Id="rId14" Type="http://schemas.openxmlformats.org/officeDocument/2006/relationships/image" Target="../media/image1.emf"/><Relationship Id="rId15" Type="http://schemas.openxmlformats.org/officeDocument/2006/relationships/image" Target="../media/image2.png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04.xml"/><Relationship Id="rId2" Type="http://schemas.openxmlformats.org/officeDocument/2006/relationships/slideLayout" Target="../slideLayouts/slideLayout205.xml"/><Relationship Id="rId3" Type="http://schemas.openxmlformats.org/officeDocument/2006/relationships/slideLayout" Target="../slideLayouts/slideLayout206.xml"/><Relationship Id="rId4" Type="http://schemas.openxmlformats.org/officeDocument/2006/relationships/slideLayout" Target="../slideLayouts/slideLayout207.xml"/><Relationship Id="rId5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09.xml"/><Relationship Id="rId7" Type="http://schemas.openxmlformats.org/officeDocument/2006/relationships/slideLayout" Target="../slideLayouts/slideLayout210.xml"/><Relationship Id="rId8" Type="http://schemas.openxmlformats.org/officeDocument/2006/relationships/slideLayout" Target="../slideLayouts/slideLayout211.xml"/><Relationship Id="rId9" Type="http://schemas.openxmlformats.org/officeDocument/2006/relationships/slideLayout" Target="../slideLayouts/slideLayout212.xml"/><Relationship Id="rId10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11" Type="http://schemas.openxmlformats.org/officeDocument/2006/relationships/theme" Target="../theme/theme22.xml"/><Relationship Id="rId12" Type="http://schemas.openxmlformats.org/officeDocument/2006/relationships/vmlDrawing" Target="../drawings/vmlDrawing128.vml"/><Relationship Id="rId13" Type="http://schemas.openxmlformats.org/officeDocument/2006/relationships/tags" Target="../tags/tag318.xml"/><Relationship Id="rId14" Type="http://schemas.openxmlformats.org/officeDocument/2006/relationships/oleObject" Target="../embeddings/oleObject128.bin"/><Relationship Id="rId15" Type="http://schemas.openxmlformats.org/officeDocument/2006/relationships/image" Target="../media/image1.emf"/><Relationship Id="rId16" Type="http://schemas.openxmlformats.org/officeDocument/2006/relationships/image" Target="../media/image2.png"/><Relationship Id="rId17" Type="http://schemas.openxmlformats.org/officeDocument/2006/relationships/image" Target="../media/image3.png"/><Relationship Id="rId1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214.xml"/><Relationship Id="rId3" Type="http://schemas.openxmlformats.org/officeDocument/2006/relationships/slideLayout" Target="../slideLayouts/slideLayout215.xml"/><Relationship Id="rId4" Type="http://schemas.openxmlformats.org/officeDocument/2006/relationships/slideLayout" Target="../slideLayouts/slideLayout216.xml"/><Relationship Id="rId5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18.xml"/><Relationship Id="rId7" Type="http://schemas.openxmlformats.org/officeDocument/2006/relationships/slideLayout" Target="../slideLayouts/slideLayout219.xml"/><Relationship Id="rId8" Type="http://schemas.openxmlformats.org/officeDocument/2006/relationships/slideLayout" Target="../slideLayouts/slideLayout220.xml"/><Relationship Id="rId9" Type="http://schemas.openxmlformats.org/officeDocument/2006/relationships/slideLayout" Target="../slideLayouts/slideLayout221.xml"/><Relationship Id="rId10" Type="http://schemas.openxmlformats.org/officeDocument/2006/relationships/slideLayout" Target="../slideLayouts/slideLayout222.xml"/></Relationships>
</file>

<file path=ppt/slideMasters/_rels/slideMaster23.xml.rels><?xml version="1.0" encoding="UTF-8" standalone="yes"?>
<Relationships xmlns="http://schemas.openxmlformats.org/package/2006/relationships"><Relationship Id="rId11" Type="http://schemas.openxmlformats.org/officeDocument/2006/relationships/theme" Target="../theme/theme23.xml"/><Relationship Id="rId12" Type="http://schemas.openxmlformats.org/officeDocument/2006/relationships/vmlDrawing" Target="../drawings/vmlDrawing134.vml"/><Relationship Id="rId13" Type="http://schemas.openxmlformats.org/officeDocument/2006/relationships/tags" Target="../tags/tag333.xml"/><Relationship Id="rId14" Type="http://schemas.openxmlformats.org/officeDocument/2006/relationships/oleObject" Target="../embeddings/oleObject134.bin"/><Relationship Id="rId15" Type="http://schemas.openxmlformats.org/officeDocument/2006/relationships/image" Target="../media/image1.emf"/><Relationship Id="rId16" Type="http://schemas.openxmlformats.org/officeDocument/2006/relationships/image" Target="../media/image2.png"/><Relationship Id="rId17" Type="http://schemas.openxmlformats.org/officeDocument/2006/relationships/image" Target="../media/image3.png"/><Relationship Id="rId1" Type="http://schemas.openxmlformats.org/officeDocument/2006/relationships/slideLayout" Target="../slideLayouts/slideLayout223.xml"/><Relationship Id="rId2" Type="http://schemas.openxmlformats.org/officeDocument/2006/relationships/slideLayout" Target="../slideLayouts/slideLayout224.xml"/><Relationship Id="rId3" Type="http://schemas.openxmlformats.org/officeDocument/2006/relationships/slideLayout" Target="../slideLayouts/slideLayout225.xml"/><Relationship Id="rId4" Type="http://schemas.openxmlformats.org/officeDocument/2006/relationships/slideLayout" Target="../slideLayouts/slideLayout226.xml"/><Relationship Id="rId5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28.xml"/><Relationship Id="rId7" Type="http://schemas.openxmlformats.org/officeDocument/2006/relationships/slideLayout" Target="../slideLayouts/slideLayout229.xml"/><Relationship Id="rId8" Type="http://schemas.openxmlformats.org/officeDocument/2006/relationships/slideLayout" Target="../slideLayouts/slideLayout230.xml"/><Relationship Id="rId9" Type="http://schemas.openxmlformats.org/officeDocument/2006/relationships/slideLayout" Target="../slideLayouts/slideLayout231.xml"/><Relationship Id="rId10" Type="http://schemas.openxmlformats.org/officeDocument/2006/relationships/slideLayout" Target="../slideLayouts/slideLayout232.xml"/></Relationships>
</file>

<file path=ppt/slideMasters/_rels/slideMaster24.xml.rels><?xml version="1.0" encoding="UTF-8" standalone="yes"?>
<Relationships xmlns="http://schemas.openxmlformats.org/package/2006/relationships"><Relationship Id="rId11" Type="http://schemas.openxmlformats.org/officeDocument/2006/relationships/theme" Target="../theme/theme24.xml"/><Relationship Id="rId12" Type="http://schemas.openxmlformats.org/officeDocument/2006/relationships/vmlDrawing" Target="../drawings/vmlDrawing140.vml"/><Relationship Id="rId13" Type="http://schemas.openxmlformats.org/officeDocument/2006/relationships/tags" Target="../tags/tag348.xml"/><Relationship Id="rId14" Type="http://schemas.openxmlformats.org/officeDocument/2006/relationships/oleObject" Target="../embeddings/oleObject140.bin"/><Relationship Id="rId15" Type="http://schemas.openxmlformats.org/officeDocument/2006/relationships/image" Target="../media/image1.emf"/><Relationship Id="rId16" Type="http://schemas.openxmlformats.org/officeDocument/2006/relationships/image" Target="../media/image2.png"/><Relationship Id="rId17" Type="http://schemas.openxmlformats.org/officeDocument/2006/relationships/image" Target="../media/image3.png"/><Relationship Id="rId1" Type="http://schemas.openxmlformats.org/officeDocument/2006/relationships/slideLayout" Target="../slideLayouts/slideLayout233.xml"/><Relationship Id="rId2" Type="http://schemas.openxmlformats.org/officeDocument/2006/relationships/slideLayout" Target="../slideLayouts/slideLayout234.xml"/><Relationship Id="rId3" Type="http://schemas.openxmlformats.org/officeDocument/2006/relationships/slideLayout" Target="../slideLayouts/slideLayout235.xml"/><Relationship Id="rId4" Type="http://schemas.openxmlformats.org/officeDocument/2006/relationships/slideLayout" Target="../slideLayouts/slideLayout236.xml"/><Relationship Id="rId5" Type="http://schemas.openxmlformats.org/officeDocument/2006/relationships/slideLayout" Target="../slideLayouts/slideLayout237.xml"/><Relationship Id="rId6" Type="http://schemas.openxmlformats.org/officeDocument/2006/relationships/slideLayout" Target="../slideLayouts/slideLayout238.xml"/><Relationship Id="rId7" Type="http://schemas.openxmlformats.org/officeDocument/2006/relationships/slideLayout" Target="../slideLayouts/slideLayout239.xml"/><Relationship Id="rId8" Type="http://schemas.openxmlformats.org/officeDocument/2006/relationships/slideLayout" Target="../slideLayouts/slideLayout240.xml"/><Relationship Id="rId9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42.xml"/></Relationships>
</file>

<file path=ppt/slideMasters/_rels/slideMaster2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53.xml"/><Relationship Id="rId12" Type="http://schemas.openxmlformats.org/officeDocument/2006/relationships/theme" Target="../theme/theme25.xml"/><Relationship Id="rId13" Type="http://schemas.openxmlformats.org/officeDocument/2006/relationships/vmlDrawing" Target="../drawings/vmlDrawing146.vml"/><Relationship Id="rId14" Type="http://schemas.openxmlformats.org/officeDocument/2006/relationships/tags" Target="../tags/tag363.xml"/><Relationship Id="rId15" Type="http://schemas.openxmlformats.org/officeDocument/2006/relationships/oleObject" Target="../embeddings/oleObject146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243.xml"/><Relationship Id="rId2" Type="http://schemas.openxmlformats.org/officeDocument/2006/relationships/slideLayout" Target="../slideLayouts/slideLayout244.xml"/><Relationship Id="rId3" Type="http://schemas.openxmlformats.org/officeDocument/2006/relationships/slideLayout" Target="../slideLayouts/slideLayout245.xml"/><Relationship Id="rId4" Type="http://schemas.openxmlformats.org/officeDocument/2006/relationships/slideLayout" Target="../slideLayouts/slideLayout246.xml"/><Relationship Id="rId5" Type="http://schemas.openxmlformats.org/officeDocument/2006/relationships/slideLayout" Target="../slideLayouts/slideLayout247.xml"/><Relationship Id="rId6" Type="http://schemas.openxmlformats.org/officeDocument/2006/relationships/slideLayout" Target="../slideLayouts/slideLayout248.xml"/><Relationship Id="rId7" Type="http://schemas.openxmlformats.org/officeDocument/2006/relationships/slideLayout" Target="../slideLayouts/slideLayout249.xml"/><Relationship Id="rId8" Type="http://schemas.openxmlformats.org/officeDocument/2006/relationships/slideLayout" Target="../slideLayouts/slideLayout250.xml"/><Relationship Id="rId9" Type="http://schemas.openxmlformats.org/officeDocument/2006/relationships/slideLayout" Target="../slideLayouts/slideLayout251.xml"/><Relationship Id="rId10" Type="http://schemas.openxmlformats.org/officeDocument/2006/relationships/slideLayout" Target="../slideLayouts/slideLayout252.xml"/></Relationships>
</file>

<file path=ppt/slideMasters/_rels/slideMaster2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64.xml"/><Relationship Id="rId12" Type="http://schemas.openxmlformats.org/officeDocument/2006/relationships/theme" Target="../theme/theme26.xml"/><Relationship Id="rId13" Type="http://schemas.openxmlformats.org/officeDocument/2006/relationships/vmlDrawing" Target="../drawings/vmlDrawing152.vml"/><Relationship Id="rId14" Type="http://schemas.openxmlformats.org/officeDocument/2006/relationships/tags" Target="../tags/tag378.xml"/><Relationship Id="rId15" Type="http://schemas.openxmlformats.org/officeDocument/2006/relationships/oleObject" Target="../embeddings/oleObject152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254.xml"/><Relationship Id="rId2" Type="http://schemas.openxmlformats.org/officeDocument/2006/relationships/slideLayout" Target="../slideLayouts/slideLayout255.xml"/><Relationship Id="rId3" Type="http://schemas.openxmlformats.org/officeDocument/2006/relationships/slideLayout" Target="../slideLayouts/slideLayout256.xml"/><Relationship Id="rId4" Type="http://schemas.openxmlformats.org/officeDocument/2006/relationships/slideLayout" Target="../slideLayouts/slideLayout257.xml"/><Relationship Id="rId5" Type="http://schemas.openxmlformats.org/officeDocument/2006/relationships/slideLayout" Target="../slideLayouts/slideLayout258.xml"/><Relationship Id="rId6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0.xml"/><Relationship Id="rId8" Type="http://schemas.openxmlformats.org/officeDocument/2006/relationships/slideLayout" Target="../slideLayouts/slideLayout261.xml"/><Relationship Id="rId9" Type="http://schemas.openxmlformats.org/officeDocument/2006/relationships/slideLayout" Target="../slideLayouts/slideLayout262.xml"/><Relationship Id="rId10" Type="http://schemas.openxmlformats.org/officeDocument/2006/relationships/slideLayout" Target="../slideLayouts/slideLayout263.xml"/></Relationships>
</file>

<file path=ppt/slideMasters/_rels/slideMaster2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75.xml"/><Relationship Id="rId12" Type="http://schemas.openxmlformats.org/officeDocument/2006/relationships/theme" Target="../theme/theme27.xml"/><Relationship Id="rId13" Type="http://schemas.openxmlformats.org/officeDocument/2006/relationships/vmlDrawing" Target="../drawings/vmlDrawing158.vml"/><Relationship Id="rId14" Type="http://schemas.openxmlformats.org/officeDocument/2006/relationships/tags" Target="../tags/tag393.xml"/><Relationship Id="rId15" Type="http://schemas.openxmlformats.org/officeDocument/2006/relationships/oleObject" Target="../embeddings/oleObject158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265.xml"/><Relationship Id="rId2" Type="http://schemas.openxmlformats.org/officeDocument/2006/relationships/slideLayout" Target="../slideLayouts/slideLayout266.xml"/><Relationship Id="rId3" Type="http://schemas.openxmlformats.org/officeDocument/2006/relationships/slideLayout" Target="../slideLayouts/slideLayout267.xml"/><Relationship Id="rId4" Type="http://schemas.openxmlformats.org/officeDocument/2006/relationships/slideLayout" Target="../slideLayouts/slideLayout268.xml"/><Relationship Id="rId5" Type="http://schemas.openxmlformats.org/officeDocument/2006/relationships/slideLayout" Target="../slideLayouts/slideLayout269.xml"/><Relationship Id="rId6" Type="http://schemas.openxmlformats.org/officeDocument/2006/relationships/slideLayout" Target="../slideLayouts/slideLayout270.xml"/><Relationship Id="rId7" Type="http://schemas.openxmlformats.org/officeDocument/2006/relationships/slideLayout" Target="../slideLayouts/slideLayout271.xml"/><Relationship Id="rId8" Type="http://schemas.openxmlformats.org/officeDocument/2006/relationships/slideLayout" Target="../slideLayouts/slideLayout272.xml"/><Relationship Id="rId9" Type="http://schemas.openxmlformats.org/officeDocument/2006/relationships/slideLayout" Target="../slideLayouts/slideLayout273.xml"/><Relationship Id="rId10" Type="http://schemas.openxmlformats.org/officeDocument/2006/relationships/slideLayout" Target="../slideLayouts/slideLayout274.xml"/></Relationships>
</file>

<file path=ppt/slideMasters/_rels/slideMaster2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86.xml"/><Relationship Id="rId12" Type="http://schemas.openxmlformats.org/officeDocument/2006/relationships/theme" Target="../theme/theme28.xml"/><Relationship Id="rId13" Type="http://schemas.openxmlformats.org/officeDocument/2006/relationships/vmlDrawing" Target="../drawings/vmlDrawing164.vml"/><Relationship Id="rId14" Type="http://schemas.openxmlformats.org/officeDocument/2006/relationships/tags" Target="../tags/tag408.xml"/><Relationship Id="rId15" Type="http://schemas.openxmlformats.org/officeDocument/2006/relationships/oleObject" Target="../embeddings/oleObject164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276.xml"/><Relationship Id="rId2" Type="http://schemas.openxmlformats.org/officeDocument/2006/relationships/slideLayout" Target="../slideLayouts/slideLayout277.xml"/><Relationship Id="rId3" Type="http://schemas.openxmlformats.org/officeDocument/2006/relationships/slideLayout" Target="../slideLayouts/slideLayout278.xml"/><Relationship Id="rId4" Type="http://schemas.openxmlformats.org/officeDocument/2006/relationships/slideLayout" Target="../slideLayouts/slideLayout279.xml"/><Relationship Id="rId5" Type="http://schemas.openxmlformats.org/officeDocument/2006/relationships/slideLayout" Target="../slideLayouts/slideLayout280.xml"/><Relationship Id="rId6" Type="http://schemas.openxmlformats.org/officeDocument/2006/relationships/slideLayout" Target="../slideLayouts/slideLayout281.xml"/><Relationship Id="rId7" Type="http://schemas.openxmlformats.org/officeDocument/2006/relationships/slideLayout" Target="../slideLayouts/slideLayout282.xml"/><Relationship Id="rId8" Type="http://schemas.openxmlformats.org/officeDocument/2006/relationships/slideLayout" Target="../slideLayouts/slideLayout283.xml"/><Relationship Id="rId9" Type="http://schemas.openxmlformats.org/officeDocument/2006/relationships/slideLayout" Target="../slideLayouts/slideLayout284.xml"/><Relationship Id="rId10" Type="http://schemas.openxmlformats.org/officeDocument/2006/relationships/slideLayout" Target="../slideLayouts/slideLayout285.xml"/></Relationships>
</file>

<file path=ppt/slideMasters/_rels/slideMaster2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97.xml"/><Relationship Id="rId12" Type="http://schemas.openxmlformats.org/officeDocument/2006/relationships/theme" Target="../theme/theme29.xml"/><Relationship Id="rId13" Type="http://schemas.openxmlformats.org/officeDocument/2006/relationships/vmlDrawing" Target="../drawings/vmlDrawing170.vml"/><Relationship Id="rId14" Type="http://schemas.openxmlformats.org/officeDocument/2006/relationships/tags" Target="../tags/tag423.xml"/><Relationship Id="rId15" Type="http://schemas.openxmlformats.org/officeDocument/2006/relationships/oleObject" Target="../embeddings/oleObject170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287.xml"/><Relationship Id="rId2" Type="http://schemas.openxmlformats.org/officeDocument/2006/relationships/slideLayout" Target="../slideLayouts/slideLayout288.xml"/><Relationship Id="rId3" Type="http://schemas.openxmlformats.org/officeDocument/2006/relationships/slideLayout" Target="../slideLayouts/slideLayout289.xml"/><Relationship Id="rId4" Type="http://schemas.openxmlformats.org/officeDocument/2006/relationships/slideLayout" Target="../slideLayouts/slideLayout290.xml"/><Relationship Id="rId5" Type="http://schemas.openxmlformats.org/officeDocument/2006/relationships/slideLayout" Target="../slideLayouts/slideLayout291.xml"/><Relationship Id="rId6" Type="http://schemas.openxmlformats.org/officeDocument/2006/relationships/slideLayout" Target="../slideLayouts/slideLayout292.xml"/><Relationship Id="rId7" Type="http://schemas.openxmlformats.org/officeDocument/2006/relationships/slideLayout" Target="../slideLayouts/slideLayout293.xml"/><Relationship Id="rId8" Type="http://schemas.openxmlformats.org/officeDocument/2006/relationships/slideLayout" Target="../slideLayouts/slideLayout294.xml"/><Relationship Id="rId9" Type="http://schemas.openxmlformats.org/officeDocument/2006/relationships/slideLayout" Target="../slideLayouts/slideLayout295.xml"/><Relationship Id="rId10" Type="http://schemas.openxmlformats.org/officeDocument/2006/relationships/slideLayout" Target="../slideLayouts/slideLayout296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13" Type="http://schemas.openxmlformats.org/officeDocument/2006/relationships/vmlDrawing" Target="../drawings/vmlDrawing14.vml"/><Relationship Id="rId14" Type="http://schemas.openxmlformats.org/officeDocument/2006/relationships/tags" Target="../tags/tag33.xml"/><Relationship Id="rId15" Type="http://schemas.openxmlformats.org/officeDocument/2006/relationships/oleObject" Target="../embeddings/oleObject14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7.xml"/><Relationship Id="rId6" Type="http://schemas.openxmlformats.org/officeDocument/2006/relationships/slideLayout" Target="../slideLayouts/slideLayout28.xml"/><Relationship Id="rId7" Type="http://schemas.openxmlformats.org/officeDocument/2006/relationships/slideLayout" Target="../slideLayouts/slideLayout29.xml"/><Relationship Id="rId8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2.xml"/></Relationships>
</file>

<file path=ppt/slideMasters/_rels/slideMaster30.xml.rels><?xml version="1.0" encoding="UTF-8" standalone="yes"?>
<Relationships xmlns="http://schemas.openxmlformats.org/package/2006/relationships"><Relationship Id="rId11" Type="http://schemas.openxmlformats.org/officeDocument/2006/relationships/theme" Target="../theme/theme30.xml"/><Relationship Id="rId12" Type="http://schemas.openxmlformats.org/officeDocument/2006/relationships/vmlDrawing" Target="../drawings/vmlDrawing176.vml"/><Relationship Id="rId13" Type="http://schemas.openxmlformats.org/officeDocument/2006/relationships/tags" Target="../tags/tag438.xml"/><Relationship Id="rId14" Type="http://schemas.openxmlformats.org/officeDocument/2006/relationships/oleObject" Target="../embeddings/oleObject176.bin"/><Relationship Id="rId15" Type="http://schemas.openxmlformats.org/officeDocument/2006/relationships/image" Target="../media/image1.emf"/><Relationship Id="rId16" Type="http://schemas.openxmlformats.org/officeDocument/2006/relationships/image" Target="../media/image2.png"/><Relationship Id="rId17" Type="http://schemas.openxmlformats.org/officeDocument/2006/relationships/image" Target="../media/image3.png"/><Relationship Id="rId1" Type="http://schemas.openxmlformats.org/officeDocument/2006/relationships/slideLayout" Target="../slideLayouts/slideLayout298.xml"/><Relationship Id="rId2" Type="http://schemas.openxmlformats.org/officeDocument/2006/relationships/slideLayout" Target="../slideLayouts/slideLayout299.xml"/><Relationship Id="rId3" Type="http://schemas.openxmlformats.org/officeDocument/2006/relationships/slideLayout" Target="../slideLayouts/slideLayout300.xml"/><Relationship Id="rId4" Type="http://schemas.openxmlformats.org/officeDocument/2006/relationships/slideLayout" Target="../slideLayouts/slideLayout301.xml"/><Relationship Id="rId5" Type="http://schemas.openxmlformats.org/officeDocument/2006/relationships/slideLayout" Target="../slideLayouts/slideLayout302.xml"/><Relationship Id="rId6" Type="http://schemas.openxmlformats.org/officeDocument/2006/relationships/slideLayout" Target="../slideLayouts/slideLayout303.xml"/><Relationship Id="rId7" Type="http://schemas.openxmlformats.org/officeDocument/2006/relationships/slideLayout" Target="../slideLayouts/slideLayout304.xml"/><Relationship Id="rId8" Type="http://schemas.openxmlformats.org/officeDocument/2006/relationships/slideLayout" Target="../slideLayouts/slideLayout305.xml"/><Relationship Id="rId9" Type="http://schemas.openxmlformats.org/officeDocument/2006/relationships/slideLayout" Target="../slideLayouts/slideLayout306.xml"/><Relationship Id="rId10" Type="http://schemas.openxmlformats.org/officeDocument/2006/relationships/slideLayout" Target="../slideLayouts/slideLayout307.xml"/></Relationships>
</file>

<file path=ppt/slideMasters/_rels/slideMaster31.xml.rels><?xml version="1.0" encoding="UTF-8" standalone="yes"?>
<Relationships xmlns="http://schemas.openxmlformats.org/package/2006/relationships"><Relationship Id="rId11" Type="http://schemas.openxmlformats.org/officeDocument/2006/relationships/tags" Target="../tags/tag453.xml"/><Relationship Id="rId12" Type="http://schemas.openxmlformats.org/officeDocument/2006/relationships/oleObject" Target="../embeddings/oleObject182.bin"/><Relationship Id="rId13" Type="http://schemas.openxmlformats.org/officeDocument/2006/relationships/image" Target="../media/image1.emf"/><Relationship Id="rId14" Type="http://schemas.openxmlformats.org/officeDocument/2006/relationships/image" Target="../media/image2.png"/><Relationship Id="rId15" Type="http://schemas.openxmlformats.org/officeDocument/2006/relationships/image" Target="../media/image3.png"/><Relationship Id="rId1" Type="http://schemas.openxmlformats.org/officeDocument/2006/relationships/slideLayout" Target="../slideLayouts/slideLayout308.xml"/><Relationship Id="rId2" Type="http://schemas.openxmlformats.org/officeDocument/2006/relationships/slideLayout" Target="../slideLayouts/slideLayout309.xml"/><Relationship Id="rId3" Type="http://schemas.openxmlformats.org/officeDocument/2006/relationships/slideLayout" Target="../slideLayouts/slideLayout310.xml"/><Relationship Id="rId4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312.xml"/><Relationship Id="rId6" Type="http://schemas.openxmlformats.org/officeDocument/2006/relationships/slideLayout" Target="../slideLayouts/slideLayout313.xml"/><Relationship Id="rId7" Type="http://schemas.openxmlformats.org/officeDocument/2006/relationships/slideLayout" Target="../slideLayouts/slideLayout314.xml"/><Relationship Id="rId8" Type="http://schemas.openxmlformats.org/officeDocument/2006/relationships/slideLayout" Target="../slideLayouts/slideLayout315.xml"/><Relationship Id="rId9" Type="http://schemas.openxmlformats.org/officeDocument/2006/relationships/theme" Target="../theme/theme31.xml"/><Relationship Id="rId10" Type="http://schemas.openxmlformats.org/officeDocument/2006/relationships/vmlDrawing" Target="../drawings/vmlDrawing182.vml"/></Relationships>
</file>

<file path=ppt/slideMasters/_rels/slideMaster3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26.xml"/><Relationship Id="rId12" Type="http://schemas.openxmlformats.org/officeDocument/2006/relationships/theme" Target="../theme/theme32.xml"/><Relationship Id="rId13" Type="http://schemas.openxmlformats.org/officeDocument/2006/relationships/vmlDrawing" Target="../drawings/vmlDrawing188.vml"/><Relationship Id="rId14" Type="http://schemas.openxmlformats.org/officeDocument/2006/relationships/tags" Target="../tags/tag468.xml"/><Relationship Id="rId15" Type="http://schemas.openxmlformats.org/officeDocument/2006/relationships/oleObject" Target="../embeddings/oleObject188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316.xml"/><Relationship Id="rId2" Type="http://schemas.openxmlformats.org/officeDocument/2006/relationships/slideLayout" Target="../slideLayouts/slideLayout317.xml"/><Relationship Id="rId3" Type="http://schemas.openxmlformats.org/officeDocument/2006/relationships/slideLayout" Target="../slideLayouts/slideLayout318.xml"/><Relationship Id="rId4" Type="http://schemas.openxmlformats.org/officeDocument/2006/relationships/slideLayout" Target="../slideLayouts/slideLayout319.xml"/><Relationship Id="rId5" Type="http://schemas.openxmlformats.org/officeDocument/2006/relationships/slideLayout" Target="../slideLayouts/slideLayout320.xml"/><Relationship Id="rId6" Type="http://schemas.openxmlformats.org/officeDocument/2006/relationships/slideLayout" Target="../slideLayouts/slideLayout321.xml"/><Relationship Id="rId7" Type="http://schemas.openxmlformats.org/officeDocument/2006/relationships/slideLayout" Target="../slideLayouts/slideLayout322.xml"/><Relationship Id="rId8" Type="http://schemas.openxmlformats.org/officeDocument/2006/relationships/slideLayout" Target="../slideLayouts/slideLayout323.xml"/><Relationship Id="rId9" Type="http://schemas.openxmlformats.org/officeDocument/2006/relationships/slideLayout" Target="../slideLayouts/slideLayout324.xml"/><Relationship Id="rId10" Type="http://schemas.openxmlformats.org/officeDocument/2006/relationships/slideLayout" Target="../slideLayouts/slideLayout325.xml"/></Relationships>
</file>

<file path=ppt/slideMasters/_rels/slideMaster3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37.xml"/><Relationship Id="rId12" Type="http://schemas.openxmlformats.org/officeDocument/2006/relationships/theme" Target="../theme/theme33.xml"/><Relationship Id="rId13" Type="http://schemas.openxmlformats.org/officeDocument/2006/relationships/vmlDrawing" Target="../drawings/vmlDrawing194.vml"/><Relationship Id="rId14" Type="http://schemas.openxmlformats.org/officeDocument/2006/relationships/tags" Target="../tags/tag483.xml"/><Relationship Id="rId15" Type="http://schemas.openxmlformats.org/officeDocument/2006/relationships/oleObject" Target="../embeddings/oleObject194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327.xml"/><Relationship Id="rId2" Type="http://schemas.openxmlformats.org/officeDocument/2006/relationships/slideLayout" Target="../slideLayouts/slideLayout328.xml"/><Relationship Id="rId3" Type="http://schemas.openxmlformats.org/officeDocument/2006/relationships/slideLayout" Target="../slideLayouts/slideLayout329.xml"/><Relationship Id="rId4" Type="http://schemas.openxmlformats.org/officeDocument/2006/relationships/slideLayout" Target="../slideLayouts/slideLayout330.xml"/><Relationship Id="rId5" Type="http://schemas.openxmlformats.org/officeDocument/2006/relationships/slideLayout" Target="../slideLayouts/slideLayout331.xml"/><Relationship Id="rId6" Type="http://schemas.openxmlformats.org/officeDocument/2006/relationships/slideLayout" Target="../slideLayouts/slideLayout332.xml"/><Relationship Id="rId7" Type="http://schemas.openxmlformats.org/officeDocument/2006/relationships/slideLayout" Target="../slideLayouts/slideLayout333.xml"/><Relationship Id="rId8" Type="http://schemas.openxmlformats.org/officeDocument/2006/relationships/slideLayout" Target="../slideLayouts/slideLayout334.xml"/><Relationship Id="rId9" Type="http://schemas.openxmlformats.org/officeDocument/2006/relationships/slideLayout" Target="../slideLayouts/slideLayout335.xml"/><Relationship Id="rId10" Type="http://schemas.openxmlformats.org/officeDocument/2006/relationships/slideLayout" Target="../slideLayouts/slideLayout336.xml"/></Relationships>
</file>

<file path=ppt/slideMasters/_rels/slideMaster3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48.xml"/><Relationship Id="rId12" Type="http://schemas.openxmlformats.org/officeDocument/2006/relationships/theme" Target="../theme/theme34.xml"/><Relationship Id="rId13" Type="http://schemas.openxmlformats.org/officeDocument/2006/relationships/vmlDrawing" Target="../drawings/vmlDrawing200.vml"/><Relationship Id="rId14" Type="http://schemas.openxmlformats.org/officeDocument/2006/relationships/tags" Target="../tags/tag498.xml"/><Relationship Id="rId15" Type="http://schemas.openxmlformats.org/officeDocument/2006/relationships/oleObject" Target="../embeddings/oleObject200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338.xml"/><Relationship Id="rId2" Type="http://schemas.openxmlformats.org/officeDocument/2006/relationships/slideLayout" Target="../slideLayouts/slideLayout339.xml"/><Relationship Id="rId3" Type="http://schemas.openxmlformats.org/officeDocument/2006/relationships/slideLayout" Target="../slideLayouts/slideLayout340.xml"/><Relationship Id="rId4" Type="http://schemas.openxmlformats.org/officeDocument/2006/relationships/slideLayout" Target="../slideLayouts/slideLayout341.xml"/><Relationship Id="rId5" Type="http://schemas.openxmlformats.org/officeDocument/2006/relationships/slideLayout" Target="../slideLayouts/slideLayout342.xml"/><Relationship Id="rId6" Type="http://schemas.openxmlformats.org/officeDocument/2006/relationships/slideLayout" Target="../slideLayouts/slideLayout343.xml"/><Relationship Id="rId7" Type="http://schemas.openxmlformats.org/officeDocument/2006/relationships/slideLayout" Target="../slideLayouts/slideLayout344.xml"/><Relationship Id="rId8" Type="http://schemas.openxmlformats.org/officeDocument/2006/relationships/slideLayout" Target="../slideLayouts/slideLayout345.xml"/><Relationship Id="rId9" Type="http://schemas.openxmlformats.org/officeDocument/2006/relationships/slideLayout" Target="../slideLayouts/slideLayout346.xml"/><Relationship Id="rId10" Type="http://schemas.openxmlformats.org/officeDocument/2006/relationships/slideLayout" Target="../slideLayouts/slideLayout347.xml"/></Relationships>
</file>

<file path=ppt/slideMasters/_rels/slideMaster3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59.xml"/><Relationship Id="rId12" Type="http://schemas.openxmlformats.org/officeDocument/2006/relationships/theme" Target="../theme/theme35.xml"/><Relationship Id="rId13" Type="http://schemas.openxmlformats.org/officeDocument/2006/relationships/vmlDrawing" Target="../drawings/vmlDrawing206.vml"/><Relationship Id="rId14" Type="http://schemas.openxmlformats.org/officeDocument/2006/relationships/tags" Target="../tags/tag513.xml"/><Relationship Id="rId15" Type="http://schemas.openxmlformats.org/officeDocument/2006/relationships/oleObject" Target="../embeddings/oleObject206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349.xml"/><Relationship Id="rId2" Type="http://schemas.openxmlformats.org/officeDocument/2006/relationships/slideLayout" Target="../slideLayouts/slideLayout350.xml"/><Relationship Id="rId3" Type="http://schemas.openxmlformats.org/officeDocument/2006/relationships/slideLayout" Target="../slideLayouts/slideLayout351.xml"/><Relationship Id="rId4" Type="http://schemas.openxmlformats.org/officeDocument/2006/relationships/slideLayout" Target="../slideLayouts/slideLayout352.xml"/><Relationship Id="rId5" Type="http://schemas.openxmlformats.org/officeDocument/2006/relationships/slideLayout" Target="../slideLayouts/slideLayout353.xml"/><Relationship Id="rId6" Type="http://schemas.openxmlformats.org/officeDocument/2006/relationships/slideLayout" Target="../slideLayouts/slideLayout354.xml"/><Relationship Id="rId7" Type="http://schemas.openxmlformats.org/officeDocument/2006/relationships/slideLayout" Target="../slideLayouts/slideLayout355.xml"/><Relationship Id="rId8" Type="http://schemas.openxmlformats.org/officeDocument/2006/relationships/slideLayout" Target="../slideLayouts/slideLayout356.xml"/><Relationship Id="rId9" Type="http://schemas.openxmlformats.org/officeDocument/2006/relationships/slideLayout" Target="../slideLayouts/slideLayout357.xml"/><Relationship Id="rId10" Type="http://schemas.openxmlformats.org/officeDocument/2006/relationships/slideLayout" Target="../slideLayouts/slideLayout358.xml"/></Relationships>
</file>

<file path=ppt/slideMasters/_rels/slideMaster36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212.bin"/><Relationship Id="rId12" Type="http://schemas.openxmlformats.org/officeDocument/2006/relationships/image" Target="../media/image1.emf"/><Relationship Id="rId13" Type="http://schemas.openxmlformats.org/officeDocument/2006/relationships/image" Target="../media/image2.png"/><Relationship Id="rId14" Type="http://schemas.openxmlformats.org/officeDocument/2006/relationships/image" Target="../media/image3.png"/><Relationship Id="rId1" Type="http://schemas.openxmlformats.org/officeDocument/2006/relationships/slideLayout" Target="../slideLayouts/slideLayout360.xml"/><Relationship Id="rId2" Type="http://schemas.openxmlformats.org/officeDocument/2006/relationships/slideLayout" Target="../slideLayouts/slideLayout361.xml"/><Relationship Id="rId3" Type="http://schemas.openxmlformats.org/officeDocument/2006/relationships/slideLayout" Target="../slideLayouts/slideLayout362.xml"/><Relationship Id="rId4" Type="http://schemas.openxmlformats.org/officeDocument/2006/relationships/slideLayout" Target="../slideLayouts/slideLayout363.xml"/><Relationship Id="rId5" Type="http://schemas.openxmlformats.org/officeDocument/2006/relationships/slideLayout" Target="../slideLayouts/slideLayout364.xml"/><Relationship Id="rId6" Type="http://schemas.openxmlformats.org/officeDocument/2006/relationships/slideLayout" Target="../slideLayouts/slideLayout365.xml"/><Relationship Id="rId7" Type="http://schemas.openxmlformats.org/officeDocument/2006/relationships/slideLayout" Target="../slideLayouts/slideLayout366.xml"/><Relationship Id="rId8" Type="http://schemas.openxmlformats.org/officeDocument/2006/relationships/theme" Target="../theme/theme36.xml"/><Relationship Id="rId9" Type="http://schemas.openxmlformats.org/officeDocument/2006/relationships/vmlDrawing" Target="../drawings/vmlDrawing212.vml"/><Relationship Id="rId10" Type="http://schemas.openxmlformats.org/officeDocument/2006/relationships/tags" Target="../tags/tag528.xml"/></Relationships>
</file>

<file path=ppt/slideMasters/_rels/slideMaster37.xml.rels><?xml version="1.0" encoding="UTF-8" standalone="yes"?>
<Relationships xmlns="http://schemas.openxmlformats.org/package/2006/relationships"><Relationship Id="rId11" Type="http://schemas.openxmlformats.org/officeDocument/2006/relationships/theme" Target="../theme/theme37.xml"/><Relationship Id="rId12" Type="http://schemas.openxmlformats.org/officeDocument/2006/relationships/vmlDrawing" Target="../drawings/vmlDrawing218.vml"/><Relationship Id="rId13" Type="http://schemas.openxmlformats.org/officeDocument/2006/relationships/tags" Target="../tags/tag543.xml"/><Relationship Id="rId14" Type="http://schemas.openxmlformats.org/officeDocument/2006/relationships/oleObject" Target="../embeddings/oleObject218.bin"/><Relationship Id="rId15" Type="http://schemas.openxmlformats.org/officeDocument/2006/relationships/image" Target="../media/image1.emf"/><Relationship Id="rId16" Type="http://schemas.openxmlformats.org/officeDocument/2006/relationships/image" Target="../media/image2.png"/><Relationship Id="rId17" Type="http://schemas.openxmlformats.org/officeDocument/2006/relationships/image" Target="../media/image3.png"/><Relationship Id="rId1" Type="http://schemas.openxmlformats.org/officeDocument/2006/relationships/slideLayout" Target="../slideLayouts/slideLayout367.xml"/><Relationship Id="rId2" Type="http://schemas.openxmlformats.org/officeDocument/2006/relationships/slideLayout" Target="../slideLayouts/slideLayout368.xml"/><Relationship Id="rId3" Type="http://schemas.openxmlformats.org/officeDocument/2006/relationships/slideLayout" Target="../slideLayouts/slideLayout369.xml"/><Relationship Id="rId4" Type="http://schemas.openxmlformats.org/officeDocument/2006/relationships/slideLayout" Target="../slideLayouts/slideLayout370.xml"/><Relationship Id="rId5" Type="http://schemas.openxmlformats.org/officeDocument/2006/relationships/slideLayout" Target="../slideLayouts/slideLayout371.xml"/><Relationship Id="rId6" Type="http://schemas.openxmlformats.org/officeDocument/2006/relationships/slideLayout" Target="../slideLayouts/slideLayout372.xml"/><Relationship Id="rId7" Type="http://schemas.openxmlformats.org/officeDocument/2006/relationships/slideLayout" Target="../slideLayouts/slideLayout373.xml"/><Relationship Id="rId8" Type="http://schemas.openxmlformats.org/officeDocument/2006/relationships/slideLayout" Target="../slideLayouts/slideLayout374.xml"/><Relationship Id="rId9" Type="http://schemas.openxmlformats.org/officeDocument/2006/relationships/slideLayout" Target="../slideLayouts/slideLayout375.xml"/><Relationship Id="rId10" Type="http://schemas.openxmlformats.org/officeDocument/2006/relationships/slideLayout" Target="../slideLayouts/slideLayout376.xml"/></Relationships>
</file>

<file path=ppt/slideMasters/_rels/slideMaster38.xml.rels><?xml version="1.0" encoding="UTF-8" standalone="yes"?>
<Relationships xmlns="http://schemas.openxmlformats.org/package/2006/relationships"><Relationship Id="rId11" Type="http://schemas.openxmlformats.org/officeDocument/2006/relationships/theme" Target="../theme/theme38.xml"/><Relationship Id="rId12" Type="http://schemas.openxmlformats.org/officeDocument/2006/relationships/vmlDrawing" Target="../drawings/vmlDrawing224.vml"/><Relationship Id="rId13" Type="http://schemas.openxmlformats.org/officeDocument/2006/relationships/tags" Target="../tags/tag558.xml"/><Relationship Id="rId14" Type="http://schemas.openxmlformats.org/officeDocument/2006/relationships/oleObject" Target="../embeddings/oleObject224.bin"/><Relationship Id="rId15" Type="http://schemas.openxmlformats.org/officeDocument/2006/relationships/image" Target="../media/image1.emf"/><Relationship Id="rId16" Type="http://schemas.openxmlformats.org/officeDocument/2006/relationships/image" Target="../media/image2.png"/><Relationship Id="rId17" Type="http://schemas.openxmlformats.org/officeDocument/2006/relationships/image" Target="../media/image3.png"/><Relationship Id="rId1" Type="http://schemas.openxmlformats.org/officeDocument/2006/relationships/slideLayout" Target="../slideLayouts/slideLayout377.xml"/><Relationship Id="rId2" Type="http://schemas.openxmlformats.org/officeDocument/2006/relationships/slideLayout" Target="../slideLayouts/slideLayout378.xml"/><Relationship Id="rId3" Type="http://schemas.openxmlformats.org/officeDocument/2006/relationships/slideLayout" Target="../slideLayouts/slideLayout379.xml"/><Relationship Id="rId4" Type="http://schemas.openxmlformats.org/officeDocument/2006/relationships/slideLayout" Target="../slideLayouts/slideLayout380.xml"/><Relationship Id="rId5" Type="http://schemas.openxmlformats.org/officeDocument/2006/relationships/slideLayout" Target="../slideLayouts/slideLayout381.xml"/><Relationship Id="rId6" Type="http://schemas.openxmlformats.org/officeDocument/2006/relationships/slideLayout" Target="../slideLayouts/slideLayout382.xml"/><Relationship Id="rId7" Type="http://schemas.openxmlformats.org/officeDocument/2006/relationships/slideLayout" Target="../slideLayouts/slideLayout383.xml"/><Relationship Id="rId8" Type="http://schemas.openxmlformats.org/officeDocument/2006/relationships/slideLayout" Target="../slideLayouts/slideLayout384.xml"/><Relationship Id="rId9" Type="http://schemas.openxmlformats.org/officeDocument/2006/relationships/slideLayout" Target="../slideLayouts/slideLayout385.xml"/><Relationship Id="rId10" Type="http://schemas.openxmlformats.org/officeDocument/2006/relationships/slideLayout" Target="../slideLayouts/slideLayout386.xml"/></Relationships>
</file>

<file path=ppt/slideMasters/_rels/slideMaster39.xml.rels><?xml version="1.0" encoding="UTF-8" standalone="yes"?>
<Relationships xmlns="http://schemas.openxmlformats.org/package/2006/relationships"><Relationship Id="rId11" Type="http://schemas.openxmlformats.org/officeDocument/2006/relationships/theme" Target="../theme/theme39.xml"/><Relationship Id="rId12" Type="http://schemas.openxmlformats.org/officeDocument/2006/relationships/vmlDrawing" Target="../drawings/vmlDrawing230.vml"/><Relationship Id="rId13" Type="http://schemas.openxmlformats.org/officeDocument/2006/relationships/tags" Target="../tags/tag573.xml"/><Relationship Id="rId14" Type="http://schemas.openxmlformats.org/officeDocument/2006/relationships/oleObject" Target="../embeddings/oleObject230.bin"/><Relationship Id="rId15" Type="http://schemas.openxmlformats.org/officeDocument/2006/relationships/image" Target="../media/image1.emf"/><Relationship Id="rId16" Type="http://schemas.openxmlformats.org/officeDocument/2006/relationships/image" Target="../media/image2.png"/><Relationship Id="rId17" Type="http://schemas.openxmlformats.org/officeDocument/2006/relationships/image" Target="../media/image3.png"/><Relationship Id="rId1" Type="http://schemas.openxmlformats.org/officeDocument/2006/relationships/slideLayout" Target="../slideLayouts/slideLayout387.xml"/><Relationship Id="rId2" Type="http://schemas.openxmlformats.org/officeDocument/2006/relationships/slideLayout" Target="../slideLayouts/slideLayout388.xml"/><Relationship Id="rId3" Type="http://schemas.openxmlformats.org/officeDocument/2006/relationships/slideLayout" Target="../slideLayouts/slideLayout389.xml"/><Relationship Id="rId4" Type="http://schemas.openxmlformats.org/officeDocument/2006/relationships/slideLayout" Target="../slideLayouts/slideLayout390.xml"/><Relationship Id="rId5" Type="http://schemas.openxmlformats.org/officeDocument/2006/relationships/slideLayout" Target="../slideLayouts/slideLayout391.xml"/><Relationship Id="rId6" Type="http://schemas.openxmlformats.org/officeDocument/2006/relationships/slideLayout" Target="../slideLayouts/slideLayout392.xml"/><Relationship Id="rId7" Type="http://schemas.openxmlformats.org/officeDocument/2006/relationships/slideLayout" Target="../slideLayouts/slideLayout393.xml"/><Relationship Id="rId8" Type="http://schemas.openxmlformats.org/officeDocument/2006/relationships/slideLayout" Target="../slideLayouts/slideLayout394.xml"/><Relationship Id="rId9" Type="http://schemas.openxmlformats.org/officeDocument/2006/relationships/slideLayout" Target="../slideLayouts/slideLayout395.xml"/><Relationship Id="rId10" Type="http://schemas.openxmlformats.org/officeDocument/2006/relationships/slideLayout" Target="../slideLayouts/slideLayout396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4.xml"/><Relationship Id="rId12" Type="http://schemas.openxmlformats.org/officeDocument/2006/relationships/theme" Target="../theme/theme4.xml"/><Relationship Id="rId13" Type="http://schemas.openxmlformats.org/officeDocument/2006/relationships/vmlDrawing" Target="../drawings/vmlDrawing20.vml"/><Relationship Id="rId14" Type="http://schemas.openxmlformats.org/officeDocument/2006/relationships/tags" Target="../tags/tag48.xml"/><Relationship Id="rId15" Type="http://schemas.openxmlformats.org/officeDocument/2006/relationships/oleObject" Target="../embeddings/oleObject20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8.xml"/><Relationship Id="rId6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0.xml"/><Relationship Id="rId8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3.xml"/></Relationships>
</file>

<file path=ppt/slideMasters/_rels/slideMaster40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236.bin"/><Relationship Id="rId12" Type="http://schemas.openxmlformats.org/officeDocument/2006/relationships/image" Target="../media/image1.emf"/><Relationship Id="rId13" Type="http://schemas.openxmlformats.org/officeDocument/2006/relationships/image" Target="../media/image2.png"/><Relationship Id="rId14" Type="http://schemas.openxmlformats.org/officeDocument/2006/relationships/image" Target="../media/image3.png"/><Relationship Id="rId1" Type="http://schemas.openxmlformats.org/officeDocument/2006/relationships/slideLayout" Target="../slideLayouts/slideLayout397.xml"/><Relationship Id="rId2" Type="http://schemas.openxmlformats.org/officeDocument/2006/relationships/slideLayout" Target="../slideLayouts/slideLayout398.xml"/><Relationship Id="rId3" Type="http://schemas.openxmlformats.org/officeDocument/2006/relationships/slideLayout" Target="../slideLayouts/slideLayout399.xml"/><Relationship Id="rId4" Type="http://schemas.openxmlformats.org/officeDocument/2006/relationships/slideLayout" Target="../slideLayouts/slideLayout400.xml"/><Relationship Id="rId5" Type="http://schemas.openxmlformats.org/officeDocument/2006/relationships/slideLayout" Target="../slideLayouts/slideLayout401.xml"/><Relationship Id="rId6" Type="http://schemas.openxmlformats.org/officeDocument/2006/relationships/slideLayout" Target="../slideLayouts/slideLayout402.xml"/><Relationship Id="rId7" Type="http://schemas.openxmlformats.org/officeDocument/2006/relationships/slideLayout" Target="../slideLayouts/slideLayout403.xml"/><Relationship Id="rId8" Type="http://schemas.openxmlformats.org/officeDocument/2006/relationships/theme" Target="../theme/theme40.xml"/><Relationship Id="rId9" Type="http://schemas.openxmlformats.org/officeDocument/2006/relationships/vmlDrawing" Target="../drawings/vmlDrawing236.vml"/><Relationship Id="rId10" Type="http://schemas.openxmlformats.org/officeDocument/2006/relationships/tags" Target="../tags/tag588.xml"/></Relationships>
</file>

<file path=ppt/slideMasters/_rels/slideMaster41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242.vml"/><Relationship Id="rId12" Type="http://schemas.openxmlformats.org/officeDocument/2006/relationships/tags" Target="../tags/tag603.xml"/><Relationship Id="rId13" Type="http://schemas.openxmlformats.org/officeDocument/2006/relationships/oleObject" Target="../embeddings/oleObject242.bin"/><Relationship Id="rId14" Type="http://schemas.openxmlformats.org/officeDocument/2006/relationships/image" Target="../media/image1.emf"/><Relationship Id="rId15" Type="http://schemas.openxmlformats.org/officeDocument/2006/relationships/image" Target="../media/image2.png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404.xml"/><Relationship Id="rId2" Type="http://schemas.openxmlformats.org/officeDocument/2006/relationships/slideLayout" Target="../slideLayouts/slideLayout405.xml"/><Relationship Id="rId3" Type="http://schemas.openxmlformats.org/officeDocument/2006/relationships/slideLayout" Target="../slideLayouts/slideLayout406.xml"/><Relationship Id="rId4" Type="http://schemas.openxmlformats.org/officeDocument/2006/relationships/slideLayout" Target="../slideLayouts/slideLayout407.xml"/><Relationship Id="rId5" Type="http://schemas.openxmlformats.org/officeDocument/2006/relationships/slideLayout" Target="../slideLayouts/slideLayout408.xml"/><Relationship Id="rId6" Type="http://schemas.openxmlformats.org/officeDocument/2006/relationships/slideLayout" Target="../slideLayouts/slideLayout409.xml"/><Relationship Id="rId7" Type="http://schemas.openxmlformats.org/officeDocument/2006/relationships/slideLayout" Target="../slideLayouts/slideLayout410.xml"/><Relationship Id="rId8" Type="http://schemas.openxmlformats.org/officeDocument/2006/relationships/slideLayout" Target="../slideLayouts/slideLayout411.xml"/><Relationship Id="rId9" Type="http://schemas.openxmlformats.org/officeDocument/2006/relationships/slideLayout" Target="../slideLayouts/slideLayout412.xml"/><Relationship Id="rId10" Type="http://schemas.openxmlformats.org/officeDocument/2006/relationships/theme" Target="../theme/theme41.xml"/></Relationships>
</file>

<file path=ppt/slideMasters/_rels/slideMaster42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248.vml"/><Relationship Id="rId12" Type="http://schemas.openxmlformats.org/officeDocument/2006/relationships/tags" Target="../tags/tag618.xml"/><Relationship Id="rId13" Type="http://schemas.openxmlformats.org/officeDocument/2006/relationships/oleObject" Target="../embeddings/oleObject248.bin"/><Relationship Id="rId14" Type="http://schemas.openxmlformats.org/officeDocument/2006/relationships/image" Target="../media/image1.emf"/><Relationship Id="rId15" Type="http://schemas.openxmlformats.org/officeDocument/2006/relationships/image" Target="../media/image2.png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413.xml"/><Relationship Id="rId2" Type="http://schemas.openxmlformats.org/officeDocument/2006/relationships/slideLayout" Target="../slideLayouts/slideLayout414.xml"/><Relationship Id="rId3" Type="http://schemas.openxmlformats.org/officeDocument/2006/relationships/slideLayout" Target="../slideLayouts/slideLayout415.xml"/><Relationship Id="rId4" Type="http://schemas.openxmlformats.org/officeDocument/2006/relationships/slideLayout" Target="../slideLayouts/slideLayout416.xml"/><Relationship Id="rId5" Type="http://schemas.openxmlformats.org/officeDocument/2006/relationships/slideLayout" Target="../slideLayouts/slideLayout417.xml"/><Relationship Id="rId6" Type="http://schemas.openxmlformats.org/officeDocument/2006/relationships/slideLayout" Target="../slideLayouts/slideLayout418.xml"/><Relationship Id="rId7" Type="http://schemas.openxmlformats.org/officeDocument/2006/relationships/slideLayout" Target="../slideLayouts/slideLayout419.xml"/><Relationship Id="rId8" Type="http://schemas.openxmlformats.org/officeDocument/2006/relationships/slideLayout" Target="../slideLayouts/slideLayout420.xml"/><Relationship Id="rId9" Type="http://schemas.openxmlformats.org/officeDocument/2006/relationships/slideLayout" Target="../slideLayouts/slideLayout421.xml"/><Relationship Id="rId10" Type="http://schemas.openxmlformats.org/officeDocument/2006/relationships/theme" Target="../theme/theme42.xml"/></Relationships>
</file>

<file path=ppt/slideMasters/_rels/slideMaster4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32.xml"/><Relationship Id="rId12" Type="http://schemas.openxmlformats.org/officeDocument/2006/relationships/theme" Target="../theme/theme43.xml"/><Relationship Id="rId13" Type="http://schemas.openxmlformats.org/officeDocument/2006/relationships/vmlDrawing" Target="../drawings/vmlDrawing254.vml"/><Relationship Id="rId14" Type="http://schemas.openxmlformats.org/officeDocument/2006/relationships/tags" Target="../tags/tag633.xml"/><Relationship Id="rId15" Type="http://schemas.openxmlformats.org/officeDocument/2006/relationships/oleObject" Target="../embeddings/oleObject254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422.xml"/><Relationship Id="rId2" Type="http://schemas.openxmlformats.org/officeDocument/2006/relationships/slideLayout" Target="../slideLayouts/slideLayout423.xml"/><Relationship Id="rId3" Type="http://schemas.openxmlformats.org/officeDocument/2006/relationships/slideLayout" Target="../slideLayouts/slideLayout424.xml"/><Relationship Id="rId4" Type="http://schemas.openxmlformats.org/officeDocument/2006/relationships/slideLayout" Target="../slideLayouts/slideLayout425.xml"/><Relationship Id="rId5" Type="http://schemas.openxmlformats.org/officeDocument/2006/relationships/slideLayout" Target="../slideLayouts/slideLayout426.xml"/><Relationship Id="rId6" Type="http://schemas.openxmlformats.org/officeDocument/2006/relationships/slideLayout" Target="../slideLayouts/slideLayout427.xml"/><Relationship Id="rId7" Type="http://schemas.openxmlformats.org/officeDocument/2006/relationships/slideLayout" Target="../slideLayouts/slideLayout428.xml"/><Relationship Id="rId8" Type="http://schemas.openxmlformats.org/officeDocument/2006/relationships/slideLayout" Target="../slideLayouts/slideLayout429.xml"/><Relationship Id="rId9" Type="http://schemas.openxmlformats.org/officeDocument/2006/relationships/slideLayout" Target="../slideLayouts/slideLayout430.xml"/><Relationship Id="rId10" Type="http://schemas.openxmlformats.org/officeDocument/2006/relationships/slideLayout" Target="../slideLayouts/slideLayout431.xml"/></Relationships>
</file>

<file path=ppt/slideMasters/_rels/slideMaster4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43.xml"/><Relationship Id="rId12" Type="http://schemas.openxmlformats.org/officeDocument/2006/relationships/theme" Target="../theme/theme44.xml"/><Relationship Id="rId13" Type="http://schemas.openxmlformats.org/officeDocument/2006/relationships/vmlDrawing" Target="../drawings/vmlDrawing260.vml"/><Relationship Id="rId14" Type="http://schemas.openxmlformats.org/officeDocument/2006/relationships/tags" Target="../tags/tag648.xml"/><Relationship Id="rId15" Type="http://schemas.openxmlformats.org/officeDocument/2006/relationships/oleObject" Target="../embeddings/oleObject260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433.xml"/><Relationship Id="rId2" Type="http://schemas.openxmlformats.org/officeDocument/2006/relationships/slideLayout" Target="../slideLayouts/slideLayout434.xml"/><Relationship Id="rId3" Type="http://schemas.openxmlformats.org/officeDocument/2006/relationships/slideLayout" Target="../slideLayouts/slideLayout435.xml"/><Relationship Id="rId4" Type="http://schemas.openxmlformats.org/officeDocument/2006/relationships/slideLayout" Target="../slideLayouts/slideLayout436.xml"/><Relationship Id="rId5" Type="http://schemas.openxmlformats.org/officeDocument/2006/relationships/slideLayout" Target="../slideLayouts/slideLayout437.xml"/><Relationship Id="rId6" Type="http://schemas.openxmlformats.org/officeDocument/2006/relationships/slideLayout" Target="../slideLayouts/slideLayout438.xml"/><Relationship Id="rId7" Type="http://schemas.openxmlformats.org/officeDocument/2006/relationships/slideLayout" Target="../slideLayouts/slideLayout439.xml"/><Relationship Id="rId8" Type="http://schemas.openxmlformats.org/officeDocument/2006/relationships/slideLayout" Target="../slideLayouts/slideLayout440.xml"/><Relationship Id="rId9" Type="http://schemas.openxmlformats.org/officeDocument/2006/relationships/slideLayout" Target="../slideLayouts/slideLayout441.xml"/><Relationship Id="rId10" Type="http://schemas.openxmlformats.org/officeDocument/2006/relationships/slideLayout" Target="../slideLayouts/slideLayout442.xml"/></Relationships>
</file>

<file path=ppt/slideMasters/_rels/slideMaster4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54.xml"/><Relationship Id="rId12" Type="http://schemas.openxmlformats.org/officeDocument/2006/relationships/theme" Target="../theme/theme45.xml"/><Relationship Id="rId13" Type="http://schemas.openxmlformats.org/officeDocument/2006/relationships/vmlDrawing" Target="../drawings/vmlDrawing266.vml"/><Relationship Id="rId14" Type="http://schemas.openxmlformats.org/officeDocument/2006/relationships/tags" Target="../tags/tag663.xml"/><Relationship Id="rId15" Type="http://schemas.openxmlformats.org/officeDocument/2006/relationships/oleObject" Target="../embeddings/oleObject266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444.xml"/><Relationship Id="rId2" Type="http://schemas.openxmlformats.org/officeDocument/2006/relationships/slideLayout" Target="../slideLayouts/slideLayout445.xml"/><Relationship Id="rId3" Type="http://schemas.openxmlformats.org/officeDocument/2006/relationships/slideLayout" Target="../slideLayouts/slideLayout446.xml"/><Relationship Id="rId4" Type="http://schemas.openxmlformats.org/officeDocument/2006/relationships/slideLayout" Target="../slideLayouts/slideLayout447.xml"/><Relationship Id="rId5" Type="http://schemas.openxmlformats.org/officeDocument/2006/relationships/slideLayout" Target="../slideLayouts/slideLayout448.xml"/><Relationship Id="rId6" Type="http://schemas.openxmlformats.org/officeDocument/2006/relationships/slideLayout" Target="../slideLayouts/slideLayout449.xml"/><Relationship Id="rId7" Type="http://schemas.openxmlformats.org/officeDocument/2006/relationships/slideLayout" Target="../slideLayouts/slideLayout450.xml"/><Relationship Id="rId8" Type="http://schemas.openxmlformats.org/officeDocument/2006/relationships/slideLayout" Target="../slideLayouts/slideLayout451.xml"/><Relationship Id="rId9" Type="http://schemas.openxmlformats.org/officeDocument/2006/relationships/slideLayout" Target="../slideLayouts/slideLayout452.xml"/><Relationship Id="rId10" Type="http://schemas.openxmlformats.org/officeDocument/2006/relationships/slideLayout" Target="../slideLayouts/slideLayout453.xml"/></Relationships>
</file>

<file path=ppt/slideMasters/_rels/slideMaster46.xml.rels><?xml version="1.0" encoding="UTF-8" standalone="yes"?>
<Relationships xmlns="http://schemas.openxmlformats.org/package/2006/relationships"><Relationship Id="rId11" Type="http://schemas.openxmlformats.org/officeDocument/2006/relationships/theme" Target="../theme/theme46.xml"/><Relationship Id="rId12" Type="http://schemas.openxmlformats.org/officeDocument/2006/relationships/vmlDrawing" Target="../drawings/vmlDrawing272.vml"/><Relationship Id="rId13" Type="http://schemas.openxmlformats.org/officeDocument/2006/relationships/tags" Target="../tags/tag678.xml"/><Relationship Id="rId14" Type="http://schemas.openxmlformats.org/officeDocument/2006/relationships/oleObject" Target="../embeddings/oleObject272.bin"/><Relationship Id="rId15" Type="http://schemas.openxmlformats.org/officeDocument/2006/relationships/image" Target="../media/image1.emf"/><Relationship Id="rId16" Type="http://schemas.openxmlformats.org/officeDocument/2006/relationships/image" Target="../media/image2.png"/><Relationship Id="rId17" Type="http://schemas.openxmlformats.org/officeDocument/2006/relationships/image" Target="../media/image3.png"/><Relationship Id="rId1" Type="http://schemas.openxmlformats.org/officeDocument/2006/relationships/slideLayout" Target="../slideLayouts/slideLayout455.xml"/><Relationship Id="rId2" Type="http://schemas.openxmlformats.org/officeDocument/2006/relationships/slideLayout" Target="../slideLayouts/slideLayout456.xml"/><Relationship Id="rId3" Type="http://schemas.openxmlformats.org/officeDocument/2006/relationships/slideLayout" Target="../slideLayouts/slideLayout457.xml"/><Relationship Id="rId4" Type="http://schemas.openxmlformats.org/officeDocument/2006/relationships/slideLayout" Target="../slideLayouts/slideLayout458.xml"/><Relationship Id="rId5" Type="http://schemas.openxmlformats.org/officeDocument/2006/relationships/slideLayout" Target="../slideLayouts/slideLayout459.xml"/><Relationship Id="rId6" Type="http://schemas.openxmlformats.org/officeDocument/2006/relationships/slideLayout" Target="../slideLayouts/slideLayout460.xml"/><Relationship Id="rId7" Type="http://schemas.openxmlformats.org/officeDocument/2006/relationships/slideLayout" Target="../slideLayouts/slideLayout461.xml"/><Relationship Id="rId8" Type="http://schemas.openxmlformats.org/officeDocument/2006/relationships/slideLayout" Target="../slideLayouts/slideLayout462.xml"/><Relationship Id="rId9" Type="http://schemas.openxmlformats.org/officeDocument/2006/relationships/slideLayout" Target="../slideLayouts/slideLayout463.xml"/><Relationship Id="rId10" Type="http://schemas.openxmlformats.org/officeDocument/2006/relationships/slideLayout" Target="../slideLayouts/slideLayout464.xml"/></Relationships>
</file>

<file path=ppt/slideMasters/_rels/slideMaster47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278.bin"/><Relationship Id="rId12" Type="http://schemas.openxmlformats.org/officeDocument/2006/relationships/image" Target="../media/image1.emf"/><Relationship Id="rId13" Type="http://schemas.openxmlformats.org/officeDocument/2006/relationships/image" Target="../media/image2.png"/><Relationship Id="rId14" Type="http://schemas.openxmlformats.org/officeDocument/2006/relationships/image" Target="../media/image3.png"/><Relationship Id="rId1" Type="http://schemas.openxmlformats.org/officeDocument/2006/relationships/slideLayout" Target="../slideLayouts/slideLayout465.xml"/><Relationship Id="rId2" Type="http://schemas.openxmlformats.org/officeDocument/2006/relationships/slideLayout" Target="../slideLayouts/slideLayout466.xml"/><Relationship Id="rId3" Type="http://schemas.openxmlformats.org/officeDocument/2006/relationships/slideLayout" Target="../slideLayouts/slideLayout467.xml"/><Relationship Id="rId4" Type="http://schemas.openxmlformats.org/officeDocument/2006/relationships/slideLayout" Target="../slideLayouts/slideLayout468.xml"/><Relationship Id="rId5" Type="http://schemas.openxmlformats.org/officeDocument/2006/relationships/slideLayout" Target="../slideLayouts/slideLayout469.xml"/><Relationship Id="rId6" Type="http://schemas.openxmlformats.org/officeDocument/2006/relationships/slideLayout" Target="../slideLayouts/slideLayout470.xml"/><Relationship Id="rId7" Type="http://schemas.openxmlformats.org/officeDocument/2006/relationships/slideLayout" Target="../slideLayouts/slideLayout471.xml"/><Relationship Id="rId8" Type="http://schemas.openxmlformats.org/officeDocument/2006/relationships/theme" Target="../theme/theme47.xml"/><Relationship Id="rId9" Type="http://schemas.openxmlformats.org/officeDocument/2006/relationships/vmlDrawing" Target="../drawings/vmlDrawing278.vml"/><Relationship Id="rId10" Type="http://schemas.openxmlformats.org/officeDocument/2006/relationships/tags" Target="../tags/tag693.xml"/></Relationships>
</file>

<file path=ppt/slideMasters/_rels/slideMaster4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82.xml"/><Relationship Id="rId12" Type="http://schemas.openxmlformats.org/officeDocument/2006/relationships/theme" Target="../theme/theme48.xml"/><Relationship Id="rId13" Type="http://schemas.openxmlformats.org/officeDocument/2006/relationships/vmlDrawing" Target="../drawings/vmlDrawing284.vml"/><Relationship Id="rId14" Type="http://schemas.openxmlformats.org/officeDocument/2006/relationships/tags" Target="../tags/tag708.xml"/><Relationship Id="rId15" Type="http://schemas.openxmlformats.org/officeDocument/2006/relationships/oleObject" Target="../embeddings/oleObject284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472.xml"/><Relationship Id="rId2" Type="http://schemas.openxmlformats.org/officeDocument/2006/relationships/slideLayout" Target="../slideLayouts/slideLayout473.xml"/><Relationship Id="rId3" Type="http://schemas.openxmlformats.org/officeDocument/2006/relationships/slideLayout" Target="../slideLayouts/slideLayout474.xml"/><Relationship Id="rId4" Type="http://schemas.openxmlformats.org/officeDocument/2006/relationships/slideLayout" Target="../slideLayouts/slideLayout475.xml"/><Relationship Id="rId5" Type="http://schemas.openxmlformats.org/officeDocument/2006/relationships/slideLayout" Target="../slideLayouts/slideLayout476.xml"/><Relationship Id="rId6" Type="http://schemas.openxmlformats.org/officeDocument/2006/relationships/slideLayout" Target="../slideLayouts/slideLayout477.xml"/><Relationship Id="rId7" Type="http://schemas.openxmlformats.org/officeDocument/2006/relationships/slideLayout" Target="../slideLayouts/slideLayout478.xml"/><Relationship Id="rId8" Type="http://schemas.openxmlformats.org/officeDocument/2006/relationships/slideLayout" Target="../slideLayouts/slideLayout479.xml"/><Relationship Id="rId9" Type="http://schemas.openxmlformats.org/officeDocument/2006/relationships/slideLayout" Target="../slideLayouts/slideLayout480.xml"/><Relationship Id="rId10" Type="http://schemas.openxmlformats.org/officeDocument/2006/relationships/slideLayout" Target="../slideLayouts/slideLayout481.xml"/></Relationships>
</file>

<file path=ppt/slideMasters/_rels/slideMaster4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93.xml"/><Relationship Id="rId12" Type="http://schemas.openxmlformats.org/officeDocument/2006/relationships/theme" Target="../theme/theme49.xml"/><Relationship Id="rId13" Type="http://schemas.openxmlformats.org/officeDocument/2006/relationships/vmlDrawing" Target="../drawings/vmlDrawing290.vml"/><Relationship Id="rId14" Type="http://schemas.openxmlformats.org/officeDocument/2006/relationships/tags" Target="../tags/tag723.xml"/><Relationship Id="rId15" Type="http://schemas.openxmlformats.org/officeDocument/2006/relationships/oleObject" Target="../embeddings/oleObject290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483.xml"/><Relationship Id="rId2" Type="http://schemas.openxmlformats.org/officeDocument/2006/relationships/slideLayout" Target="../slideLayouts/slideLayout484.xml"/><Relationship Id="rId3" Type="http://schemas.openxmlformats.org/officeDocument/2006/relationships/slideLayout" Target="../slideLayouts/slideLayout485.xml"/><Relationship Id="rId4" Type="http://schemas.openxmlformats.org/officeDocument/2006/relationships/slideLayout" Target="../slideLayouts/slideLayout486.xml"/><Relationship Id="rId5" Type="http://schemas.openxmlformats.org/officeDocument/2006/relationships/slideLayout" Target="../slideLayouts/slideLayout487.xml"/><Relationship Id="rId6" Type="http://schemas.openxmlformats.org/officeDocument/2006/relationships/slideLayout" Target="../slideLayouts/slideLayout488.xml"/><Relationship Id="rId7" Type="http://schemas.openxmlformats.org/officeDocument/2006/relationships/slideLayout" Target="../slideLayouts/slideLayout489.xml"/><Relationship Id="rId8" Type="http://schemas.openxmlformats.org/officeDocument/2006/relationships/slideLayout" Target="../slideLayouts/slideLayout490.xml"/><Relationship Id="rId9" Type="http://schemas.openxmlformats.org/officeDocument/2006/relationships/slideLayout" Target="../slideLayouts/slideLayout491.xml"/><Relationship Id="rId10" Type="http://schemas.openxmlformats.org/officeDocument/2006/relationships/slideLayout" Target="../slideLayouts/slideLayout492.xml"/></Relationships>
</file>

<file path=ppt/slideMasters/_rels/slideMaster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5.xml"/><Relationship Id="rId12" Type="http://schemas.openxmlformats.org/officeDocument/2006/relationships/theme" Target="../theme/theme5.xml"/><Relationship Id="rId13" Type="http://schemas.openxmlformats.org/officeDocument/2006/relationships/vmlDrawing" Target="../drawings/vmlDrawing26.vml"/><Relationship Id="rId14" Type="http://schemas.openxmlformats.org/officeDocument/2006/relationships/tags" Target="../tags/tag63.xml"/><Relationship Id="rId15" Type="http://schemas.openxmlformats.org/officeDocument/2006/relationships/oleObject" Target="../embeddings/oleObject26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1.xml"/><Relationship Id="rId8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4.xml"/></Relationships>
</file>

<file path=ppt/slideMasters/_rels/slideMaster50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04.xml"/><Relationship Id="rId12" Type="http://schemas.openxmlformats.org/officeDocument/2006/relationships/slideLayout" Target="../slideLayouts/slideLayout505.xml"/><Relationship Id="rId13" Type="http://schemas.openxmlformats.org/officeDocument/2006/relationships/theme" Target="../theme/theme50.xml"/><Relationship Id="rId14" Type="http://schemas.openxmlformats.org/officeDocument/2006/relationships/vmlDrawing" Target="../drawings/vmlDrawing296.vml"/><Relationship Id="rId15" Type="http://schemas.openxmlformats.org/officeDocument/2006/relationships/tags" Target="../tags/tag738.xml"/><Relationship Id="rId16" Type="http://schemas.openxmlformats.org/officeDocument/2006/relationships/oleObject" Target="../embeddings/oleObject296.bin"/><Relationship Id="rId17" Type="http://schemas.openxmlformats.org/officeDocument/2006/relationships/image" Target="../media/image1.emf"/><Relationship Id="rId18" Type="http://schemas.openxmlformats.org/officeDocument/2006/relationships/image" Target="../media/image2.png"/><Relationship Id="rId19" Type="http://schemas.openxmlformats.org/officeDocument/2006/relationships/image" Target="../media/image3.png"/><Relationship Id="rId1" Type="http://schemas.openxmlformats.org/officeDocument/2006/relationships/slideLayout" Target="../slideLayouts/slideLayout494.xml"/><Relationship Id="rId2" Type="http://schemas.openxmlformats.org/officeDocument/2006/relationships/slideLayout" Target="../slideLayouts/slideLayout495.xml"/><Relationship Id="rId3" Type="http://schemas.openxmlformats.org/officeDocument/2006/relationships/slideLayout" Target="../slideLayouts/slideLayout496.xml"/><Relationship Id="rId4" Type="http://schemas.openxmlformats.org/officeDocument/2006/relationships/slideLayout" Target="../slideLayouts/slideLayout497.xml"/><Relationship Id="rId5" Type="http://schemas.openxmlformats.org/officeDocument/2006/relationships/slideLayout" Target="../slideLayouts/slideLayout498.xml"/><Relationship Id="rId6" Type="http://schemas.openxmlformats.org/officeDocument/2006/relationships/slideLayout" Target="../slideLayouts/slideLayout499.xml"/><Relationship Id="rId7" Type="http://schemas.openxmlformats.org/officeDocument/2006/relationships/slideLayout" Target="../slideLayouts/slideLayout500.xml"/><Relationship Id="rId8" Type="http://schemas.openxmlformats.org/officeDocument/2006/relationships/slideLayout" Target="../slideLayouts/slideLayout501.xml"/><Relationship Id="rId9" Type="http://schemas.openxmlformats.org/officeDocument/2006/relationships/slideLayout" Target="../slideLayouts/slideLayout502.xml"/><Relationship Id="rId10" Type="http://schemas.openxmlformats.org/officeDocument/2006/relationships/slideLayout" Target="../slideLayouts/slideLayout503.xml"/></Relationships>
</file>

<file path=ppt/slideMasters/_rels/slideMaster5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16.xml"/><Relationship Id="rId12" Type="http://schemas.openxmlformats.org/officeDocument/2006/relationships/slideLayout" Target="../slideLayouts/slideLayout517.xml"/><Relationship Id="rId13" Type="http://schemas.openxmlformats.org/officeDocument/2006/relationships/theme" Target="../theme/theme51.xml"/><Relationship Id="rId14" Type="http://schemas.openxmlformats.org/officeDocument/2006/relationships/vmlDrawing" Target="../drawings/vmlDrawing302.vml"/><Relationship Id="rId15" Type="http://schemas.openxmlformats.org/officeDocument/2006/relationships/tags" Target="../tags/tag753.xml"/><Relationship Id="rId16" Type="http://schemas.openxmlformats.org/officeDocument/2006/relationships/oleObject" Target="../embeddings/oleObject302.bin"/><Relationship Id="rId17" Type="http://schemas.openxmlformats.org/officeDocument/2006/relationships/image" Target="../media/image1.emf"/><Relationship Id="rId18" Type="http://schemas.openxmlformats.org/officeDocument/2006/relationships/image" Target="../media/image2.png"/><Relationship Id="rId19" Type="http://schemas.openxmlformats.org/officeDocument/2006/relationships/image" Target="../media/image3.png"/><Relationship Id="rId1" Type="http://schemas.openxmlformats.org/officeDocument/2006/relationships/slideLayout" Target="../slideLayouts/slideLayout506.xml"/><Relationship Id="rId2" Type="http://schemas.openxmlformats.org/officeDocument/2006/relationships/slideLayout" Target="../slideLayouts/slideLayout507.xml"/><Relationship Id="rId3" Type="http://schemas.openxmlformats.org/officeDocument/2006/relationships/slideLayout" Target="../slideLayouts/slideLayout508.xml"/><Relationship Id="rId4" Type="http://schemas.openxmlformats.org/officeDocument/2006/relationships/slideLayout" Target="../slideLayouts/slideLayout509.xml"/><Relationship Id="rId5" Type="http://schemas.openxmlformats.org/officeDocument/2006/relationships/slideLayout" Target="../slideLayouts/slideLayout510.xml"/><Relationship Id="rId6" Type="http://schemas.openxmlformats.org/officeDocument/2006/relationships/slideLayout" Target="../slideLayouts/slideLayout511.xml"/><Relationship Id="rId7" Type="http://schemas.openxmlformats.org/officeDocument/2006/relationships/slideLayout" Target="../slideLayouts/slideLayout512.xml"/><Relationship Id="rId8" Type="http://schemas.openxmlformats.org/officeDocument/2006/relationships/slideLayout" Target="../slideLayouts/slideLayout513.xml"/><Relationship Id="rId9" Type="http://schemas.openxmlformats.org/officeDocument/2006/relationships/slideLayout" Target="../slideLayouts/slideLayout514.xml"/><Relationship Id="rId10" Type="http://schemas.openxmlformats.org/officeDocument/2006/relationships/slideLayout" Target="../slideLayouts/slideLayout515.xml"/></Relationships>
</file>

<file path=ppt/slideMasters/_rels/slideMaster5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28.xml"/><Relationship Id="rId12" Type="http://schemas.openxmlformats.org/officeDocument/2006/relationships/slideLayout" Target="../slideLayouts/slideLayout529.xml"/><Relationship Id="rId13" Type="http://schemas.openxmlformats.org/officeDocument/2006/relationships/theme" Target="../theme/theme52.xml"/><Relationship Id="rId14" Type="http://schemas.openxmlformats.org/officeDocument/2006/relationships/vmlDrawing" Target="../drawings/vmlDrawing308.vml"/><Relationship Id="rId15" Type="http://schemas.openxmlformats.org/officeDocument/2006/relationships/tags" Target="../tags/tag768.xml"/><Relationship Id="rId16" Type="http://schemas.openxmlformats.org/officeDocument/2006/relationships/oleObject" Target="../embeddings/oleObject308.bin"/><Relationship Id="rId17" Type="http://schemas.openxmlformats.org/officeDocument/2006/relationships/image" Target="../media/image1.emf"/><Relationship Id="rId18" Type="http://schemas.openxmlformats.org/officeDocument/2006/relationships/image" Target="../media/image2.png"/><Relationship Id="rId19" Type="http://schemas.openxmlformats.org/officeDocument/2006/relationships/image" Target="../media/image3.png"/><Relationship Id="rId1" Type="http://schemas.openxmlformats.org/officeDocument/2006/relationships/slideLayout" Target="../slideLayouts/slideLayout518.xml"/><Relationship Id="rId2" Type="http://schemas.openxmlformats.org/officeDocument/2006/relationships/slideLayout" Target="../slideLayouts/slideLayout519.xml"/><Relationship Id="rId3" Type="http://schemas.openxmlformats.org/officeDocument/2006/relationships/slideLayout" Target="../slideLayouts/slideLayout520.xml"/><Relationship Id="rId4" Type="http://schemas.openxmlformats.org/officeDocument/2006/relationships/slideLayout" Target="../slideLayouts/slideLayout521.xml"/><Relationship Id="rId5" Type="http://schemas.openxmlformats.org/officeDocument/2006/relationships/slideLayout" Target="../slideLayouts/slideLayout522.xml"/><Relationship Id="rId6" Type="http://schemas.openxmlformats.org/officeDocument/2006/relationships/slideLayout" Target="../slideLayouts/slideLayout523.xml"/><Relationship Id="rId7" Type="http://schemas.openxmlformats.org/officeDocument/2006/relationships/slideLayout" Target="../slideLayouts/slideLayout524.xml"/><Relationship Id="rId8" Type="http://schemas.openxmlformats.org/officeDocument/2006/relationships/slideLayout" Target="../slideLayouts/slideLayout525.xml"/><Relationship Id="rId9" Type="http://schemas.openxmlformats.org/officeDocument/2006/relationships/slideLayout" Target="../slideLayouts/slideLayout526.xml"/><Relationship Id="rId10" Type="http://schemas.openxmlformats.org/officeDocument/2006/relationships/slideLayout" Target="../slideLayouts/slideLayout527.xml"/></Relationships>
</file>

<file path=ppt/slideMasters/_rels/slideMaster5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40.xml"/><Relationship Id="rId12" Type="http://schemas.openxmlformats.org/officeDocument/2006/relationships/slideLayout" Target="../slideLayouts/slideLayout541.xml"/><Relationship Id="rId13" Type="http://schemas.openxmlformats.org/officeDocument/2006/relationships/theme" Target="../theme/theme53.xml"/><Relationship Id="rId14" Type="http://schemas.openxmlformats.org/officeDocument/2006/relationships/vmlDrawing" Target="../drawings/vmlDrawing314.vml"/><Relationship Id="rId15" Type="http://schemas.openxmlformats.org/officeDocument/2006/relationships/tags" Target="../tags/tag783.xml"/><Relationship Id="rId16" Type="http://schemas.openxmlformats.org/officeDocument/2006/relationships/oleObject" Target="../embeddings/oleObject314.bin"/><Relationship Id="rId17" Type="http://schemas.openxmlformats.org/officeDocument/2006/relationships/image" Target="../media/image1.emf"/><Relationship Id="rId18" Type="http://schemas.openxmlformats.org/officeDocument/2006/relationships/image" Target="../media/image2.png"/><Relationship Id="rId19" Type="http://schemas.openxmlformats.org/officeDocument/2006/relationships/image" Target="../media/image3.png"/><Relationship Id="rId1" Type="http://schemas.openxmlformats.org/officeDocument/2006/relationships/slideLayout" Target="../slideLayouts/slideLayout530.xml"/><Relationship Id="rId2" Type="http://schemas.openxmlformats.org/officeDocument/2006/relationships/slideLayout" Target="../slideLayouts/slideLayout531.xml"/><Relationship Id="rId3" Type="http://schemas.openxmlformats.org/officeDocument/2006/relationships/slideLayout" Target="../slideLayouts/slideLayout532.xml"/><Relationship Id="rId4" Type="http://schemas.openxmlformats.org/officeDocument/2006/relationships/slideLayout" Target="../slideLayouts/slideLayout533.xml"/><Relationship Id="rId5" Type="http://schemas.openxmlformats.org/officeDocument/2006/relationships/slideLayout" Target="../slideLayouts/slideLayout534.xml"/><Relationship Id="rId6" Type="http://schemas.openxmlformats.org/officeDocument/2006/relationships/slideLayout" Target="../slideLayouts/slideLayout535.xml"/><Relationship Id="rId7" Type="http://schemas.openxmlformats.org/officeDocument/2006/relationships/slideLayout" Target="../slideLayouts/slideLayout536.xml"/><Relationship Id="rId8" Type="http://schemas.openxmlformats.org/officeDocument/2006/relationships/slideLayout" Target="../slideLayouts/slideLayout537.xml"/><Relationship Id="rId9" Type="http://schemas.openxmlformats.org/officeDocument/2006/relationships/slideLayout" Target="../slideLayouts/slideLayout538.xml"/><Relationship Id="rId10" Type="http://schemas.openxmlformats.org/officeDocument/2006/relationships/slideLayout" Target="../slideLayouts/slideLayout539.xml"/></Relationships>
</file>

<file path=ppt/slideMasters/_rels/slideMaster5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52.xml"/><Relationship Id="rId12" Type="http://schemas.openxmlformats.org/officeDocument/2006/relationships/theme" Target="../theme/theme54.xml"/><Relationship Id="rId13" Type="http://schemas.openxmlformats.org/officeDocument/2006/relationships/vmlDrawing" Target="../drawings/vmlDrawing320.vml"/><Relationship Id="rId14" Type="http://schemas.openxmlformats.org/officeDocument/2006/relationships/tags" Target="../tags/tag798.xml"/><Relationship Id="rId15" Type="http://schemas.openxmlformats.org/officeDocument/2006/relationships/oleObject" Target="../embeddings/oleObject320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542.xml"/><Relationship Id="rId2" Type="http://schemas.openxmlformats.org/officeDocument/2006/relationships/slideLayout" Target="../slideLayouts/slideLayout543.xml"/><Relationship Id="rId3" Type="http://schemas.openxmlformats.org/officeDocument/2006/relationships/slideLayout" Target="../slideLayouts/slideLayout544.xml"/><Relationship Id="rId4" Type="http://schemas.openxmlformats.org/officeDocument/2006/relationships/slideLayout" Target="../slideLayouts/slideLayout545.xml"/><Relationship Id="rId5" Type="http://schemas.openxmlformats.org/officeDocument/2006/relationships/slideLayout" Target="../slideLayouts/slideLayout546.xml"/><Relationship Id="rId6" Type="http://schemas.openxmlformats.org/officeDocument/2006/relationships/slideLayout" Target="../slideLayouts/slideLayout547.xml"/><Relationship Id="rId7" Type="http://schemas.openxmlformats.org/officeDocument/2006/relationships/slideLayout" Target="../slideLayouts/slideLayout548.xml"/><Relationship Id="rId8" Type="http://schemas.openxmlformats.org/officeDocument/2006/relationships/slideLayout" Target="../slideLayouts/slideLayout549.xml"/><Relationship Id="rId9" Type="http://schemas.openxmlformats.org/officeDocument/2006/relationships/slideLayout" Target="../slideLayouts/slideLayout550.xml"/><Relationship Id="rId10" Type="http://schemas.openxmlformats.org/officeDocument/2006/relationships/slideLayout" Target="../slideLayouts/slideLayout551.xml"/></Relationships>
</file>

<file path=ppt/slideMasters/_rels/slideMaster5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63.xml"/><Relationship Id="rId12" Type="http://schemas.openxmlformats.org/officeDocument/2006/relationships/slideLayout" Target="../slideLayouts/slideLayout564.xml"/><Relationship Id="rId13" Type="http://schemas.openxmlformats.org/officeDocument/2006/relationships/theme" Target="../theme/theme55.xml"/><Relationship Id="rId14" Type="http://schemas.openxmlformats.org/officeDocument/2006/relationships/vmlDrawing" Target="../drawings/vmlDrawing326.vml"/><Relationship Id="rId15" Type="http://schemas.openxmlformats.org/officeDocument/2006/relationships/tags" Target="../tags/tag813.xml"/><Relationship Id="rId16" Type="http://schemas.openxmlformats.org/officeDocument/2006/relationships/oleObject" Target="../embeddings/oleObject326.bin"/><Relationship Id="rId17" Type="http://schemas.openxmlformats.org/officeDocument/2006/relationships/image" Target="../media/image1.emf"/><Relationship Id="rId18" Type="http://schemas.openxmlformats.org/officeDocument/2006/relationships/image" Target="../media/image2.png"/><Relationship Id="rId19" Type="http://schemas.openxmlformats.org/officeDocument/2006/relationships/image" Target="../media/image3.png"/><Relationship Id="rId1" Type="http://schemas.openxmlformats.org/officeDocument/2006/relationships/slideLayout" Target="../slideLayouts/slideLayout553.xml"/><Relationship Id="rId2" Type="http://schemas.openxmlformats.org/officeDocument/2006/relationships/slideLayout" Target="../slideLayouts/slideLayout554.xml"/><Relationship Id="rId3" Type="http://schemas.openxmlformats.org/officeDocument/2006/relationships/slideLayout" Target="../slideLayouts/slideLayout555.xml"/><Relationship Id="rId4" Type="http://schemas.openxmlformats.org/officeDocument/2006/relationships/slideLayout" Target="../slideLayouts/slideLayout556.xml"/><Relationship Id="rId5" Type="http://schemas.openxmlformats.org/officeDocument/2006/relationships/slideLayout" Target="../slideLayouts/slideLayout557.xml"/><Relationship Id="rId6" Type="http://schemas.openxmlformats.org/officeDocument/2006/relationships/slideLayout" Target="../slideLayouts/slideLayout558.xml"/><Relationship Id="rId7" Type="http://schemas.openxmlformats.org/officeDocument/2006/relationships/slideLayout" Target="../slideLayouts/slideLayout559.xml"/><Relationship Id="rId8" Type="http://schemas.openxmlformats.org/officeDocument/2006/relationships/slideLayout" Target="../slideLayouts/slideLayout560.xml"/><Relationship Id="rId9" Type="http://schemas.openxmlformats.org/officeDocument/2006/relationships/slideLayout" Target="../slideLayouts/slideLayout561.xml"/><Relationship Id="rId10" Type="http://schemas.openxmlformats.org/officeDocument/2006/relationships/slideLayout" Target="../slideLayouts/slideLayout562.xml"/></Relationships>
</file>

<file path=ppt/slideMasters/_rels/slideMaster5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75.xml"/><Relationship Id="rId12" Type="http://schemas.openxmlformats.org/officeDocument/2006/relationships/theme" Target="../theme/theme56.xml"/><Relationship Id="rId13" Type="http://schemas.openxmlformats.org/officeDocument/2006/relationships/vmlDrawing" Target="../drawings/vmlDrawing332.vml"/><Relationship Id="rId14" Type="http://schemas.openxmlformats.org/officeDocument/2006/relationships/tags" Target="../tags/tag828.xml"/><Relationship Id="rId15" Type="http://schemas.openxmlformats.org/officeDocument/2006/relationships/oleObject" Target="../embeddings/oleObject332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565.xml"/><Relationship Id="rId2" Type="http://schemas.openxmlformats.org/officeDocument/2006/relationships/slideLayout" Target="../slideLayouts/slideLayout566.xml"/><Relationship Id="rId3" Type="http://schemas.openxmlformats.org/officeDocument/2006/relationships/slideLayout" Target="../slideLayouts/slideLayout567.xml"/><Relationship Id="rId4" Type="http://schemas.openxmlformats.org/officeDocument/2006/relationships/slideLayout" Target="../slideLayouts/slideLayout568.xml"/><Relationship Id="rId5" Type="http://schemas.openxmlformats.org/officeDocument/2006/relationships/slideLayout" Target="../slideLayouts/slideLayout569.xml"/><Relationship Id="rId6" Type="http://schemas.openxmlformats.org/officeDocument/2006/relationships/slideLayout" Target="../slideLayouts/slideLayout570.xml"/><Relationship Id="rId7" Type="http://schemas.openxmlformats.org/officeDocument/2006/relationships/slideLayout" Target="../slideLayouts/slideLayout571.xml"/><Relationship Id="rId8" Type="http://schemas.openxmlformats.org/officeDocument/2006/relationships/slideLayout" Target="../slideLayouts/slideLayout572.xml"/><Relationship Id="rId9" Type="http://schemas.openxmlformats.org/officeDocument/2006/relationships/slideLayout" Target="../slideLayouts/slideLayout573.xml"/><Relationship Id="rId10" Type="http://schemas.openxmlformats.org/officeDocument/2006/relationships/slideLayout" Target="../slideLayouts/slideLayout574.xml"/></Relationships>
</file>

<file path=ppt/slideMasters/_rels/slideMaster57.xml.rels><?xml version="1.0" encoding="UTF-8" standalone="yes"?>
<Relationships xmlns="http://schemas.openxmlformats.org/package/2006/relationships"><Relationship Id="rId11" Type="http://schemas.openxmlformats.org/officeDocument/2006/relationships/theme" Target="../theme/theme57.xml"/><Relationship Id="rId12" Type="http://schemas.openxmlformats.org/officeDocument/2006/relationships/vmlDrawing" Target="../drawings/vmlDrawing338.vml"/><Relationship Id="rId13" Type="http://schemas.openxmlformats.org/officeDocument/2006/relationships/tags" Target="../tags/tag843.xml"/><Relationship Id="rId14" Type="http://schemas.openxmlformats.org/officeDocument/2006/relationships/oleObject" Target="../embeddings/oleObject338.bin"/><Relationship Id="rId15" Type="http://schemas.openxmlformats.org/officeDocument/2006/relationships/image" Target="../media/image1.emf"/><Relationship Id="rId16" Type="http://schemas.openxmlformats.org/officeDocument/2006/relationships/image" Target="../media/image2.png"/><Relationship Id="rId17" Type="http://schemas.openxmlformats.org/officeDocument/2006/relationships/image" Target="../media/image7.png"/><Relationship Id="rId1" Type="http://schemas.openxmlformats.org/officeDocument/2006/relationships/slideLayout" Target="../slideLayouts/slideLayout576.xml"/><Relationship Id="rId2" Type="http://schemas.openxmlformats.org/officeDocument/2006/relationships/slideLayout" Target="../slideLayouts/slideLayout577.xml"/><Relationship Id="rId3" Type="http://schemas.openxmlformats.org/officeDocument/2006/relationships/slideLayout" Target="../slideLayouts/slideLayout578.xml"/><Relationship Id="rId4" Type="http://schemas.openxmlformats.org/officeDocument/2006/relationships/slideLayout" Target="../slideLayouts/slideLayout579.xml"/><Relationship Id="rId5" Type="http://schemas.openxmlformats.org/officeDocument/2006/relationships/slideLayout" Target="../slideLayouts/slideLayout580.xml"/><Relationship Id="rId6" Type="http://schemas.openxmlformats.org/officeDocument/2006/relationships/slideLayout" Target="../slideLayouts/slideLayout581.xml"/><Relationship Id="rId7" Type="http://schemas.openxmlformats.org/officeDocument/2006/relationships/slideLayout" Target="../slideLayouts/slideLayout582.xml"/><Relationship Id="rId8" Type="http://schemas.openxmlformats.org/officeDocument/2006/relationships/slideLayout" Target="../slideLayouts/slideLayout583.xml"/><Relationship Id="rId9" Type="http://schemas.openxmlformats.org/officeDocument/2006/relationships/slideLayout" Target="../slideLayouts/slideLayout584.xml"/><Relationship Id="rId10" Type="http://schemas.openxmlformats.org/officeDocument/2006/relationships/slideLayout" Target="../slideLayouts/slideLayout585.xml"/></Relationships>
</file>

<file path=ppt/slideMasters/_rels/slideMaster58.xml.rels><?xml version="1.0" encoding="UTF-8" standalone="yes"?>
<Relationships xmlns="http://schemas.openxmlformats.org/package/2006/relationships"><Relationship Id="rId11" Type="http://schemas.openxmlformats.org/officeDocument/2006/relationships/theme" Target="../theme/theme58.xml"/><Relationship Id="rId12" Type="http://schemas.openxmlformats.org/officeDocument/2006/relationships/vmlDrawing" Target="../drawings/vmlDrawing344.vml"/><Relationship Id="rId13" Type="http://schemas.openxmlformats.org/officeDocument/2006/relationships/tags" Target="../tags/tag858.xml"/><Relationship Id="rId14" Type="http://schemas.openxmlformats.org/officeDocument/2006/relationships/oleObject" Target="../embeddings/oleObject344.bin"/><Relationship Id="rId15" Type="http://schemas.openxmlformats.org/officeDocument/2006/relationships/image" Target="../media/image1.emf"/><Relationship Id="rId16" Type="http://schemas.openxmlformats.org/officeDocument/2006/relationships/image" Target="../media/image2.png"/><Relationship Id="rId17" Type="http://schemas.openxmlformats.org/officeDocument/2006/relationships/image" Target="../media/image7.png"/><Relationship Id="rId1" Type="http://schemas.openxmlformats.org/officeDocument/2006/relationships/slideLayout" Target="../slideLayouts/slideLayout586.xml"/><Relationship Id="rId2" Type="http://schemas.openxmlformats.org/officeDocument/2006/relationships/slideLayout" Target="../slideLayouts/slideLayout587.xml"/><Relationship Id="rId3" Type="http://schemas.openxmlformats.org/officeDocument/2006/relationships/slideLayout" Target="../slideLayouts/slideLayout588.xml"/><Relationship Id="rId4" Type="http://schemas.openxmlformats.org/officeDocument/2006/relationships/slideLayout" Target="../slideLayouts/slideLayout589.xml"/><Relationship Id="rId5" Type="http://schemas.openxmlformats.org/officeDocument/2006/relationships/slideLayout" Target="../slideLayouts/slideLayout590.xml"/><Relationship Id="rId6" Type="http://schemas.openxmlformats.org/officeDocument/2006/relationships/slideLayout" Target="../slideLayouts/slideLayout591.xml"/><Relationship Id="rId7" Type="http://schemas.openxmlformats.org/officeDocument/2006/relationships/slideLayout" Target="../slideLayouts/slideLayout592.xml"/><Relationship Id="rId8" Type="http://schemas.openxmlformats.org/officeDocument/2006/relationships/slideLayout" Target="../slideLayouts/slideLayout593.xml"/><Relationship Id="rId9" Type="http://schemas.openxmlformats.org/officeDocument/2006/relationships/slideLayout" Target="../slideLayouts/slideLayout594.xml"/><Relationship Id="rId10" Type="http://schemas.openxmlformats.org/officeDocument/2006/relationships/slideLayout" Target="../slideLayouts/slideLayout595.xml"/></Relationships>
</file>

<file path=ppt/slideMasters/_rels/slideMaster5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06.xml"/><Relationship Id="rId12" Type="http://schemas.openxmlformats.org/officeDocument/2006/relationships/theme" Target="../theme/theme59.xml"/><Relationship Id="rId13" Type="http://schemas.openxmlformats.org/officeDocument/2006/relationships/vmlDrawing" Target="../drawings/vmlDrawing350.vml"/><Relationship Id="rId14" Type="http://schemas.openxmlformats.org/officeDocument/2006/relationships/tags" Target="../tags/tag873.xml"/><Relationship Id="rId15" Type="http://schemas.openxmlformats.org/officeDocument/2006/relationships/oleObject" Target="../embeddings/oleObject350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596.xml"/><Relationship Id="rId2" Type="http://schemas.openxmlformats.org/officeDocument/2006/relationships/slideLayout" Target="../slideLayouts/slideLayout597.xml"/><Relationship Id="rId3" Type="http://schemas.openxmlformats.org/officeDocument/2006/relationships/slideLayout" Target="../slideLayouts/slideLayout598.xml"/><Relationship Id="rId4" Type="http://schemas.openxmlformats.org/officeDocument/2006/relationships/slideLayout" Target="../slideLayouts/slideLayout599.xml"/><Relationship Id="rId5" Type="http://schemas.openxmlformats.org/officeDocument/2006/relationships/slideLayout" Target="../slideLayouts/slideLayout600.xml"/><Relationship Id="rId6" Type="http://schemas.openxmlformats.org/officeDocument/2006/relationships/slideLayout" Target="../slideLayouts/slideLayout601.xml"/><Relationship Id="rId7" Type="http://schemas.openxmlformats.org/officeDocument/2006/relationships/slideLayout" Target="../slideLayouts/slideLayout602.xml"/><Relationship Id="rId8" Type="http://schemas.openxmlformats.org/officeDocument/2006/relationships/slideLayout" Target="../slideLayouts/slideLayout603.xml"/><Relationship Id="rId9" Type="http://schemas.openxmlformats.org/officeDocument/2006/relationships/slideLayout" Target="../slideLayouts/slideLayout604.xml"/><Relationship Id="rId10" Type="http://schemas.openxmlformats.org/officeDocument/2006/relationships/slideLayout" Target="../slideLayouts/slideLayout605.xml"/></Relationships>
</file>

<file path=ppt/slideMasters/_rels/slideMaster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6.xml"/><Relationship Id="rId12" Type="http://schemas.openxmlformats.org/officeDocument/2006/relationships/theme" Target="../theme/theme6.xml"/><Relationship Id="rId13" Type="http://schemas.openxmlformats.org/officeDocument/2006/relationships/vmlDrawing" Target="../drawings/vmlDrawing32.vml"/><Relationship Id="rId14" Type="http://schemas.openxmlformats.org/officeDocument/2006/relationships/tags" Target="../tags/tag78.xml"/><Relationship Id="rId15" Type="http://schemas.openxmlformats.org/officeDocument/2006/relationships/oleObject" Target="../embeddings/oleObject32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9.xml"/><Relationship Id="rId5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2.xml"/><Relationship Id="rId8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5.xml"/></Relationships>
</file>

<file path=ppt/slideMasters/_rels/slideMaster60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17.xml"/><Relationship Id="rId12" Type="http://schemas.openxmlformats.org/officeDocument/2006/relationships/theme" Target="../theme/theme60.xml"/><Relationship Id="rId13" Type="http://schemas.openxmlformats.org/officeDocument/2006/relationships/vmlDrawing" Target="../drawings/vmlDrawing356.vml"/><Relationship Id="rId14" Type="http://schemas.openxmlformats.org/officeDocument/2006/relationships/tags" Target="../tags/tag888.xml"/><Relationship Id="rId15" Type="http://schemas.openxmlformats.org/officeDocument/2006/relationships/oleObject" Target="../embeddings/oleObject356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607.xml"/><Relationship Id="rId2" Type="http://schemas.openxmlformats.org/officeDocument/2006/relationships/slideLayout" Target="../slideLayouts/slideLayout608.xml"/><Relationship Id="rId3" Type="http://schemas.openxmlformats.org/officeDocument/2006/relationships/slideLayout" Target="../slideLayouts/slideLayout609.xml"/><Relationship Id="rId4" Type="http://schemas.openxmlformats.org/officeDocument/2006/relationships/slideLayout" Target="../slideLayouts/slideLayout610.xml"/><Relationship Id="rId5" Type="http://schemas.openxmlformats.org/officeDocument/2006/relationships/slideLayout" Target="../slideLayouts/slideLayout611.xml"/><Relationship Id="rId6" Type="http://schemas.openxmlformats.org/officeDocument/2006/relationships/slideLayout" Target="../slideLayouts/slideLayout612.xml"/><Relationship Id="rId7" Type="http://schemas.openxmlformats.org/officeDocument/2006/relationships/slideLayout" Target="../slideLayouts/slideLayout613.xml"/><Relationship Id="rId8" Type="http://schemas.openxmlformats.org/officeDocument/2006/relationships/slideLayout" Target="../slideLayouts/slideLayout614.xml"/><Relationship Id="rId9" Type="http://schemas.openxmlformats.org/officeDocument/2006/relationships/slideLayout" Target="../slideLayouts/slideLayout615.xml"/><Relationship Id="rId10" Type="http://schemas.openxmlformats.org/officeDocument/2006/relationships/slideLayout" Target="../slideLayouts/slideLayout616.xml"/></Relationships>
</file>

<file path=ppt/slideMasters/_rels/slideMaster6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28.xml"/><Relationship Id="rId12" Type="http://schemas.openxmlformats.org/officeDocument/2006/relationships/theme" Target="../theme/theme61.xml"/><Relationship Id="rId13" Type="http://schemas.openxmlformats.org/officeDocument/2006/relationships/vmlDrawing" Target="../drawings/vmlDrawing362.vml"/><Relationship Id="rId14" Type="http://schemas.openxmlformats.org/officeDocument/2006/relationships/tags" Target="../tags/tag903.xml"/><Relationship Id="rId15" Type="http://schemas.openxmlformats.org/officeDocument/2006/relationships/oleObject" Target="../embeddings/oleObject362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618.xml"/><Relationship Id="rId2" Type="http://schemas.openxmlformats.org/officeDocument/2006/relationships/slideLayout" Target="../slideLayouts/slideLayout619.xml"/><Relationship Id="rId3" Type="http://schemas.openxmlformats.org/officeDocument/2006/relationships/slideLayout" Target="../slideLayouts/slideLayout620.xml"/><Relationship Id="rId4" Type="http://schemas.openxmlformats.org/officeDocument/2006/relationships/slideLayout" Target="../slideLayouts/slideLayout621.xml"/><Relationship Id="rId5" Type="http://schemas.openxmlformats.org/officeDocument/2006/relationships/slideLayout" Target="../slideLayouts/slideLayout622.xml"/><Relationship Id="rId6" Type="http://schemas.openxmlformats.org/officeDocument/2006/relationships/slideLayout" Target="../slideLayouts/slideLayout623.xml"/><Relationship Id="rId7" Type="http://schemas.openxmlformats.org/officeDocument/2006/relationships/slideLayout" Target="../slideLayouts/slideLayout624.xml"/><Relationship Id="rId8" Type="http://schemas.openxmlformats.org/officeDocument/2006/relationships/slideLayout" Target="../slideLayouts/slideLayout625.xml"/><Relationship Id="rId9" Type="http://schemas.openxmlformats.org/officeDocument/2006/relationships/slideLayout" Target="../slideLayouts/slideLayout626.xml"/><Relationship Id="rId10" Type="http://schemas.openxmlformats.org/officeDocument/2006/relationships/slideLayout" Target="../slideLayouts/slideLayout627.xml"/></Relationships>
</file>

<file path=ppt/slideMasters/_rels/slideMaster6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39.xml"/><Relationship Id="rId12" Type="http://schemas.openxmlformats.org/officeDocument/2006/relationships/theme" Target="../theme/theme62.xml"/><Relationship Id="rId13" Type="http://schemas.openxmlformats.org/officeDocument/2006/relationships/vmlDrawing" Target="../drawings/vmlDrawing368.vml"/><Relationship Id="rId14" Type="http://schemas.openxmlformats.org/officeDocument/2006/relationships/tags" Target="../tags/tag918.xml"/><Relationship Id="rId15" Type="http://schemas.openxmlformats.org/officeDocument/2006/relationships/oleObject" Target="../embeddings/oleObject368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629.xml"/><Relationship Id="rId2" Type="http://schemas.openxmlformats.org/officeDocument/2006/relationships/slideLayout" Target="../slideLayouts/slideLayout630.xml"/><Relationship Id="rId3" Type="http://schemas.openxmlformats.org/officeDocument/2006/relationships/slideLayout" Target="../slideLayouts/slideLayout631.xml"/><Relationship Id="rId4" Type="http://schemas.openxmlformats.org/officeDocument/2006/relationships/slideLayout" Target="../slideLayouts/slideLayout632.xml"/><Relationship Id="rId5" Type="http://schemas.openxmlformats.org/officeDocument/2006/relationships/slideLayout" Target="../slideLayouts/slideLayout633.xml"/><Relationship Id="rId6" Type="http://schemas.openxmlformats.org/officeDocument/2006/relationships/slideLayout" Target="../slideLayouts/slideLayout634.xml"/><Relationship Id="rId7" Type="http://schemas.openxmlformats.org/officeDocument/2006/relationships/slideLayout" Target="../slideLayouts/slideLayout635.xml"/><Relationship Id="rId8" Type="http://schemas.openxmlformats.org/officeDocument/2006/relationships/slideLayout" Target="../slideLayouts/slideLayout636.xml"/><Relationship Id="rId9" Type="http://schemas.openxmlformats.org/officeDocument/2006/relationships/slideLayout" Target="../slideLayouts/slideLayout637.xml"/><Relationship Id="rId10" Type="http://schemas.openxmlformats.org/officeDocument/2006/relationships/slideLayout" Target="../slideLayouts/slideLayout638.xml"/></Relationships>
</file>

<file path=ppt/slideMasters/_rels/slideMaster6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50.xml"/><Relationship Id="rId12" Type="http://schemas.openxmlformats.org/officeDocument/2006/relationships/theme" Target="../theme/theme63.xml"/><Relationship Id="rId13" Type="http://schemas.openxmlformats.org/officeDocument/2006/relationships/vmlDrawing" Target="../drawings/vmlDrawing374.vml"/><Relationship Id="rId14" Type="http://schemas.openxmlformats.org/officeDocument/2006/relationships/tags" Target="../tags/tag933.xml"/><Relationship Id="rId15" Type="http://schemas.openxmlformats.org/officeDocument/2006/relationships/oleObject" Target="../embeddings/oleObject374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640.xml"/><Relationship Id="rId2" Type="http://schemas.openxmlformats.org/officeDocument/2006/relationships/slideLayout" Target="../slideLayouts/slideLayout641.xml"/><Relationship Id="rId3" Type="http://schemas.openxmlformats.org/officeDocument/2006/relationships/slideLayout" Target="../slideLayouts/slideLayout642.xml"/><Relationship Id="rId4" Type="http://schemas.openxmlformats.org/officeDocument/2006/relationships/slideLayout" Target="../slideLayouts/slideLayout643.xml"/><Relationship Id="rId5" Type="http://schemas.openxmlformats.org/officeDocument/2006/relationships/slideLayout" Target="../slideLayouts/slideLayout644.xml"/><Relationship Id="rId6" Type="http://schemas.openxmlformats.org/officeDocument/2006/relationships/slideLayout" Target="../slideLayouts/slideLayout645.xml"/><Relationship Id="rId7" Type="http://schemas.openxmlformats.org/officeDocument/2006/relationships/slideLayout" Target="../slideLayouts/slideLayout646.xml"/><Relationship Id="rId8" Type="http://schemas.openxmlformats.org/officeDocument/2006/relationships/slideLayout" Target="../slideLayouts/slideLayout647.xml"/><Relationship Id="rId9" Type="http://schemas.openxmlformats.org/officeDocument/2006/relationships/slideLayout" Target="../slideLayouts/slideLayout648.xml"/><Relationship Id="rId10" Type="http://schemas.openxmlformats.org/officeDocument/2006/relationships/slideLayout" Target="../slideLayouts/slideLayout649.xml"/></Relationships>
</file>

<file path=ppt/slideMasters/_rels/slideMaster6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61.xml"/><Relationship Id="rId12" Type="http://schemas.openxmlformats.org/officeDocument/2006/relationships/slideLayout" Target="../slideLayouts/slideLayout662.xml"/><Relationship Id="rId13" Type="http://schemas.openxmlformats.org/officeDocument/2006/relationships/theme" Target="../theme/theme64.xml"/><Relationship Id="rId14" Type="http://schemas.openxmlformats.org/officeDocument/2006/relationships/vmlDrawing" Target="../drawings/vmlDrawing380.vml"/><Relationship Id="rId15" Type="http://schemas.openxmlformats.org/officeDocument/2006/relationships/tags" Target="../tags/tag948.xml"/><Relationship Id="rId16" Type="http://schemas.openxmlformats.org/officeDocument/2006/relationships/oleObject" Target="../embeddings/oleObject380.bin"/><Relationship Id="rId17" Type="http://schemas.openxmlformats.org/officeDocument/2006/relationships/image" Target="../media/image1.emf"/><Relationship Id="rId18" Type="http://schemas.openxmlformats.org/officeDocument/2006/relationships/image" Target="../media/image2.png"/><Relationship Id="rId19" Type="http://schemas.openxmlformats.org/officeDocument/2006/relationships/image" Target="../media/image3.png"/><Relationship Id="rId1" Type="http://schemas.openxmlformats.org/officeDocument/2006/relationships/slideLayout" Target="../slideLayouts/slideLayout651.xml"/><Relationship Id="rId2" Type="http://schemas.openxmlformats.org/officeDocument/2006/relationships/slideLayout" Target="../slideLayouts/slideLayout652.xml"/><Relationship Id="rId3" Type="http://schemas.openxmlformats.org/officeDocument/2006/relationships/slideLayout" Target="../slideLayouts/slideLayout653.xml"/><Relationship Id="rId4" Type="http://schemas.openxmlformats.org/officeDocument/2006/relationships/slideLayout" Target="../slideLayouts/slideLayout654.xml"/><Relationship Id="rId5" Type="http://schemas.openxmlformats.org/officeDocument/2006/relationships/slideLayout" Target="../slideLayouts/slideLayout655.xml"/><Relationship Id="rId6" Type="http://schemas.openxmlformats.org/officeDocument/2006/relationships/slideLayout" Target="../slideLayouts/slideLayout656.xml"/><Relationship Id="rId7" Type="http://schemas.openxmlformats.org/officeDocument/2006/relationships/slideLayout" Target="../slideLayouts/slideLayout657.xml"/><Relationship Id="rId8" Type="http://schemas.openxmlformats.org/officeDocument/2006/relationships/slideLayout" Target="../slideLayouts/slideLayout658.xml"/><Relationship Id="rId9" Type="http://schemas.openxmlformats.org/officeDocument/2006/relationships/slideLayout" Target="../slideLayouts/slideLayout659.xml"/><Relationship Id="rId10" Type="http://schemas.openxmlformats.org/officeDocument/2006/relationships/slideLayout" Target="../slideLayouts/slideLayout660.xml"/></Relationships>
</file>

<file path=ppt/slideMasters/_rels/slideMaster6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73.xml"/><Relationship Id="rId12" Type="http://schemas.openxmlformats.org/officeDocument/2006/relationships/slideLayout" Target="../slideLayouts/slideLayout674.xml"/><Relationship Id="rId13" Type="http://schemas.openxmlformats.org/officeDocument/2006/relationships/theme" Target="../theme/theme65.xml"/><Relationship Id="rId14" Type="http://schemas.openxmlformats.org/officeDocument/2006/relationships/vmlDrawing" Target="../drawings/vmlDrawing386.vml"/><Relationship Id="rId15" Type="http://schemas.openxmlformats.org/officeDocument/2006/relationships/tags" Target="../tags/tag963.xml"/><Relationship Id="rId16" Type="http://schemas.openxmlformats.org/officeDocument/2006/relationships/oleObject" Target="../embeddings/oleObject386.bin"/><Relationship Id="rId17" Type="http://schemas.openxmlformats.org/officeDocument/2006/relationships/image" Target="../media/image1.emf"/><Relationship Id="rId18" Type="http://schemas.openxmlformats.org/officeDocument/2006/relationships/image" Target="../media/image2.png"/><Relationship Id="rId19" Type="http://schemas.openxmlformats.org/officeDocument/2006/relationships/image" Target="../media/image3.png"/><Relationship Id="rId1" Type="http://schemas.openxmlformats.org/officeDocument/2006/relationships/slideLayout" Target="../slideLayouts/slideLayout663.xml"/><Relationship Id="rId2" Type="http://schemas.openxmlformats.org/officeDocument/2006/relationships/slideLayout" Target="../slideLayouts/slideLayout664.xml"/><Relationship Id="rId3" Type="http://schemas.openxmlformats.org/officeDocument/2006/relationships/slideLayout" Target="../slideLayouts/slideLayout665.xml"/><Relationship Id="rId4" Type="http://schemas.openxmlformats.org/officeDocument/2006/relationships/slideLayout" Target="../slideLayouts/slideLayout666.xml"/><Relationship Id="rId5" Type="http://schemas.openxmlformats.org/officeDocument/2006/relationships/slideLayout" Target="../slideLayouts/slideLayout667.xml"/><Relationship Id="rId6" Type="http://schemas.openxmlformats.org/officeDocument/2006/relationships/slideLayout" Target="../slideLayouts/slideLayout668.xml"/><Relationship Id="rId7" Type="http://schemas.openxmlformats.org/officeDocument/2006/relationships/slideLayout" Target="../slideLayouts/slideLayout669.xml"/><Relationship Id="rId8" Type="http://schemas.openxmlformats.org/officeDocument/2006/relationships/slideLayout" Target="../slideLayouts/slideLayout670.xml"/><Relationship Id="rId9" Type="http://schemas.openxmlformats.org/officeDocument/2006/relationships/slideLayout" Target="../slideLayouts/slideLayout671.xml"/><Relationship Id="rId10" Type="http://schemas.openxmlformats.org/officeDocument/2006/relationships/slideLayout" Target="../slideLayouts/slideLayout672.xml"/></Relationships>
</file>

<file path=ppt/slideMasters/_rels/slideMaster6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85.xml"/><Relationship Id="rId12" Type="http://schemas.openxmlformats.org/officeDocument/2006/relationships/slideLayout" Target="../slideLayouts/slideLayout686.xml"/><Relationship Id="rId13" Type="http://schemas.openxmlformats.org/officeDocument/2006/relationships/theme" Target="../theme/theme66.xml"/><Relationship Id="rId14" Type="http://schemas.openxmlformats.org/officeDocument/2006/relationships/vmlDrawing" Target="../drawings/vmlDrawing392.vml"/><Relationship Id="rId15" Type="http://schemas.openxmlformats.org/officeDocument/2006/relationships/tags" Target="../tags/tag978.xml"/><Relationship Id="rId16" Type="http://schemas.openxmlformats.org/officeDocument/2006/relationships/oleObject" Target="../embeddings/oleObject392.bin"/><Relationship Id="rId17" Type="http://schemas.openxmlformats.org/officeDocument/2006/relationships/image" Target="../media/image1.emf"/><Relationship Id="rId18" Type="http://schemas.openxmlformats.org/officeDocument/2006/relationships/image" Target="../media/image2.png"/><Relationship Id="rId19" Type="http://schemas.openxmlformats.org/officeDocument/2006/relationships/image" Target="../media/image3.png"/><Relationship Id="rId1" Type="http://schemas.openxmlformats.org/officeDocument/2006/relationships/slideLayout" Target="../slideLayouts/slideLayout675.xml"/><Relationship Id="rId2" Type="http://schemas.openxmlformats.org/officeDocument/2006/relationships/slideLayout" Target="../slideLayouts/slideLayout676.xml"/><Relationship Id="rId3" Type="http://schemas.openxmlformats.org/officeDocument/2006/relationships/slideLayout" Target="../slideLayouts/slideLayout677.xml"/><Relationship Id="rId4" Type="http://schemas.openxmlformats.org/officeDocument/2006/relationships/slideLayout" Target="../slideLayouts/slideLayout678.xml"/><Relationship Id="rId5" Type="http://schemas.openxmlformats.org/officeDocument/2006/relationships/slideLayout" Target="../slideLayouts/slideLayout679.xml"/><Relationship Id="rId6" Type="http://schemas.openxmlformats.org/officeDocument/2006/relationships/slideLayout" Target="../slideLayouts/slideLayout680.xml"/><Relationship Id="rId7" Type="http://schemas.openxmlformats.org/officeDocument/2006/relationships/slideLayout" Target="../slideLayouts/slideLayout681.xml"/><Relationship Id="rId8" Type="http://schemas.openxmlformats.org/officeDocument/2006/relationships/slideLayout" Target="../slideLayouts/slideLayout682.xml"/><Relationship Id="rId9" Type="http://schemas.openxmlformats.org/officeDocument/2006/relationships/slideLayout" Target="../slideLayouts/slideLayout683.xml"/><Relationship Id="rId10" Type="http://schemas.openxmlformats.org/officeDocument/2006/relationships/slideLayout" Target="../slideLayouts/slideLayout684.xml"/></Relationships>
</file>

<file path=ppt/slideMasters/_rels/slideMaster67.xml.rels><?xml version="1.0" encoding="UTF-8" standalone="yes"?>
<Relationships xmlns="http://schemas.openxmlformats.org/package/2006/relationships"><Relationship Id="rId11" Type="http://schemas.openxmlformats.org/officeDocument/2006/relationships/tags" Target="../tags/tag993.xml"/><Relationship Id="rId12" Type="http://schemas.openxmlformats.org/officeDocument/2006/relationships/oleObject" Target="../embeddings/oleObject398.bin"/><Relationship Id="rId13" Type="http://schemas.openxmlformats.org/officeDocument/2006/relationships/image" Target="../media/image1.emf"/><Relationship Id="rId14" Type="http://schemas.openxmlformats.org/officeDocument/2006/relationships/image" Target="../media/image2.png"/><Relationship Id="rId15" Type="http://schemas.openxmlformats.org/officeDocument/2006/relationships/image" Target="../media/image3.png"/><Relationship Id="rId1" Type="http://schemas.openxmlformats.org/officeDocument/2006/relationships/slideLayout" Target="../slideLayouts/slideLayout687.xml"/><Relationship Id="rId2" Type="http://schemas.openxmlformats.org/officeDocument/2006/relationships/slideLayout" Target="../slideLayouts/slideLayout688.xml"/><Relationship Id="rId3" Type="http://schemas.openxmlformats.org/officeDocument/2006/relationships/slideLayout" Target="../slideLayouts/slideLayout689.xml"/><Relationship Id="rId4" Type="http://schemas.openxmlformats.org/officeDocument/2006/relationships/slideLayout" Target="../slideLayouts/slideLayout690.xml"/><Relationship Id="rId5" Type="http://schemas.openxmlformats.org/officeDocument/2006/relationships/slideLayout" Target="../slideLayouts/slideLayout691.xml"/><Relationship Id="rId6" Type="http://schemas.openxmlformats.org/officeDocument/2006/relationships/slideLayout" Target="../slideLayouts/slideLayout692.xml"/><Relationship Id="rId7" Type="http://schemas.openxmlformats.org/officeDocument/2006/relationships/slideLayout" Target="../slideLayouts/slideLayout693.xml"/><Relationship Id="rId8" Type="http://schemas.openxmlformats.org/officeDocument/2006/relationships/slideLayout" Target="../slideLayouts/slideLayout694.xml"/><Relationship Id="rId9" Type="http://schemas.openxmlformats.org/officeDocument/2006/relationships/theme" Target="../theme/theme67.xml"/><Relationship Id="rId10" Type="http://schemas.openxmlformats.org/officeDocument/2006/relationships/vmlDrawing" Target="../drawings/vmlDrawing398.vml"/></Relationships>
</file>

<file path=ppt/slideMasters/_rels/slideMaster6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05.xml"/><Relationship Id="rId12" Type="http://schemas.openxmlformats.org/officeDocument/2006/relationships/theme" Target="../theme/theme68.xml"/><Relationship Id="rId13" Type="http://schemas.openxmlformats.org/officeDocument/2006/relationships/vmlDrawing" Target="../drawings/vmlDrawing404.vml"/><Relationship Id="rId14" Type="http://schemas.openxmlformats.org/officeDocument/2006/relationships/tags" Target="../tags/tag1008.xml"/><Relationship Id="rId15" Type="http://schemas.openxmlformats.org/officeDocument/2006/relationships/oleObject" Target="../embeddings/oleObject404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695.xml"/><Relationship Id="rId2" Type="http://schemas.openxmlformats.org/officeDocument/2006/relationships/slideLayout" Target="../slideLayouts/slideLayout696.xml"/><Relationship Id="rId3" Type="http://schemas.openxmlformats.org/officeDocument/2006/relationships/slideLayout" Target="../slideLayouts/slideLayout697.xml"/><Relationship Id="rId4" Type="http://schemas.openxmlformats.org/officeDocument/2006/relationships/slideLayout" Target="../slideLayouts/slideLayout698.xml"/><Relationship Id="rId5" Type="http://schemas.openxmlformats.org/officeDocument/2006/relationships/slideLayout" Target="../slideLayouts/slideLayout699.xml"/><Relationship Id="rId6" Type="http://schemas.openxmlformats.org/officeDocument/2006/relationships/slideLayout" Target="../slideLayouts/slideLayout700.xml"/><Relationship Id="rId7" Type="http://schemas.openxmlformats.org/officeDocument/2006/relationships/slideLayout" Target="../slideLayouts/slideLayout701.xml"/><Relationship Id="rId8" Type="http://schemas.openxmlformats.org/officeDocument/2006/relationships/slideLayout" Target="../slideLayouts/slideLayout702.xml"/><Relationship Id="rId9" Type="http://schemas.openxmlformats.org/officeDocument/2006/relationships/slideLayout" Target="../slideLayouts/slideLayout703.xml"/><Relationship Id="rId10" Type="http://schemas.openxmlformats.org/officeDocument/2006/relationships/slideLayout" Target="../slideLayouts/slideLayout704.xml"/></Relationships>
</file>

<file path=ppt/slideMasters/_rels/slideMaster6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16.xml"/><Relationship Id="rId12" Type="http://schemas.openxmlformats.org/officeDocument/2006/relationships/theme" Target="../theme/theme69.xml"/><Relationship Id="rId13" Type="http://schemas.openxmlformats.org/officeDocument/2006/relationships/vmlDrawing" Target="../drawings/vmlDrawing410.vml"/><Relationship Id="rId14" Type="http://schemas.openxmlformats.org/officeDocument/2006/relationships/tags" Target="../tags/tag1023.xml"/><Relationship Id="rId15" Type="http://schemas.openxmlformats.org/officeDocument/2006/relationships/oleObject" Target="../embeddings/oleObject410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706.xml"/><Relationship Id="rId2" Type="http://schemas.openxmlformats.org/officeDocument/2006/relationships/slideLayout" Target="../slideLayouts/slideLayout707.xml"/><Relationship Id="rId3" Type="http://schemas.openxmlformats.org/officeDocument/2006/relationships/slideLayout" Target="../slideLayouts/slideLayout708.xml"/><Relationship Id="rId4" Type="http://schemas.openxmlformats.org/officeDocument/2006/relationships/slideLayout" Target="../slideLayouts/slideLayout709.xml"/><Relationship Id="rId5" Type="http://schemas.openxmlformats.org/officeDocument/2006/relationships/slideLayout" Target="../slideLayouts/slideLayout710.xml"/><Relationship Id="rId6" Type="http://schemas.openxmlformats.org/officeDocument/2006/relationships/slideLayout" Target="../slideLayouts/slideLayout711.xml"/><Relationship Id="rId7" Type="http://schemas.openxmlformats.org/officeDocument/2006/relationships/slideLayout" Target="../slideLayouts/slideLayout712.xml"/><Relationship Id="rId8" Type="http://schemas.openxmlformats.org/officeDocument/2006/relationships/slideLayout" Target="../slideLayouts/slideLayout713.xml"/><Relationship Id="rId9" Type="http://schemas.openxmlformats.org/officeDocument/2006/relationships/slideLayout" Target="../slideLayouts/slideLayout714.xml"/><Relationship Id="rId10" Type="http://schemas.openxmlformats.org/officeDocument/2006/relationships/slideLayout" Target="../slideLayouts/slideLayout715.xml"/></Relationships>
</file>

<file path=ppt/slideMasters/_rels/slideMaster7.xml.rels><?xml version="1.0" encoding="UTF-8" standalone="yes"?>
<Relationships xmlns="http://schemas.openxmlformats.org/package/2006/relationships"><Relationship Id="rId11" Type="http://schemas.openxmlformats.org/officeDocument/2006/relationships/theme" Target="../theme/theme7.xml"/><Relationship Id="rId12" Type="http://schemas.openxmlformats.org/officeDocument/2006/relationships/vmlDrawing" Target="../drawings/vmlDrawing38.vml"/><Relationship Id="rId13" Type="http://schemas.openxmlformats.org/officeDocument/2006/relationships/tags" Target="../tags/tag93.xml"/><Relationship Id="rId14" Type="http://schemas.openxmlformats.org/officeDocument/2006/relationships/oleObject" Target="../embeddings/oleObject38.bin"/><Relationship Id="rId15" Type="http://schemas.openxmlformats.org/officeDocument/2006/relationships/image" Target="../media/image1.emf"/><Relationship Id="rId16" Type="http://schemas.openxmlformats.org/officeDocument/2006/relationships/image" Target="../media/image2.png"/><Relationship Id="rId17" Type="http://schemas.openxmlformats.org/officeDocument/2006/relationships/image" Target="../media/image3.png"/><Relationship Id="rId1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9.xml"/><Relationship Id="rId4" Type="http://schemas.openxmlformats.org/officeDocument/2006/relationships/slideLayout" Target="../slideLayouts/slideLayout70.xml"/><Relationship Id="rId5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3.xml"/><Relationship Id="rId8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76.xml"/></Relationships>
</file>

<file path=ppt/slideMasters/_rels/slideMaster70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27.xml"/><Relationship Id="rId12" Type="http://schemas.openxmlformats.org/officeDocument/2006/relationships/slideLayout" Target="../slideLayouts/slideLayout728.xml"/><Relationship Id="rId13" Type="http://schemas.openxmlformats.org/officeDocument/2006/relationships/theme" Target="../theme/theme70.xml"/><Relationship Id="rId14" Type="http://schemas.openxmlformats.org/officeDocument/2006/relationships/vmlDrawing" Target="../drawings/vmlDrawing416.vml"/><Relationship Id="rId15" Type="http://schemas.openxmlformats.org/officeDocument/2006/relationships/tags" Target="../tags/tag1038.xml"/><Relationship Id="rId16" Type="http://schemas.openxmlformats.org/officeDocument/2006/relationships/oleObject" Target="../embeddings/oleObject416.bin"/><Relationship Id="rId17" Type="http://schemas.openxmlformats.org/officeDocument/2006/relationships/image" Target="../media/image1.emf"/><Relationship Id="rId18" Type="http://schemas.openxmlformats.org/officeDocument/2006/relationships/image" Target="../media/image2.png"/><Relationship Id="rId19" Type="http://schemas.openxmlformats.org/officeDocument/2006/relationships/image" Target="../media/image3.png"/><Relationship Id="rId1" Type="http://schemas.openxmlformats.org/officeDocument/2006/relationships/slideLayout" Target="../slideLayouts/slideLayout717.xml"/><Relationship Id="rId2" Type="http://schemas.openxmlformats.org/officeDocument/2006/relationships/slideLayout" Target="../slideLayouts/slideLayout718.xml"/><Relationship Id="rId3" Type="http://schemas.openxmlformats.org/officeDocument/2006/relationships/slideLayout" Target="../slideLayouts/slideLayout719.xml"/><Relationship Id="rId4" Type="http://schemas.openxmlformats.org/officeDocument/2006/relationships/slideLayout" Target="../slideLayouts/slideLayout720.xml"/><Relationship Id="rId5" Type="http://schemas.openxmlformats.org/officeDocument/2006/relationships/slideLayout" Target="../slideLayouts/slideLayout721.xml"/><Relationship Id="rId6" Type="http://schemas.openxmlformats.org/officeDocument/2006/relationships/slideLayout" Target="../slideLayouts/slideLayout722.xml"/><Relationship Id="rId7" Type="http://schemas.openxmlformats.org/officeDocument/2006/relationships/slideLayout" Target="../slideLayouts/slideLayout723.xml"/><Relationship Id="rId8" Type="http://schemas.openxmlformats.org/officeDocument/2006/relationships/slideLayout" Target="../slideLayouts/slideLayout724.xml"/><Relationship Id="rId9" Type="http://schemas.openxmlformats.org/officeDocument/2006/relationships/slideLayout" Target="../slideLayouts/slideLayout725.xml"/><Relationship Id="rId10" Type="http://schemas.openxmlformats.org/officeDocument/2006/relationships/slideLayout" Target="../slideLayouts/slideLayout726.xml"/></Relationships>
</file>

<file path=ppt/slideMasters/_rels/slideMaster7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39.xml"/><Relationship Id="rId12" Type="http://schemas.openxmlformats.org/officeDocument/2006/relationships/theme" Target="../theme/theme71.xml"/><Relationship Id="rId13" Type="http://schemas.openxmlformats.org/officeDocument/2006/relationships/vmlDrawing" Target="../drawings/vmlDrawing422.vml"/><Relationship Id="rId14" Type="http://schemas.openxmlformats.org/officeDocument/2006/relationships/tags" Target="../tags/tag1053.xml"/><Relationship Id="rId15" Type="http://schemas.openxmlformats.org/officeDocument/2006/relationships/oleObject" Target="../embeddings/oleObject422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729.xml"/><Relationship Id="rId2" Type="http://schemas.openxmlformats.org/officeDocument/2006/relationships/slideLayout" Target="../slideLayouts/slideLayout730.xml"/><Relationship Id="rId3" Type="http://schemas.openxmlformats.org/officeDocument/2006/relationships/slideLayout" Target="../slideLayouts/slideLayout731.xml"/><Relationship Id="rId4" Type="http://schemas.openxmlformats.org/officeDocument/2006/relationships/slideLayout" Target="../slideLayouts/slideLayout732.xml"/><Relationship Id="rId5" Type="http://schemas.openxmlformats.org/officeDocument/2006/relationships/slideLayout" Target="../slideLayouts/slideLayout733.xml"/><Relationship Id="rId6" Type="http://schemas.openxmlformats.org/officeDocument/2006/relationships/slideLayout" Target="../slideLayouts/slideLayout734.xml"/><Relationship Id="rId7" Type="http://schemas.openxmlformats.org/officeDocument/2006/relationships/slideLayout" Target="../slideLayouts/slideLayout735.xml"/><Relationship Id="rId8" Type="http://schemas.openxmlformats.org/officeDocument/2006/relationships/slideLayout" Target="../slideLayouts/slideLayout736.xml"/><Relationship Id="rId9" Type="http://schemas.openxmlformats.org/officeDocument/2006/relationships/slideLayout" Target="../slideLayouts/slideLayout737.xml"/><Relationship Id="rId10" Type="http://schemas.openxmlformats.org/officeDocument/2006/relationships/slideLayout" Target="../slideLayouts/slideLayout738.xml"/></Relationships>
</file>

<file path=ppt/slideMasters/_rels/slideMaster72.xml.rels><?xml version="1.0" encoding="UTF-8" standalone="yes"?>
<Relationships xmlns="http://schemas.openxmlformats.org/package/2006/relationships"><Relationship Id="rId11" Type="http://schemas.openxmlformats.org/officeDocument/2006/relationships/tags" Target="../tags/tag1068.xml"/><Relationship Id="rId12" Type="http://schemas.openxmlformats.org/officeDocument/2006/relationships/oleObject" Target="../embeddings/oleObject428.bin"/><Relationship Id="rId13" Type="http://schemas.openxmlformats.org/officeDocument/2006/relationships/image" Target="../media/image1.emf"/><Relationship Id="rId14" Type="http://schemas.openxmlformats.org/officeDocument/2006/relationships/image" Target="../media/image2.png"/><Relationship Id="rId15" Type="http://schemas.openxmlformats.org/officeDocument/2006/relationships/image" Target="../media/image3.png"/><Relationship Id="rId1" Type="http://schemas.openxmlformats.org/officeDocument/2006/relationships/slideLayout" Target="../slideLayouts/slideLayout740.xml"/><Relationship Id="rId2" Type="http://schemas.openxmlformats.org/officeDocument/2006/relationships/slideLayout" Target="../slideLayouts/slideLayout741.xml"/><Relationship Id="rId3" Type="http://schemas.openxmlformats.org/officeDocument/2006/relationships/slideLayout" Target="../slideLayouts/slideLayout742.xml"/><Relationship Id="rId4" Type="http://schemas.openxmlformats.org/officeDocument/2006/relationships/slideLayout" Target="../slideLayouts/slideLayout743.xml"/><Relationship Id="rId5" Type="http://schemas.openxmlformats.org/officeDocument/2006/relationships/slideLayout" Target="../slideLayouts/slideLayout744.xml"/><Relationship Id="rId6" Type="http://schemas.openxmlformats.org/officeDocument/2006/relationships/slideLayout" Target="../slideLayouts/slideLayout745.xml"/><Relationship Id="rId7" Type="http://schemas.openxmlformats.org/officeDocument/2006/relationships/slideLayout" Target="../slideLayouts/slideLayout746.xml"/><Relationship Id="rId8" Type="http://schemas.openxmlformats.org/officeDocument/2006/relationships/slideLayout" Target="../slideLayouts/slideLayout747.xml"/><Relationship Id="rId9" Type="http://schemas.openxmlformats.org/officeDocument/2006/relationships/theme" Target="../theme/theme72.xml"/><Relationship Id="rId10" Type="http://schemas.openxmlformats.org/officeDocument/2006/relationships/vmlDrawing" Target="../drawings/vmlDrawing428.vml"/></Relationships>
</file>

<file path=ppt/slideMasters/_rels/slideMaster7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58.xml"/><Relationship Id="rId12" Type="http://schemas.openxmlformats.org/officeDocument/2006/relationships/slideLayout" Target="../slideLayouts/slideLayout759.xml"/><Relationship Id="rId13" Type="http://schemas.openxmlformats.org/officeDocument/2006/relationships/theme" Target="../theme/theme73.xml"/><Relationship Id="rId14" Type="http://schemas.openxmlformats.org/officeDocument/2006/relationships/vmlDrawing" Target="../drawings/vmlDrawing434.vml"/><Relationship Id="rId15" Type="http://schemas.openxmlformats.org/officeDocument/2006/relationships/tags" Target="../tags/tag1083.xml"/><Relationship Id="rId16" Type="http://schemas.openxmlformats.org/officeDocument/2006/relationships/oleObject" Target="../embeddings/oleObject434.bin"/><Relationship Id="rId17" Type="http://schemas.openxmlformats.org/officeDocument/2006/relationships/image" Target="../media/image1.emf"/><Relationship Id="rId18" Type="http://schemas.openxmlformats.org/officeDocument/2006/relationships/image" Target="../media/image2.png"/><Relationship Id="rId19" Type="http://schemas.openxmlformats.org/officeDocument/2006/relationships/image" Target="../media/image3.png"/><Relationship Id="rId1" Type="http://schemas.openxmlformats.org/officeDocument/2006/relationships/slideLayout" Target="../slideLayouts/slideLayout748.xml"/><Relationship Id="rId2" Type="http://schemas.openxmlformats.org/officeDocument/2006/relationships/slideLayout" Target="../slideLayouts/slideLayout749.xml"/><Relationship Id="rId3" Type="http://schemas.openxmlformats.org/officeDocument/2006/relationships/slideLayout" Target="../slideLayouts/slideLayout750.xml"/><Relationship Id="rId4" Type="http://schemas.openxmlformats.org/officeDocument/2006/relationships/slideLayout" Target="../slideLayouts/slideLayout751.xml"/><Relationship Id="rId5" Type="http://schemas.openxmlformats.org/officeDocument/2006/relationships/slideLayout" Target="../slideLayouts/slideLayout752.xml"/><Relationship Id="rId6" Type="http://schemas.openxmlformats.org/officeDocument/2006/relationships/slideLayout" Target="../slideLayouts/slideLayout753.xml"/><Relationship Id="rId7" Type="http://schemas.openxmlformats.org/officeDocument/2006/relationships/slideLayout" Target="../slideLayouts/slideLayout754.xml"/><Relationship Id="rId8" Type="http://schemas.openxmlformats.org/officeDocument/2006/relationships/slideLayout" Target="../slideLayouts/slideLayout755.xml"/><Relationship Id="rId9" Type="http://schemas.openxmlformats.org/officeDocument/2006/relationships/slideLayout" Target="../slideLayouts/slideLayout756.xml"/><Relationship Id="rId10" Type="http://schemas.openxmlformats.org/officeDocument/2006/relationships/slideLayout" Target="../slideLayouts/slideLayout757.xml"/></Relationships>
</file>

<file path=ppt/slideMasters/_rels/slideMaster7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70.xml"/><Relationship Id="rId12" Type="http://schemas.openxmlformats.org/officeDocument/2006/relationships/theme" Target="../theme/theme74.xml"/><Relationship Id="rId13" Type="http://schemas.openxmlformats.org/officeDocument/2006/relationships/vmlDrawing" Target="../drawings/vmlDrawing440.vml"/><Relationship Id="rId14" Type="http://schemas.openxmlformats.org/officeDocument/2006/relationships/tags" Target="../tags/tag1098.xml"/><Relationship Id="rId15" Type="http://schemas.openxmlformats.org/officeDocument/2006/relationships/oleObject" Target="../embeddings/oleObject440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760.xml"/><Relationship Id="rId2" Type="http://schemas.openxmlformats.org/officeDocument/2006/relationships/slideLayout" Target="../slideLayouts/slideLayout761.xml"/><Relationship Id="rId3" Type="http://schemas.openxmlformats.org/officeDocument/2006/relationships/slideLayout" Target="../slideLayouts/slideLayout762.xml"/><Relationship Id="rId4" Type="http://schemas.openxmlformats.org/officeDocument/2006/relationships/slideLayout" Target="../slideLayouts/slideLayout763.xml"/><Relationship Id="rId5" Type="http://schemas.openxmlformats.org/officeDocument/2006/relationships/slideLayout" Target="../slideLayouts/slideLayout764.xml"/><Relationship Id="rId6" Type="http://schemas.openxmlformats.org/officeDocument/2006/relationships/slideLayout" Target="../slideLayouts/slideLayout765.xml"/><Relationship Id="rId7" Type="http://schemas.openxmlformats.org/officeDocument/2006/relationships/slideLayout" Target="../slideLayouts/slideLayout766.xml"/><Relationship Id="rId8" Type="http://schemas.openxmlformats.org/officeDocument/2006/relationships/slideLayout" Target="../slideLayouts/slideLayout767.xml"/><Relationship Id="rId9" Type="http://schemas.openxmlformats.org/officeDocument/2006/relationships/slideLayout" Target="../slideLayouts/slideLayout768.xml"/><Relationship Id="rId10" Type="http://schemas.openxmlformats.org/officeDocument/2006/relationships/slideLayout" Target="../slideLayouts/slideLayout769.xml"/></Relationships>
</file>

<file path=ppt/slideMasters/_rels/slideMaster75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446.vml"/><Relationship Id="rId12" Type="http://schemas.openxmlformats.org/officeDocument/2006/relationships/tags" Target="../tags/tag1113.xml"/><Relationship Id="rId13" Type="http://schemas.openxmlformats.org/officeDocument/2006/relationships/oleObject" Target="../embeddings/oleObject446.bin"/><Relationship Id="rId14" Type="http://schemas.openxmlformats.org/officeDocument/2006/relationships/image" Target="../media/image1.emf"/><Relationship Id="rId15" Type="http://schemas.openxmlformats.org/officeDocument/2006/relationships/image" Target="../media/image2.png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771.xml"/><Relationship Id="rId2" Type="http://schemas.openxmlformats.org/officeDocument/2006/relationships/slideLayout" Target="../slideLayouts/slideLayout772.xml"/><Relationship Id="rId3" Type="http://schemas.openxmlformats.org/officeDocument/2006/relationships/slideLayout" Target="../slideLayouts/slideLayout773.xml"/><Relationship Id="rId4" Type="http://schemas.openxmlformats.org/officeDocument/2006/relationships/slideLayout" Target="../slideLayouts/slideLayout774.xml"/><Relationship Id="rId5" Type="http://schemas.openxmlformats.org/officeDocument/2006/relationships/slideLayout" Target="../slideLayouts/slideLayout775.xml"/><Relationship Id="rId6" Type="http://schemas.openxmlformats.org/officeDocument/2006/relationships/slideLayout" Target="../slideLayouts/slideLayout776.xml"/><Relationship Id="rId7" Type="http://schemas.openxmlformats.org/officeDocument/2006/relationships/slideLayout" Target="../slideLayouts/slideLayout777.xml"/><Relationship Id="rId8" Type="http://schemas.openxmlformats.org/officeDocument/2006/relationships/slideLayout" Target="../slideLayouts/slideLayout778.xml"/><Relationship Id="rId9" Type="http://schemas.openxmlformats.org/officeDocument/2006/relationships/slideLayout" Target="../slideLayouts/slideLayout779.xml"/><Relationship Id="rId10" Type="http://schemas.openxmlformats.org/officeDocument/2006/relationships/theme" Target="../theme/theme75.xml"/></Relationships>
</file>

<file path=ppt/slideMasters/_rels/slideMaster7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90.xml"/><Relationship Id="rId12" Type="http://schemas.openxmlformats.org/officeDocument/2006/relationships/slideLayout" Target="../slideLayouts/slideLayout791.xml"/><Relationship Id="rId13" Type="http://schemas.openxmlformats.org/officeDocument/2006/relationships/theme" Target="../theme/theme76.xml"/><Relationship Id="rId14" Type="http://schemas.openxmlformats.org/officeDocument/2006/relationships/vmlDrawing" Target="../drawings/vmlDrawing452.vml"/><Relationship Id="rId15" Type="http://schemas.openxmlformats.org/officeDocument/2006/relationships/tags" Target="../tags/tag1128.xml"/><Relationship Id="rId16" Type="http://schemas.openxmlformats.org/officeDocument/2006/relationships/oleObject" Target="../embeddings/oleObject452.bin"/><Relationship Id="rId17" Type="http://schemas.openxmlformats.org/officeDocument/2006/relationships/image" Target="../media/image1.emf"/><Relationship Id="rId18" Type="http://schemas.openxmlformats.org/officeDocument/2006/relationships/image" Target="../media/image2.png"/><Relationship Id="rId19" Type="http://schemas.openxmlformats.org/officeDocument/2006/relationships/image" Target="../media/image3.png"/><Relationship Id="rId1" Type="http://schemas.openxmlformats.org/officeDocument/2006/relationships/slideLayout" Target="../slideLayouts/slideLayout780.xml"/><Relationship Id="rId2" Type="http://schemas.openxmlformats.org/officeDocument/2006/relationships/slideLayout" Target="../slideLayouts/slideLayout781.xml"/><Relationship Id="rId3" Type="http://schemas.openxmlformats.org/officeDocument/2006/relationships/slideLayout" Target="../slideLayouts/slideLayout782.xml"/><Relationship Id="rId4" Type="http://schemas.openxmlformats.org/officeDocument/2006/relationships/slideLayout" Target="../slideLayouts/slideLayout783.xml"/><Relationship Id="rId5" Type="http://schemas.openxmlformats.org/officeDocument/2006/relationships/slideLayout" Target="../slideLayouts/slideLayout784.xml"/><Relationship Id="rId6" Type="http://schemas.openxmlformats.org/officeDocument/2006/relationships/slideLayout" Target="../slideLayouts/slideLayout785.xml"/><Relationship Id="rId7" Type="http://schemas.openxmlformats.org/officeDocument/2006/relationships/slideLayout" Target="../slideLayouts/slideLayout786.xml"/><Relationship Id="rId8" Type="http://schemas.openxmlformats.org/officeDocument/2006/relationships/slideLayout" Target="../slideLayouts/slideLayout787.xml"/><Relationship Id="rId9" Type="http://schemas.openxmlformats.org/officeDocument/2006/relationships/slideLayout" Target="../slideLayouts/slideLayout788.xml"/><Relationship Id="rId10" Type="http://schemas.openxmlformats.org/officeDocument/2006/relationships/slideLayout" Target="../slideLayouts/slideLayout789.xml"/></Relationships>
</file>

<file path=ppt/slideMasters/_rels/slideMaster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87.xml"/><Relationship Id="rId12" Type="http://schemas.openxmlformats.org/officeDocument/2006/relationships/theme" Target="../theme/theme8.xml"/><Relationship Id="rId13" Type="http://schemas.openxmlformats.org/officeDocument/2006/relationships/vmlDrawing" Target="../drawings/vmlDrawing44.vml"/><Relationship Id="rId14" Type="http://schemas.openxmlformats.org/officeDocument/2006/relationships/tags" Target="../tags/tag108.xml"/><Relationship Id="rId15" Type="http://schemas.openxmlformats.org/officeDocument/2006/relationships/oleObject" Target="../embeddings/oleObject44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9.xml"/><Relationship Id="rId4" Type="http://schemas.openxmlformats.org/officeDocument/2006/relationships/slideLayout" Target="../slideLayouts/slideLayout80.xml"/><Relationship Id="rId5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3.xml"/><Relationship Id="rId8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98.xml"/><Relationship Id="rId12" Type="http://schemas.openxmlformats.org/officeDocument/2006/relationships/theme" Target="../theme/theme9.xml"/><Relationship Id="rId13" Type="http://schemas.openxmlformats.org/officeDocument/2006/relationships/vmlDrawing" Target="../drawings/vmlDrawing50.vml"/><Relationship Id="rId14" Type="http://schemas.openxmlformats.org/officeDocument/2006/relationships/tags" Target="../tags/tag123.xml"/><Relationship Id="rId15" Type="http://schemas.openxmlformats.org/officeDocument/2006/relationships/oleObject" Target="../embeddings/oleObject50.bin"/><Relationship Id="rId16" Type="http://schemas.openxmlformats.org/officeDocument/2006/relationships/image" Target="../media/image1.emf"/><Relationship Id="rId17" Type="http://schemas.openxmlformats.org/officeDocument/2006/relationships/image" Target="../media/image2.png"/><Relationship Id="rId18" Type="http://schemas.openxmlformats.org/officeDocument/2006/relationships/image" Target="../media/image3.png"/><Relationship Id="rId1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9.xml"/><Relationship Id="rId3" Type="http://schemas.openxmlformats.org/officeDocument/2006/relationships/slideLayout" Target="../slideLayouts/slideLayout90.xml"/><Relationship Id="rId4" Type="http://schemas.openxmlformats.org/officeDocument/2006/relationships/slideLayout" Target="../slideLayouts/slideLayout91.xml"/><Relationship Id="rId5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4.xml"/><Relationship Id="rId8" Type="http://schemas.openxmlformats.org/officeDocument/2006/relationships/slideLayout" Target="../slideLayouts/slideLayout95.xml"/><Relationship Id="rId9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30" name="Object 58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5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Pictur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32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313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 / Jan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44E89555-5697-43D1-A874-A8B47AFCCE6B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3136" name="Picture 6" descr="006_PPT-top-band_rule-30mm-logo.png"/>
          <p:cNvPicPr>
            <a:picLocks noChangeAspect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3137" name="Picture 2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397" r:id="rId1"/>
    <p:sldLayoutId id="2147484988" r:id="rId2"/>
    <p:sldLayoutId id="2147484987" r:id="rId3"/>
    <p:sldLayoutId id="2147484986" r:id="rId4"/>
    <p:sldLayoutId id="2147485398" r:id="rId5"/>
    <p:sldLayoutId id="2147485399" r:id="rId6"/>
    <p:sldLayoutId id="2147485400" r:id="rId7"/>
    <p:sldLayoutId id="2147484985" r:id="rId8"/>
    <p:sldLayoutId id="2147484984" r:id="rId9"/>
    <p:sldLayoutId id="2147485401" r:id="rId10"/>
    <p:sldLayoutId id="2147484983" r:id="rId11"/>
    <p:sldLayoutId id="2147485402" r:id="rId12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209" name="Object 57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04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211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4921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F3916590-2024-4F0D-9855-B5AACE1189CD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49215" name="Picture 6" descr="006_PPT-top-band_rule-30mm-logo.pn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49216" name="Picture 2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43" r:id="rId1"/>
    <p:sldLayoutId id="2147485444" r:id="rId2"/>
    <p:sldLayoutId id="2147485039" r:id="rId3"/>
    <p:sldLayoutId id="2147485038" r:id="rId4"/>
    <p:sldLayoutId id="2147485445" r:id="rId5"/>
    <p:sldLayoutId id="2147485446" r:id="rId6"/>
    <p:sldLayoutId id="2147485447" r:id="rId7"/>
    <p:sldLayoutId id="2147485037" r:id="rId8"/>
    <p:sldLayoutId id="2147485036" r:id="rId9"/>
    <p:sldLayoutId id="2147485035" r:id="rId10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353" name="Object 57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48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355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553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E2E6828-5BEF-4404-879B-81B6B436AD97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5359" name="Picture 6" descr="006_PPT-top-band_rule-30mm-logo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55360" name="Picture 2"/>
          <p:cNvPicPr>
            <a:picLocks noChangeAspect="1" noChangeArrowheads="1"/>
          </p:cNvPicPr>
          <p:nvPr/>
        </p:nvPicPr>
        <p:blipFill>
          <a:blip r:embed="rId16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48" r:id="rId1"/>
    <p:sldLayoutId id="2147485449" r:id="rId2"/>
    <p:sldLayoutId id="2147485043" r:id="rId3"/>
    <p:sldLayoutId id="2147485042" r:id="rId4"/>
    <p:sldLayoutId id="2147485450" r:id="rId5"/>
    <p:sldLayoutId id="2147485451" r:id="rId6"/>
    <p:sldLayoutId id="2147485452" r:id="rId7"/>
    <p:sldLayoutId id="2147485041" r:id="rId8"/>
    <p:sldLayoutId id="2147485040" r:id="rId9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450" name="Object 58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45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452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5945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7FF7F5C-DD90-4684-9F88-B8077695222F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9456" name="Picture 6" descr="006_PPT-top-band_rule-30mm-logo.pn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59457" name="Picture 2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53" r:id="rId1"/>
    <p:sldLayoutId id="2147485454" r:id="rId2"/>
    <p:sldLayoutId id="2147485048" r:id="rId3"/>
    <p:sldLayoutId id="2147485047" r:id="rId4"/>
    <p:sldLayoutId id="2147485455" r:id="rId5"/>
    <p:sldLayoutId id="2147485456" r:id="rId6"/>
    <p:sldLayoutId id="2147485457" r:id="rId7"/>
    <p:sldLayoutId id="2147485046" r:id="rId8"/>
    <p:sldLayoutId id="2147485045" r:id="rId9"/>
    <p:sldLayoutId id="2147485044" r:id="rId10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593" name="Object 57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88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595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6559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3F580E7B-AFC3-4B81-B49B-F32ED5E3E62B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65599" name="Picture 6" descr="006_PPT-top-band_rule-30mm-logo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5600" name="Picture 2"/>
          <p:cNvPicPr>
            <a:picLocks noChangeAspect="1" noChangeArrowheads="1"/>
          </p:cNvPicPr>
          <p:nvPr/>
        </p:nvPicPr>
        <p:blipFill>
          <a:blip r:embed="rId16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58" r:id="rId1"/>
    <p:sldLayoutId id="2147485459" r:id="rId2"/>
    <p:sldLayoutId id="2147485052" r:id="rId3"/>
    <p:sldLayoutId id="2147485051" r:id="rId4"/>
    <p:sldLayoutId id="2147485460" r:id="rId5"/>
    <p:sldLayoutId id="2147485461" r:id="rId6"/>
    <p:sldLayoutId id="2147485462" r:id="rId7"/>
    <p:sldLayoutId id="2147485050" r:id="rId8"/>
    <p:sldLayoutId id="2147485049" r:id="rId9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36" name="Object 56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31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38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7173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7C7F49E1-5496-4761-8E40-B90FD9257CA7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1742" name="Picture 6" descr="006_PPT-top-band_rule-30mm-logo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71743" name="Picture 2"/>
          <p:cNvPicPr>
            <a:picLocks noChangeAspect="1" noChangeArrowheads="1"/>
          </p:cNvPicPr>
          <p:nvPr/>
        </p:nvPicPr>
        <p:blipFill>
          <a:blip r:embed="rId16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63" r:id="rId1"/>
    <p:sldLayoutId id="2147485464" r:id="rId2"/>
    <p:sldLayoutId id="2147485056" r:id="rId3"/>
    <p:sldLayoutId id="2147485055" r:id="rId4"/>
    <p:sldLayoutId id="2147485465" r:id="rId5"/>
    <p:sldLayoutId id="2147485466" r:id="rId6"/>
    <p:sldLayoutId id="2147485467" r:id="rId7"/>
    <p:sldLayoutId id="2147485054" r:id="rId8"/>
    <p:sldLayoutId id="2147485053" r:id="rId9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853" name="Object 53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48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855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768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46875" y="6610350"/>
            <a:ext cx="1901825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ne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5E6DB216-F5C9-4826-99F9-6C6E37A85509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6859" name="Picture 6" descr="006_PPT-top-band_rule-30mm-logo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76860" name="Picture 2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68" r:id="rId1"/>
    <p:sldLayoutId id="2147485469" r:id="rId2"/>
    <p:sldLayoutId id="2147485060" r:id="rId3"/>
    <p:sldLayoutId id="2147485059" r:id="rId4"/>
    <p:sldLayoutId id="2147485470" r:id="rId5"/>
    <p:sldLayoutId id="2147485471" r:id="rId6"/>
    <p:sldLayoutId id="2147485472" r:id="rId7"/>
    <p:sldLayoutId id="2147485058" r:id="rId8"/>
    <p:sldLayoutId id="2147485057" r:id="rId9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996" name="Object 52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91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998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829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846764AD-F997-4C82-8304-E60907C8ACA2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83002" name="Picture 6" descr="006_PPT-top-band_rule-30mm-logo.pn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3003" name="Picture 2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73" r:id="rId1"/>
    <p:sldLayoutId id="2147485474" r:id="rId2"/>
    <p:sldLayoutId id="2147485065" r:id="rId3"/>
    <p:sldLayoutId id="2147485064" r:id="rId4"/>
    <p:sldLayoutId id="2147485475" r:id="rId5"/>
    <p:sldLayoutId id="2147485476" r:id="rId6"/>
    <p:sldLayoutId id="2147485477" r:id="rId7"/>
    <p:sldLayoutId id="2147485063" r:id="rId8"/>
    <p:sldLayoutId id="2147485062" r:id="rId9"/>
    <p:sldLayoutId id="2147485061" r:id="rId10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9140" name="Object 52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35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142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8914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91EA59F4-20E7-4451-96C2-A45E946500BA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89146" name="Picture 6" descr="006_PPT-top-band_rule-30mm-logo.pn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9147" name="Picture 2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78" r:id="rId1"/>
    <p:sldLayoutId id="2147485479" r:id="rId2"/>
    <p:sldLayoutId id="2147485070" r:id="rId3"/>
    <p:sldLayoutId id="2147485069" r:id="rId4"/>
    <p:sldLayoutId id="2147485480" r:id="rId5"/>
    <p:sldLayoutId id="2147485481" r:id="rId6"/>
    <p:sldLayoutId id="2147485482" r:id="rId7"/>
    <p:sldLayoutId id="2147485068" r:id="rId8"/>
    <p:sldLayoutId id="2147485067" r:id="rId9"/>
    <p:sldLayoutId id="2147485066" r:id="rId10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619" name="Object 5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14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621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10962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AB4134CC-E285-42AA-A228-896C6F03BBA7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109625" name="Picture 6" descr="006_PPT-top-band_rule-30mm-logo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109626" name="Picture 2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83" r:id="rId1"/>
    <p:sldLayoutId id="2147485484" r:id="rId2"/>
    <p:sldLayoutId id="2147485074" r:id="rId3"/>
    <p:sldLayoutId id="2147485073" r:id="rId4"/>
    <p:sldLayoutId id="2147485485" r:id="rId5"/>
    <p:sldLayoutId id="2147485486" r:id="rId6"/>
    <p:sldLayoutId id="2147485487" r:id="rId7"/>
    <p:sldLayoutId id="2147485072" r:id="rId8"/>
    <p:sldLayoutId id="2147485071" r:id="rId9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9074" name="Object 50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69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9076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12907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4B1B5B8-4D9D-4466-B6ED-E7E96CC486B1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129080" name="Picture 6" descr="006_PPT-top-band_rule-30mm-logo.pn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129081" name="Picture 2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88" r:id="rId1"/>
    <p:sldLayoutId id="2147485489" r:id="rId2"/>
    <p:sldLayoutId id="2147485079" r:id="rId3"/>
    <p:sldLayoutId id="2147485078" r:id="rId4"/>
    <p:sldLayoutId id="2147485490" r:id="rId5"/>
    <p:sldLayoutId id="2147485491" r:id="rId6"/>
    <p:sldLayoutId id="2147485492" r:id="rId7"/>
    <p:sldLayoutId id="2147485077" r:id="rId8"/>
    <p:sldLayoutId id="2147485076" r:id="rId9"/>
    <p:sldLayoutId id="2147485075" r:id="rId10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2" name="Object 58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7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4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108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DD0ADBD-2F6D-4B5D-9D21-CBD0C0D9BDF3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1088" name="Picture 6" descr="006_PPT-top-band_rule-30mm-logo.pn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1089" name="Picture 2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03" r:id="rId1"/>
    <p:sldLayoutId id="2147485404" r:id="rId2"/>
    <p:sldLayoutId id="2147484993" r:id="rId3"/>
    <p:sldLayoutId id="2147484992" r:id="rId4"/>
    <p:sldLayoutId id="2147485405" r:id="rId5"/>
    <p:sldLayoutId id="2147485406" r:id="rId6"/>
    <p:sldLayoutId id="2147485407" r:id="rId7"/>
    <p:sldLayoutId id="2147484991" r:id="rId8"/>
    <p:sldLayoutId id="2147484990" r:id="rId9"/>
    <p:sldLayoutId id="2147484989" r:id="rId10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5217" name="Object 49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11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219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13522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2D8AAB74-A00E-44E8-B856-BAE986154C8C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135223" name="Picture 6" descr="006_PPT-top-band_rule-30mm-logo.pn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135224" name="Picture 2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93" r:id="rId1"/>
    <p:sldLayoutId id="2147485494" r:id="rId2"/>
    <p:sldLayoutId id="2147485084" r:id="rId3"/>
    <p:sldLayoutId id="2147485083" r:id="rId4"/>
    <p:sldLayoutId id="2147485495" r:id="rId5"/>
    <p:sldLayoutId id="2147485496" r:id="rId6"/>
    <p:sldLayoutId id="2147485497" r:id="rId7"/>
    <p:sldLayoutId id="2147485082" r:id="rId8"/>
    <p:sldLayoutId id="2147485081" r:id="rId9"/>
    <p:sldLayoutId id="2147485080" r:id="rId10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1361" name="Object 49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555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363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14136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46875" y="6610350"/>
            <a:ext cx="1901825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</a:rPr>
              <a:t>A.T. Kearney / Marist Institute/ June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9D619593-1CA3-4ED4-9D0D-18FBA2DBFB44}" type="slidenum">
              <a:rPr lang="en-US" sz="900">
                <a:solidFill>
                  <a:srgbClr val="ADABA1"/>
                </a:solidFill>
                <a:latin typeface="Arial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</a:endParaRPr>
          </a:p>
        </p:txBody>
      </p:sp>
      <p:pic>
        <p:nvPicPr>
          <p:cNvPr id="141367" name="Picture 6" descr="006_PPT-top-band_rule-30mm-logo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141368" name="Picture 2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98" r:id="rId1"/>
    <p:sldLayoutId id="2147485499" r:id="rId2"/>
    <p:sldLayoutId id="2147485088" r:id="rId3"/>
    <p:sldLayoutId id="2147485087" r:id="rId4"/>
    <p:sldLayoutId id="2147485500" r:id="rId5"/>
    <p:sldLayoutId id="2147485501" r:id="rId6"/>
    <p:sldLayoutId id="2147485502" r:id="rId7"/>
    <p:sldLayoutId id="2147485086" r:id="rId8"/>
    <p:sldLayoutId id="2147485085" r:id="rId9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5695" name="Object 47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89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5697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15569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39EA3EA-E0B7-4598-8412-91413772C17F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155701" name="Picture 6" descr="006_PPT-top-band_rule-30mm-logo.pn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155702" name="Picture 2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03" r:id="rId1"/>
    <p:sldLayoutId id="2147485504" r:id="rId2"/>
    <p:sldLayoutId id="2147485093" r:id="rId3"/>
    <p:sldLayoutId id="2147485092" r:id="rId4"/>
    <p:sldLayoutId id="2147485505" r:id="rId5"/>
    <p:sldLayoutId id="2147485506" r:id="rId6"/>
    <p:sldLayoutId id="2147485507" r:id="rId7"/>
    <p:sldLayoutId id="2147485091" r:id="rId8"/>
    <p:sldLayoutId id="2147485090" r:id="rId9"/>
    <p:sldLayoutId id="2147485089" r:id="rId10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2859" name="Object 43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053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2861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16286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063CCAD7-368A-422C-8D36-6E7BC068D955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162865" name="Picture 6" descr="006_PPT-top-band_rule-30mm-logo.pn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162866" name="Picture 2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08" r:id="rId1"/>
    <p:sldLayoutId id="2147485509" r:id="rId2"/>
    <p:sldLayoutId id="2147485098" r:id="rId3"/>
    <p:sldLayoutId id="2147485097" r:id="rId4"/>
    <p:sldLayoutId id="2147485510" r:id="rId5"/>
    <p:sldLayoutId id="2147485511" r:id="rId6"/>
    <p:sldLayoutId id="2147485512" r:id="rId7"/>
    <p:sldLayoutId id="2147485096" r:id="rId8"/>
    <p:sldLayoutId id="2147485095" r:id="rId9"/>
    <p:sldLayoutId id="2147485094" r:id="rId10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7978" name="Object 42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72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980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16798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C836DEFD-13D1-4F9B-912D-F8C7D4FE19C9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167984" name="Picture 6" descr="006_PPT-top-band_rule-30mm-logo.pn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167985" name="Picture 2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13" r:id="rId1"/>
    <p:sldLayoutId id="2147485514" r:id="rId2"/>
    <p:sldLayoutId id="2147485103" r:id="rId3"/>
    <p:sldLayoutId id="2147485102" r:id="rId4"/>
    <p:sldLayoutId id="2147485515" r:id="rId5"/>
    <p:sldLayoutId id="2147485516" r:id="rId6"/>
    <p:sldLayoutId id="2147485517" r:id="rId7"/>
    <p:sldLayoutId id="2147485101" r:id="rId8"/>
    <p:sldLayoutId id="2147485100" r:id="rId9"/>
    <p:sldLayoutId id="2147485099" r:id="rId10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1289" name="Object 4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483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1291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18129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7CD5D8CA-C38E-43DB-90B3-76BD5710598B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181295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181296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18" r:id="rId1"/>
    <p:sldLayoutId id="2147485519" r:id="rId2"/>
    <p:sldLayoutId id="2147485109" r:id="rId3"/>
    <p:sldLayoutId id="2147485108" r:id="rId4"/>
    <p:sldLayoutId id="2147485520" r:id="rId5"/>
    <p:sldLayoutId id="2147485521" r:id="rId6"/>
    <p:sldLayoutId id="2147485522" r:id="rId7"/>
    <p:sldLayoutId id="2147485107" r:id="rId8"/>
    <p:sldLayoutId id="2147485106" r:id="rId9"/>
    <p:sldLayoutId id="2147485105" r:id="rId10"/>
    <p:sldLayoutId id="2147485104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7673" name="Object 4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867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7675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19767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4599B76E-03C2-4674-BB53-027D6B61D05B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197679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197680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23" r:id="rId1"/>
    <p:sldLayoutId id="2147485524" r:id="rId2"/>
    <p:sldLayoutId id="2147485115" r:id="rId3"/>
    <p:sldLayoutId id="2147485114" r:id="rId4"/>
    <p:sldLayoutId id="2147485525" r:id="rId5"/>
    <p:sldLayoutId id="2147485526" r:id="rId6"/>
    <p:sldLayoutId id="2147485527" r:id="rId7"/>
    <p:sldLayoutId id="2147485113" r:id="rId8"/>
    <p:sldLayoutId id="2147485112" r:id="rId9"/>
    <p:sldLayoutId id="2147485111" r:id="rId10"/>
    <p:sldLayoutId id="2147485110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3816" name="Object 40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010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3818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20381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74670C1-4F78-42AC-BF9B-4FC96412B04F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203822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203823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28" r:id="rId1"/>
    <p:sldLayoutId id="2147485529" r:id="rId2"/>
    <p:sldLayoutId id="2147485121" r:id="rId3"/>
    <p:sldLayoutId id="2147485120" r:id="rId4"/>
    <p:sldLayoutId id="2147485530" r:id="rId5"/>
    <p:sldLayoutId id="2147485531" r:id="rId6"/>
    <p:sldLayoutId id="2147485532" r:id="rId7"/>
    <p:sldLayoutId id="2147485119" r:id="rId8"/>
    <p:sldLayoutId id="2147485118" r:id="rId9"/>
    <p:sldLayoutId id="2147485117" r:id="rId10"/>
    <p:sldLayoutId id="2147485116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3032" name="Object 40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26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3034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21303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13F317A4-C63A-4735-86E5-EC94FC318812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213038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213039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33" r:id="rId1"/>
    <p:sldLayoutId id="2147485534" r:id="rId2"/>
    <p:sldLayoutId id="2147485127" r:id="rId3"/>
    <p:sldLayoutId id="2147485126" r:id="rId4"/>
    <p:sldLayoutId id="2147485535" r:id="rId5"/>
    <p:sldLayoutId id="2147485536" r:id="rId6"/>
    <p:sldLayoutId id="2147485537" r:id="rId7"/>
    <p:sldLayoutId id="2147485125" r:id="rId8"/>
    <p:sldLayoutId id="2147485124" r:id="rId9"/>
    <p:sldLayoutId id="2147485123" r:id="rId10"/>
    <p:sldLayoutId id="2147485122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1224" name="Object 40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418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1226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2212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A76A82B-3249-495F-9BB1-6652D4714E09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221230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221231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38" r:id="rId1"/>
    <p:sldLayoutId id="2147485539" r:id="rId2"/>
    <p:sldLayoutId id="2147485133" r:id="rId3"/>
    <p:sldLayoutId id="2147485132" r:id="rId4"/>
    <p:sldLayoutId id="2147485540" r:id="rId5"/>
    <p:sldLayoutId id="2147485541" r:id="rId6"/>
    <p:sldLayoutId id="2147485542" r:id="rId7"/>
    <p:sldLayoutId id="2147485131" r:id="rId8"/>
    <p:sldLayoutId id="2147485130" r:id="rId9"/>
    <p:sldLayoutId id="2147485129" r:id="rId10"/>
    <p:sldLayoutId id="2147485128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346" name="Object 58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1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48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1234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33C3E16-912A-44DC-ADF9-EB886FB3169C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12352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12353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08" r:id="rId1"/>
    <p:sldLayoutId id="2147485409" r:id="rId2"/>
    <p:sldLayoutId id="2147484999" r:id="rId3"/>
    <p:sldLayoutId id="2147484998" r:id="rId4"/>
    <p:sldLayoutId id="2147485410" r:id="rId5"/>
    <p:sldLayoutId id="2147485411" r:id="rId6"/>
    <p:sldLayoutId id="2147485412" r:id="rId7"/>
    <p:sldLayoutId id="2147484997" r:id="rId8"/>
    <p:sldLayoutId id="2147484996" r:id="rId9"/>
    <p:sldLayoutId id="2147484995" r:id="rId10"/>
    <p:sldLayoutId id="2147484994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6344" name="Object 40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38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6346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2263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436F6F0B-1BFE-4C9F-A9ED-21D44A07A809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226350" name="Picture 6" descr="006_PPT-top-band_rule-30mm-logo.pn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226351" name="Picture 2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43" r:id="rId1"/>
    <p:sldLayoutId id="2147485544" r:id="rId2"/>
    <p:sldLayoutId id="2147485138" r:id="rId3"/>
    <p:sldLayoutId id="2147485137" r:id="rId4"/>
    <p:sldLayoutId id="2147485545" r:id="rId5"/>
    <p:sldLayoutId id="2147485546" r:id="rId6"/>
    <p:sldLayoutId id="2147485547" r:id="rId7"/>
    <p:sldLayoutId id="2147485136" r:id="rId8"/>
    <p:sldLayoutId id="2147485135" r:id="rId9"/>
    <p:sldLayoutId id="2147485134" r:id="rId10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1464" name="Object 40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658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1466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23146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805DE13A-0646-437B-A129-62FDBCC0BDA6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231470" name="Picture 6" descr="006_PPT-top-band_rule-30mm-logo.png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231471" name="Picture 2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48" r:id="rId1"/>
    <p:sldLayoutId id="2147485549" r:id="rId2"/>
    <p:sldLayoutId id="2147485141" r:id="rId3"/>
    <p:sldLayoutId id="2147485140" r:id="rId4"/>
    <p:sldLayoutId id="2147485550" r:id="rId5"/>
    <p:sldLayoutId id="2147485551" r:id="rId6"/>
    <p:sldLayoutId id="2147485552" r:id="rId7"/>
    <p:sldLayoutId id="2147485139" r:id="rId8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2417" name="Object 33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611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2419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27242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C8913924-C4D7-4B6C-9302-9A5072D46645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272423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272424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53" r:id="rId1"/>
    <p:sldLayoutId id="2147485554" r:id="rId2"/>
    <p:sldLayoutId id="2147485147" r:id="rId3"/>
    <p:sldLayoutId id="2147485146" r:id="rId4"/>
    <p:sldLayoutId id="2147485555" r:id="rId5"/>
    <p:sldLayoutId id="2147485556" r:id="rId6"/>
    <p:sldLayoutId id="2147485557" r:id="rId7"/>
    <p:sldLayoutId id="2147485145" r:id="rId8"/>
    <p:sldLayoutId id="2147485144" r:id="rId9"/>
    <p:sldLayoutId id="2147485143" r:id="rId10"/>
    <p:sldLayoutId id="2147485142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13" name="Object 33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07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15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27651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E91B7529-63C6-4853-A9D4-3C6E1779F277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276519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276520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58" r:id="rId1"/>
    <p:sldLayoutId id="2147485559" r:id="rId2"/>
    <p:sldLayoutId id="2147485153" r:id="rId3"/>
    <p:sldLayoutId id="2147485152" r:id="rId4"/>
    <p:sldLayoutId id="2147485560" r:id="rId5"/>
    <p:sldLayoutId id="2147485561" r:id="rId6"/>
    <p:sldLayoutId id="2147485562" r:id="rId7"/>
    <p:sldLayoutId id="2147485151" r:id="rId8"/>
    <p:sldLayoutId id="2147485150" r:id="rId9"/>
    <p:sldLayoutId id="2147485149" r:id="rId10"/>
    <p:sldLayoutId id="2147485148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0609" name="Object 33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803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0611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28061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1FAE2B0A-8912-432D-936C-4DF41271F694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280615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280616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63" r:id="rId1"/>
    <p:sldLayoutId id="2147485564" r:id="rId2"/>
    <p:sldLayoutId id="2147485159" r:id="rId3"/>
    <p:sldLayoutId id="2147485158" r:id="rId4"/>
    <p:sldLayoutId id="2147485565" r:id="rId5"/>
    <p:sldLayoutId id="2147485566" r:id="rId6"/>
    <p:sldLayoutId id="2147485567" r:id="rId7"/>
    <p:sldLayoutId id="2147485157" r:id="rId8"/>
    <p:sldLayoutId id="2147485156" r:id="rId9"/>
    <p:sldLayoutId id="2147485155" r:id="rId10"/>
    <p:sldLayoutId id="2147485154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0849" name="Object 33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043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0851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2908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E0E15FD7-EBAF-4001-81D9-B2A2AD544488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290855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290856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68" r:id="rId1"/>
    <p:sldLayoutId id="2147485569" r:id="rId2"/>
    <p:sldLayoutId id="2147485165" r:id="rId3"/>
    <p:sldLayoutId id="2147485164" r:id="rId4"/>
    <p:sldLayoutId id="2147485570" r:id="rId5"/>
    <p:sldLayoutId id="2147485571" r:id="rId6"/>
    <p:sldLayoutId id="2147485572" r:id="rId7"/>
    <p:sldLayoutId id="2147485163" r:id="rId8"/>
    <p:sldLayoutId id="2147485162" r:id="rId9"/>
    <p:sldLayoutId id="2147485161" r:id="rId10"/>
    <p:sldLayoutId id="2147485160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2113" name="Object 33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307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2115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30211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46875" y="6610350"/>
            <a:ext cx="1901825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ne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4EF9D899-7DCB-418C-85E5-474C38A7787A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302119" name="Picture 6" descr="006_PPT-top-band_rule-30mm-logo.png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302120" name="Picture 2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73" r:id="rId1"/>
    <p:sldLayoutId id="2147485574" r:id="rId2"/>
    <p:sldLayoutId id="2147485168" r:id="rId3"/>
    <p:sldLayoutId id="2147485167" r:id="rId4"/>
    <p:sldLayoutId id="2147485575" r:id="rId5"/>
    <p:sldLayoutId id="2147485576" r:id="rId6"/>
    <p:sldLayoutId id="2147485577" r:id="rId7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0304" name="Object 32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98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0306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31030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197181B9-A374-4C21-9115-EA82D276FB46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310310" name="Picture 6" descr="006_PPT-top-band_rule-30mm-logo.pn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310311" name="Picture 2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78" r:id="rId1"/>
    <p:sldLayoutId id="2147485579" r:id="rId2"/>
    <p:sldLayoutId id="2147485173" r:id="rId3"/>
    <p:sldLayoutId id="2147485172" r:id="rId4"/>
    <p:sldLayoutId id="2147485580" r:id="rId5"/>
    <p:sldLayoutId id="2147485581" r:id="rId6"/>
    <p:sldLayoutId id="2147485582" r:id="rId7"/>
    <p:sldLayoutId id="2147485171" r:id="rId8"/>
    <p:sldLayoutId id="2147485170" r:id="rId9"/>
    <p:sldLayoutId id="2147485169" r:id="rId10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7472" name="Object 32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66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7474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3174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2AF6330D-B351-488C-9CD9-A8F8D71EE49C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317478" name="Picture 6" descr="006_PPT-top-band_rule-30mm-logo.pn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317479" name="Picture 2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83" r:id="rId1"/>
    <p:sldLayoutId id="2147485584" r:id="rId2"/>
    <p:sldLayoutId id="2147485178" r:id="rId3"/>
    <p:sldLayoutId id="2147485177" r:id="rId4"/>
    <p:sldLayoutId id="2147485585" r:id="rId5"/>
    <p:sldLayoutId id="2147485586" r:id="rId6"/>
    <p:sldLayoutId id="2147485587" r:id="rId7"/>
    <p:sldLayoutId id="2147485176" r:id="rId8"/>
    <p:sldLayoutId id="2147485175" r:id="rId9"/>
    <p:sldLayoutId id="2147485174" r:id="rId10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3616" name="Object 32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810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3618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32361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E7981B70-C1B0-4E02-93CB-CCD718EF960C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323622" name="Picture 6" descr="006_PPT-top-band_rule-30mm-logo.pn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323623" name="Picture 2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88" r:id="rId1"/>
    <p:sldLayoutId id="2147485589" r:id="rId2"/>
    <p:sldLayoutId id="2147485183" r:id="rId3"/>
    <p:sldLayoutId id="2147485182" r:id="rId4"/>
    <p:sldLayoutId id="2147485590" r:id="rId5"/>
    <p:sldLayoutId id="2147485591" r:id="rId6"/>
    <p:sldLayoutId id="2147485592" r:id="rId7"/>
    <p:sldLayoutId id="2147485181" r:id="rId8"/>
    <p:sldLayoutId id="2147485180" r:id="rId9"/>
    <p:sldLayoutId id="2147485179" r:id="rId10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66" name="Object 58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61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68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1746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9CF3FF7C-B468-4B17-96BB-FBDFDF3B8F44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17472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17473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13" r:id="rId1"/>
    <p:sldLayoutId id="2147485414" r:id="rId2"/>
    <p:sldLayoutId id="2147485005" r:id="rId3"/>
    <p:sldLayoutId id="2147485004" r:id="rId4"/>
    <p:sldLayoutId id="2147485415" r:id="rId5"/>
    <p:sldLayoutId id="2147485416" r:id="rId6"/>
    <p:sldLayoutId id="2147485417" r:id="rId7"/>
    <p:sldLayoutId id="2147485003" r:id="rId8"/>
    <p:sldLayoutId id="2147485002" r:id="rId9"/>
    <p:sldLayoutId id="2147485001" r:id="rId10"/>
    <p:sldLayoutId id="2147485000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9760" name="Object 32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954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9762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32976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15DA47B3-A66D-4906-82A3-7A419D22950E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329766" name="Picture 6" descr="006_PPT-top-band_rule-30mm-logo.png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329767" name="Picture 2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93" r:id="rId1"/>
    <p:sldLayoutId id="2147485594" r:id="rId2"/>
    <p:sldLayoutId id="2147485185" r:id="rId3"/>
    <p:sldLayoutId id="2147485184" r:id="rId4"/>
    <p:sldLayoutId id="2147485595" r:id="rId5"/>
    <p:sldLayoutId id="2147485596" r:id="rId6"/>
    <p:sldLayoutId id="2147485597" r:id="rId7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4880" name="Object 32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074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4882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33488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24EDEE3-AF9A-4E45-BDB7-E864F58B5C36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334886" name="Picture 6" descr="006_PPT-top-band_rule-30mm-logo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334887" name="Picture 2"/>
          <p:cNvPicPr>
            <a:picLocks noChangeAspect="1" noChangeArrowheads="1"/>
          </p:cNvPicPr>
          <p:nvPr/>
        </p:nvPicPr>
        <p:blipFill>
          <a:blip r:embed="rId16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98" r:id="rId1"/>
    <p:sldLayoutId id="2147485599" r:id="rId2"/>
    <p:sldLayoutId id="2147485189" r:id="rId3"/>
    <p:sldLayoutId id="2147485188" r:id="rId4"/>
    <p:sldLayoutId id="2147485600" r:id="rId5"/>
    <p:sldLayoutId id="2147485601" r:id="rId6"/>
    <p:sldLayoutId id="2147485602" r:id="rId7"/>
    <p:sldLayoutId id="2147485187" r:id="rId8"/>
    <p:sldLayoutId id="2147485186" r:id="rId9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0000" name="Object 32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194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0002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34000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FC84643-B08F-4FD3-A6BC-9817E6EF5DE3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340006" name="Picture 6" descr="006_PPT-top-band_rule-30mm-logo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340007" name="Picture 2"/>
          <p:cNvPicPr>
            <a:picLocks noChangeAspect="1" noChangeArrowheads="1"/>
          </p:cNvPicPr>
          <p:nvPr/>
        </p:nvPicPr>
        <p:blipFill>
          <a:blip r:embed="rId16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03" r:id="rId1"/>
    <p:sldLayoutId id="2147485604" r:id="rId2"/>
    <p:sldLayoutId id="2147485193" r:id="rId3"/>
    <p:sldLayoutId id="2147485192" r:id="rId4"/>
    <p:sldLayoutId id="2147485605" r:id="rId5"/>
    <p:sldLayoutId id="2147485606" r:id="rId6"/>
    <p:sldLayoutId id="2147485607" r:id="rId7"/>
    <p:sldLayoutId id="2147485191" r:id="rId8"/>
    <p:sldLayoutId id="2147485190" r:id="rId9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7167" name="Object 3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361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7169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34717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3947BCB2-53A0-42BB-9286-D7BC1116DF07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347173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347174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08" r:id="rId1"/>
    <p:sldLayoutId id="2147485609" r:id="rId2"/>
    <p:sldLayoutId id="2147485199" r:id="rId3"/>
    <p:sldLayoutId id="2147485198" r:id="rId4"/>
    <p:sldLayoutId id="2147485610" r:id="rId5"/>
    <p:sldLayoutId id="2147485611" r:id="rId6"/>
    <p:sldLayoutId id="2147485612" r:id="rId7"/>
    <p:sldLayoutId id="2147485197" r:id="rId8"/>
    <p:sldLayoutId id="2147485196" r:id="rId9"/>
    <p:sldLayoutId id="2147485195" r:id="rId10"/>
    <p:sldLayoutId id="2147485194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2287" name="Object 3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480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2289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35229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ECD6C40D-828B-4748-BF7C-1160F0646D90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352293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352294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13" r:id="rId1"/>
    <p:sldLayoutId id="2147485614" r:id="rId2"/>
    <p:sldLayoutId id="2147485205" r:id="rId3"/>
    <p:sldLayoutId id="2147485204" r:id="rId4"/>
    <p:sldLayoutId id="2147485615" r:id="rId5"/>
    <p:sldLayoutId id="2147485616" r:id="rId6"/>
    <p:sldLayoutId id="2147485617" r:id="rId7"/>
    <p:sldLayoutId id="2147485203" r:id="rId8"/>
    <p:sldLayoutId id="2147485202" r:id="rId9"/>
    <p:sldLayoutId id="2147485201" r:id="rId10"/>
    <p:sldLayoutId id="2147485200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6554" name="Object 26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747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6556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40655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3DB6BA11-C8F7-4365-864C-40BF0B52CB6E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406560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406561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18" r:id="rId1"/>
    <p:sldLayoutId id="2147485619" r:id="rId2"/>
    <p:sldLayoutId id="2147485211" r:id="rId3"/>
    <p:sldLayoutId id="2147485210" r:id="rId4"/>
    <p:sldLayoutId id="2147485620" r:id="rId5"/>
    <p:sldLayoutId id="2147485621" r:id="rId6"/>
    <p:sldLayoutId id="2147485622" r:id="rId7"/>
    <p:sldLayoutId id="2147485209" r:id="rId8"/>
    <p:sldLayoutId id="2147485208" r:id="rId9"/>
    <p:sldLayoutId id="2147485207" r:id="rId10"/>
    <p:sldLayoutId id="2147485206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1913" name="Object 25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106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1915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42191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394A243-7CE7-48A2-B746-64F50A57DE17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421919" name="Picture 6" descr="006_PPT-top-band_rule-30mm-logo.pn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421920" name="Picture 2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23" r:id="rId1"/>
    <p:sldLayoutId id="2147485624" r:id="rId2"/>
    <p:sldLayoutId id="2147485216" r:id="rId3"/>
    <p:sldLayoutId id="2147485215" r:id="rId4"/>
    <p:sldLayoutId id="2147485625" r:id="rId5"/>
    <p:sldLayoutId id="2147485626" r:id="rId6"/>
    <p:sldLayoutId id="2147485627" r:id="rId7"/>
    <p:sldLayoutId id="2147485214" r:id="rId8"/>
    <p:sldLayoutId id="2147485213" r:id="rId9"/>
    <p:sldLayoutId id="2147485212" r:id="rId10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9495" name="Object 23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688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9497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48949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21DAECA3-4A7A-4EB3-81F2-DC00DE5EFD11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489501" name="Picture 6" descr="006_PPT-top-band_rule-30mm-logo.png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489502" name="Picture 2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28" r:id="rId1"/>
    <p:sldLayoutId id="2147485629" r:id="rId2"/>
    <p:sldLayoutId id="2147485218" r:id="rId3"/>
    <p:sldLayoutId id="2147485217" r:id="rId4"/>
    <p:sldLayoutId id="2147485630" r:id="rId5"/>
    <p:sldLayoutId id="2147485631" r:id="rId6"/>
    <p:sldLayoutId id="2147485632" r:id="rId7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1958" name="Object 22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151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1960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55196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 / Jan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70AD7A29-EA67-447C-A301-8140394AAC9B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51964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551965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33" r:id="rId1"/>
    <p:sldLayoutId id="2147485224" r:id="rId2"/>
    <p:sldLayoutId id="2147485223" r:id="rId3"/>
    <p:sldLayoutId id="2147485222" r:id="rId4"/>
    <p:sldLayoutId id="2147485634" r:id="rId5"/>
    <p:sldLayoutId id="2147485635" r:id="rId6"/>
    <p:sldLayoutId id="2147485636" r:id="rId7"/>
    <p:sldLayoutId id="2147485221" r:id="rId8"/>
    <p:sldLayoutId id="2147485220" r:id="rId9"/>
    <p:sldLayoutId id="2147485637" r:id="rId10"/>
    <p:sldLayoutId id="2147485219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7078" name="Object 22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271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7080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55708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0EB6AA7-9D80-4B35-BE2A-47F7D84019C8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57084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557085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38" r:id="rId1"/>
    <p:sldLayoutId id="2147485639" r:id="rId2"/>
    <p:sldLayoutId id="2147485230" r:id="rId3"/>
    <p:sldLayoutId id="2147485229" r:id="rId4"/>
    <p:sldLayoutId id="2147485640" r:id="rId5"/>
    <p:sldLayoutId id="2147485641" r:id="rId6"/>
    <p:sldLayoutId id="2147485642" r:id="rId7"/>
    <p:sldLayoutId id="2147485228" r:id="rId8"/>
    <p:sldLayoutId id="2147485227" r:id="rId9"/>
    <p:sldLayoutId id="2147485226" r:id="rId10"/>
    <p:sldLayoutId id="2147485225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62" name="Object 58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7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64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2156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09CCD651-52A4-40F6-B0D9-ABC451163C6C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21568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21569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18" r:id="rId1"/>
    <p:sldLayoutId id="2147485419" r:id="rId2"/>
    <p:sldLayoutId id="2147485011" r:id="rId3"/>
    <p:sldLayoutId id="2147485010" r:id="rId4"/>
    <p:sldLayoutId id="2147485420" r:id="rId5"/>
    <p:sldLayoutId id="2147485421" r:id="rId6"/>
    <p:sldLayoutId id="2147485422" r:id="rId7"/>
    <p:sldLayoutId id="2147485009" r:id="rId8"/>
    <p:sldLayoutId id="2147485008" r:id="rId9"/>
    <p:sldLayoutId id="2147485007" r:id="rId10"/>
    <p:sldLayoutId id="2147485006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1174" name="Object 22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367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1176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56117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CD37FC49-5CD1-49A1-A127-34AB6D728EB1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61180" name="Picture 6" descr="006_PPT-top-band_rule-30mm-logo.png"/>
          <p:cNvPicPr>
            <a:picLocks noChangeAspect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561181" name="Picture 2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43" r:id="rId1"/>
    <p:sldLayoutId id="2147485644" r:id="rId2"/>
    <p:sldLayoutId id="2147485237" r:id="rId3"/>
    <p:sldLayoutId id="2147485236" r:id="rId4"/>
    <p:sldLayoutId id="2147485645" r:id="rId5"/>
    <p:sldLayoutId id="2147485646" r:id="rId6"/>
    <p:sldLayoutId id="2147485647" r:id="rId7"/>
    <p:sldLayoutId id="2147485235" r:id="rId8"/>
    <p:sldLayoutId id="2147485234" r:id="rId9"/>
    <p:sldLayoutId id="2147485233" r:id="rId10"/>
    <p:sldLayoutId id="2147485232" r:id="rId11"/>
    <p:sldLayoutId id="2147485231" r:id="rId12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5270" name="Object 22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463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5272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56527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56011A7F-A1E8-4479-8E1E-156F48F516F8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65276" name="Picture 6" descr="006_PPT-top-band_rule-30mm-logo.png"/>
          <p:cNvPicPr>
            <a:picLocks noChangeAspect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565277" name="Picture 2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48" r:id="rId1"/>
    <p:sldLayoutId id="2147485649" r:id="rId2"/>
    <p:sldLayoutId id="2147485244" r:id="rId3"/>
    <p:sldLayoutId id="2147485243" r:id="rId4"/>
    <p:sldLayoutId id="2147485650" r:id="rId5"/>
    <p:sldLayoutId id="2147485651" r:id="rId6"/>
    <p:sldLayoutId id="2147485652" r:id="rId7"/>
    <p:sldLayoutId id="2147485242" r:id="rId8"/>
    <p:sldLayoutId id="2147485241" r:id="rId9"/>
    <p:sldLayoutId id="2147485240" r:id="rId10"/>
    <p:sldLayoutId id="2147485239" r:id="rId11"/>
    <p:sldLayoutId id="2147485238" r:id="rId12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9366" name="Object 22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559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9368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56936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44E2C20E-4852-488A-B9C8-84F513E65BD8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69372" name="Picture 6" descr="006_PPT-top-band_rule-30mm-logo.png"/>
          <p:cNvPicPr>
            <a:picLocks noChangeAspect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569373" name="Picture 2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53" r:id="rId1"/>
    <p:sldLayoutId id="2147485654" r:id="rId2"/>
    <p:sldLayoutId id="2147485251" r:id="rId3"/>
    <p:sldLayoutId id="2147485250" r:id="rId4"/>
    <p:sldLayoutId id="2147485655" r:id="rId5"/>
    <p:sldLayoutId id="2147485656" r:id="rId6"/>
    <p:sldLayoutId id="2147485657" r:id="rId7"/>
    <p:sldLayoutId id="2147485249" r:id="rId8"/>
    <p:sldLayoutId id="2147485248" r:id="rId9"/>
    <p:sldLayoutId id="2147485247" r:id="rId10"/>
    <p:sldLayoutId id="2147485246" r:id="rId11"/>
    <p:sldLayoutId id="2147485245" r:id="rId12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3462" name="Object 22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55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3464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57346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5BFCF99-64C3-4415-8C24-0AB7B10E803A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73468" name="Picture 6" descr="006_PPT-top-band_rule-30mm-logo.png"/>
          <p:cNvPicPr>
            <a:picLocks noChangeAspect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573469" name="Picture 2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58" r:id="rId1"/>
    <p:sldLayoutId id="2147485659" r:id="rId2"/>
    <p:sldLayoutId id="2147485258" r:id="rId3"/>
    <p:sldLayoutId id="2147485257" r:id="rId4"/>
    <p:sldLayoutId id="2147485660" r:id="rId5"/>
    <p:sldLayoutId id="2147485661" r:id="rId6"/>
    <p:sldLayoutId id="2147485662" r:id="rId7"/>
    <p:sldLayoutId id="2147485256" r:id="rId8"/>
    <p:sldLayoutId id="2147485255" r:id="rId9"/>
    <p:sldLayoutId id="2147485254" r:id="rId10"/>
    <p:sldLayoutId id="2147485253" r:id="rId11"/>
    <p:sldLayoutId id="2147485252" r:id="rId12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7558" name="Object 22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751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7560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57756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4706E94C-7253-4FDC-A1AA-1B8F835BDD0D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77564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577565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63" r:id="rId1"/>
    <p:sldLayoutId id="2147485664" r:id="rId2"/>
    <p:sldLayoutId id="2147485264" r:id="rId3"/>
    <p:sldLayoutId id="2147485263" r:id="rId4"/>
    <p:sldLayoutId id="2147485665" r:id="rId5"/>
    <p:sldLayoutId id="2147485666" r:id="rId6"/>
    <p:sldLayoutId id="2147485667" r:id="rId7"/>
    <p:sldLayoutId id="2147485262" r:id="rId8"/>
    <p:sldLayoutId id="2147485261" r:id="rId9"/>
    <p:sldLayoutId id="2147485260" r:id="rId10"/>
    <p:sldLayoutId id="2147485259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2678" name="Object 22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871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2680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58268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C60DB861-1769-4108-AB8D-9F8D7C78809B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82684" name="Picture 6" descr="006_PPT-top-band_rule-30mm-logo.png"/>
          <p:cNvPicPr>
            <a:picLocks noChangeAspect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582685" name="Picture 2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68" r:id="rId1"/>
    <p:sldLayoutId id="2147485669" r:id="rId2"/>
    <p:sldLayoutId id="2147485271" r:id="rId3"/>
    <p:sldLayoutId id="2147485270" r:id="rId4"/>
    <p:sldLayoutId id="2147485670" r:id="rId5"/>
    <p:sldLayoutId id="2147485671" r:id="rId6"/>
    <p:sldLayoutId id="2147485672" r:id="rId7"/>
    <p:sldLayoutId id="2147485269" r:id="rId8"/>
    <p:sldLayoutId id="2147485268" r:id="rId9"/>
    <p:sldLayoutId id="2147485267" r:id="rId10"/>
    <p:sldLayoutId id="2147485266" r:id="rId11"/>
    <p:sldLayoutId id="2147485265" r:id="rId12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8822" name="Object 22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015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8824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58882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25369BB-CDD3-4957-9A92-AA307EA075C3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88828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588829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73" r:id="rId1"/>
    <p:sldLayoutId id="2147485674" r:id="rId2"/>
    <p:sldLayoutId id="2147485277" r:id="rId3"/>
    <p:sldLayoutId id="2147485276" r:id="rId4"/>
    <p:sldLayoutId id="2147485675" r:id="rId5"/>
    <p:sldLayoutId id="2147485676" r:id="rId6"/>
    <p:sldLayoutId id="2147485677" r:id="rId7"/>
    <p:sldLayoutId id="2147485275" r:id="rId8"/>
    <p:sldLayoutId id="2147485274" r:id="rId9"/>
    <p:sldLayoutId id="2147485273" r:id="rId10"/>
    <p:sldLayoutId id="2147485272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2918" name="Object 22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111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2920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59292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906CA210-0640-4851-891D-BFC62B539CEF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92924" name="Picture 6" descr="006_PPT-top-band_rule-30mm-logo.pn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592925" name="Picture 2"/>
          <p:cNvPicPr>
            <a:picLocks noChangeAspect="1" noChangeArrowheads="1"/>
          </p:cNvPicPr>
          <p:nvPr/>
        </p:nvPicPr>
        <p:blipFill>
          <a:blip r:embed="rId17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78" r:id="rId1"/>
    <p:sldLayoutId id="2147485679" r:id="rId2"/>
    <p:sldLayoutId id="2147485282" r:id="rId3"/>
    <p:sldLayoutId id="2147485281" r:id="rId4"/>
    <p:sldLayoutId id="2147485680" r:id="rId5"/>
    <p:sldLayoutId id="2147485681" r:id="rId6"/>
    <p:sldLayoutId id="2147485682" r:id="rId7"/>
    <p:sldLayoutId id="2147485280" r:id="rId8"/>
    <p:sldLayoutId id="2147485279" r:id="rId9"/>
    <p:sldLayoutId id="2147485278" r:id="rId10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8038" name="Object 22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231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8040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59804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9A5BB96-FD84-43E5-A261-775CAFD938E8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598044" name="Picture 6" descr="006_PPT-top-band_rule-30mm-logo.pn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598045" name="Picture 2"/>
          <p:cNvPicPr>
            <a:picLocks noChangeAspect="1" noChangeArrowheads="1"/>
          </p:cNvPicPr>
          <p:nvPr/>
        </p:nvPicPr>
        <p:blipFill>
          <a:blip r:embed="rId17"/>
          <a:srcRect l="34535" t="26089" r="59164" b="64261"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83" r:id="rId1"/>
    <p:sldLayoutId id="2147485684" r:id="rId2"/>
    <p:sldLayoutId id="2147485287" r:id="rId3"/>
    <p:sldLayoutId id="2147485286" r:id="rId4"/>
    <p:sldLayoutId id="2147485685" r:id="rId5"/>
    <p:sldLayoutId id="2147485686" r:id="rId6"/>
    <p:sldLayoutId id="2147485687" r:id="rId7"/>
    <p:sldLayoutId id="2147485285" r:id="rId8"/>
    <p:sldLayoutId id="2147485284" r:id="rId9"/>
    <p:sldLayoutId id="2147485283" r:id="rId10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3158" name="Object 22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351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3160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60316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46875" y="6610350"/>
            <a:ext cx="1901825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ne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848F5283-B464-4652-99F1-DE026A7F1D8B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603164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03165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88" r:id="rId1"/>
    <p:sldLayoutId id="2147485689" r:id="rId2"/>
    <p:sldLayoutId id="2147485293" r:id="rId3"/>
    <p:sldLayoutId id="2147485292" r:id="rId4"/>
    <p:sldLayoutId id="2147485690" r:id="rId5"/>
    <p:sldLayoutId id="2147485691" r:id="rId6"/>
    <p:sldLayoutId id="2147485692" r:id="rId7"/>
    <p:sldLayoutId id="2147485291" r:id="rId8"/>
    <p:sldLayoutId id="2147485290" r:id="rId9"/>
    <p:sldLayoutId id="2147485289" r:id="rId10"/>
    <p:sldLayoutId id="2147485288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58" name="Object 58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53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60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2566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7EABAC8F-E796-4407-9982-D472BF8BDBA4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25664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25665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23" r:id="rId1"/>
    <p:sldLayoutId id="2147485424" r:id="rId2"/>
    <p:sldLayoutId id="2147485017" r:id="rId3"/>
    <p:sldLayoutId id="2147485016" r:id="rId4"/>
    <p:sldLayoutId id="2147485425" r:id="rId5"/>
    <p:sldLayoutId id="2147485426" r:id="rId6"/>
    <p:sldLayoutId id="2147485427" r:id="rId7"/>
    <p:sldLayoutId id="2147485015" r:id="rId8"/>
    <p:sldLayoutId id="2147485014" r:id="rId9"/>
    <p:sldLayoutId id="2147485013" r:id="rId10"/>
    <p:sldLayoutId id="2147485012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7254" name="Object 22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447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7256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60725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070CB799-7028-4EB1-8157-3A1CC583A56E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607260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07261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93" r:id="rId1"/>
    <p:sldLayoutId id="2147485694" r:id="rId2"/>
    <p:sldLayoutId id="2147485299" r:id="rId3"/>
    <p:sldLayoutId id="2147485298" r:id="rId4"/>
    <p:sldLayoutId id="2147485695" r:id="rId5"/>
    <p:sldLayoutId id="2147485696" r:id="rId6"/>
    <p:sldLayoutId id="2147485697" r:id="rId7"/>
    <p:sldLayoutId id="2147485297" r:id="rId8"/>
    <p:sldLayoutId id="2147485296" r:id="rId9"/>
    <p:sldLayoutId id="2147485295" r:id="rId10"/>
    <p:sldLayoutId id="2147485294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7734" name="Object 22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927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7736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62773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5DF79885-B28A-416B-BEB4-AE83DA8EF746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627740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27741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98" r:id="rId1"/>
    <p:sldLayoutId id="2147485699" r:id="rId2"/>
    <p:sldLayoutId id="2147485305" r:id="rId3"/>
    <p:sldLayoutId id="2147485304" r:id="rId4"/>
    <p:sldLayoutId id="2147485700" r:id="rId5"/>
    <p:sldLayoutId id="2147485701" r:id="rId6"/>
    <p:sldLayoutId id="2147485702" r:id="rId7"/>
    <p:sldLayoutId id="2147485303" r:id="rId8"/>
    <p:sldLayoutId id="2147485302" r:id="rId9"/>
    <p:sldLayoutId id="2147485301" r:id="rId10"/>
    <p:sldLayoutId id="2147485300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4902" name="Object 22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95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4904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63490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22BB932-8DAC-4B40-9619-B550A32836E5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634908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34909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03" r:id="rId1"/>
    <p:sldLayoutId id="2147485704" r:id="rId2"/>
    <p:sldLayoutId id="2147485311" r:id="rId3"/>
    <p:sldLayoutId id="2147485310" r:id="rId4"/>
    <p:sldLayoutId id="2147485705" r:id="rId5"/>
    <p:sldLayoutId id="2147485706" r:id="rId6"/>
    <p:sldLayoutId id="2147485707" r:id="rId7"/>
    <p:sldLayoutId id="2147485309" r:id="rId8"/>
    <p:sldLayoutId id="2147485308" r:id="rId9"/>
    <p:sldLayoutId id="2147485307" r:id="rId10"/>
    <p:sldLayoutId id="2147485306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8998" name="Object 22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191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9000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63900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99250" y="6610350"/>
            <a:ext cx="1949450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March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4078406D-F59D-4878-8312-CAFFD781B714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639004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39005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08" r:id="rId1"/>
    <p:sldLayoutId id="2147485709" r:id="rId2"/>
    <p:sldLayoutId id="2147485317" r:id="rId3"/>
    <p:sldLayoutId id="2147485316" r:id="rId4"/>
    <p:sldLayoutId id="2147485710" r:id="rId5"/>
    <p:sldLayoutId id="2147485711" r:id="rId6"/>
    <p:sldLayoutId id="2147485712" r:id="rId7"/>
    <p:sldLayoutId id="2147485315" r:id="rId8"/>
    <p:sldLayoutId id="2147485314" r:id="rId9"/>
    <p:sldLayoutId id="2147485313" r:id="rId10"/>
    <p:sldLayoutId id="2147485312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4118" name="Object 22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311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4120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64412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2ED67914-5106-44CE-82E6-7FEAC6933DFC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644124" name="Picture 6" descr="006_PPT-top-band_rule-30mm-logo.png"/>
          <p:cNvPicPr>
            <a:picLocks noChangeAspect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44125" name="Picture 2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13" r:id="rId1"/>
    <p:sldLayoutId id="2147485714" r:id="rId2"/>
    <p:sldLayoutId id="2147485324" r:id="rId3"/>
    <p:sldLayoutId id="2147485323" r:id="rId4"/>
    <p:sldLayoutId id="2147485715" r:id="rId5"/>
    <p:sldLayoutId id="2147485716" r:id="rId6"/>
    <p:sldLayoutId id="2147485717" r:id="rId7"/>
    <p:sldLayoutId id="2147485322" r:id="rId8"/>
    <p:sldLayoutId id="2147485321" r:id="rId9"/>
    <p:sldLayoutId id="2147485320" r:id="rId10"/>
    <p:sldLayoutId id="2147485319" r:id="rId11"/>
    <p:sldLayoutId id="2147485318" r:id="rId12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0262" name="Object 22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455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0264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65026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8AF1656E-B5DE-41CB-83EB-30A7D05C4078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650268" name="Picture 6" descr="006_PPT-top-band_rule-30mm-logo.png"/>
          <p:cNvPicPr>
            <a:picLocks noChangeAspect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50269" name="Picture 2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18" r:id="rId1"/>
    <p:sldLayoutId id="2147485719" r:id="rId2"/>
    <p:sldLayoutId id="2147485331" r:id="rId3"/>
    <p:sldLayoutId id="2147485330" r:id="rId4"/>
    <p:sldLayoutId id="2147485720" r:id="rId5"/>
    <p:sldLayoutId id="2147485721" r:id="rId6"/>
    <p:sldLayoutId id="2147485722" r:id="rId7"/>
    <p:sldLayoutId id="2147485329" r:id="rId8"/>
    <p:sldLayoutId id="2147485328" r:id="rId9"/>
    <p:sldLayoutId id="2147485327" r:id="rId10"/>
    <p:sldLayoutId id="2147485326" r:id="rId11"/>
    <p:sldLayoutId id="2147485325" r:id="rId12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5382" name="Object 22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75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5384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65538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AFBD3289-7791-4548-B61A-8F129AB78E14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655388" name="Picture 6" descr="006_PPT-top-band_rule-30mm-logo.png"/>
          <p:cNvPicPr>
            <a:picLocks noChangeAspect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655389" name="Picture 2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23" r:id="rId1"/>
    <p:sldLayoutId id="2147485724" r:id="rId2"/>
    <p:sldLayoutId id="2147485338" r:id="rId3"/>
    <p:sldLayoutId id="2147485337" r:id="rId4"/>
    <p:sldLayoutId id="2147485725" r:id="rId5"/>
    <p:sldLayoutId id="2147485726" r:id="rId6"/>
    <p:sldLayoutId id="2147485727" r:id="rId7"/>
    <p:sldLayoutId id="2147485336" r:id="rId8"/>
    <p:sldLayoutId id="2147485335" r:id="rId9"/>
    <p:sldLayoutId id="2147485334" r:id="rId10"/>
    <p:sldLayoutId id="2147485333" r:id="rId11"/>
    <p:sldLayoutId id="2147485332" r:id="rId12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6035" name="Object 19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228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6037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72603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978E3BF3-920D-41E2-97E4-1BD9DD0BB9E9}" type="slidenum">
              <a:rPr lang="en-US" sz="900">
                <a:solidFill>
                  <a:srgbClr val="ADABA1"/>
                </a:solidFill>
                <a:latin typeface="Arial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</a:endParaRPr>
          </a:p>
        </p:txBody>
      </p:sp>
      <p:pic>
        <p:nvPicPr>
          <p:cNvPr id="726041" name="Picture 6" descr="006_PPT-top-band_rule-30mm-logo.png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726042" name="Picture 2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28" r:id="rId1"/>
    <p:sldLayoutId id="2147485729" r:id="rId2"/>
    <p:sldLayoutId id="2147485342" r:id="rId3"/>
    <p:sldLayoutId id="2147485341" r:id="rId4"/>
    <p:sldLayoutId id="2147485730" r:id="rId5"/>
    <p:sldLayoutId id="2147485731" r:id="rId6"/>
    <p:sldLayoutId id="2147485732" r:id="rId7"/>
    <p:sldLayoutId id="2147485339" r:id="rId8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2179" name="Object 19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372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2181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73218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8C627F6-6AEC-4CD6-BC17-E1EA8FB251DD}" type="slidenum">
              <a:rPr lang="en-US" sz="900">
                <a:solidFill>
                  <a:srgbClr val="ADABA1"/>
                </a:solidFill>
                <a:latin typeface="Arial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</a:endParaRPr>
          </a:p>
        </p:txBody>
      </p:sp>
      <p:pic>
        <p:nvPicPr>
          <p:cNvPr id="732185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732186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33" r:id="rId1"/>
    <p:sldLayoutId id="2147485734" r:id="rId2"/>
    <p:sldLayoutId id="2147485349" r:id="rId3"/>
    <p:sldLayoutId id="2147485348" r:id="rId4"/>
    <p:sldLayoutId id="2147485735" r:id="rId5"/>
    <p:sldLayoutId id="2147485736" r:id="rId6"/>
    <p:sldLayoutId id="2147485737" r:id="rId7"/>
    <p:sldLayoutId id="2147485347" r:id="rId8"/>
    <p:sldLayoutId id="2147485345" r:id="rId9"/>
    <p:sldLayoutId id="2147485344" r:id="rId10"/>
    <p:sldLayoutId id="2147485343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1395" name="Object 19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588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1397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74139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1807FF81-2531-4B6A-B06A-235CB78C1B3A}" type="slidenum">
              <a:rPr lang="en-US" sz="900">
                <a:solidFill>
                  <a:srgbClr val="ADABA1"/>
                </a:solidFill>
                <a:latin typeface="Arial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</a:endParaRPr>
          </a:p>
        </p:txBody>
      </p:sp>
      <p:pic>
        <p:nvPicPr>
          <p:cNvPr id="741401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741402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38" r:id="rId1"/>
    <p:sldLayoutId id="2147485739" r:id="rId2"/>
    <p:sldLayoutId id="2147485356" r:id="rId3"/>
    <p:sldLayoutId id="2147485355" r:id="rId4"/>
    <p:sldLayoutId id="2147485740" r:id="rId5"/>
    <p:sldLayoutId id="2147485741" r:id="rId6"/>
    <p:sldLayoutId id="2147485742" r:id="rId7"/>
    <p:sldLayoutId id="2147485354" r:id="rId8"/>
    <p:sldLayoutId id="2147485352" r:id="rId9"/>
    <p:sldLayoutId id="2147485351" r:id="rId10"/>
    <p:sldLayoutId id="2147485350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77" name="Object 57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2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79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3078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B783099-EFB0-4EAF-9DB7-2B959036EBA9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30783" name="Picture 6" descr="006_PPT-top-band_rule-30mm-logo.pn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30784" name="Picture 2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28" r:id="rId1"/>
    <p:sldLayoutId id="2147485429" r:id="rId2"/>
    <p:sldLayoutId id="2147485022" r:id="rId3"/>
    <p:sldLayoutId id="2147485021" r:id="rId4"/>
    <p:sldLayoutId id="2147485430" r:id="rId5"/>
    <p:sldLayoutId id="2147485431" r:id="rId6"/>
    <p:sldLayoutId id="2147485432" r:id="rId7"/>
    <p:sldLayoutId id="2147485020" r:id="rId8"/>
    <p:sldLayoutId id="2147485019" r:id="rId9"/>
    <p:sldLayoutId id="2147485018" r:id="rId10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9823" name="Object 15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016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9825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75982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FE084C9D-B05B-4CFF-BE11-A99987DD8322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759829" name="Picture 6" descr="006_PPT-top-band_rule-30mm-logo.png"/>
          <p:cNvPicPr>
            <a:picLocks noChangeAspect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759830" name="Picture 2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43" r:id="rId1"/>
    <p:sldLayoutId id="2147485744" r:id="rId2"/>
    <p:sldLayoutId id="2147485363" r:id="rId3"/>
    <p:sldLayoutId id="2147485362" r:id="rId4"/>
    <p:sldLayoutId id="2147485745" r:id="rId5"/>
    <p:sldLayoutId id="2147485746" r:id="rId6"/>
    <p:sldLayoutId id="2147485747" r:id="rId7"/>
    <p:sldLayoutId id="2147485361" r:id="rId8"/>
    <p:sldLayoutId id="2147485360" r:id="rId9"/>
    <p:sldLayoutId id="2147485359" r:id="rId10"/>
    <p:sldLayoutId id="2147485358" r:id="rId11"/>
    <p:sldLayoutId id="2147485357" r:id="rId12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1737" name="Object 9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930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1739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84174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E2ED324E-A688-45FC-9CD3-D4A996ABB04C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841743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41744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48" r:id="rId1"/>
    <p:sldLayoutId id="2147485749" r:id="rId2"/>
    <p:sldLayoutId id="2147485369" r:id="rId3"/>
    <p:sldLayoutId id="2147485368" r:id="rId4"/>
    <p:sldLayoutId id="2147485750" r:id="rId5"/>
    <p:sldLayoutId id="2147485751" r:id="rId6"/>
    <p:sldLayoutId id="2147485752" r:id="rId7"/>
    <p:sldLayoutId id="2147485367" r:id="rId8"/>
    <p:sldLayoutId id="2147485366" r:id="rId9"/>
    <p:sldLayoutId id="2147485365" r:id="rId10"/>
    <p:sldLayoutId id="2147485364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8905" name="Object 9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098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8907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84890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8E18122D-23DC-437B-B524-7DF8519AF382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848911" name="Picture 6" descr="006_PPT-top-band_rule-30mm-logo.png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48912" name="Picture 2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53" r:id="rId1"/>
    <p:sldLayoutId id="2147485754" r:id="rId2"/>
    <p:sldLayoutId id="2147485372" r:id="rId3"/>
    <p:sldLayoutId id="2147485371" r:id="rId4"/>
    <p:sldLayoutId id="2147485755" r:id="rId5"/>
    <p:sldLayoutId id="2147485756" r:id="rId6"/>
    <p:sldLayoutId id="2147485757" r:id="rId7"/>
    <p:sldLayoutId id="2147485370" r:id="rId8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3000" name="Object 8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193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3002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85300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1F3B73E4-9EC5-4254-ACDC-D80F36BD7FEE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853006" name="Picture 6" descr="006_PPT-top-band_rule-30mm-logo.png"/>
          <p:cNvPicPr>
            <a:picLocks noChangeAspect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853007" name="Picture 2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58" r:id="rId1"/>
    <p:sldLayoutId id="2147485759" r:id="rId2"/>
    <p:sldLayoutId id="2147485379" r:id="rId3"/>
    <p:sldLayoutId id="2147485378" r:id="rId4"/>
    <p:sldLayoutId id="2147485760" r:id="rId5"/>
    <p:sldLayoutId id="2147485761" r:id="rId6"/>
    <p:sldLayoutId id="2147485762" r:id="rId7"/>
    <p:sldLayoutId id="2147485377" r:id="rId8"/>
    <p:sldLayoutId id="2147485376" r:id="rId9"/>
    <p:sldLayoutId id="2147485375" r:id="rId10"/>
    <p:sldLayoutId id="2147485374" r:id="rId11"/>
    <p:sldLayoutId id="2147485373" r:id="rId12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33893" name="Object 5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086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3895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93389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9BFE8E5A-90B6-4BD4-A31F-5E3D25949A36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933899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933900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63" r:id="rId1"/>
    <p:sldLayoutId id="2147485764" r:id="rId2"/>
    <p:sldLayoutId id="2147485385" r:id="rId3"/>
    <p:sldLayoutId id="2147485384" r:id="rId4"/>
    <p:sldLayoutId id="2147485765" r:id="rId5"/>
    <p:sldLayoutId id="2147485766" r:id="rId6"/>
    <p:sldLayoutId id="2147485767" r:id="rId7"/>
    <p:sldLayoutId id="2147485383" r:id="rId8"/>
    <p:sldLayoutId id="2147485382" r:id="rId9"/>
    <p:sldLayoutId id="2147485381" r:id="rId10"/>
    <p:sldLayoutId id="2147485380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39013" name="Object 5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206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9015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93901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762B0B1C-CCF5-4944-81F3-E0A7524892EE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939019" name="Picture 6" descr="006_PPT-top-band_rule-30mm-logo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939020" name="Picture 2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68" r:id="rId1"/>
    <p:sldLayoutId id="2147485769" r:id="rId2"/>
    <p:sldLayoutId id="2147485389" r:id="rId3"/>
    <p:sldLayoutId id="2147485388" r:id="rId4"/>
    <p:sldLayoutId id="2147485770" r:id="rId5"/>
    <p:sldLayoutId id="2147485771" r:id="rId6"/>
    <p:sldLayoutId id="2147485772" r:id="rId7"/>
    <p:sldLayoutId id="2147485387" r:id="rId8"/>
    <p:sldLayoutId id="2147485386" r:id="rId9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4133" name="Object 5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326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4135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94413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482BF742-5C75-4877-9A66-C832FD0C87D2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944139" name="Picture 6" descr="006_PPT-top-band_rule-30mm-logo.png"/>
          <p:cNvPicPr>
            <a:picLocks noChangeAspect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944140" name="Picture 2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73" r:id="rId1"/>
    <p:sldLayoutId id="2147485774" r:id="rId2"/>
    <p:sldLayoutId id="2147485396" r:id="rId3"/>
    <p:sldLayoutId id="2147485395" r:id="rId4"/>
    <p:sldLayoutId id="2147485775" r:id="rId5"/>
    <p:sldLayoutId id="2147485776" r:id="rId6"/>
    <p:sldLayoutId id="2147485777" r:id="rId7"/>
    <p:sldLayoutId id="2147485394" r:id="rId8"/>
    <p:sldLayoutId id="2147485393" r:id="rId9"/>
    <p:sldLayoutId id="2147485392" r:id="rId10"/>
    <p:sldLayoutId id="2147485391" r:id="rId11"/>
    <p:sldLayoutId id="2147485390" r:id="rId12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921" name="Object 57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16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923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3692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57EE573E-3DE0-4BAE-A20F-91D6EE32230D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36927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36928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33" r:id="rId1"/>
    <p:sldLayoutId id="2147485434" r:id="rId2"/>
    <p:sldLayoutId id="2147485028" r:id="rId3"/>
    <p:sldLayoutId id="2147485027" r:id="rId4"/>
    <p:sldLayoutId id="2147485435" r:id="rId5"/>
    <p:sldLayoutId id="2147485436" r:id="rId6"/>
    <p:sldLayoutId id="2147485437" r:id="rId7"/>
    <p:sldLayoutId id="2147485026" r:id="rId8"/>
    <p:sldLayoutId id="2147485025" r:id="rId9"/>
    <p:sldLayoutId id="2147485024" r:id="rId10"/>
    <p:sldLayoutId id="2147485023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041" name="Object 57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36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043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Headline of maximum two lines here</a:t>
            </a:r>
          </a:p>
        </p:txBody>
      </p:sp>
      <p:sp>
        <p:nvSpPr>
          <p:cNvPr id="4204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 on first level here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89738" y="6610350"/>
            <a:ext cx="1858962" cy="12382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ADABA1"/>
                </a:solidFill>
                <a:latin typeface="Arial "/>
                <a:cs typeface="+mn-cs"/>
              </a:rPr>
              <a:t>A.T. Kearney / Marist Institute/ July 201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42350" y="6594475"/>
            <a:ext cx="265113" cy="1397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b"/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A1FAB8D0-1E90-4D24-972F-1C9FC33831C5}" type="slidenum">
              <a:rPr lang="en-US" sz="900">
                <a:solidFill>
                  <a:srgbClr val="ADABA1"/>
                </a:solidFill>
                <a:latin typeface="Arial"/>
                <a:cs typeface="+mn-cs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900" dirty="0">
              <a:solidFill>
                <a:srgbClr val="ADABA1"/>
              </a:solidFill>
              <a:latin typeface="Arial"/>
              <a:cs typeface="+mn-cs"/>
            </a:endParaRPr>
          </a:p>
        </p:txBody>
      </p:sp>
      <p:pic>
        <p:nvPicPr>
          <p:cNvPr id="42047" name="Picture 6" descr="006_PPT-top-band_rule-30mm-logo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320675"/>
            <a:ext cx="9144000" cy="269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42048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280400" y="333375"/>
            <a:ext cx="60483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38" r:id="rId1"/>
    <p:sldLayoutId id="2147485439" r:id="rId2"/>
    <p:sldLayoutId id="2147485034" r:id="rId3"/>
    <p:sldLayoutId id="2147485033" r:id="rId4"/>
    <p:sldLayoutId id="2147485440" r:id="rId5"/>
    <p:sldLayoutId id="2147485441" r:id="rId6"/>
    <p:sldLayoutId id="2147485442" r:id="rId7"/>
    <p:sldLayoutId id="2147485032" r:id="rId8"/>
    <p:sldLayoutId id="2147485031" r:id="rId9"/>
    <p:sldLayoutId id="2147485030" r:id="rId10"/>
    <p:sldLayoutId id="2147485029" r:id="rId11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7700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0575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2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458.bin"/><Relationship Id="rId6" Type="http://schemas.openxmlformats.org/officeDocument/2006/relationships/image" Target="../media/image9.emf"/><Relationship Id="rId7" Type="http://schemas.openxmlformats.org/officeDocument/2006/relationships/image" Target="../media/image10.png"/><Relationship Id="rId1" Type="http://schemas.openxmlformats.org/officeDocument/2006/relationships/vmlDrawing" Target="../drawings/vmlDrawing458.vml"/><Relationship Id="rId2" Type="http://schemas.openxmlformats.org/officeDocument/2006/relationships/tags" Target="../tags/tag114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234.xml"/><Relationship Id="rId4" Type="http://schemas.openxmlformats.org/officeDocument/2006/relationships/tags" Target="../tags/tag1235.xml"/><Relationship Id="rId5" Type="http://schemas.openxmlformats.org/officeDocument/2006/relationships/slideLayout" Target="../slideLayouts/slideLayout555.xml"/><Relationship Id="rId1" Type="http://schemas.openxmlformats.org/officeDocument/2006/relationships/tags" Target="../tags/tag1232.xml"/><Relationship Id="rId2" Type="http://schemas.openxmlformats.org/officeDocument/2006/relationships/tags" Target="../tags/tag1233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8.xml"/><Relationship Id="rId4" Type="http://schemas.openxmlformats.org/officeDocument/2006/relationships/oleObject" Target="../embeddings/oleObject519.bin"/><Relationship Id="rId5" Type="http://schemas.openxmlformats.org/officeDocument/2006/relationships/image" Target="../media/image1.emf"/><Relationship Id="rId6" Type="http://schemas.openxmlformats.org/officeDocument/2006/relationships/image" Target="../media/image21.jpeg"/><Relationship Id="rId7" Type="http://schemas.openxmlformats.org/officeDocument/2006/relationships/image" Target="../media/image22.gif"/><Relationship Id="rId8" Type="http://schemas.openxmlformats.org/officeDocument/2006/relationships/image" Target="../media/image23.jpeg"/><Relationship Id="rId1" Type="http://schemas.openxmlformats.org/officeDocument/2006/relationships/vmlDrawing" Target="../drawings/vmlDrawing519.vml"/><Relationship Id="rId2" Type="http://schemas.openxmlformats.org/officeDocument/2006/relationships/tags" Target="../tags/tag1757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7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4" Type="http://schemas.openxmlformats.org/officeDocument/2006/relationships/image" Target="../media/image25.jpeg"/><Relationship Id="rId5" Type="http://schemas.openxmlformats.org/officeDocument/2006/relationships/image" Target="../media/image26.jpeg"/><Relationship Id="rId1" Type="http://schemas.openxmlformats.org/officeDocument/2006/relationships/tags" Target="../tags/tag1758.xml"/><Relationship Id="rId2" Type="http://schemas.openxmlformats.org/officeDocument/2006/relationships/slideLayout" Target="../slideLayouts/slideLayout788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7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7.xml"/><Relationship Id="rId4" Type="http://schemas.openxmlformats.org/officeDocument/2006/relationships/oleObject" Target="../embeddings/oleObject520.bin"/><Relationship Id="rId5" Type="http://schemas.openxmlformats.org/officeDocument/2006/relationships/image" Target="../media/image1.emf"/><Relationship Id="rId6" Type="http://schemas.openxmlformats.org/officeDocument/2006/relationships/image" Target="../media/image27.jpeg"/><Relationship Id="rId7" Type="http://schemas.openxmlformats.org/officeDocument/2006/relationships/image" Target="../media/image28.jpeg"/><Relationship Id="rId1" Type="http://schemas.openxmlformats.org/officeDocument/2006/relationships/vmlDrawing" Target="../drawings/vmlDrawing520.vml"/><Relationship Id="rId2" Type="http://schemas.openxmlformats.org/officeDocument/2006/relationships/tags" Target="../tags/tag175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238.xml"/><Relationship Id="rId4" Type="http://schemas.openxmlformats.org/officeDocument/2006/relationships/tags" Target="../tags/tag1239.xml"/><Relationship Id="rId5" Type="http://schemas.openxmlformats.org/officeDocument/2006/relationships/tags" Target="../tags/tag1240.xml"/><Relationship Id="rId6" Type="http://schemas.openxmlformats.org/officeDocument/2006/relationships/tags" Target="../tags/tag1241.xml"/><Relationship Id="rId7" Type="http://schemas.openxmlformats.org/officeDocument/2006/relationships/tags" Target="../tags/tag1242.xml"/><Relationship Id="rId8" Type="http://schemas.openxmlformats.org/officeDocument/2006/relationships/tags" Target="../tags/tag1243.xml"/><Relationship Id="rId9" Type="http://schemas.openxmlformats.org/officeDocument/2006/relationships/tags" Target="../tags/tag1244.xml"/><Relationship Id="rId10" Type="http://schemas.openxmlformats.org/officeDocument/2006/relationships/tags" Target="../tags/tag1245.xml"/><Relationship Id="rId11" Type="http://schemas.openxmlformats.org/officeDocument/2006/relationships/slideLayout" Target="../slideLayouts/slideLayout555.xml"/><Relationship Id="rId1" Type="http://schemas.openxmlformats.org/officeDocument/2006/relationships/tags" Target="../tags/tag1236.xml"/><Relationship Id="rId2" Type="http://schemas.openxmlformats.org/officeDocument/2006/relationships/tags" Target="../tags/tag12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1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461.bin"/><Relationship Id="rId1" Type="http://schemas.openxmlformats.org/officeDocument/2006/relationships/vmlDrawing" Target="../drawings/vmlDrawing461.vml"/><Relationship Id="rId2" Type="http://schemas.openxmlformats.org/officeDocument/2006/relationships/tags" Target="../tags/tag124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5.xml"/><Relationship Id="rId4" Type="http://schemas.openxmlformats.org/officeDocument/2006/relationships/notesSlide" Target="../notesSlides/notesSlide4.xml"/><Relationship Id="rId1" Type="http://schemas.openxmlformats.org/officeDocument/2006/relationships/tags" Target="../tags/tag1247.xml"/><Relationship Id="rId2" Type="http://schemas.openxmlformats.org/officeDocument/2006/relationships/tags" Target="../tags/tag124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3.xml"/><Relationship Id="rId4" Type="http://schemas.openxmlformats.org/officeDocument/2006/relationships/notesSlide" Target="../notesSlides/notesSlide5.xml"/><Relationship Id="rId5" Type="http://schemas.openxmlformats.org/officeDocument/2006/relationships/oleObject" Target="../embeddings/oleObject462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62.vml"/><Relationship Id="rId2" Type="http://schemas.openxmlformats.org/officeDocument/2006/relationships/tags" Target="../tags/tag124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3.xml"/><Relationship Id="rId4" Type="http://schemas.openxmlformats.org/officeDocument/2006/relationships/oleObject" Target="../embeddings/oleObject46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63.vml"/><Relationship Id="rId2" Type="http://schemas.openxmlformats.org/officeDocument/2006/relationships/tags" Target="../tags/tag125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3.xml"/><Relationship Id="rId2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4.xml"/><Relationship Id="rId4" Type="http://schemas.openxmlformats.org/officeDocument/2006/relationships/notesSlide" Target="../notesSlides/notesSlide6.xml"/><Relationship Id="rId1" Type="http://schemas.openxmlformats.org/officeDocument/2006/relationships/tags" Target="../tags/tag1251.xml"/><Relationship Id="rId2" Type="http://schemas.openxmlformats.org/officeDocument/2006/relationships/tags" Target="../tags/tag125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0.xml"/><Relationship Id="rId2" Type="http://schemas.openxmlformats.org/officeDocument/2006/relationships/image" Target="../media/image11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4.xml"/><Relationship Id="rId4" Type="http://schemas.openxmlformats.org/officeDocument/2006/relationships/notesSlide" Target="../notesSlides/notesSlide7.xml"/><Relationship Id="rId5" Type="http://schemas.openxmlformats.org/officeDocument/2006/relationships/oleObject" Target="../embeddings/oleObject464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64.vml"/><Relationship Id="rId2" Type="http://schemas.openxmlformats.org/officeDocument/2006/relationships/tags" Target="../tags/tag125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0.xml"/><Relationship Id="rId4" Type="http://schemas.openxmlformats.org/officeDocument/2006/relationships/notesSlide" Target="../notesSlides/notesSlide8.xml"/><Relationship Id="rId5" Type="http://schemas.openxmlformats.org/officeDocument/2006/relationships/oleObject" Target="../embeddings/oleObject465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65.vml"/><Relationship Id="rId2" Type="http://schemas.openxmlformats.org/officeDocument/2006/relationships/tags" Target="../tags/tag125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0.xml"/><Relationship Id="rId4" Type="http://schemas.openxmlformats.org/officeDocument/2006/relationships/notesSlide" Target="../notesSlides/notesSlide9.xml"/><Relationship Id="rId5" Type="http://schemas.openxmlformats.org/officeDocument/2006/relationships/oleObject" Target="../embeddings/oleObject466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66.vml"/><Relationship Id="rId2" Type="http://schemas.openxmlformats.org/officeDocument/2006/relationships/tags" Target="../tags/tag125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0.xml"/><Relationship Id="rId4" Type="http://schemas.openxmlformats.org/officeDocument/2006/relationships/notesSlide" Target="../notesSlides/notesSlide10.xml"/><Relationship Id="rId5" Type="http://schemas.openxmlformats.org/officeDocument/2006/relationships/oleObject" Target="../embeddings/oleObject467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67.vml"/><Relationship Id="rId2" Type="http://schemas.openxmlformats.org/officeDocument/2006/relationships/tags" Target="../tags/tag125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0.xml"/><Relationship Id="rId4" Type="http://schemas.openxmlformats.org/officeDocument/2006/relationships/notesSlide" Target="../notesSlides/notesSlide11.xml"/><Relationship Id="rId5" Type="http://schemas.openxmlformats.org/officeDocument/2006/relationships/oleObject" Target="../embeddings/oleObject468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68.vml"/><Relationship Id="rId2" Type="http://schemas.openxmlformats.org/officeDocument/2006/relationships/tags" Target="../tags/tag125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0.xml"/><Relationship Id="rId4" Type="http://schemas.openxmlformats.org/officeDocument/2006/relationships/notesSlide" Target="../notesSlides/notesSlide12.xml"/><Relationship Id="rId5" Type="http://schemas.openxmlformats.org/officeDocument/2006/relationships/oleObject" Target="../embeddings/oleObject469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69.vml"/><Relationship Id="rId2" Type="http://schemas.openxmlformats.org/officeDocument/2006/relationships/tags" Target="../tags/tag125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0.xml"/><Relationship Id="rId4" Type="http://schemas.openxmlformats.org/officeDocument/2006/relationships/notesSlide" Target="../notesSlides/notesSlide13.xml"/><Relationship Id="rId5" Type="http://schemas.openxmlformats.org/officeDocument/2006/relationships/oleObject" Target="../embeddings/oleObject470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70.vml"/><Relationship Id="rId2" Type="http://schemas.openxmlformats.org/officeDocument/2006/relationships/tags" Target="../tags/tag125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0.xml"/><Relationship Id="rId4" Type="http://schemas.openxmlformats.org/officeDocument/2006/relationships/notesSlide" Target="../notesSlides/notesSlide14.xml"/><Relationship Id="rId5" Type="http://schemas.openxmlformats.org/officeDocument/2006/relationships/oleObject" Target="../embeddings/oleObject471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71.vml"/><Relationship Id="rId2" Type="http://schemas.openxmlformats.org/officeDocument/2006/relationships/tags" Target="../tags/tag126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0.xml"/><Relationship Id="rId4" Type="http://schemas.openxmlformats.org/officeDocument/2006/relationships/notesSlide" Target="../notesSlides/notesSlide15.xml"/><Relationship Id="rId5" Type="http://schemas.openxmlformats.org/officeDocument/2006/relationships/oleObject" Target="../embeddings/oleObject472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72.vml"/><Relationship Id="rId2" Type="http://schemas.openxmlformats.org/officeDocument/2006/relationships/tags" Target="../tags/tag126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0.xml"/><Relationship Id="rId4" Type="http://schemas.openxmlformats.org/officeDocument/2006/relationships/notesSlide" Target="../notesSlides/notesSlide16.xml"/><Relationship Id="rId5" Type="http://schemas.openxmlformats.org/officeDocument/2006/relationships/oleObject" Target="../embeddings/oleObject473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73.vml"/><Relationship Id="rId2" Type="http://schemas.openxmlformats.org/officeDocument/2006/relationships/tags" Target="../tags/tag126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3.xml"/><Relationship Id="rId4" Type="http://schemas.openxmlformats.org/officeDocument/2006/relationships/notesSlide" Target="../notesSlides/notesSlide2.xml"/><Relationship Id="rId1" Type="http://schemas.openxmlformats.org/officeDocument/2006/relationships/tags" Target="../tags/tag1144.xml"/><Relationship Id="rId2" Type="http://schemas.openxmlformats.org/officeDocument/2006/relationships/tags" Target="../tags/tag114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0.xml"/><Relationship Id="rId4" Type="http://schemas.openxmlformats.org/officeDocument/2006/relationships/notesSlide" Target="../notesSlides/notesSlide17.xml"/><Relationship Id="rId5" Type="http://schemas.openxmlformats.org/officeDocument/2006/relationships/oleObject" Target="../embeddings/oleObject474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74.vml"/><Relationship Id="rId2" Type="http://schemas.openxmlformats.org/officeDocument/2006/relationships/tags" Target="../tags/tag126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0.xml"/><Relationship Id="rId4" Type="http://schemas.openxmlformats.org/officeDocument/2006/relationships/notesSlide" Target="../notesSlides/notesSlide18.xml"/><Relationship Id="rId5" Type="http://schemas.openxmlformats.org/officeDocument/2006/relationships/oleObject" Target="../embeddings/oleObject475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75.vml"/><Relationship Id="rId2" Type="http://schemas.openxmlformats.org/officeDocument/2006/relationships/tags" Target="../tags/tag126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0.xml"/><Relationship Id="rId4" Type="http://schemas.openxmlformats.org/officeDocument/2006/relationships/notesSlide" Target="../notesSlides/notesSlide19.xml"/><Relationship Id="rId5" Type="http://schemas.openxmlformats.org/officeDocument/2006/relationships/oleObject" Target="../embeddings/oleObject476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76.vml"/><Relationship Id="rId2" Type="http://schemas.openxmlformats.org/officeDocument/2006/relationships/tags" Target="../tags/tag126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0.xml"/><Relationship Id="rId4" Type="http://schemas.openxmlformats.org/officeDocument/2006/relationships/notesSlide" Target="../notesSlides/notesSlide20.xml"/><Relationship Id="rId5" Type="http://schemas.openxmlformats.org/officeDocument/2006/relationships/oleObject" Target="../embeddings/oleObject477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77.vml"/><Relationship Id="rId2" Type="http://schemas.openxmlformats.org/officeDocument/2006/relationships/tags" Target="../tags/tag126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0.xml"/><Relationship Id="rId4" Type="http://schemas.openxmlformats.org/officeDocument/2006/relationships/notesSlide" Target="../notesSlides/notesSlide21.xml"/><Relationship Id="rId5" Type="http://schemas.openxmlformats.org/officeDocument/2006/relationships/oleObject" Target="../embeddings/oleObject478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78.vml"/><Relationship Id="rId2" Type="http://schemas.openxmlformats.org/officeDocument/2006/relationships/tags" Target="../tags/tag126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0.xml"/><Relationship Id="rId4" Type="http://schemas.openxmlformats.org/officeDocument/2006/relationships/notesSlide" Target="../notesSlides/notesSlide22.xml"/><Relationship Id="rId5" Type="http://schemas.openxmlformats.org/officeDocument/2006/relationships/oleObject" Target="../embeddings/oleObject479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79.vml"/><Relationship Id="rId2" Type="http://schemas.openxmlformats.org/officeDocument/2006/relationships/tags" Target="../tags/tag126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3.xml"/><Relationship Id="rId4" Type="http://schemas.openxmlformats.org/officeDocument/2006/relationships/notesSlide" Target="../notesSlides/notesSlide23.xml"/><Relationship Id="rId1" Type="http://schemas.openxmlformats.org/officeDocument/2006/relationships/tags" Target="../tags/tag1269.xml"/><Relationship Id="rId2" Type="http://schemas.openxmlformats.org/officeDocument/2006/relationships/tags" Target="../tags/tag127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0.xml"/><Relationship Id="rId4" Type="http://schemas.openxmlformats.org/officeDocument/2006/relationships/notesSlide" Target="../notesSlides/notesSlide24.xml"/><Relationship Id="rId5" Type="http://schemas.openxmlformats.org/officeDocument/2006/relationships/oleObject" Target="../embeddings/oleObject480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80.vml"/><Relationship Id="rId2" Type="http://schemas.openxmlformats.org/officeDocument/2006/relationships/tags" Target="../tags/tag127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6.xml"/><Relationship Id="rId4" Type="http://schemas.openxmlformats.org/officeDocument/2006/relationships/notesSlide" Target="../notesSlides/notesSlide25.xml"/><Relationship Id="rId5" Type="http://schemas.openxmlformats.org/officeDocument/2006/relationships/oleObject" Target="../embeddings/oleObject481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81.vml"/><Relationship Id="rId2" Type="http://schemas.openxmlformats.org/officeDocument/2006/relationships/tags" Target="../tags/tag127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6.xml"/><Relationship Id="rId4" Type="http://schemas.openxmlformats.org/officeDocument/2006/relationships/oleObject" Target="../embeddings/oleObject48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82.vml"/><Relationship Id="rId2" Type="http://schemas.openxmlformats.org/officeDocument/2006/relationships/tags" Target="../tags/tag127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1.xml"/><Relationship Id="rId2" Type="http://schemas.openxmlformats.org/officeDocument/2006/relationships/image" Target="../media/image12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6.xml"/><Relationship Id="rId4" Type="http://schemas.openxmlformats.org/officeDocument/2006/relationships/oleObject" Target="../embeddings/oleObject48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83.vml"/><Relationship Id="rId2" Type="http://schemas.openxmlformats.org/officeDocument/2006/relationships/tags" Target="../tags/tag127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1277.xml"/><Relationship Id="rId4" Type="http://schemas.openxmlformats.org/officeDocument/2006/relationships/tags" Target="../tags/tag1278.xml"/><Relationship Id="rId5" Type="http://schemas.openxmlformats.org/officeDocument/2006/relationships/tags" Target="../tags/tag1279.xml"/><Relationship Id="rId6" Type="http://schemas.openxmlformats.org/officeDocument/2006/relationships/slideLayout" Target="../slideLayouts/slideLayout638.xml"/><Relationship Id="rId7" Type="http://schemas.openxmlformats.org/officeDocument/2006/relationships/notesSlide" Target="../notesSlides/notesSlide26.xml"/><Relationship Id="rId1" Type="http://schemas.openxmlformats.org/officeDocument/2006/relationships/tags" Target="../tags/tag1275.xml"/><Relationship Id="rId2" Type="http://schemas.openxmlformats.org/officeDocument/2006/relationships/tags" Target="../tags/tag127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8.xml"/><Relationship Id="rId4" Type="http://schemas.openxmlformats.org/officeDocument/2006/relationships/oleObject" Target="../embeddings/oleObject484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84.vml"/><Relationship Id="rId2" Type="http://schemas.openxmlformats.org/officeDocument/2006/relationships/tags" Target="../tags/tag1280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9.xml"/><Relationship Id="rId4" Type="http://schemas.openxmlformats.org/officeDocument/2006/relationships/oleObject" Target="../embeddings/oleObject48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85.vml"/><Relationship Id="rId2" Type="http://schemas.openxmlformats.org/officeDocument/2006/relationships/tags" Target="../tags/tag128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9.xml"/><Relationship Id="rId4" Type="http://schemas.openxmlformats.org/officeDocument/2006/relationships/oleObject" Target="../embeddings/oleObject48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86.vml"/><Relationship Id="rId2" Type="http://schemas.openxmlformats.org/officeDocument/2006/relationships/tags" Target="../tags/tag128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71.xml"/><Relationship Id="rId4" Type="http://schemas.openxmlformats.org/officeDocument/2006/relationships/oleObject" Target="../embeddings/oleObject487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87.vml"/><Relationship Id="rId2" Type="http://schemas.openxmlformats.org/officeDocument/2006/relationships/tags" Target="../tags/tag128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3.xml"/><Relationship Id="rId4" Type="http://schemas.openxmlformats.org/officeDocument/2006/relationships/oleObject" Target="../embeddings/oleObject488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88.vml"/><Relationship Id="rId2" Type="http://schemas.openxmlformats.org/officeDocument/2006/relationships/tags" Target="../tags/tag1284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3.xml"/><Relationship Id="rId4" Type="http://schemas.openxmlformats.org/officeDocument/2006/relationships/oleObject" Target="../embeddings/oleObject489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89.vml"/><Relationship Id="rId2" Type="http://schemas.openxmlformats.org/officeDocument/2006/relationships/tags" Target="../tags/tag128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3.xml"/><Relationship Id="rId4" Type="http://schemas.openxmlformats.org/officeDocument/2006/relationships/oleObject" Target="../embeddings/oleObject490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90.vml"/><Relationship Id="rId2" Type="http://schemas.openxmlformats.org/officeDocument/2006/relationships/tags" Target="../tags/tag128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3.xml"/><Relationship Id="rId2" Type="http://schemas.openxmlformats.org/officeDocument/2006/relationships/image" Target="../media/image12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3.xml"/><Relationship Id="rId4" Type="http://schemas.openxmlformats.org/officeDocument/2006/relationships/oleObject" Target="../embeddings/oleObject491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91.vml"/><Relationship Id="rId2" Type="http://schemas.openxmlformats.org/officeDocument/2006/relationships/tags" Target="../tags/tag1287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3.xml"/><Relationship Id="rId4" Type="http://schemas.openxmlformats.org/officeDocument/2006/relationships/oleObject" Target="../embeddings/oleObject49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92.vml"/><Relationship Id="rId2" Type="http://schemas.openxmlformats.org/officeDocument/2006/relationships/tags" Target="../tags/tag1288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3.xml"/><Relationship Id="rId4" Type="http://schemas.openxmlformats.org/officeDocument/2006/relationships/oleObject" Target="../embeddings/oleObject49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93.vml"/><Relationship Id="rId2" Type="http://schemas.openxmlformats.org/officeDocument/2006/relationships/tags" Target="../tags/tag1289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3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3.xml"/><Relationship Id="rId4" Type="http://schemas.openxmlformats.org/officeDocument/2006/relationships/oleObject" Target="../embeddings/oleObject494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94.vml"/><Relationship Id="rId2" Type="http://schemas.openxmlformats.org/officeDocument/2006/relationships/tags" Target="../tags/tag1290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3.xml"/><Relationship Id="rId4" Type="http://schemas.openxmlformats.org/officeDocument/2006/relationships/oleObject" Target="../embeddings/oleObject49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95.vml"/><Relationship Id="rId2" Type="http://schemas.openxmlformats.org/officeDocument/2006/relationships/tags" Target="../tags/tag1291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tags" Target="../tags/tag1294.xml"/><Relationship Id="rId4" Type="http://schemas.openxmlformats.org/officeDocument/2006/relationships/tags" Target="../tags/tag1295.xml"/><Relationship Id="rId5" Type="http://schemas.openxmlformats.org/officeDocument/2006/relationships/slideLayout" Target="../slideLayouts/slideLayout683.xml"/><Relationship Id="rId1" Type="http://schemas.openxmlformats.org/officeDocument/2006/relationships/tags" Target="../tags/tag1292.xml"/><Relationship Id="rId2" Type="http://schemas.openxmlformats.org/officeDocument/2006/relationships/tags" Target="../tags/tag1293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tags" Target="../tags/tag1298.xml"/><Relationship Id="rId4" Type="http://schemas.openxmlformats.org/officeDocument/2006/relationships/tags" Target="../tags/tag1299.xml"/><Relationship Id="rId5" Type="http://schemas.openxmlformats.org/officeDocument/2006/relationships/slideLayout" Target="../slideLayouts/slideLayout683.xml"/><Relationship Id="rId1" Type="http://schemas.openxmlformats.org/officeDocument/2006/relationships/tags" Target="../tags/tag1296.xml"/><Relationship Id="rId2" Type="http://schemas.openxmlformats.org/officeDocument/2006/relationships/tags" Target="../tags/tag129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3.xml"/><Relationship Id="rId4" Type="http://schemas.openxmlformats.org/officeDocument/2006/relationships/notesSlide" Target="../notesSlides/notesSlide27.xml"/><Relationship Id="rId5" Type="http://schemas.openxmlformats.org/officeDocument/2006/relationships/oleObject" Target="../embeddings/oleObject496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96.vml"/><Relationship Id="rId2" Type="http://schemas.openxmlformats.org/officeDocument/2006/relationships/tags" Target="../tags/tag130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5.xml"/><Relationship Id="rId2" Type="http://schemas.openxmlformats.org/officeDocument/2006/relationships/image" Target="../media/image13.jpe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3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3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3.xml"/><Relationship Id="rId4" Type="http://schemas.openxmlformats.org/officeDocument/2006/relationships/oleObject" Target="../embeddings/oleObject497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97.vml"/><Relationship Id="rId2" Type="http://schemas.openxmlformats.org/officeDocument/2006/relationships/tags" Target="../tags/tag1301.xml"/></Relationships>
</file>

<file path=ppt/slides/_rels/slide63.xml.rels><?xml version="1.0" encoding="UTF-8" standalone="yes"?>
<Relationships xmlns="http://schemas.openxmlformats.org/package/2006/relationships"><Relationship Id="rId142" Type="http://schemas.openxmlformats.org/officeDocument/2006/relationships/tags" Target="../tags/tag1443.xml"/><Relationship Id="rId143" Type="http://schemas.openxmlformats.org/officeDocument/2006/relationships/tags" Target="../tags/tag1444.xml"/><Relationship Id="rId144" Type="http://schemas.openxmlformats.org/officeDocument/2006/relationships/tags" Target="../tags/tag1445.xml"/><Relationship Id="rId145" Type="http://schemas.openxmlformats.org/officeDocument/2006/relationships/tags" Target="../tags/tag1446.xml"/><Relationship Id="rId146" Type="http://schemas.openxmlformats.org/officeDocument/2006/relationships/tags" Target="../tags/tag1447.xml"/><Relationship Id="rId147" Type="http://schemas.openxmlformats.org/officeDocument/2006/relationships/tags" Target="../tags/tag1448.xml"/><Relationship Id="rId148" Type="http://schemas.openxmlformats.org/officeDocument/2006/relationships/tags" Target="../tags/tag1449.xml"/><Relationship Id="rId149" Type="http://schemas.openxmlformats.org/officeDocument/2006/relationships/tags" Target="../tags/tag1450.xml"/><Relationship Id="rId40" Type="http://schemas.openxmlformats.org/officeDocument/2006/relationships/tags" Target="../tags/tag1341.xml"/><Relationship Id="rId41" Type="http://schemas.openxmlformats.org/officeDocument/2006/relationships/tags" Target="../tags/tag1342.xml"/><Relationship Id="rId42" Type="http://schemas.openxmlformats.org/officeDocument/2006/relationships/tags" Target="../tags/tag1343.xml"/><Relationship Id="rId43" Type="http://schemas.openxmlformats.org/officeDocument/2006/relationships/tags" Target="../tags/tag1344.xml"/><Relationship Id="rId44" Type="http://schemas.openxmlformats.org/officeDocument/2006/relationships/tags" Target="../tags/tag1345.xml"/><Relationship Id="rId45" Type="http://schemas.openxmlformats.org/officeDocument/2006/relationships/tags" Target="../tags/tag1346.xml"/><Relationship Id="rId46" Type="http://schemas.openxmlformats.org/officeDocument/2006/relationships/tags" Target="../tags/tag1347.xml"/><Relationship Id="rId47" Type="http://schemas.openxmlformats.org/officeDocument/2006/relationships/tags" Target="../tags/tag1348.xml"/><Relationship Id="rId48" Type="http://schemas.openxmlformats.org/officeDocument/2006/relationships/tags" Target="../tags/tag1349.xml"/><Relationship Id="rId49" Type="http://schemas.openxmlformats.org/officeDocument/2006/relationships/tags" Target="../tags/tag1350.xml"/><Relationship Id="rId80" Type="http://schemas.openxmlformats.org/officeDocument/2006/relationships/tags" Target="../tags/tag1381.xml"/><Relationship Id="rId81" Type="http://schemas.openxmlformats.org/officeDocument/2006/relationships/tags" Target="../tags/tag1382.xml"/><Relationship Id="rId82" Type="http://schemas.openxmlformats.org/officeDocument/2006/relationships/tags" Target="../tags/tag1383.xml"/><Relationship Id="rId83" Type="http://schemas.openxmlformats.org/officeDocument/2006/relationships/tags" Target="../tags/tag1384.xml"/><Relationship Id="rId84" Type="http://schemas.openxmlformats.org/officeDocument/2006/relationships/tags" Target="../tags/tag1385.xml"/><Relationship Id="rId85" Type="http://schemas.openxmlformats.org/officeDocument/2006/relationships/tags" Target="../tags/tag1386.xml"/><Relationship Id="rId86" Type="http://schemas.openxmlformats.org/officeDocument/2006/relationships/tags" Target="../tags/tag1387.xml"/><Relationship Id="rId87" Type="http://schemas.openxmlformats.org/officeDocument/2006/relationships/tags" Target="../tags/tag1388.xml"/><Relationship Id="rId88" Type="http://schemas.openxmlformats.org/officeDocument/2006/relationships/tags" Target="../tags/tag1389.xml"/><Relationship Id="rId89" Type="http://schemas.openxmlformats.org/officeDocument/2006/relationships/tags" Target="../tags/tag1390.xml"/><Relationship Id="rId110" Type="http://schemas.openxmlformats.org/officeDocument/2006/relationships/tags" Target="../tags/tag1411.xml"/><Relationship Id="rId111" Type="http://schemas.openxmlformats.org/officeDocument/2006/relationships/tags" Target="../tags/tag1412.xml"/><Relationship Id="rId112" Type="http://schemas.openxmlformats.org/officeDocument/2006/relationships/tags" Target="../tags/tag1413.xml"/><Relationship Id="rId113" Type="http://schemas.openxmlformats.org/officeDocument/2006/relationships/tags" Target="../tags/tag1414.xml"/><Relationship Id="rId114" Type="http://schemas.openxmlformats.org/officeDocument/2006/relationships/tags" Target="../tags/tag1415.xml"/><Relationship Id="rId115" Type="http://schemas.openxmlformats.org/officeDocument/2006/relationships/tags" Target="../tags/tag1416.xml"/><Relationship Id="rId116" Type="http://schemas.openxmlformats.org/officeDocument/2006/relationships/tags" Target="../tags/tag1417.xml"/><Relationship Id="rId117" Type="http://schemas.openxmlformats.org/officeDocument/2006/relationships/tags" Target="../tags/tag1418.xml"/><Relationship Id="rId118" Type="http://schemas.openxmlformats.org/officeDocument/2006/relationships/tags" Target="../tags/tag1419.xml"/><Relationship Id="rId119" Type="http://schemas.openxmlformats.org/officeDocument/2006/relationships/tags" Target="../tags/tag1420.xml"/><Relationship Id="rId150" Type="http://schemas.openxmlformats.org/officeDocument/2006/relationships/tags" Target="../tags/tag1451.xml"/><Relationship Id="rId151" Type="http://schemas.openxmlformats.org/officeDocument/2006/relationships/tags" Target="../tags/tag1452.xml"/><Relationship Id="rId152" Type="http://schemas.openxmlformats.org/officeDocument/2006/relationships/tags" Target="../tags/tag1453.xml"/><Relationship Id="rId10" Type="http://schemas.openxmlformats.org/officeDocument/2006/relationships/tags" Target="../tags/tag1311.xml"/><Relationship Id="rId11" Type="http://schemas.openxmlformats.org/officeDocument/2006/relationships/tags" Target="../tags/tag1312.xml"/><Relationship Id="rId12" Type="http://schemas.openxmlformats.org/officeDocument/2006/relationships/tags" Target="../tags/tag1313.xml"/><Relationship Id="rId13" Type="http://schemas.openxmlformats.org/officeDocument/2006/relationships/tags" Target="../tags/tag1314.xml"/><Relationship Id="rId14" Type="http://schemas.openxmlformats.org/officeDocument/2006/relationships/tags" Target="../tags/tag1315.xml"/><Relationship Id="rId15" Type="http://schemas.openxmlformats.org/officeDocument/2006/relationships/tags" Target="../tags/tag1316.xml"/><Relationship Id="rId16" Type="http://schemas.openxmlformats.org/officeDocument/2006/relationships/tags" Target="../tags/tag1317.xml"/><Relationship Id="rId17" Type="http://schemas.openxmlformats.org/officeDocument/2006/relationships/tags" Target="../tags/tag1318.xml"/><Relationship Id="rId18" Type="http://schemas.openxmlformats.org/officeDocument/2006/relationships/tags" Target="../tags/tag1319.xml"/><Relationship Id="rId19" Type="http://schemas.openxmlformats.org/officeDocument/2006/relationships/tags" Target="../tags/tag1320.xml"/><Relationship Id="rId153" Type="http://schemas.openxmlformats.org/officeDocument/2006/relationships/tags" Target="../tags/tag1454.xml"/><Relationship Id="rId154" Type="http://schemas.openxmlformats.org/officeDocument/2006/relationships/tags" Target="../tags/tag1455.xml"/><Relationship Id="rId155" Type="http://schemas.openxmlformats.org/officeDocument/2006/relationships/tags" Target="../tags/tag1456.xml"/><Relationship Id="rId156" Type="http://schemas.openxmlformats.org/officeDocument/2006/relationships/tags" Target="../tags/tag1457.xml"/><Relationship Id="rId157" Type="http://schemas.openxmlformats.org/officeDocument/2006/relationships/tags" Target="../tags/tag1458.xml"/><Relationship Id="rId158" Type="http://schemas.openxmlformats.org/officeDocument/2006/relationships/tags" Target="../tags/tag1459.xml"/><Relationship Id="rId159" Type="http://schemas.openxmlformats.org/officeDocument/2006/relationships/tags" Target="../tags/tag1460.xml"/><Relationship Id="rId50" Type="http://schemas.openxmlformats.org/officeDocument/2006/relationships/tags" Target="../tags/tag1351.xml"/><Relationship Id="rId51" Type="http://schemas.openxmlformats.org/officeDocument/2006/relationships/tags" Target="../tags/tag1352.xml"/><Relationship Id="rId52" Type="http://schemas.openxmlformats.org/officeDocument/2006/relationships/tags" Target="../tags/tag1353.xml"/><Relationship Id="rId53" Type="http://schemas.openxmlformats.org/officeDocument/2006/relationships/tags" Target="../tags/tag1354.xml"/><Relationship Id="rId54" Type="http://schemas.openxmlformats.org/officeDocument/2006/relationships/tags" Target="../tags/tag1355.xml"/><Relationship Id="rId55" Type="http://schemas.openxmlformats.org/officeDocument/2006/relationships/tags" Target="../tags/tag1356.xml"/><Relationship Id="rId56" Type="http://schemas.openxmlformats.org/officeDocument/2006/relationships/tags" Target="../tags/tag1357.xml"/><Relationship Id="rId57" Type="http://schemas.openxmlformats.org/officeDocument/2006/relationships/tags" Target="../tags/tag1358.xml"/><Relationship Id="rId58" Type="http://schemas.openxmlformats.org/officeDocument/2006/relationships/tags" Target="../tags/tag1359.xml"/><Relationship Id="rId59" Type="http://schemas.openxmlformats.org/officeDocument/2006/relationships/tags" Target="../tags/tag1360.xml"/><Relationship Id="rId90" Type="http://schemas.openxmlformats.org/officeDocument/2006/relationships/tags" Target="../tags/tag1391.xml"/><Relationship Id="rId91" Type="http://schemas.openxmlformats.org/officeDocument/2006/relationships/tags" Target="../tags/tag1392.xml"/><Relationship Id="rId92" Type="http://schemas.openxmlformats.org/officeDocument/2006/relationships/tags" Target="../tags/tag1393.xml"/><Relationship Id="rId93" Type="http://schemas.openxmlformats.org/officeDocument/2006/relationships/tags" Target="../tags/tag1394.xml"/><Relationship Id="rId94" Type="http://schemas.openxmlformats.org/officeDocument/2006/relationships/tags" Target="../tags/tag1395.xml"/><Relationship Id="rId95" Type="http://schemas.openxmlformats.org/officeDocument/2006/relationships/tags" Target="../tags/tag1396.xml"/><Relationship Id="rId96" Type="http://schemas.openxmlformats.org/officeDocument/2006/relationships/tags" Target="../tags/tag1397.xml"/><Relationship Id="rId97" Type="http://schemas.openxmlformats.org/officeDocument/2006/relationships/tags" Target="../tags/tag1398.xml"/><Relationship Id="rId98" Type="http://schemas.openxmlformats.org/officeDocument/2006/relationships/tags" Target="../tags/tag1399.xml"/><Relationship Id="rId99" Type="http://schemas.openxmlformats.org/officeDocument/2006/relationships/tags" Target="../tags/tag1400.xml"/><Relationship Id="rId120" Type="http://schemas.openxmlformats.org/officeDocument/2006/relationships/tags" Target="../tags/tag1421.xml"/><Relationship Id="rId121" Type="http://schemas.openxmlformats.org/officeDocument/2006/relationships/tags" Target="../tags/tag1422.xml"/><Relationship Id="rId122" Type="http://schemas.openxmlformats.org/officeDocument/2006/relationships/tags" Target="../tags/tag1423.xml"/><Relationship Id="rId123" Type="http://schemas.openxmlformats.org/officeDocument/2006/relationships/tags" Target="../tags/tag1424.xml"/><Relationship Id="rId124" Type="http://schemas.openxmlformats.org/officeDocument/2006/relationships/tags" Target="../tags/tag1425.xml"/><Relationship Id="rId125" Type="http://schemas.openxmlformats.org/officeDocument/2006/relationships/tags" Target="../tags/tag1426.xml"/><Relationship Id="rId126" Type="http://schemas.openxmlformats.org/officeDocument/2006/relationships/tags" Target="../tags/tag1427.xml"/><Relationship Id="rId127" Type="http://schemas.openxmlformats.org/officeDocument/2006/relationships/tags" Target="../tags/tag1428.xml"/><Relationship Id="rId128" Type="http://schemas.openxmlformats.org/officeDocument/2006/relationships/tags" Target="../tags/tag1429.xml"/><Relationship Id="rId129" Type="http://schemas.openxmlformats.org/officeDocument/2006/relationships/tags" Target="../tags/tag1430.xml"/><Relationship Id="rId160" Type="http://schemas.openxmlformats.org/officeDocument/2006/relationships/tags" Target="../tags/tag1461.xml"/><Relationship Id="rId161" Type="http://schemas.openxmlformats.org/officeDocument/2006/relationships/tags" Target="../tags/tag1462.xml"/><Relationship Id="rId162" Type="http://schemas.openxmlformats.org/officeDocument/2006/relationships/tags" Target="../tags/tag1463.xml"/><Relationship Id="rId20" Type="http://schemas.openxmlformats.org/officeDocument/2006/relationships/tags" Target="../tags/tag1321.xml"/><Relationship Id="rId21" Type="http://schemas.openxmlformats.org/officeDocument/2006/relationships/tags" Target="../tags/tag1322.xml"/><Relationship Id="rId22" Type="http://schemas.openxmlformats.org/officeDocument/2006/relationships/tags" Target="../tags/tag1323.xml"/><Relationship Id="rId23" Type="http://schemas.openxmlformats.org/officeDocument/2006/relationships/tags" Target="../tags/tag1324.xml"/><Relationship Id="rId24" Type="http://schemas.openxmlformats.org/officeDocument/2006/relationships/tags" Target="../tags/tag1325.xml"/><Relationship Id="rId25" Type="http://schemas.openxmlformats.org/officeDocument/2006/relationships/tags" Target="../tags/tag1326.xml"/><Relationship Id="rId26" Type="http://schemas.openxmlformats.org/officeDocument/2006/relationships/tags" Target="../tags/tag1327.xml"/><Relationship Id="rId27" Type="http://schemas.openxmlformats.org/officeDocument/2006/relationships/tags" Target="../tags/tag1328.xml"/><Relationship Id="rId28" Type="http://schemas.openxmlformats.org/officeDocument/2006/relationships/tags" Target="../tags/tag1329.xml"/><Relationship Id="rId29" Type="http://schemas.openxmlformats.org/officeDocument/2006/relationships/tags" Target="../tags/tag1330.xml"/><Relationship Id="rId163" Type="http://schemas.openxmlformats.org/officeDocument/2006/relationships/slideLayout" Target="../slideLayouts/slideLayout725.xml"/><Relationship Id="rId164" Type="http://schemas.openxmlformats.org/officeDocument/2006/relationships/notesSlide" Target="../notesSlides/notesSlide28.xml"/><Relationship Id="rId60" Type="http://schemas.openxmlformats.org/officeDocument/2006/relationships/tags" Target="../tags/tag1361.xml"/><Relationship Id="rId61" Type="http://schemas.openxmlformats.org/officeDocument/2006/relationships/tags" Target="../tags/tag1362.xml"/><Relationship Id="rId62" Type="http://schemas.openxmlformats.org/officeDocument/2006/relationships/tags" Target="../tags/tag1363.xml"/><Relationship Id="rId63" Type="http://schemas.openxmlformats.org/officeDocument/2006/relationships/tags" Target="../tags/tag1364.xml"/><Relationship Id="rId64" Type="http://schemas.openxmlformats.org/officeDocument/2006/relationships/tags" Target="../tags/tag1365.xml"/><Relationship Id="rId65" Type="http://schemas.openxmlformats.org/officeDocument/2006/relationships/tags" Target="../tags/tag1366.xml"/><Relationship Id="rId66" Type="http://schemas.openxmlformats.org/officeDocument/2006/relationships/tags" Target="../tags/tag1367.xml"/><Relationship Id="rId67" Type="http://schemas.openxmlformats.org/officeDocument/2006/relationships/tags" Target="../tags/tag1368.xml"/><Relationship Id="rId68" Type="http://schemas.openxmlformats.org/officeDocument/2006/relationships/tags" Target="../tags/tag1369.xml"/><Relationship Id="rId69" Type="http://schemas.openxmlformats.org/officeDocument/2006/relationships/tags" Target="../tags/tag1370.xml"/><Relationship Id="rId130" Type="http://schemas.openxmlformats.org/officeDocument/2006/relationships/tags" Target="../tags/tag1431.xml"/><Relationship Id="rId131" Type="http://schemas.openxmlformats.org/officeDocument/2006/relationships/tags" Target="../tags/tag1432.xml"/><Relationship Id="rId132" Type="http://schemas.openxmlformats.org/officeDocument/2006/relationships/tags" Target="../tags/tag1433.xml"/><Relationship Id="rId133" Type="http://schemas.openxmlformats.org/officeDocument/2006/relationships/tags" Target="../tags/tag1434.xml"/><Relationship Id="rId134" Type="http://schemas.openxmlformats.org/officeDocument/2006/relationships/tags" Target="../tags/tag1435.xml"/><Relationship Id="rId135" Type="http://schemas.openxmlformats.org/officeDocument/2006/relationships/tags" Target="../tags/tag1436.xml"/><Relationship Id="rId136" Type="http://schemas.openxmlformats.org/officeDocument/2006/relationships/tags" Target="../tags/tag1437.xml"/><Relationship Id="rId137" Type="http://schemas.openxmlformats.org/officeDocument/2006/relationships/tags" Target="../tags/tag1438.xml"/><Relationship Id="rId138" Type="http://schemas.openxmlformats.org/officeDocument/2006/relationships/tags" Target="../tags/tag1439.xml"/><Relationship Id="rId139" Type="http://schemas.openxmlformats.org/officeDocument/2006/relationships/tags" Target="../tags/tag1440.xml"/><Relationship Id="rId30" Type="http://schemas.openxmlformats.org/officeDocument/2006/relationships/tags" Target="../tags/tag1331.xml"/><Relationship Id="rId31" Type="http://schemas.openxmlformats.org/officeDocument/2006/relationships/tags" Target="../tags/tag1332.xml"/><Relationship Id="rId32" Type="http://schemas.openxmlformats.org/officeDocument/2006/relationships/tags" Target="../tags/tag1333.xml"/><Relationship Id="rId33" Type="http://schemas.openxmlformats.org/officeDocument/2006/relationships/tags" Target="../tags/tag1334.xml"/><Relationship Id="rId34" Type="http://schemas.openxmlformats.org/officeDocument/2006/relationships/tags" Target="../tags/tag1335.xml"/><Relationship Id="rId35" Type="http://schemas.openxmlformats.org/officeDocument/2006/relationships/tags" Target="../tags/tag1336.xml"/><Relationship Id="rId36" Type="http://schemas.openxmlformats.org/officeDocument/2006/relationships/tags" Target="../tags/tag1337.xml"/><Relationship Id="rId37" Type="http://schemas.openxmlformats.org/officeDocument/2006/relationships/tags" Target="../tags/tag1338.xml"/><Relationship Id="rId38" Type="http://schemas.openxmlformats.org/officeDocument/2006/relationships/tags" Target="../tags/tag1339.xml"/><Relationship Id="rId39" Type="http://schemas.openxmlformats.org/officeDocument/2006/relationships/tags" Target="../tags/tag1340.xml"/><Relationship Id="rId70" Type="http://schemas.openxmlformats.org/officeDocument/2006/relationships/tags" Target="../tags/tag1371.xml"/><Relationship Id="rId71" Type="http://schemas.openxmlformats.org/officeDocument/2006/relationships/tags" Target="../tags/tag1372.xml"/><Relationship Id="rId72" Type="http://schemas.openxmlformats.org/officeDocument/2006/relationships/tags" Target="../tags/tag1373.xml"/><Relationship Id="rId73" Type="http://schemas.openxmlformats.org/officeDocument/2006/relationships/tags" Target="../tags/tag1374.xml"/><Relationship Id="rId74" Type="http://schemas.openxmlformats.org/officeDocument/2006/relationships/tags" Target="../tags/tag1375.xml"/><Relationship Id="rId75" Type="http://schemas.openxmlformats.org/officeDocument/2006/relationships/tags" Target="../tags/tag1376.xml"/><Relationship Id="rId76" Type="http://schemas.openxmlformats.org/officeDocument/2006/relationships/tags" Target="../tags/tag1377.xml"/><Relationship Id="rId77" Type="http://schemas.openxmlformats.org/officeDocument/2006/relationships/tags" Target="../tags/tag1378.xml"/><Relationship Id="rId78" Type="http://schemas.openxmlformats.org/officeDocument/2006/relationships/tags" Target="../tags/tag1379.xml"/><Relationship Id="rId79" Type="http://schemas.openxmlformats.org/officeDocument/2006/relationships/tags" Target="../tags/tag1380.xml"/><Relationship Id="rId1" Type="http://schemas.openxmlformats.org/officeDocument/2006/relationships/tags" Target="../tags/tag1302.xml"/><Relationship Id="rId2" Type="http://schemas.openxmlformats.org/officeDocument/2006/relationships/tags" Target="../tags/tag1303.xml"/><Relationship Id="rId3" Type="http://schemas.openxmlformats.org/officeDocument/2006/relationships/tags" Target="../tags/tag1304.xml"/><Relationship Id="rId4" Type="http://schemas.openxmlformats.org/officeDocument/2006/relationships/tags" Target="../tags/tag1305.xml"/><Relationship Id="rId100" Type="http://schemas.openxmlformats.org/officeDocument/2006/relationships/tags" Target="../tags/tag1401.xml"/><Relationship Id="rId101" Type="http://schemas.openxmlformats.org/officeDocument/2006/relationships/tags" Target="../tags/tag1402.xml"/><Relationship Id="rId102" Type="http://schemas.openxmlformats.org/officeDocument/2006/relationships/tags" Target="../tags/tag1403.xml"/><Relationship Id="rId103" Type="http://schemas.openxmlformats.org/officeDocument/2006/relationships/tags" Target="../tags/tag1404.xml"/><Relationship Id="rId104" Type="http://schemas.openxmlformats.org/officeDocument/2006/relationships/tags" Target="../tags/tag1405.xml"/><Relationship Id="rId105" Type="http://schemas.openxmlformats.org/officeDocument/2006/relationships/tags" Target="../tags/tag1406.xml"/><Relationship Id="rId106" Type="http://schemas.openxmlformats.org/officeDocument/2006/relationships/tags" Target="../tags/tag1407.xml"/><Relationship Id="rId107" Type="http://schemas.openxmlformats.org/officeDocument/2006/relationships/tags" Target="../tags/tag1408.xml"/><Relationship Id="rId108" Type="http://schemas.openxmlformats.org/officeDocument/2006/relationships/tags" Target="../tags/tag1409.xml"/><Relationship Id="rId109" Type="http://schemas.openxmlformats.org/officeDocument/2006/relationships/tags" Target="../tags/tag1410.xml"/><Relationship Id="rId5" Type="http://schemas.openxmlformats.org/officeDocument/2006/relationships/tags" Target="../tags/tag1306.xml"/><Relationship Id="rId6" Type="http://schemas.openxmlformats.org/officeDocument/2006/relationships/tags" Target="../tags/tag1307.xml"/><Relationship Id="rId7" Type="http://schemas.openxmlformats.org/officeDocument/2006/relationships/tags" Target="../tags/tag1308.xml"/><Relationship Id="rId8" Type="http://schemas.openxmlformats.org/officeDocument/2006/relationships/tags" Target="../tags/tag1309.xml"/><Relationship Id="rId9" Type="http://schemas.openxmlformats.org/officeDocument/2006/relationships/tags" Target="../tags/tag1310.xml"/><Relationship Id="rId140" Type="http://schemas.openxmlformats.org/officeDocument/2006/relationships/tags" Target="../tags/tag1441.xml"/><Relationship Id="rId141" Type="http://schemas.openxmlformats.org/officeDocument/2006/relationships/tags" Target="../tags/tag144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5.xml"/><Relationship Id="rId4" Type="http://schemas.openxmlformats.org/officeDocument/2006/relationships/notesSlide" Target="../notesSlides/notesSlide29.xml"/><Relationship Id="rId5" Type="http://schemas.openxmlformats.org/officeDocument/2006/relationships/oleObject" Target="../embeddings/oleObject498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498.vml"/><Relationship Id="rId2" Type="http://schemas.openxmlformats.org/officeDocument/2006/relationships/tags" Target="../tags/tag1464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5.xml"/><Relationship Id="rId4" Type="http://schemas.openxmlformats.org/officeDocument/2006/relationships/oleObject" Target="../embeddings/oleObject499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99.vml"/><Relationship Id="rId2" Type="http://schemas.openxmlformats.org/officeDocument/2006/relationships/tags" Target="../tags/tag1465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5.xml"/><Relationship Id="rId4" Type="http://schemas.openxmlformats.org/officeDocument/2006/relationships/oleObject" Target="../embeddings/oleObject500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00.vml"/><Relationship Id="rId2" Type="http://schemas.openxmlformats.org/officeDocument/2006/relationships/tags" Target="../tags/tag1466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5.xml"/><Relationship Id="rId4" Type="http://schemas.openxmlformats.org/officeDocument/2006/relationships/oleObject" Target="../embeddings/oleObject501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01.vml"/><Relationship Id="rId2" Type="http://schemas.openxmlformats.org/officeDocument/2006/relationships/tags" Target="../tags/tag146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5.xml"/><Relationship Id="rId4" Type="http://schemas.openxmlformats.org/officeDocument/2006/relationships/oleObject" Target="../embeddings/oleObject50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02.vml"/><Relationship Id="rId2" Type="http://schemas.openxmlformats.org/officeDocument/2006/relationships/tags" Target="../tags/tag1468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7.xml"/><Relationship Id="rId2" Type="http://schemas.openxmlformats.org/officeDocument/2006/relationships/image" Target="../media/image14.png"/><Relationship Id="rId3" Type="http://schemas.openxmlformats.org/officeDocument/2006/relationships/image" Target="../media/image15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5.xml"/><Relationship Id="rId4" Type="http://schemas.openxmlformats.org/officeDocument/2006/relationships/oleObject" Target="../embeddings/oleObject50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03.vml"/><Relationship Id="rId2" Type="http://schemas.openxmlformats.org/officeDocument/2006/relationships/tags" Target="../tags/tag1469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37.xml"/><Relationship Id="rId4" Type="http://schemas.openxmlformats.org/officeDocument/2006/relationships/notesSlide" Target="../notesSlides/notesSlide30.xml"/><Relationship Id="rId5" Type="http://schemas.openxmlformats.org/officeDocument/2006/relationships/oleObject" Target="../embeddings/oleObject504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504.vml"/><Relationship Id="rId2" Type="http://schemas.openxmlformats.org/officeDocument/2006/relationships/tags" Target="../tags/tag1470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37.xml"/><Relationship Id="rId4" Type="http://schemas.openxmlformats.org/officeDocument/2006/relationships/oleObject" Target="../embeddings/oleObject50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05.vml"/><Relationship Id="rId2" Type="http://schemas.openxmlformats.org/officeDocument/2006/relationships/tags" Target="../tags/tag1471.xml"/></Relationships>
</file>

<file path=ppt/slides/_rels/slide73.xml.rels><?xml version="1.0" encoding="UTF-8" standalone="yes"?>
<Relationships xmlns="http://schemas.openxmlformats.org/package/2006/relationships"><Relationship Id="rId142" Type="http://schemas.openxmlformats.org/officeDocument/2006/relationships/tags" Target="../tags/tag1613.xml"/><Relationship Id="rId143" Type="http://schemas.openxmlformats.org/officeDocument/2006/relationships/tags" Target="../tags/tag1614.xml"/><Relationship Id="rId144" Type="http://schemas.openxmlformats.org/officeDocument/2006/relationships/tags" Target="../tags/tag1615.xml"/><Relationship Id="rId145" Type="http://schemas.openxmlformats.org/officeDocument/2006/relationships/tags" Target="../tags/tag1616.xml"/><Relationship Id="rId146" Type="http://schemas.openxmlformats.org/officeDocument/2006/relationships/tags" Target="../tags/tag1617.xml"/><Relationship Id="rId147" Type="http://schemas.openxmlformats.org/officeDocument/2006/relationships/tags" Target="../tags/tag1618.xml"/><Relationship Id="rId148" Type="http://schemas.openxmlformats.org/officeDocument/2006/relationships/tags" Target="../tags/tag1619.xml"/><Relationship Id="rId149" Type="http://schemas.openxmlformats.org/officeDocument/2006/relationships/tags" Target="../tags/tag1620.xml"/><Relationship Id="rId40" Type="http://schemas.openxmlformats.org/officeDocument/2006/relationships/tags" Target="../tags/tag1511.xml"/><Relationship Id="rId41" Type="http://schemas.openxmlformats.org/officeDocument/2006/relationships/tags" Target="../tags/tag1512.xml"/><Relationship Id="rId42" Type="http://schemas.openxmlformats.org/officeDocument/2006/relationships/tags" Target="../tags/tag1513.xml"/><Relationship Id="rId43" Type="http://schemas.openxmlformats.org/officeDocument/2006/relationships/tags" Target="../tags/tag1514.xml"/><Relationship Id="rId44" Type="http://schemas.openxmlformats.org/officeDocument/2006/relationships/tags" Target="../tags/tag1515.xml"/><Relationship Id="rId45" Type="http://schemas.openxmlformats.org/officeDocument/2006/relationships/tags" Target="../tags/tag1516.xml"/><Relationship Id="rId46" Type="http://schemas.openxmlformats.org/officeDocument/2006/relationships/tags" Target="../tags/tag1517.xml"/><Relationship Id="rId47" Type="http://schemas.openxmlformats.org/officeDocument/2006/relationships/tags" Target="../tags/tag1518.xml"/><Relationship Id="rId48" Type="http://schemas.openxmlformats.org/officeDocument/2006/relationships/tags" Target="../tags/tag1519.xml"/><Relationship Id="rId49" Type="http://schemas.openxmlformats.org/officeDocument/2006/relationships/tags" Target="../tags/tag1520.xml"/><Relationship Id="rId80" Type="http://schemas.openxmlformats.org/officeDocument/2006/relationships/tags" Target="../tags/tag1551.xml"/><Relationship Id="rId81" Type="http://schemas.openxmlformats.org/officeDocument/2006/relationships/tags" Target="../tags/tag1552.xml"/><Relationship Id="rId82" Type="http://schemas.openxmlformats.org/officeDocument/2006/relationships/tags" Target="../tags/tag1553.xml"/><Relationship Id="rId83" Type="http://schemas.openxmlformats.org/officeDocument/2006/relationships/tags" Target="../tags/tag1554.xml"/><Relationship Id="rId84" Type="http://schemas.openxmlformats.org/officeDocument/2006/relationships/tags" Target="../tags/tag1555.xml"/><Relationship Id="rId85" Type="http://schemas.openxmlformats.org/officeDocument/2006/relationships/tags" Target="../tags/tag1556.xml"/><Relationship Id="rId86" Type="http://schemas.openxmlformats.org/officeDocument/2006/relationships/tags" Target="../tags/tag1557.xml"/><Relationship Id="rId87" Type="http://schemas.openxmlformats.org/officeDocument/2006/relationships/tags" Target="../tags/tag1558.xml"/><Relationship Id="rId88" Type="http://schemas.openxmlformats.org/officeDocument/2006/relationships/tags" Target="../tags/tag1559.xml"/><Relationship Id="rId89" Type="http://schemas.openxmlformats.org/officeDocument/2006/relationships/tags" Target="../tags/tag1560.xml"/><Relationship Id="rId110" Type="http://schemas.openxmlformats.org/officeDocument/2006/relationships/tags" Target="../tags/tag1581.xml"/><Relationship Id="rId111" Type="http://schemas.openxmlformats.org/officeDocument/2006/relationships/tags" Target="../tags/tag1582.xml"/><Relationship Id="rId112" Type="http://schemas.openxmlformats.org/officeDocument/2006/relationships/tags" Target="../tags/tag1583.xml"/><Relationship Id="rId113" Type="http://schemas.openxmlformats.org/officeDocument/2006/relationships/tags" Target="../tags/tag1584.xml"/><Relationship Id="rId114" Type="http://schemas.openxmlformats.org/officeDocument/2006/relationships/tags" Target="../tags/tag1585.xml"/><Relationship Id="rId115" Type="http://schemas.openxmlformats.org/officeDocument/2006/relationships/tags" Target="../tags/tag1586.xml"/><Relationship Id="rId116" Type="http://schemas.openxmlformats.org/officeDocument/2006/relationships/tags" Target="../tags/tag1587.xml"/><Relationship Id="rId117" Type="http://schemas.openxmlformats.org/officeDocument/2006/relationships/tags" Target="../tags/tag1588.xml"/><Relationship Id="rId118" Type="http://schemas.openxmlformats.org/officeDocument/2006/relationships/tags" Target="../tags/tag1589.xml"/><Relationship Id="rId119" Type="http://schemas.openxmlformats.org/officeDocument/2006/relationships/tags" Target="../tags/tag1590.xml"/><Relationship Id="rId150" Type="http://schemas.openxmlformats.org/officeDocument/2006/relationships/tags" Target="../tags/tag1621.xml"/><Relationship Id="rId151" Type="http://schemas.openxmlformats.org/officeDocument/2006/relationships/tags" Target="../tags/tag1622.xml"/><Relationship Id="rId152" Type="http://schemas.openxmlformats.org/officeDocument/2006/relationships/tags" Target="../tags/tag1623.xml"/><Relationship Id="rId10" Type="http://schemas.openxmlformats.org/officeDocument/2006/relationships/tags" Target="../tags/tag1481.xml"/><Relationship Id="rId11" Type="http://schemas.openxmlformats.org/officeDocument/2006/relationships/tags" Target="../tags/tag1482.xml"/><Relationship Id="rId12" Type="http://schemas.openxmlformats.org/officeDocument/2006/relationships/tags" Target="../tags/tag1483.xml"/><Relationship Id="rId13" Type="http://schemas.openxmlformats.org/officeDocument/2006/relationships/tags" Target="../tags/tag1484.xml"/><Relationship Id="rId14" Type="http://schemas.openxmlformats.org/officeDocument/2006/relationships/tags" Target="../tags/tag1485.xml"/><Relationship Id="rId15" Type="http://schemas.openxmlformats.org/officeDocument/2006/relationships/tags" Target="../tags/tag1486.xml"/><Relationship Id="rId16" Type="http://schemas.openxmlformats.org/officeDocument/2006/relationships/tags" Target="../tags/tag1487.xml"/><Relationship Id="rId17" Type="http://schemas.openxmlformats.org/officeDocument/2006/relationships/tags" Target="../tags/tag1488.xml"/><Relationship Id="rId18" Type="http://schemas.openxmlformats.org/officeDocument/2006/relationships/tags" Target="../tags/tag1489.xml"/><Relationship Id="rId19" Type="http://schemas.openxmlformats.org/officeDocument/2006/relationships/tags" Target="../tags/tag1490.xml"/><Relationship Id="rId153" Type="http://schemas.openxmlformats.org/officeDocument/2006/relationships/tags" Target="../tags/tag1624.xml"/><Relationship Id="rId154" Type="http://schemas.openxmlformats.org/officeDocument/2006/relationships/tags" Target="../tags/tag1625.xml"/><Relationship Id="rId155" Type="http://schemas.openxmlformats.org/officeDocument/2006/relationships/tags" Target="../tags/tag1626.xml"/><Relationship Id="rId156" Type="http://schemas.openxmlformats.org/officeDocument/2006/relationships/tags" Target="../tags/tag1627.xml"/><Relationship Id="rId157" Type="http://schemas.openxmlformats.org/officeDocument/2006/relationships/tags" Target="../tags/tag1628.xml"/><Relationship Id="rId158" Type="http://schemas.openxmlformats.org/officeDocument/2006/relationships/tags" Target="../tags/tag1629.xml"/><Relationship Id="rId159" Type="http://schemas.openxmlformats.org/officeDocument/2006/relationships/tags" Target="../tags/tag1630.xml"/><Relationship Id="rId50" Type="http://schemas.openxmlformats.org/officeDocument/2006/relationships/tags" Target="../tags/tag1521.xml"/><Relationship Id="rId51" Type="http://schemas.openxmlformats.org/officeDocument/2006/relationships/tags" Target="../tags/tag1522.xml"/><Relationship Id="rId52" Type="http://schemas.openxmlformats.org/officeDocument/2006/relationships/tags" Target="../tags/tag1523.xml"/><Relationship Id="rId53" Type="http://schemas.openxmlformats.org/officeDocument/2006/relationships/tags" Target="../tags/tag1524.xml"/><Relationship Id="rId54" Type="http://schemas.openxmlformats.org/officeDocument/2006/relationships/tags" Target="../tags/tag1525.xml"/><Relationship Id="rId55" Type="http://schemas.openxmlformats.org/officeDocument/2006/relationships/tags" Target="../tags/tag1526.xml"/><Relationship Id="rId56" Type="http://schemas.openxmlformats.org/officeDocument/2006/relationships/tags" Target="../tags/tag1527.xml"/><Relationship Id="rId57" Type="http://schemas.openxmlformats.org/officeDocument/2006/relationships/tags" Target="../tags/tag1528.xml"/><Relationship Id="rId58" Type="http://schemas.openxmlformats.org/officeDocument/2006/relationships/tags" Target="../tags/tag1529.xml"/><Relationship Id="rId59" Type="http://schemas.openxmlformats.org/officeDocument/2006/relationships/tags" Target="../tags/tag1530.xml"/><Relationship Id="rId90" Type="http://schemas.openxmlformats.org/officeDocument/2006/relationships/tags" Target="../tags/tag1561.xml"/><Relationship Id="rId91" Type="http://schemas.openxmlformats.org/officeDocument/2006/relationships/tags" Target="../tags/tag1562.xml"/><Relationship Id="rId92" Type="http://schemas.openxmlformats.org/officeDocument/2006/relationships/tags" Target="../tags/tag1563.xml"/><Relationship Id="rId93" Type="http://schemas.openxmlformats.org/officeDocument/2006/relationships/tags" Target="../tags/tag1564.xml"/><Relationship Id="rId94" Type="http://schemas.openxmlformats.org/officeDocument/2006/relationships/tags" Target="../tags/tag1565.xml"/><Relationship Id="rId95" Type="http://schemas.openxmlformats.org/officeDocument/2006/relationships/tags" Target="../tags/tag1566.xml"/><Relationship Id="rId96" Type="http://schemas.openxmlformats.org/officeDocument/2006/relationships/tags" Target="../tags/tag1567.xml"/><Relationship Id="rId97" Type="http://schemas.openxmlformats.org/officeDocument/2006/relationships/tags" Target="../tags/tag1568.xml"/><Relationship Id="rId98" Type="http://schemas.openxmlformats.org/officeDocument/2006/relationships/tags" Target="../tags/tag1569.xml"/><Relationship Id="rId99" Type="http://schemas.openxmlformats.org/officeDocument/2006/relationships/tags" Target="../tags/tag1570.xml"/><Relationship Id="rId120" Type="http://schemas.openxmlformats.org/officeDocument/2006/relationships/tags" Target="../tags/tag1591.xml"/><Relationship Id="rId121" Type="http://schemas.openxmlformats.org/officeDocument/2006/relationships/tags" Target="../tags/tag1592.xml"/><Relationship Id="rId122" Type="http://schemas.openxmlformats.org/officeDocument/2006/relationships/tags" Target="../tags/tag1593.xml"/><Relationship Id="rId123" Type="http://schemas.openxmlformats.org/officeDocument/2006/relationships/tags" Target="../tags/tag1594.xml"/><Relationship Id="rId124" Type="http://schemas.openxmlformats.org/officeDocument/2006/relationships/tags" Target="../tags/tag1595.xml"/><Relationship Id="rId125" Type="http://schemas.openxmlformats.org/officeDocument/2006/relationships/tags" Target="../tags/tag1596.xml"/><Relationship Id="rId126" Type="http://schemas.openxmlformats.org/officeDocument/2006/relationships/tags" Target="../tags/tag1597.xml"/><Relationship Id="rId127" Type="http://schemas.openxmlformats.org/officeDocument/2006/relationships/tags" Target="../tags/tag1598.xml"/><Relationship Id="rId128" Type="http://schemas.openxmlformats.org/officeDocument/2006/relationships/tags" Target="../tags/tag1599.xml"/><Relationship Id="rId129" Type="http://schemas.openxmlformats.org/officeDocument/2006/relationships/tags" Target="../tags/tag1600.xml"/><Relationship Id="rId160" Type="http://schemas.openxmlformats.org/officeDocument/2006/relationships/tags" Target="../tags/tag1631.xml"/><Relationship Id="rId161" Type="http://schemas.openxmlformats.org/officeDocument/2006/relationships/tags" Target="../tags/tag1632.xml"/><Relationship Id="rId162" Type="http://schemas.openxmlformats.org/officeDocument/2006/relationships/tags" Target="../tags/tag1633.xml"/><Relationship Id="rId20" Type="http://schemas.openxmlformats.org/officeDocument/2006/relationships/tags" Target="../tags/tag1491.xml"/><Relationship Id="rId21" Type="http://schemas.openxmlformats.org/officeDocument/2006/relationships/tags" Target="../tags/tag1492.xml"/><Relationship Id="rId22" Type="http://schemas.openxmlformats.org/officeDocument/2006/relationships/tags" Target="../tags/tag1493.xml"/><Relationship Id="rId23" Type="http://schemas.openxmlformats.org/officeDocument/2006/relationships/tags" Target="../tags/tag1494.xml"/><Relationship Id="rId24" Type="http://schemas.openxmlformats.org/officeDocument/2006/relationships/tags" Target="../tags/tag1495.xml"/><Relationship Id="rId25" Type="http://schemas.openxmlformats.org/officeDocument/2006/relationships/tags" Target="../tags/tag1496.xml"/><Relationship Id="rId26" Type="http://schemas.openxmlformats.org/officeDocument/2006/relationships/tags" Target="../tags/tag1497.xml"/><Relationship Id="rId27" Type="http://schemas.openxmlformats.org/officeDocument/2006/relationships/tags" Target="../tags/tag1498.xml"/><Relationship Id="rId28" Type="http://schemas.openxmlformats.org/officeDocument/2006/relationships/tags" Target="../tags/tag1499.xml"/><Relationship Id="rId29" Type="http://schemas.openxmlformats.org/officeDocument/2006/relationships/tags" Target="../tags/tag1500.xml"/><Relationship Id="rId163" Type="http://schemas.openxmlformats.org/officeDocument/2006/relationships/slideLayout" Target="../slideLayouts/slideLayout737.xml"/><Relationship Id="rId164" Type="http://schemas.openxmlformats.org/officeDocument/2006/relationships/notesSlide" Target="../notesSlides/notesSlide31.xml"/><Relationship Id="rId60" Type="http://schemas.openxmlformats.org/officeDocument/2006/relationships/tags" Target="../tags/tag1531.xml"/><Relationship Id="rId61" Type="http://schemas.openxmlformats.org/officeDocument/2006/relationships/tags" Target="../tags/tag1532.xml"/><Relationship Id="rId62" Type="http://schemas.openxmlformats.org/officeDocument/2006/relationships/tags" Target="../tags/tag1533.xml"/><Relationship Id="rId63" Type="http://schemas.openxmlformats.org/officeDocument/2006/relationships/tags" Target="../tags/tag1534.xml"/><Relationship Id="rId64" Type="http://schemas.openxmlformats.org/officeDocument/2006/relationships/tags" Target="../tags/tag1535.xml"/><Relationship Id="rId65" Type="http://schemas.openxmlformats.org/officeDocument/2006/relationships/tags" Target="../tags/tag1536.xml"/><Relationship Id="rId66" Type="http://schemas.openxmlformats.org/officeDocument/2006/relationships/tags" Target="../tags/tag1537.xml"/><Relationship Id="rId67" Type="http://schemas.openxmlformats.org/officeDocument/2006/relationships/tags" Target="../tags/tag1538.xml"/><Relationship Id="rId68" Type="http://schemas.openxmlformats.org/officeDocument/2006/relationships/tags" Target="../tags/tag1539.xml"/><Relationship Id="rId69" Type="http://schemas.openxmlformats.org/officeDocument/2006/relationships/tags" Target="../tags/tag1540.xml"/><Relationship Id="rId130" Type="http://schemas.openxmlformats.org/officeDocument/2006/relationships/tags" Target="../tags/tag1601.xml"/><Relationship Id="rId131" Type="http://schemas.openxmlformats.org/officeDocument/2006/relationships/tags" Target="../tags/tag1602.xml"/><Relationship Id="rId132" Type="http://schemas.openxmlformats.org/officeDocument/2006/relationships/tags" Target="../tags/tag1603.xml"/><Relationship Id="rId133" Type="http://schemas.openxmlformats.org/officeDocument/2006/relationships/tags" Target="../tags/tag1604.xml"/><Relationship Id="rId134" Type="http://schemas.openxmlformats.org/officeDocument/2006/relationships/tags" Target="../tags/tag1605.xml"/><Relationship Id="rId135" Type="http://schemas.openxmlformats.org/officeDocument/2006/relationships/tags" Target="../tags/tag1606.xml"/><Relationship Id="rId136" Type="http://schemas.openxmlformats.org/officeDocument/2006/relationships/tags" Target="../tags/tag1607.xml"/><Relationship Id="rId137" Type="http://schemas.openxmlformats.org/officeDocument/2006/relationships/tags" Target="../tags/tag1608.xml"/><Relationship Id="rId138" Type="http://schemas.openxmlformats.org/officeDocument/2006/relationships/tags" Target="../tags/tag1609.xml"/><Relationship Id="rId139" Type="http://schemas.openxmlformats.org/officeDocument/2006/relationships/tags" Target="../tags/tag1610.xml"/><Relationship Id="rId30" Type="http://schemas.openxmlformats.org/officeDocument/2006/relationships/tags" Target="../tags/tag1501.xml"/><Relationship Id="rId31" Type="http://schemas.openxmlformats.org/officeDocument/2006/relationships/tags" Target="../tags/tag1502.xml"/><Relationship Id="rId32" Type="http://schemas.openxmlformats.org/officeDocument/2006/relationships/tags" Target="../tags/tag1503.xml"/><Relationship Id="rId33" Type="http://schemas.openxmlformats.org/officeDocument/2006/relationships/tags" Target="../tags/tag1504.xml"/><Relationship Id="rId34" Type="http://schemas.openxmlformats.org/officeDocument/2006/relationships/tags" Target="../tags/tag1505.xml"/><Relationship Id="rId35" Type="http://schemas.openxmlformats.org/officeDocument/2006/relationships/tags" Target="../tags/tag1506.xml"/><Relationship Id="rId36" Type="http://schemas.openxmlformats.org/officeDocument/2006/relationships/tags" Target="../tags/tag1507.xml"/><Relationship Id="rId37" Type="http://schemas.openxmlformats.org/officeDocument/2006/relationships/tags" Target="../tags/tag1508.xml"/><Relationship Id="rId38" Type="http://schemas.openxmlformats.org/officeDocument/2006/relationships/tags" Target="../tags/tag1509.xml"/><Relationship Id="rId39" Type="http://schemas.openxmlformats.org/officeDocument/2006/relationships/tags" Target="../tags/tag1510.xml"/><Relationship Id="rId70" Type="http://schemas.openxmlformats.org/officeDocument/2006/relationships/tags" Target="../tags/tag1541.xml"/><Relationship Id="rId71" Type="http://schemas.openxmlformats.org/officeDocument/2006/relationships/tags" Target="../tags/tag1542.xml"/><Relationship Id="rId72" Type="http://schemas.openxmlformats.org/officeDocument/2006/relationships/tags" Target="../tags/tag1543.xml"/><Relationship Id="rId73" Type="http://schemas.openxmlformats.org/officeDocument/2006/relationships/tags" Target="../tags/tag1544.xml"/><Relationship Id="rId74" Type="http://schemas.openxmlformats.org/officeDocument/2006/relationships/tags" Target="../tags/tag1545.xml"/><Relationship Id="rId75" Type="http://schemas.openxmlformats.org/officeDocument/2006/relationships/tags" Target="../tags/tag1546.xml"/><Relationship Id="rId76" Type="http://schemas.openxmlformats.org/officeDocument/2006/relationships/tags" Target="../tags/tag1547.xml"/><Relationship Id="rId77" Type="http://schemas.openxmlformats.org/officeDocument/2006/relationships/tags" Target="../tags/tag1548.xml"/><Relationship Id="rId78" Type="http://schemas.openxmlformats.org/officeDocument/2006/relationships/tags" Target="../tags/tag1549.xml"/><Relationship Id="rId79" Type="http://schemas.openxmlformats.org/officeDocument/2006/relationships/tags" Target="../tags/tag1550.xml"/><Relationship Id="rId1" Type="http://schemas.openxmlformats.org/officeDocument/2006/relationships/tags" Target="../tags/tag1472.xml"/><Relationship Id="rId2" Type="http://schemas.openxmlformats.org/officeDocument/2006/relationships/tags" Target="../tags/tag1473.xml"/><Relationship Id="rId3" Type="http://schemas.openxmlformats.org/officeDocument/2006/relationships/tags" Target="../tags/tag1474.xml"/><Relationship Id="rId4" Type="http://schemas.openxmlformats.org/officeDocument/2006/relationships/tags" Target="../tags/tag1475.xml"/><Relationship Id="rId100" Type="http://schemas.openxmlformats.org/officeDocument/2006/relationships/tags" Target="../tags/tag1571.xml"/><Relationship Id="rId101" Type="http://schemas.openxmlformats.org/officeDocument/2006/relationships/tags" Target="../tags/tag1572.xml"/><Relationship Id="rId102" Type="http://schemas.openxmlformats.org/officeDocument/2006/relationships/tags" Target="../tags/tag1573.xml"/><Relationship Id="rId103" Type="http://schemas.openxmlformats.org/officeDocument/2006/relationships/tags" Target="../tags/tag1574.xml"/><Relationship Id="rId104" Type="http://schemas.openxmlformats.org/officeDocument/2006/relationships/tags" Target="../tags/tag1575.xml"/><Relationship Id="rId105" Type="http://schemas.openxmlformats.org/officeDocument/2006/relationships/tags" Target="../tags/tag1576.xml"/><Relationship Id="rId106" Type="http://schemas.openxmlformats.org/officeDocument/2006/relationships/tags" Target="../tags/tag1577.xml"/><Relationship Id="rId107" Type="http://schemas.openxmlformats.org/officeDocument/2006/relationships/tags" Target="../tags/tag1578.xml"/><Relationship Id="rId108" Type="http://schemas.openxmlformats.org/officeDocument/2006/relationships/tags" Target="../tags/tag1579.xml"/><Relationship Id="rId109" Type="http://schemas.openxmlformats.org/officeDocument/2006/relationships/tags" Target="../tags/tag1580.xml"/><Relationship Id="rId5" Type="http://schemas.openxmlformats.org/officeDocument/2006/relationships/tags" Target="../tags/tag1476.xml"/><Relationship Id="rId6" Type="http://schemas.openxmlformats.org/officeDocument/2006/relationships/tags" Target="../tags/tag1477.xml"/><Relationship Id="rId7" Type="http://schemas.openxmlformats.org/officeDocument/2006/relationships/tags" Target="../tags/tag1478.xml"/><Relationship Id="rId8" Type="http://schemas.openxmlformats.org/officeDocument/2006/relationships/tags" Target="../tags/tag1479.xml"/><Relationship Id="rId9" Type="http://schemas.openxmlformats.org/officeDocument/2006/relationships/tags" Target="../tags/tag1480.xml"/><Relationship Id="rId140" Type="http://schemas.openxmlformats.org/officeDocument/2006/relationships/tags" Target="../tags/tag1611.xml"/><Relationship Id="rId141" Type="http://schemas.openxmlformats.org/officeDocument/2006/relationships/tags" Target="../tags/tag161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57.xml"/><Relationship Id="rId4" Type="http://schemas.openxmlformats.org/officeDocument/2006/relationships/notesSlide" Target="../notesSlides/notesSlide32.xml"/><Relationship Id="rId1" Type="http://schemas.openxmlformats.org/officeDocument/2006/relationships/tags" Target="../tags/tag1634.xml"/><Relationship Id="rId2" Type="http://schemas.openxmlformats.org/officeDocument/2006/relationships/tags" Target="../tags/tag1635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37.xml"/><Relationship Id="rId4" Type="http://schemas.openxmlformats.org/officeDocument/2006/relationships/oleObject" Target="../embeddings/oleObject50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06.vml"/><Relationship Id="rId2" Type="http://schemas.openxmlformats.org/officeDocument/2006/relationships/tags" Target="../tags/tag1636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7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7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7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67.xml"/><Relationship Id="rId4" Type="http://schemas.openxmlformats.org/officeDocument/2006/relationships/oleObject" Target="../embeddings/oleObject507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07.vml"/><Relationship Id="rId2" Type="http://schemas.openxmlformats.org/officeDocument/2006/relationships/tags" Target="../tags/tag163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vmlDrawing" Target="../drawings/vmlDrawing459.vml"/><Relationship Id="rId2" Type="http://schemas.openxmlformats.org/officeDocument/2006/relationships/tags" Target="../tags/tag1146.xml"/><Relationship Id="rId3" Type="http://schemas.openxmlformats.org/officeDocument/2006/relationships/tags" Target="../tags/tag1147.xml"/><Relationship Id="rId4" Type="http://schemas.openxmlformats.org/officeDocument/2006/relationships/tags" Target="../tags/tag1148.xml"/><Relationship Id="rId5" Type="http://schemas.openxmlformats.org/officeDocument/2006/relationships/tags" Target="../tags/tag1149.xml"/><Relationship Id="rId6" Type="http://schemas.openxmlformats.org/officeDocument/2006/relationships/tags" Target="../tags/tag1150.xml"/><Relationship Id="rId7" Type="http://schemas.openxmlformats.org/officeDocument/2006/relationships/tags" Target="../tags/tag1151.xml"/><Relationship Id="rId8" Type="http://schemas.openxmlformats.org/officeDocument/2006/relationships/tags" Target="../tags/tag1152.xml"/><Relationship Id="rId9" Type="http://schemas.openxmlformats.org/officeDocument/2006/relationships/tags" Target="../tags/tag1153.xml"/><Relationship Id="rId10" Type="http://schemas.openxmlformats.org/officeDocument/2006/relationships/tags" Target="../tags/tag1154.xml"/><Relationship Id="rId11" Type="http://schemas.openxmlformats.org/officeDocument/2006/relationships/tags" Target="../tags/tag1155.xml"/><Relationship Id="rId12" Type="http://schemas.openxmlformats.org/officeDocument/2006/relationships/tags" Target="../tags/tag1156.xml"/><Relationship Id="rId13" Type="http://schemas.openxmlformats.org/officeDocument/2006/relationships/tags" Target="../tags/tag1157.xml"/><Relationship Id="rId14" Type="http://schemas.openxmlformats.org/officeDocument/2006/relationships/tags" Target="../tags/tag1158.xml"/><Relationship Id="rId15" Type="http://schemas.openxmlformats.org/officeDocument/2006/relationships/tags" Target="../tags/tag1159.xml"/><Relationship Id="rId16" Type="http://schemas.openxmlformats.org/officeDocument/2006/relationships/tags" Target="../tags/tag1160.xml"/><Relationship Id="rId17" Type="http://schemas.openxmlformats.org/officeDocument/2006/relationships/tags" Target="../tags/tag1161.xml"/><Relationship Id="rId18" Type="http://schemas.openxmlformats.org/officeDocument/2006/relationships/tags" Target="../tags/tag1162.xml"/><Relationship Id="rId19" Type="http://schemas.openxmlformats.org/officeDocument/2006/relationships/tags" Target="../tags/tag1163.xml"/><Relationship Id="rId30" Type="http://schemas.openxmlformats.org/officeDocument/2006/relationships/tags" Target="../tags/tag1174.xml"/><Relationship Id="rId31" Type="http://schemas.openxmlformats.org/officeDocument/2006/relationships/tags" Target="../tags/tag1175.xml"/><Relationship Id="rId32" Type="http://schemas.openxmlformats.org/officeDocument/2006/relationships/tags" Target="../tags/tag1176.xml"/><Relationship Id="rId33" Type="http://schemas.openxmlformats.org/officeDocument/2006/relationships/tags" Target="../tags/tag1177.xml"/><Relationship Id="rId34" Type="http://schemas.openxmlformats.org/officeDocument/2006/relationships/tags" Target="../tags/tag1178.xml"/><Relationship Id="rId35" Type="http://schemas.openxmlformats.org/officeDocument/2006/relationships/tags" Target="../tags/tag1179.xml"/><Relationship Id="rId36" Type="http://schemas.openxmlformats.org/officeDocument/2006/relationships/tags" Target="../tags/tag1180.xml"/><Relationship Id="rId37" Type="http://schemas.openxmlformats.org/officeDocument/2006/relationships/tags" Target="../tags/tag1181.xml"/><Relationship Id="rId38" Type="http://schemas.openxmlformats.org/officeDocument/2006/relationships/tags" Target="../tags/tag1182.xml"/><Relationship Id="rId39" Type="http://schemas.openxmlformats.org/officeDocument/2006/relationships/tags" Target="../tags/tag1183.xml"/><Relationship Id="rId50" Type="http://schemas.openxmlformats.org/officeDocument/2006/relationships/tags" Target="../tags/tag1194.xml"/><Relationship Id="rId51" Type="http://schemas.openxmlformats.org/officeDocument/2006/relationships/tags" Target="../tags/tag1195.xml"/><Relationship Id="rId52" Type="http://schemas.openxmlformats.org/officeDocument/2006/relationships/tags" Target="../tags/tag1196.xml"/><Relationship Id="rId53" Type="http://schemas.openxmlformats.org/officeDocument/2006/relationships/tags" Target="../tags/tag1197.xml"/><Relationship Id="rId54" Type="http://schemas.openxmlformats.org/officeDocument/2006/relationships/tags" Target="../tags/tag1198.xml"/><Relationship Id="rId55" Type="http://schemas.openxmlformats.org/officeDocument/2006/relationships/tags" Target="../tags/tag1199.xml"/><Relationship Id="rId56" Type="http://schemas.openxmlformats.org/officeDocument/2006/relationships/tags" Target="../tags/tag1200.xml"/><Relationship Id="rId57" Type="http://schemas.openxmlformats.org/officeDocument/2006/relationships/tags" Target="../tags/tag1201.xml"/><Relationship Id="rId58" Type="http://schemas.openxmlformats.org/officeDocument/2006/relationships/tags" Target="../tags/tag1202.xml"/><Relationship Id="rId59" Type="http://schemas.openxmlformats.org/officeDocument/2006/relationships/tags" Target="../tags/tag1203.xml"/><Relationship Id="rId70" Type="http://schemas.openxmlformats.org/officeDocument/2006/relationships/tags" Target="../tags/tag1214.xml"/><Relationship Id="rId71" Type="http://schemas.openxmlformats.org/officeDocument/2006/relationships/tags" Target="../tags/tag1215.xml"/><Relationship Id="rId72" Type="http://schemas.openxmlformats.org/officeDocument/2006/relationships/tags" Target="../tags/tag1216.xml"/><Relationship Id="rId73" Type="http://schemas.openxmlformats.org/officeDocument/2006/relationships/tags" Target="../tags/tag1217.xml"/><Relationship Id="rId74" Type="http://schemas.openxmlformats.org/officeDocument/2006/relationships/tags" Target="../tags/tag1218.xml"/><Relationship Id="rId75" Type="http://schemas.openxmlformats.org/officeDocument/2006/relationships/tags" Target="../tags/tag1219.xml"/><Relationship Id="rId76" Type="http://schemas.openxmlformats.org/officeDocument/2006/relationships/tags" Target="../tags/tag1220.xml"/><Relationship Id="rId77" Type="http://schemas.openxmlformats.org/officeDocument/2006/relationships/tags" Target="../tags/tag1221.xml"/><Relationship Id="rId78" Type="http://schemas.openxmlformats.org/officeDocument/2006/relationships/tags" Target="../tags/tag1222.xml"/><Relationship Id="rId79" Type="http://schemas.openxmlformats.org/officeDocument/2006/relationships/tags" Target="../tags/tag1223.xml"/><Relationship Id="rId90" Type="http://schemas.openxmlformats.org/officeDocument/2006/relationships/image" Target="../media/image16.png"/><Relationship Id="rId20" Type="http://schemas.openxmlformats.org/officeDocument/2006/relationships/tags" Target="../tags/tag1164.xml"/><Relationship Id="rId21" Type="http://schemas.openxmlformats.org/officeDocument/2006/relationships/tags" Target="../tags/tag1165.xml"/><Relationship Id="rId22" Type="http://schemas.openxmlformats.org/officeDocument/2006/relationships/tags" Target="../tags/tag1166.xml"/><Relationship Id="rId23" Type="http://schemas.openxmlformats.org/officeDocument/2006/relationships/tags" Target="../tags/tag1167.xml"/><Relationship Id="rId24" Type="http://schemas.openxmlformats.org/officeDocument/2006/relationships/tags" Target="../tags/tag1168.xml"/><Relationship Id="rId25" Type="http://schemas.openxmlformats.org/officeDocument/2006/relationships/tags" Target="../tags/tag1169.xml"/><Relationship Id="rId26" Type="http://schemas.openxmlformats.org/officeDocument/2006/relationships/tags" Target="../tags/tag1170.xml"/><Relationship Id="rId27" Type="http://schemas.openxmlformats.org/officeDocument/2006/relationships/tags" Target="../tags/tag1171.xml"/><Relationship Id="rId28" Type="http://schemas.openxmlformats.org/officeDocument/2006/relationships/tags" Target="../tags/tag1172.xml"/><Relationship Id="rId29" Type="http://schemas.openxmlformats.org/officeDocument/2006/relationships/tags" Target="../tags/tag1173.xml"/><Relationship Id="rId40" Type="http://schemas.openxmlformats.org/officeDocument/2006/relationships/tags" Target="../tags/tag1184.xml"/><Relationship Id="rId41" Type="http://schemas.openxmlformats.org/officeDocument/2006/relationships/tags" Target="../tags/tag1185.xml"/><Relationship Id="rId42" Type="http://schemas.openxmlformats.org/officeDocument/2006/relationships/tags" Target="../tags/tag1186.xml"/><Relationship Id="rId43" Type="http://schemas.openxmlformats.org/officeDocument/2006/relationships/tags" Target="../tags/tag1187.xml"/><Relationship Id="rId44" Type="http://schemas.openxmlformats.org/officeDocument/2006/relationships/tags" Target="../tags/tag1188.xml"/><Relationship Id="rId45" Type="http://schemas.openxmlformats.org/officeDocument/2006/relationships/tags" Target="../tags/tag1189.xml"/><Relationship Id="rId46" Type="http://schemas.openxmlformats.org/officeDocument/2006/relationships/tags" Target="../tags/tag1190.xml"/><Relationship Id="rId47" Type="http://schemas.openxmlformats.org/officeDocument/2006/relationships/tags" Target="../tags/tag1191.xml"/><Relationship Id="rId48" Type="http://schemas.openxmlformats.org/officeDocument/2006/relationships/tags" Target="../tags/tag1192.xml"/><Relationship Id="rId49" Type="http://schemas.openxmlformats.org/officeDocument/2006/relationships/tags" Target="../tags/tag1193.xml"/><Relationship Id="rId60" Type="http://schemas.openxmlformats.org/officeDocument/2006/relationships/tags" Target="../tags/tag1204.xml"/><Relationship Id="rId61" Type="http://schemas.openxmlformats.org/officeDocument/2006/relationships/tags" Target="../tags/tag1205.xml"/><Relationship Id="rId62" Type="http://schemas.openxmlformats.org/officeDocument/2006/relationships/tags" Target="../tags/tag1206.xml"/><Relationship Id="rId63" Type="http://schemas.openxmlformats.org/officeDocument/2006/relationships/tags" Target="../tags/tag1207.xml"/><Relationship Id="rId64" Type="http://schemas.openxmlformats.org/officeDocument/2006/relationships/tags" Target="../tags/tag1208.xml"/><Relationship Id="rId65" Type="http://schemas.openxmlformats.org/officeDocument/2006/relationships/tags" Target="../tags/tag1209.xml"/><Relationship Id="rId66" Type="http://schemas.openxmlformats.org/officeDocument/2006/relationships/tags" Target="../tags/tag1210.xml"/><Relationship Id="rId67" Type="http://schemas.openxmlformats.org/officeDocument/2006/relationships/tags" Target="../tags/tag1211.xml"/><Relationship Id="rId68" Type="http://schemas.openxmlformats.org/officeDocument/2006/relationships/tags" Target="../tags/tag1212.xml"/><Relationship Id="rId69" Type="http://schemas.openxmlformats.org/officeDocument/2006/relationships/tags" Target="../tags/tag1213.xml"/><Relationship Id="rId80" Type="http://schemas.openxmlformats.org/officeDocument/2006/relationships/tags" Target="../tags/tag1224.xml"/><Relationship Id="rId81" Type="http://schemas.openxmlformats.org/officeDocument/2006/relationships/tags" Target="../tags/tag1225.xml"/><Relationship Id="rId82" Type="http://schemas.openxmlformats.org/officeDocument/2006/relationships/tags" Target="../tags/tag1226.xml"/><Relationship Id="rId83" Type="http://schemas.openxmlformats.org/officeDocument/2006/relationships/tags" Target="../tags/tag1227.xml"/><Relationship Id="rId84" Type="http://schemas.openxmlformats.org/officeDocument/2006/relationships/tags" Target="../tags/tag1228.xml"/><Relationship Id="rId85" Type="http://schemas.openxmlformats.org/officeDocument/2006/relationships/tags" Target="../tags/tag1229.xml"/><Relationship Id="rId86" Type="http://schemas.openxmlformats.org/officeDocument/2006/relationships/tags" Target="../tags/tag1230.xml"/><Relationship Id="rId87" Type="http://schemas.openxmlformats.org/officeDocument/2006/relationships/slideLayout" Target="../slideLayouts/slideLayout549.xml"/><Relationship Id="rId88" Type="http://schemas.openxmlformats.org/officeDocument/2006/relationships/oleObject" Target="../embeddings/oleObject459.bin"/><Relationship Id="rId89" Type="http://schemas.openxmlformats.org/officeDocument/2006/relationships/image" Target="../media/image1.emf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78.xml"/><Relationship Id="rId4" Type="http://schemas.openxmlformats.org/officeDocument/2006/relationships/oleObject" Target="../embeddings/oleObject508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08.vml"/><Relationship Id="rId2" Type="http://schemas.openxmlformats.org/officeDocument/2006/relationships/tags" Target="../tags/tag1638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79.xml"/><Relationship Id="rId4" Type="http://schemas.openxmlformats.org/officeDocument/2006/relationships/notesSlide" Target="../notesSlides/notesSlide33.xml"/><Relationship Id="rId1" Type="http://schemas.openxmlformats.org/officeDocument/2006/relationships/tags" Target="../tags/tag1639.xml"/><Relationship Id="rId2" Type="http://schemas.openxmlformats.org/officeDocument/2006/relationships/tags" Target="../tags/tag1640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8.xml"/><Relationship Id="rId4" Type="http://schemas.openxmlformats.org/officeDocument/2006/relationships/oleObject" Target="../embeddings/oleObject509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09.vml"/><Relationship Id="rId2" Type="http://schemas.openxmlformats.org/officeDocument/2006/relationships/tags" Target="../tags/tag1641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8.xml"/><Relationship Id="rId4" Type="http://schemas.openxmlformats.org/officeDocument/2006/relationships/oleObject" Target="../embeddings/oleObject510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10.vml"/><Relationship Id="rId2" Type="http://schemas.openxmlformats.org/officeDocument/2006/relationships/tags" Target="../tags/tag1642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8.xml"/><Relationship Id="rId4" Type="http://schemas.openxmlformats.org/officeDocument/2006/relationships/oleObject" Target="../embeddings/oleObject511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11.vml"/><Relationship Id="rId2" Type="http://schemas.openxmlformats.org/officeDocument/2006/relationships/tags" Target="../tags/tag1643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8.xml"/><Relationship Id="rId4" Type="http://schemas.openxmlformats.org/officeDocument/2006/relationships/oleObject" Target="../embeddings/oleObject51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12.vml"/><Relationship Id="rId2" Type="http://schemas.openxmlformats.org/officeDocument/2006/relationships/tags" Target="../tags/tag1644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90.xml"/><Relationship Id="rId4" Type="http://schemas.openxmlformats.org/officeDocument/2006/relationships/notesSlide" Target="../notesSlides/notesSlide34.xml"/><Relationship Id="rId1" Type="http://schemas.openxmlformats.org/officeDocument/2006/relationships/tags" Target="../tags/tag1645.xml"/><Relationship Id="rId2" Type="http://schemas.openxmlformats.org/officeDocument/2006/relationships/tags" Target="../tags/tag1646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90.xml"/><Relationship Id="rId4" Type="http://schemas.openxmlformats.org/officeDocument/2006/relationships/notesSlide" Target="../notesSlides/notesSlide35.xml"/><Relationship Id="rId1" Type="http://schemas.openxmlformats.org/officeDocument/2006/relationships/tags" Target="../tags/tag1647.xml"/><Relationship Id="rId2" Type="http://schemas.openxmlformats.org/officeDocument/2006/relationships/tags" Target="../tags/tag1648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2.xml"/><Relationship Id="rId4" Type="http://schemas.openxmlformats.org/officeDocument/2006/relationships/oleObject" Target="../embeddings/oleObject51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513.vml"/><Relationship Id="rId2" Type="http://schemas.openxmlformats.org/officeDocument/2006/relationships/tags" Target="../tags/tag1649.xml"/></Relationships>
</file>

<file path=ppt/slides/_rels/slide89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514.bin"/><Relationship Id="rId12" Type="http://schemas.openxmlformats.org/officeDocument/2006/relationships/image" Target="../media/image1.emf"/><Relationship Id="rId13" Type="http://schemas.openxmlformats.org/officeDocument/2006/relationships/image" Target="../media/image18.jpeg"/><Relationship Id="rId14" Type="http://schemas.openxmlformats.org/officeDocument/2006/relationships/image" Target="../media/image19.jpeg"/><Relationship Id="rId15" Type="http://schemas.openxmlformats.org/officeDocument/2006/relationships/image" Target="../media/image20.jpeg"/><Relationship Id="rId1" Type="http://schemas.openxmlformats.org/officeDocument/2006/relationships/vmlDrawing" Target="../drawings/vmlDrawing514.vml"/><Relationship Id="rId2" Type="http://schemas.openxmlformats.org/officeDocument/2006/relationships/tags" Target="../tags/tag1650.xml"/><Relationship Id="rId3" Type="http://schemas.openxmlformats.org/officeDocument/2006/relationships/tags" Target="../tags/tag1651.xml"/><Relationship Id="rId4" Type="http://schemas.openxmlformats.org/officeDocument/2006/relationships/tags" Target="../tags/tag1652.xml"/><Relationship Id="rId5" Type="http://schemas.openxmlformats.org/officeDocument/2006/relationships/tags" Target="../tags/tag1653.xml"/><Relationship Id="rId6" Type="http://schemas.openxmlformats.org/officeDocument/2006/relationships/tags" Target="../tags/tag1654.xml"/><Relationship Id="rId7" Type="http://schemas.openxmlformats.org/officeDocument/2006/relationships/tags" Target="../tags/tag1655.xml"/><Relationship Id="rId8" Type="http://schemas.openxmlformats.org/officeDocument/2006/relationships/tags" Target="../tags/tag1656.xml"/><Relationship Id="rId9" Type="http://schemas.openxmlformats.org/officeDocument/2006/relationships/tags" Target="../tags/tag1657.xml"/><Relationship Id="rId10" Type="http://schemas.openxmlformats.org/officeDocument/2006/relationships/slideLayout" Target="../slideLayouts/slideLayout79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0.xml"/><Relationship Id="rId4" Type="http://schemas.openxmlformats.org/officeDocument/2006/relationships/oleObject" Target="../embeddings/oleObject460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60.vml"/><Relationship Id="rId2" Type="http://schemas.openxmlformats.org/officeDocument/2006/relationships/tags" Target="../tags/tag1231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8.xml"/><Relationship Id="rId4" Type="http://schemas.openxmlformats.org/officeDocument/2006/relationships/oleObject" Target="../embeddings/oleObject51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15.vml"/><Relationship Id="rId2" Type="http://schemas.openxmlformats.org/officeDocument/2006/relationships/tags" Target="../tags/tag1658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8.xml"/><Relationship Id="rId4" Type="http://schemas.openxmlformats.org/officeDocument/2006/relationships/oleObject" Target="../embeddings/oleObject51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16.vml"/><Relationship Id="rId2" Type="http://schemas.openxmlformats.org/officeDocument/2006/relationships/tags" Target="../tags/tag1659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8.xml"/><Relationship Id="rId4" Type="http://schemas.openxmlformats.org/officeDocument/2006/relationships/oleObject" Target="../embeddings/oleObject517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17.vml"/><Relationship Id="rId2" Type="http://schemas.openxmlformats.org/officeDocument/2006/relationships/tags" Target="../tags/tag1660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tags" Target="../tags/tag1663.xml"/><Relationship Id="rId4" Type="http://schemas.openxmlformats.org/officeDocument/2006/relationships/slideLayout" Target="../slideLayouts/slideLayout782.xml"/><Relationship Id="rId1" Type="http://schemas.openxmlformats.org/officeDocument/2006/relationships/tags" Target="../tags/tag1661.xml"/><Relationship Id="rId2" Type="http://schemas.openxmlformats.org/officeDocument/2006/relationships/tags" Target="../tags/tag1662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9.xml"/><Relationship Id="rId4" Type="http://schemas.openxmlformats.org/officeDocument/2006/relationships/notesSlide" Target="../notesSlides/notesSlide36.xml"/><Relationship Id="rId1" Type="http://schemas.openxmlformats.org/officeDocument/2006/relationships/tags" Target="../tags/tag1664.xml"/><Relationship Id="rId2" Type="http://schemas.openxmlformats.org/officeDocument/2006/relationships/tags" Target="../tags/tag1665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tags" Target="../tags/tag1668.xml"/><Relationship Id="rId4" Type="http://schemas.openxmlformats.org/officeDocument/2006/relationships/tags" Target="../tags/tag1669.xml"/><Relationship Id="rId5" Type="http://schemas.openxmlformats.org/officeDocument/2006/relationships/tags" Target="../tags/tag1670.xml"/><Relationship Id="rId6" Type="http://schemas.openxmlformats.org/officeDocument/2006/relationships/slideLayout" Target="../slideLayouts/slideLayout782.xml"/><Relationship Id="rId1" Type="http://schemas.openxmlformats.org/officeDocument/2006/relationships/tags" Target="../tags/tag1666.xml"/><Relationship Id="rId2" Type="http://schemas.openxmlformats.org/officeDocument/2006/relationships/tags" Target="../tags/tag1667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7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tags" Target="../tags/tag1673.xml"/><Relationship Id="rId4" Type="http://schemas.openxmlformats.org/officeDocument/2006/relationships/tags" Target="../tags/tag1674.xml"/><Relationship Id="rId5" Type="http://schemas.openxmlformats.org/officeDocument/2006/relationships/slideLayout" Target="../slideLayouts/slideLayout782.xml"/><Relationship Id="rId1" Type="http://schemas.openxmlformats.org/officeDocument/2006/relationships/tags" Target="../tags/tag1671.xml"/><Relationship Id="rId2" Type="http://schemas.openxmlformats.org/officeDocument/2006/relationships/tags" Target="../tags/tag1672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9.xml"/><Relationship Id="rId4" Type="http://schemas.openxmlformats.org/officeDocument/2006/relationships/notesSlide" Target="../notesSlides/notesSlide37.xml"/><Relationship Id="rId1" Type="http://schemas.openxmlformats.org/officeDocument/2006/relationships/tags" Target="../tags/tag1675.xml"/><Relationship Id="rId2" Type="http://schemas.openxmlformats.org/officeDocument/2006/relationships/tags" Target="../tags/tag1676.xml"/></Relationships>
</file>

<file path=ppt/slides/_rels/slide99.xml.rels><?xml version="1.0" encoding="UTF-8" standalone="yes"?>
<Relationships xmlns="http://schemas.openxmlformats.org/package/2006/relationships"><Relationship Id="rId13" Type="http://schemas.openxmlformats.org/officeDocument/2006/relationships/tags" Target="../tags/tag1688.xml"/><Relationship Id="rId14" Type="http://schemas.openxmlformats.org/officeDocument/2006/relationships/tags" Target="../tags/tag1689.xml"/><Relationship Id="rId15" Type="http://schemas.openxmlformats.org/officeDocument/2006/relationships/tags" Target="../tags/tag1690.xml"/><Relationship Id="rId16" Type="http://schemas.openxmlformats.org/officeDocument/2006/relationships/tags" Target="../tags/tag1691.xml"/><Relationship Id="rId17" Type="http://schemas.openxmlformats.org/officeDocument/2006/relationships/tags" Target="../tags/tag1692.xml"/><Relationship Id="rId18" Type="http://schemas.openxmlformats.org/officeDocument/2006/relationships/tags" Target="../tags/tag1693.xml"/><Relationship Id="rId19" Type="http://schemas.openxmlformats.org/officeDocument/2006/relationships/tags" Target="../tags/tag1694.xml"/><Relationship Id="rId63" Type="http://schemas.openxmlformats.org/officeDocument/2006/relationships/tags" Target="../tags/tag1738.xml"/><Relationship Id="rId64" Type="http://schemas.openxmlformats.org/officeDocument/2006/relationships/tags" Target="../tags/tag1739.xml"/><Relationship Id="rId65" Type="http://schemas.openxmlformats.org/officeDocument/2006/relationships/tags" Target="../tags/tag1740.xml"/><Relationship Id="rId66" Type="http://schemas.openxmlformats.org/officeDocument/2006/relationships/tags" Target="../tags/tag1741.xml"/><Relationship Id="rId67" Type="http://schemas.openxmlformats.org/officeDocument/2006/relationships/tags" Target="../tags/tag1742.xml"/><Relationship Id="rId68" Type="http://schemas.openxmlformats.org/officeDocument/2006/relationships/tags" Target="../tags/tag1743.xml"/><Relationship Id="rId69" Type="http://schemas.openxmlformats.org/officeDocument/2006/relationships/tags" Target="../tags/tag1744.xml"/><Relationship Id="rId50" Type="http://schemas.openxmlformats.org/officeDocument/2006/relationships/tags" Target="../tags/tag1725.xml"/><Relationship Id="rId51" Type="http://schemas.openxmlformats.org/officeDocument/2006/relationships/tags" Target="../tags/tag1726.xml"/><Relationship Id="rId52" Type="http://schemas.openxmlformats.org/officeDocument/2006/relationships/tags" Target="../tags/tag1727.xml"/><Relationship Id="rId53" Type="http://schemas.openxmlformats.org/officeDocument/2006/relationships/tags" Target="../tags/tag1728.xml"/><Relationship Id="rId54" Type="http://schemas.openxmlformats.org/officeDocument/2006/relationships/tags" Target="../tags/tag1729.xml"/><Relationship Id="rId55" Type="http://schemas.openxmlformats.org/officeDocument/2006/relationships/tags" Target="../tags/tag1730.xml"/><Relationship Id="rId56" Type="http://schemas.openxmlformats.org/officeDocument/2006/relationships/tags" Target="../tags/tag1731.xml"/><Relationship Id="rId57" Type="http://schemas.openxmlformats.org/officeDocument/2006/relationships/tags" Target="../tags/tag1732.xml"/><Relationship Id="rId58" Type="http://schemas.openxmlformats.org/officeDocument/2006/relationships/tags" Target="../tags/tag1733.xml"/><Relationship Id="rId59" Type="http://schemas.openxmlformats.org/officeDocument/2006/relationships/tags" Target="../tags/tag1734.xml"/><Relationship Id="rId40" Type="http://schemas.openxmlformats.org/officeDocument/2006/relationships/tags" Target="../tags/tag1715.xml"/><Relationship Id="rId41" Type="http://schemas.openxmlformats.org/officeDocument/2006/relationships/tags" Target="../tags/tag1716.xml"/><Relationship Id="rId42" Type="http://schemas.openxmlformats.org/officeDocument/2006/relationships/tags" Target="../tags/tag1717.xml"/><Relationship Id="rId43" Type="http://schemas.openxmlformats.org/officeDocument/2006/relationships/tags" Target="../tags/tag1718.xml"/><Relationship Id="rId44" Type="http://schemas.openxmlformats.org/officeDocument/2006/relationships/tags" Target="../tags/tag1719.xml"/><Relationship Id="rId45" Type="http://schemas.openxmlformats.org/officeDocument/2006/relationships/tags" Target="../tags/tag1720.xml"/><Relationship Id="rId46" Type="http://schemas.openxmlformats.org/officeDocument/2006/relationships/tags" Target="../tags/tag1721.xml"/><Relationship Id="rId47" Type="http://schemas.openxmlformats.org/officeDocument/2006/relationships/tags" Target="../tags/tag1722.xml"/><Relationship Id="rId48" Type="http://schemas.openxmlformats.org/officeDocument/2006/relationships/tags" Target="../tags/tag1723.xml"/><Relationship Id="rId49" Type="http://schemas.openxmlformats.org/officeDocument/2006/relationships/tags" Target="../tags/tag1724.xml"/><Relationship Id="rId1" Type="http://schemas.openxmlformats.org/officeDocument/2006/relationships/vmlDrawing" Target="../drawings/vmlDrawing518.vml"/><Relationship Id="rId2" Type="http://schemas.openxmlformats.org/officeDocument/2006/relationships/tags" Target="../tags/tag1677.xml"/><Relationship Id="rId3" Type="http://schemas.openxmlformats.org/officeDocument/2006/relationships/tags" Target="../tags/tag1678.xml"/><Relationship Id="rId4" Type="http://schemas.openxmlformats.org/officeDocument/2006/relationships/tags" Target="../tags/tag1679.xml"/><Relationship Id="rId5" Type="http://schemas.openxmlformats.org/officeDocument/2006/relationships/tags" Target="../tags/tag1680.xml"/><Relationship Id="rId6" Type="http://schemas.openxmlformats.org/officeDocument/2006/relationships/tags" Target="../tags/tag1681.xml"/><Relationship Id="rId7" Type="http://schemas.openxmlformats.org/officeDocument/2006/relationships/tags" Target="../tags/tag1682.xml"/><Relationship Id="rId8" Type="http://schemas.openxmlformats.org/officeDocument/2006/relationships/tags" Target="../tags/tag1683.xml"/><Relationship Id="rId9" Type="http://schemas.openxmlformats.org/officeDocument/2006/relationships/tags" Target="../tags/tag1684.xml"/><Relationship Id="rId30" Type="http://schemas.openxmlformats.org/officeDocument/2006/relationships/tags" Target="../tags/tag1705.xml"/><Relationship Id="rId31" Type="http://schemas.openxmlformats.org/officeDocument/2006/relationships/tags" Target="../tags/tag1706.xml"/><Relationship Id="rId32" Type="http://schemas.openxmlformats.org/officeDocument/2006/relationships/tags" Target="../tags/tag1707.xml"/><Relationship Id="rId33" Type="http://schemas.openxmlformats.org/officeDocument/2006/relationships/tags" Target="../tags/tag1708.xml"/><Relationship Id="rId34" Type="http://schemas.openxmlformats.org/officeDocument/2006/relationships/tags" Target="../tags/tag1709.xml"/><Relationship Id="rId35" Type="http://schemas.openxmlformats.org/officeDocument/2006/relationships/tags" Target="../tags/tag1710.xml"/><Relationship Id="rId36" Type="http://schemas.openxmlformats.org/officeDocument/2006/relationships/tags" Target="../tags/tag1711.xml"/><Relationship Id="rId37" Type="http://schemas.openxmlformats.org/officeDocument/2006/relationships/tags" Target="../tags/tag1712.xml"/><Relationship Id="rId38" Type="http://schemas.openxmlformats.org/officeDocument/2006/relationships/tags" Target="../tags/tag1713.xml"/><Relationship Id="rId39" Type="http://schemas.openxmlformats.org/officeDocument/2006/relationships/tags" Target="../tags/tag1714.xml"/><Relationship Id="rId80" Type="http://schemas.openxmlformats.org/officeDocument/2006/relationships/tags" Target="../tags/tag1755.xml"/><Relationship Id="rId81" Type="http://schemas.openxmlformats.org/officeDocument/2006/relationships/tags" Target="../tags/tag1756.xml"/><Relationship Id="rId82" Type="http://schemas.openxmlformats.org/officeDocument/2006/relationships/slideLayout" Target="../slideLayouts/slideLayout788.xml"/><Relationship Id="rId83" Type="http://schemas.openxmlformats.org/officeDocument/2006/relationships/oleObject" Target="../embeddings/oleObject518.bin"/><Relationship Id="rId84" Type="http://schemas.openxmlformats.org/officeDocument/2006/relationships/image" Target="../media/image1.emf"/><Relationship Id="rId70" Type="http://schemas.openxmlformats.org/officeDocument/2006/relationships/tags" Target="../tags/tag1745.xml"/><Relationship Id="rId71" Type="http://schemas.openxmlformats.org/officeDocument/2006/relationships/tags" Target="../tags/tag1746.xml"/><Relationship Id="rId72" Type="http://schemas.openxmlformats.org/officeDocument/2006/relationships/tags" Target="../tags/tag1747.xml"/><Relationship Id="rId20" Type="http://schemas.openxmlformats.org/officeDocument/2006/relationships/tags" Target="../tags/tag1695.xml"/><Relationship Id="rId21" Type="http://schemas.openxmlformats.org/officeDocument/2006/relationships/tags" Target="../tags/tag1696.xml"/><Relationship Id="rId22" Type="http://schemas.openxmlformats.org/officeDocument/2006/relationships/tags" Target="../tags/tag1697.xml"/><Relationship Id="rId23" Type="http://schemas.openxmlformats.org/officeDocument/2006/relationships/tags" Target="../tags/tag1698.xml"/><Relationship Id="rId24" Type="http://schemas.openxmlformats.org/officeDocument/2006/relationships/tags" Target="../tags/tag1699.xml"/><Relationship Id="rId25" Type="http://schemas.openxmlformats.org/officeDocument/2006/relationships/tags" Target="../tags/tag1700.xml"/><Relationship Id="rId26" Type="http://schemas.openxmlformats.org/officeDocument/2006/relationships/tags" Target="../tags/tag1701.xml"/><Relationship Id="rId27" Type="http://schemas.openxmlformats.org/officeDocument/2006/relationships/tags" Target="../tags/tag1702.xml"/><Relationship Id="rId28" Type="http://schemas.openxmlformats.org/officeDocument/2006/relationships/tags" Target="../tags/tag1703.xml"/><Relationship Id="rId29" Type="http://schemas.openxmlformats.org/officeDocument/2006/relationships/tags" Target="../tags/tag1704.xml"/><Relationship Id="rId73" Type="http://schemas.openxmlformats.org/officeDocument/2006/relationships/tags" Target="../tags/tag1748.xml"/><Relationship Id="rId74" Type="http://schemas.openxmlformats.org/officeDocument/2006/relationships/tags" Target="../tags/tag1749.xml"/><Relationship Id="rId75" Type="http://schemas.openxmlformats.org/officeDocument/2006/relationships/tags" Target="../tags/tag1750.xml"/><Relationship Id="rId76" Type="http://schemas.openxmlformats.org/officeDocument/2006/relationships/tags" Target="../tags/tag1751.xml"/><Relationship Id="rId77" Type="http://schemas.openxmlformats.org/officeDocument/2006/relationships/tags" Target="../tags/tag1752.xml"/><Relationship Id="rId78" Type="http://schemas.openxmlformats.org/officeDocument/2006/relationships/tags" Target="../tags/tag1753.xml"/><Relationship Id="rId79" Type="http://schemas.openxmlformats.org/officeDocument/2006/relationships/tags" Target="../tags/tag1754.xml"/><Relationship Id="rId60" Type="http://schemas.openxmlformats.org/officeDocument/2006/relationships/tags" Target="../tags/tag1735.xml"/><Relationship Id="rId61" Type="http://schemas.openxmlformats.org/officeDocument/2006/relationships/tags" Target="../tags/tag1736.xml"/><Relationship Id="rId62" Type="http://schemas.openxmlformats.org/officeDocument/2006/relationships/tags" Target="../tags/tag1737.xml"/><Relationship Id="rId10" Type="http://schemas.openxmlformats.org/officeDocument/2006/relationships/tags" Target="../tags/tag1685.xml"/><Relationship Id="rId11" Type="http://schemas.openxmlformats.org/officeDocument/2006/relationships/tags" Target="../tags/tag1686.xml"/><Relationship Id="rId12" Type="http://schemas.openxmlformats.org/officeDocument/2006/relationships/tags" Target="../tags/tag168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6054" name="Object 2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2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6055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79400" y="5073650"/>
            <a:ext cx="3968750" cy="196850"/>
          </a:xfrm>
          <a:ln/>
        </p:spPr>
        <p:txBody>
          <a:bodyPr/>
          <a:lstStyle/>
          <a:p>
            <a:pPr marL="179388" indent="-179388" eaLnBrk="1" hangingPunct="1"/>
            <a:r>
              <a:rPr lang="es-ES_tradnl" dirty="0">
                <a:latin typeface="Arial" charset="0"/>
                <a:cs typeface="Arial" charset="0"/>
              </a:rPr>
              <a:t>Gobierno General</a:t>
            </a:r>
          </a:p>
        </p:txBody>
      </p:sp>
      <p:sp>
        <p:nvSpPr>
          <p:cNvPr id="556056" name="Title 6"/>
          <p:cNvSpPr>
            <a:spLocks noGrp="1"/>
          </p:cNvSpPr>
          <p:nvPr>
            <p:ph type="ctrTitle"/>
          </p:nvPr>
        </p:nvSpPr>
        <p:spPr>
          <a:xfrm>
            <a:off x="247650" y="3684588"/>
            <a:ext cx="8642350" cy="996950"/>
          </a:xfrm>
          <a:ln/>
        </p:spPr>
        <p:txBody>
          <a:bodyPr/>
          <a:lstStyle/>
          <a:p>
            <a:pPr eaLnBrk="1" hangingPunct="1"/>
            <a:r>
              <a:rPr lang="es-ES_tradnl" smtClean="0">
                <a:latin typeface="Arial" charset="0"/>
                <a:cs typeface="Arial" charset="0"/>
              </a:rPr>
              <a:t>Nuevos Modelos de Animación, Gobernanza y Gestión </a:t>
            </a:r>
            <a:endParaRPr lang="es-ES_tradnl" smtClean="0">
              <a:solidFill>
                <a:srgbClr val="FF0000"/>
              </a:solidFill>
              <a:latin typeface="Arial" charset="0"/>
              <a:cs typeface="Arial" charset="0"/>
            </a:endParaRPr>
          </a:p>
        </p:txBody>
      </p:sp>
      <p:sp>
        <p:nvSpPr>
          <p:cNvPr id="556057" name="Subtitle 7"/>
          <p:cNvSpPr>
            <a:spLocks noGrp="1"/>
          </p:cNvSpPr>
          <p:nvPr>
            <p:ph type="subTitle" idx="1"/>
          </p:nvPr>
        </p:nvSpPr>
        <p:spPr>
          <a:xfrm>
            <a:off x="1692275" y="3154363"/>
            <a:ext cx="7164388" cy="338137"/>
          </a:xfrm>
          <a:ln/>
        </p:spPr>
        <p:txBody>
          <a:bodyPr/>
          <a:lstStyle/>
          <a:p>
            <a:pPr eaLnBrk="1" hangingPunct="1"/>
            <a:r>
              <a:rPr lang="es-ES_tradnl" sz="2400" smtClean="0">
                <a:latin typeface="Arial" charset="0"/>
                <a:cs typeface="Arial" charset="0"/>
              </a:rPr>
              <a:t>Instituto Marista</a:t>
            </a:r>
          </a:p>
        </p:txBody>
      </p:sp>
      <p:pic>
        <p:nvPicPr>
          <p:cNvPr id="556058" name="Picture 80" descr="Institute of the Marist Brothers - General House, Rome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90500" y="2060575"/>
            <a:ext cx="1465263" cy="1458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6059" name="Marcador de texto 1"/>
          <p:cNvSpPr>
            <a:spLocks noGrp="1"/>
          </p:cNvSpPr>
          <p:nvPr>
            <p:ph type="body" sz="quarter" idx="12"/>
          </p:nvPr>
        </p:nvSpPr>
        <p:spPr>
          <a:xfrm>
            <a:off x="287338" y="4857750"/>
            <a:ext cx="3967162" cy="198438"/>
          </a:xfrm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s-ES" smtClean="0">
                <a:latin typeface="Arial" charset="0"/>
                <a:cs typeface="Arial" charset="0"/>
              </a:rPr>
              <a:t>Versión final </a:t>
            </a:r>
          </a:p>
        </p:txBody>
      </p:sp>
      <p:sp>
        <p:nvSpPr>
          <p:cNvPr id="55606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96863" y="5270500"/>
            <a:ext cx="3968750" cy="198438"/>
          </a:xfrm>
          <a:ln/>
        </p:spPr>
        <p:txBody>
          <a:bodyPr/>
          <a:lstStyle/>
          <a:p>
            <a:pPr marL="179388" indent="-179388" eaLnBrk="1" hangingPunct="1"/>
            <a:r>
              <a:rPr lang="es-ES_tradnl">
                <a:latin typeface="Arial" charset="0"/>
                <a:cs typeface="Arial" charset="0"/>
              </a:rPr>
              <a:t>Roma, julio de 2015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5297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4797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Concretamente, las aportaciones recibidas muestran un alto compromiso con las propuestas de Nuevos Modelos…</a:t>
            </a:r>
          </a:p>
        </p:txBody>
      </p:sp>
      <p:sp>
        <p:nvSpPr>
          <p:cNvPr id="3255298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77799" y="2039938"/>
            <a:ext cx="2125663" cy="1320800"/>
          </a:xfrm>
          <a:prstGeom prst="homePlate">
            <a:avLst>
              <a:gd name="adj" fmla="val 19162"/>
            </a:avLst>
          </a:prstGeom>
          <a:solidFill>
            <a:srgbClr val="778025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 dirty="0">
                <a:solidFill>
                  <a:srgbClr val="FFFFFF"/>
                </a:solidFill>
              </a:rPr>
              <a:t>Cuantitativamente</a:t>
            </a:r>
          </a:p>
        </p:txBody>
      </p:sp>
      <p:sp>
        <p:nvSpPr>
          <p:cNvPr id="3255299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371725" y="2039938"/>
            <a:ext cx="6738938" cy="1320800"/>
          </a:xfrm>
          <a:prstGeom prst="rect">
            <a:avLst/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>
                <a:solidFill>
                  <a:srgbClr val="000000"/>
                </a:solidFill>
              </a:rPr>
              <a:t>Hemos recibido </a:t>
            </a:r>
            <a:r>
              <a:rPr lang="es-ES" sz="1400" b="1">
                <a:solidFill>
                  <a:srgbClr val="000000"/>
                </a:solidFill>
              </a:rPr>
              <a:t>26 aportaciones (de un total de 29 Unidades Administrativas) </a:t>
            </a:r>
            <a:r>
              <a:rPr lang="es-ES" sz="1400">
                <a:solidFill>
                  <a:srgbClr val="000000"/>
                </a:solidFill>
              </a:rPr>
              <a:t>sobre tres dimensiones (As-Is, Nuestras personas y Nuestra Misión) además de contribuciones sobre otros temas.  </a:t>
            </a:r>
          </a:p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>
                <a:solidFill>
                  <a:srgbClr val="000000"/>
                </a:solidFill>
              </a:rPr>
              <a:t>Las Unidades Administrativas han dedicado un tiempo considerable para realizar sus contribuciones, a pesar del poco tiempo disponible. </a:t>
            </a:r>
          </a:p>
        </p:txBody>
      </p:sp>
      <p:sp>
        <p:nvSpPr>
          <p:cNvPr id="3255300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77799" y="3598863"/>
            <a:ext cx="2125663" cy="2940050"/>
          </a:xfrm>
          <a:prstGeom prst="homePlate">
            <a:avLst>
              <a:gd name="adj" fmla="val 19167"/>
            </a:avLst>
          </a:prstGeom>
          <a:solidFill>
            <a:srgbClr val="778025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 dirty="0">
                <a:solidFill>
                  <a:srgbClr val="FFFFFF"/>
                </a:solidFill>
              </a:rPr>
              <a:t>Puntos </a:t>
            </a:r>
            <a:r>
              <a:rPr lang="es-ES" sz="1600" b="1" dirty="0" smtClean="0">
                <a:solidFill>
                  <a:srgbClr val="FFFFFF"/>
                </a:solidFill>
              </a:rPr>
              <a:t>clave destacados</a:t>
            </a:r>
            <a:endParaRPr lang="es-ES" sz="1600" b="1" dirty="0">
              <a:solidFill>
                <a:srgbClr val="FFFFFF"/>
              </a:solidFill>
            </a:endParaRPr>
          </a:p>
        </p:txBody>
      </p:sp>
      <p:sp>
        <p:nvSpPr>
          <p:cNvPr id="3255301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371725" y="3582988"/>
            <a:ext cx="6738938" cy="2955925"/>
          </a:xfrm>
          <a:prstGeom prst="rect">
            <a:avLst/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 b="1" dirty="0">
                <a:solidFill>
                  <a:srgbClr val="000000"/>
                </a:solidFill>
              </a:rPr>
              <a:t>Principios: </a:t>
            </a:r>
            <a:r>
              <a:rPr lang="es-ES" sz="1400" dirty="0" smtClean="0">
                <a:solidFill>
                  <a:srgbClr val="000000"/>
                </a:solidFill>
              </a:rPr>
              <a:t>gran convergencia con </a:t>
            </a:r>
            <a:r>
              <a:rPr lang="es-ES" sz="1400" dirty="0">
                <a:solidFill>
                  <a:srgbClr val="000000"/>
                </a:solidFill>
              </a:rPr>
              <a:t>los principios del proyecto.</a:t>
            </a:r>
          </a:p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 b="1" dirty="0">
                <a:solidFill>
                  <a:srgbClr val="000000"/>
                </a:solidFill>
              </a:rPr>
              <a:t>Personas</a:t>
            </a:r>
            <a:r>
              <a:rPr lang="es-ES" sz="1400" dirty="0">
                <a:solidFill>
                  <a:srgbClr val="000000"/>
                </a:solidFill>
              </a:rPr>
              <a:t>: la mejora de la formación, la necesidad de </a:t>
            </a:r>
            <a:r>
              <a:rPr lang="es-ES" sz="1400" dirty="0" smtClean="0">
                <a:solidFill>
                  <a:srgbClr val="000000"/>
                </a:solidFill>
              </a:rPr>
              <a:t>distinguir los diferentes niveles de compromiso de los laicos y su organización, </a:t>
            </a:r>
            <a:r>
              <a:rPr lang="es-ES" sz="1400" dirty="0">
                <a:solidFill>
                  <a:srgbClr val="000000"/>
                </a:solidFill>
              </a:rPr>
              <a:t>la necesidad de fortalecer las redes de trabajo internacional, la necesidad de desarrollar un liderazgo más dinámico con responsabilidades compartidas entre hermanos y laicos…</a:t>
            </a:r>
          </a:p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 b="1" dirty="0">
                <a:solidFill>
                  <a:srgbClr val="000000"/>
                </a:solidFill>
              </a:rPr>
              <a:t>Misión</a:t>
            </a:r>
            <a:r>
              <a:rPr lang="es-ES" sz="1400" dirty="0">
                <a:solidFill>
                  <a:srgbClr val="000000"/>
                </a:solidFill>
              </a:rPr>
              <a:t>: mejorar la planificación a partir de la Asamblea y los Capítulos Generales, gran consenso en la idea de tener </a:t>
            </a:r>
            <a:r>
              <a:rPr lang="es-ES" sz="1400" dirty="0" smtClean="0">
                <a:solidFill>
                  <a:srgbClr val="000000"/>
                </a:solidFill>
              </a:rPr>
              <a:t>Consejos </a:t>
            </a:r>
            <a:r>
              <a:rPr lang="es-ES" sz="1400" dirty="0">
                <a:solidFill>
                  <a:srgbClr val="000000"/>
                </a:solidFill>
              </a:rPr>
              <a:t>de Misión, la necesidad de un Gobierno Regional, acuerdo en el principio de autosostenibilidad, necesidad de desarrollar </a:t>
            </a:r>
            <a:r>
              <a:rPr lang="es-ES" sz="1400" dirty="0" smtClean="0">
                <a:solidFill>
                  <a:srgbClr val="000000"/>
                </a:solidFill>
              </a:rPr>
              <a:t>las competencias de las personas y un </a:t>
            </a:r>
            <a:r>
              <a:rPr lang="es-ES" sz="1400" dirty="0">
                <a:solidFill>
                  <a:srgbClr val="000000"/>
                </a:solidFill>
              </a:rPr>
              <a:t>fuerte liderazgo, </a:t>
            </a:r>
            <a:r>
              <a:rPr lang="es-ES" sz="1400" dirty="0" smtClean="0">
                <a:solidFill>
                  <a:srgbClr val="000000"/>
                </a:solidFill>
              </a:rPr>
              <a:t>necesidad </a:t>
            </a:r>
            <a:r>
              <a:rPr lang="es-ES" sz="1400" dirty="0">
                <a:solidFill>
                  <a:srgbClr val="000000"/>
                </a:solidFill>
              </a:rPr>
              <a:t>de una gestión profesional, organizar redes de trabajo para las escuelas, mejorar el intercambio de conocimientos, la creación de centros regionales o globales para el desarrollo de competencias…</a:t>
            </a:r>
          </a:p>
        </p:txBody>
      </p:sp>
      <p:sp>
        <p:nvSpPr>
          <p:cNvPr id="3255302" name="Rectangle 10"/>
          <p:cNvSpPr>
            <a:spLocks noChangeArrowheads="1"/>
          </p:cNvSpPr>
          <p:nvPr/>
        </p:nvSpPr>
        <p:spPr bwMode="auto">
          <a:xfrm>
            <a:off x="6796088" y="139700"/>
            <a:ext cx="2097087" cy="16668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" sz="1200">
                <a:solidFill>
                  <a:srgbClr val="000000"/>
                </a:solidFill>
              </a:rPr>
              <a:t>Aportaciones de las Provincias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91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</p:spPr>
        <p:txBody>
          <a:bodyPr/>
          <a:lstStyle/>
          <a:p>
            <a:r>
              <a:rPr lang="es-ES" dirty="0"/>
              <a:t>Implementación de </a:t>
            </a:r>
            <a:r>
              <a:rPr lang="es-ES" dirty="0" smtClean="0"/>
              <a:t>la Hoja de Ruta</a:t>
            </a:r>
            <a:r>
              <a:rPr lang="en-US" dirty="0" smtClean="0"/>
              <a:t>: </a:t>
            </a:r>
            <a:r>
              <a:rPr lang="es-ES" dirty="0"/>
              <a:t>Diseño de procesos clave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7257417" y="139700"/>
            <a:ext cx="1635063" cy="166199"/>
          </a:xfrm>
          <a:prstGeom prst="rect">
            <a:avLst/>
          </a:prstGeom>
          <a:noFill/>
          <a:ln w="635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1200" dirty="0" smtClean="0">
                <a:latin typeface="Arial" panose="020B0604020202020204" pitchFamily="34" charset="0"/>
              </a:rPr>
              <a:t>Plan de </a:t>
            </a:r>
            <a:r>
              <a:rPr lang="en-US" sz="1200" dirty="0" err="1" smtClean="0">
                <a:latin typeface="Arial" panose="020B0604020202020204" pitchFamily="34" charset="0"/>
              </a:rPr>
              <a:t>implementación</a:t>
            </a:r>
            <a:endParaRPr lang="en-US" sz="1200" dirty="0">
              <a:latin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879812" y="5271790"/>
            <a:ext cx="6000225" cy="1523494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89111" indent="-89111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300" dirty="0" smtClean="0">
                <a:solidFill>
                  <a:srgbClr val="000000"/>
                </a:solidFill>
                <a:latin typeface="+mj-lt"/>
              </a:rPr>
              <a:t>Desarrollo de </a:t>
            </a:r>
            <a:r>
              <a:rPr lang="es-ES" sz="1300" b="1" dirty="0" smtClean="0">
                <a:solidFill>
                  <a:srgbClr val="000000"/>
                </a:solidFill>
                <a:latin typeface="+mj-lt"/>
              </a:rPr>
              <a:t>directrices centrales </a:t>
            </a:r>
            <a:r>
              <a:rPr lang="es-ES" sz="1300" dirty="0" smtClean="0">
                <a:solidFill>
                  <a:srgbClr val="000000"/>
                </a:solidFill>
                <a:latin typeface="+mj-lt"/>
              </a:rPr>
              <a:t>para la sostenibilidad financiera (incluyendo un modelo de financiación de la Misión en el ámbito de los proyectos y obras sociales).</a:t>
            </a:r>
          </a:p>
          <a:p>
            <a:pPr marL="89111" indent="-89111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300" dirty="0" smtClean="0">
                <a:solidFill>
                  <a:srgbClr val="000000"/>
                </a:solidFill>
                <a:latin typeface="+mj-lt"/>
              </a:rPr>
              <a:t>Definición del nuevo </a:t>
            </a:r>
            <a:r>
              <a:rPr lang="es-ES" sz="1300" b="1" dirty="0" smtClean="0">
                <a:solidFill>
                  <a:srgbClr val="000000"/>
                </a:solidFill>
                <a:latin typeface="+mj-lt"/>
              </a:rPr>
              <a:t>modelo de financiación </a:t>
            </a:r>
            <a:r>
              <a:rPr lang="es-ES" sz="1300" dirty="0" smtClean="0">
                <a:solidFill>
                  <a:srgbClr val="000000"/>
                </a:solidFill>
                <a:latin typeface="+mj-lt"/>
              </a:rPr>
              <a:t>de la AG y de las Regiones</a:t>
            </a:r>
            <a:r>
              <a:rPr lang="es-ES" sz="1300" b="1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es-ES" sz="1300" dirty="0" smtClean="0">
                <a:solidFill>
                  <a:srgbClr val="000000"/>
                </a:solidFill>
                <a:latin typeface="+mj-lt"/>
              </a:rPr>
              <a:t>(con reglas y enfoques para la gestión económica).</a:t>
            </a:r>
          </a:p>
          <a:p>
            <a:pPr marL="89111" indent="-89111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300" b="1" dirty="0" smtClean="0">
                <a:solidFill>
                  <a:srgbClr val="000000"/>
                </a:solidFill>
                <a:latin typeface="+mj-lt"/>
              </a:rPr>
              <a:t>Mapeo de los bienes a disposición</a:t>
            </a:r>
            <a:r>
              <a:rPr lang="es-ES" sz="1300" dirty="0" smtClean="0">
                <a:solidFill>
                  <a:srgbClr val="000000"/>
                </a:solidFill>
                <a:latin typeface="+mj-lt"/>
              </a:rPr>
              <a:t>, ingresos y costes.</a:t>
            </a:r>
          </a:p>
          <a:p>
            <a:pPr marL="100584" indent="-100584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300" dirty="0" smtClean="0">
                <a:solidFill>
                  <a:srgbClr val="000000"/>
                </a:solidFill>
                <a:latin typeface="+mj-lt"/>
              </a:rPr>
              <a:t>Diseño de los procesos de </a:t>
            </a:r>
            <a:r>
              <a:rPr lang="es-ES" sz="1300" b="1" dirty="0" smtClean="0">
                <a:solidFill>
                  <a:srgbClr val="000000"/>
                </a:solidFill>
                <a:latin typeface="+mj-lt"/>
              </a:rPr>
              <a:t>Presupuesto, Planificación y Control</a:t>
            </a:r>
            <a:r>
              <a:rPr lang="es-ES" sz="1300" dirty="0" smtClean="0">
                <a:solidFill>
                  <a:srgbClr val="000000"/>
                </a:solidFill>
                <a:latin typeface="+mj-lt"/>
              </a:rPr>
              <a:t>.</a:t>
            </a:r>
            <a:endParaRPr lang="es-ES" sz="1300" b="1" dirty="0">
              <a:solidFill>
                <a:srgbClr val="FF0000"/>
              </a:solidFill>
              <a:latin typeface="+mj-lt"/>
            </a:endParaRPr>
          </a:p>
        </p:txBody>
      </p:sp>
      <p:pic>
        <p:nvPicPr>
          <p:cNvPr id="26" name="Picture 2" descr="© Thinkstock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5300364"/>
            <a:ext cx="2592176" cy="972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179512" y="6273316"/>
            <a:ext cx="2592176" cy="468052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0" rIns="7315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300"/>
              </a:spcAft>
            </a:pPr>
            <a:r>
              <a:rPr lang="en-US" sz="1600" b="1" i="1" dirty="0" err="1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Financiación</a:t>
            </a:r>
            <a:endParaRPr lang="en-US" sz="1600" i="1" dirty="0">
              <a:solidFill>
                <a:schemeClr val="bg1"/>
              </a:solidFill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9512" y="1789681"/>
            <a:ext cx="2592065" cy="809625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2879812" y="1754695"/>
            <a:ext cx="6000225" cy="1021818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89111" indent="-89111">
              <a:lnSpc>
                <a:spcPct val="90000"/>
              </a:lnSpc>
              <a:spcBef>
                <a:spcPts val="12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 smtClean="0">
                <a:solidFill>
                  <a:srgbClr val="000000"/>
                </a:solidFill>
              </a:rPr>
              <a:t>Desarrollo del </a:t>
            </a:r>
            <a:r>
              <a:rPr lang="es-ES" sz="1300" b="1" dirty="0" smtClean="0">
                <a:solidFill>
                  <a:srgbClr val="000000"/>
                </a:solidFill>
              </a:rPr>
              <a:t>proceso de Planificación Estratégica </a:t>
            </a:r>
            <a:r>
              <a:rPr lang="es-ES" sz="1300" dirty="0" smtClean="0">
                <a:solidFill>
                  <a:srgbClr val="000000"/>
                </a:solidFill>
              </a:rPr>
              <a:t>(Flujos, calendario, documentos estándar y contenidos; Roles y responsabilidades…).</a:t>
            </a:r>
          </a:p>
          <a:p>
            <a:pPr marL="89111" indent="-89111">
              <a:lnSpc>
                <a:spcPct val="90000"/>
              </a:lnSpc>
              <a:spcBef>
                <a:spcPts val="12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 smtClean="0">
                <a:solidFill>
                  <a:srgbClr val="000000"/>
                </a:solidFill>
                <a:latin typeface="+mj-lt"/>
              </a:rPr>
              <a:t>Enfocar el </a:t>
            </a:r>
            <a:r>
              <a:rPr lang="es-ES" sz="1300" b="1" dirty="0" smtClean="0">
                <a:solidFill>
                  <a:srgbClr val="000000"/>
                </a:solidFill>
                <a:latin typeface="+mj-lt"/>
              </a:rPr>
              <a:t>desarrollo de la estrategia</a:t>
            </a:r>
            <a:r>
              <a:rPr lang="es-ES" sz="1300" dirty="0" smtClean="0">
                <a:solidFill>
                  <a:srgbClr val="000000"/>
                </a:solidFill>
                <a:latin typeface="+mj-lt"/>
              </a:rPr>
              <a:t>, intercambio y despliegue en los diferentes niveles (AG, Regiones, UA) y roles clave (incluyendo a los laicos).</a:t>
            </a:r>
            <a:endParaRPr lang="es-ES" sz="13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79512" y="2574031"/>
            <a:ext cx="2592176" cy="440804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0" rIns="7315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300"/>
              </a:spcAft>
            </a:pPr>
            <a:r>
              <a:rPr lang="es-ES" sz="1600" b="1" i="1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Estrategia y Planificación</a:t>
            </a:r>
            <a:endParaRPr lang="es-ES" sz="1600" b="1" i="1" dirty="0">
              <a:solidFill>
                <a:schemeClr val="bg1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892255" y="3055049"/>
            <a:ext cx="6000225" cy="228216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89111" indent="-89111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b="1" dirty="0" smtClean="0">
                <a:solidFill>
                  <a:schemeClr val="tx1"/>
                </a:solidFill>
              </a:rPr>
              <a:t>Mapeo</a:t>
            </a:r>
            <a:r>
              <a:rPr lang="es-ES" sz="1300" dirty="0" smtClean="0">
                <a:solidFill>
                  <a:schemeClr val="tx1"/>
                </a:solidFill>
              </a:rPr>
              <a:t> de las competencias y perfiles actuales, creación de una base de datos global de competencias.</a:t>
            </a:r>
          </a:p>
          <a:p>
            <a:pPr marL="89111" indent="-89111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 smtClean="0">
                <a:solidFill>
                  <a:schemeClr val="tx1"/>
                </a:solidFill>
              </a:rPr>
              <a:t>Desarrollo de </a:t>
            </a:r>
            <a:r>
              <a:rPr lang="es-ES" sz="1300" b="1" dirty="0" smtClean="0">
                <a:solidFill>
                  <a:schemeClr val="tx1"/>
                </a:solidFill>
              </a:rPr>
              <a:t>procesos clave en el ámbito de las personas</a:t>
            </a:r>
            <a:r>
              <a:rPr lang="es-ES" sz="1300" dirty="0" smtClean="0">
                <a:solidFill>
                  <a:schemeClr val="tx1"/>
                </a:solidFill>
              </a:rPr>
              <a:t>, desde la acogida hasta la separación (selección / contratación, vocación / desarrollo profesional, envío de personas a proyectos solidaridad / internacionalidad).</a:t>
            </a:r>
          </a:p>
          <a:p>
            <a:pPr marL="89111" indent="-89111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 smtClean="0">
                <a:solidFill>
                  <a:schemeClr val="tx1"/>
                </a:solidFill>
              </a:rPr>
              <a:t>Diseño de un </a:t>
            </a:r>
            <a:r>
              <a:rPr lang="es-ES" sz="1300" b="1" dirty="0" smtClean="0">
                <a:solidFill>
                  <a:schemeClr val="tx1"/>
                </a:solidFill>
              </a:rPr>
              <a:t>proceso de desarrollo competencial </a:t>
            </a:r>
            <a:r>
              <a:rPr lang="es-ES" sz="1300" dirty="0" smtClean="0">
                <a:solidFill>
                  <a:schemeClr val="tx1"/>
                </a:solidFill>
              </a:rPr>
              <a:t>(programas de formación conjunta, basados también en el crecimiento personal y espiritual).</a:t>
            </a:r>
          </a:p>
          <a:p>
            <a:pPr marL="89111" indent="-89111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 smtClean="0">
                <a:solidFill>
                  <a:schemeClr val="tx1"/>
                </a:solidFill>
              </a:rPr>
              <a:t>Diseño de un </a:t>
            </a:r>
            <a:r>
              <a:rPr lang="es-ES" sz="1300" b="1" dirty="0">
                <a:solidFill>
                  <a:schemeClr val="tx1"/>
                </a:solidFill>
              </a:rPr>
              <a:t>P</a:t>
            </a:r>
            <a:r>
              <a:rPr lang="es-ES" sz="1300" b="1" dirty="0" smtClean="0">
                <a:solidFill>
                  <a:schemeClr val="tx1"/>
                </a:solidFill>
              </a:rPr>
              <a:t>rograma de Acompañamiento.</a:t>
            </a:r>
          </a:p>
          <a:p>
            <a:pPr marL="89111" indent="-89111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 smtClean="0">
                <a:solidFill>
                  <a:schemeClr val="tx1"/>
                </a:solidFill>
              </a:rPr>
              <a:t>Desarrollo de</a:t>
            </a:r>
            <a:r>
              <a:rPr lang="es-ES" sz="1300" b="1" dirty="0" smtClean="0">
                <a:solidFill>
                  <a:schemeClr val="tx1"/>
                </a:solidFill>
              </a:rPr>
              <a:t> modelos para compartir recursos </a:t>
            </a:r>
            <a:r>
              <a:rPr lang="es-ES" sz="1300" dirty="0" smtClean="0">
                <a:solidFill>
                  <a:schemeClr val="tx1"/>
                </a:solidFill>
              </a:rPr>
              <a:t>(compartir conocimiento, apoyo a distancia, transferencias temporales o permanentes…) y de </a:t>
            </a:r>
            <a:r>
              <a:rPr lang="es-ES" sz="1300" b="1" dirty="0" smtClean="0">
                <a:solidFill>
                  <a:schemeClr val="tx1"/>
                </a:solidFill>
              </a:rPr>
              <a:t>redes internacionales </a:t>
            </a:r>
            <a:r>
              <a:rPr lang="es-ES" sz="1300" dirty="0" smtClean="0">
                <a:solidFill>
                  <a:schemeClr val="tx1"/>
                </a:solidFill>
              </a:rPr>
              <a:t>(ej. Escuelas, obras sociales, etc.).</a:t>
            </a:r>
            <a:endParaRPr lang="es-ES" sz="1300" dirty="0">
              <a:solidFill>
                <a:schemeClr val="tx1"/>
              </a:solidFill>
            </a:endParaRPr>
          </a:p>
        </p:txBody>
      </p:sp>
      <p:pic>
        <p:nvPicPr>
          <p:cNvPr id="774150" name="Picture 6" descr="http://www.annawalls.com/admin/resources/peopledevelopment1-w400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3155734"/>
            <a:ext cx="2592288" cy="1169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79512" y="4167842"/>
            <a:ext cx="2592176" cy="807431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0" rIns="73152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1300"/>
              </a:spcAft>
            </a:pPr>
            <a:r>
              <a:rPr lang="en-US" sz="1600" b="1" i="1" dirty="0" err="1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Desarrollo</a:t>
            </a:r>
            <a:r>
              <a:rPr lang="en-US" sz="1600" b="1" i="1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de las personas y Compartir </a:t>
            </a:r>
            <a:r>
              <a:rPr lang="en-US" sz="1600" b="1" i="1" dirty="0" err="1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recursos</a:t>
            </a:r>
            <a:endParaRPr lang="en-US" sz="1600" b="1" i="1" dirty="0">
              <a:solidFill>
                <a:schemeClr val="bg1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5178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332399"/>
          </a:xfrm>
        </p:spPr>
        <p:txBody>
          <a:bodyPr/>
          <a:lstStyle/>
          <a:p>
            <a:r>
              <a:rPr lang="es-ES" dirty="0" smtClean="0"/>
              <a:t>Próximos pasos – Diseño de procesos clave</a:t>
            </a:r>
            <a:endParaRPr lang="es-E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507" y="2057400"/>
            <a:ext cx="8641080" cy="3251146"/>
          </a:xfrm>
        </p:spPr>
        <p:txBody>
          <a:bodyPr/>
          <a:lstStyle/>
          <a:p>
            <a:pPr marL="129616" indent="-129616">
              <a:buChar char="•"/>
            </a:pPr>
            <a:r>
              <a:rPr lang="es-ES" dirty="0" smtClean="0"/>
              <a:t>Selección de los procesos clave que serán diseñados (ej. Plan estratégico, presupuesto, control, planificación y desarrollo de competencias, etc.).</a:t>
            </a:r>
          </a:p>
          <a:p>
            <a:pPr marL="129616" indent="-129616">
              <a:buChar char="•"/>
            </a:pPr>
            <a:r>
              <a:rPr lang="es-ES" dirty="0" smtClean="0"/>
              <a:t>Nombramiento de una Comisión Internacional para cada nuevo proceso.</a:t>
            </a:r>
          </a:p>
          <a:p>
            <a:pPr marL="129616" indent="-129616">
              <a:buChar char="•"/>
            </a:pPr>
            <a:r>
              <a:rPr lang="es-ES" dirty="0" smtClean="0"/>
              <a:t>Las regiones nombran representantes (2-3) para las diferentes Comisiones.   </a:t>
            </a:r>
          </a:p>
          <a:p>
            <a:pPr marL="129616" indent="-129616">
              <a:buChar char="•"/>
            </a:pPr>
            <a:r>
              <a:rPr lang="es-ES" dirty="0" smtClean="0"/>
              <a:t>Se definirán las Comisiones en lo que respecta a:</a:t>
            </a:r>
          </a:p>
          <a:p>
            <a:pPr marL="309639" indent="-180023">
              <a:buFont typeface="Arial" panose="020B0604020202020204" pitchFamily="34" charset="0"/>
              <a:buChar char="–"/>
            </a:pPr>
            <a:r>
              <a:rPr lang="es-ES" dirty="0" smtClean="0"/>
              <a:t>Objetivos y tareas clave.</a:t>
            </a:r>
          </a:p>
          <a:p>
            <a:pPr marL="309639" indent="-180023">
              <a:buFont typeface="Arial" panose="020B0604020202020204" pitchFamily="34" charset="0"/>
              <a:buChar char="–"/>
            </a:pPr>
            <a:r>
              <a:rPr lang="es-ES" dirty="0" smtClean="0"/>
              <a:t>Roles y responsabilidades de los participantes.</a:t>
            </a:r>
          </a:p>
          <a:p>
            <a:pPr marL="309639" indent="-180023">
              <a:buFont typeface="Arial" panose="020B0604020202020204" pitchFamily="34" charset="0"/>
              <a:buChar char="–"/>
            </a:pPr>
            <a:r>
              <a:rPr lang="es-ES" dirty="0" smtClean="0"/>
              <a:t>Calendario previsto.</a:t>
            </a:r>
          </a:p>
          <a:p>
            <a:pPr marL="129616" indent="-129616">
              <a:buChar char="•"/>
            </a:pPr>
            <a:r>
              <a:rPr lang="es-ES" dirty="0" smtClean="0"/>
              <a:t>Las comisiones serán apoyadas por el Equipo del Proyecto Nuevos Modelos.</a:t>
            </a:r>
          </a:p>
        </p:txBody>
      </p:sp>
      <p:sp>
        <p:nvSpPr>
          <p:cNvPr id="4" name="Rectangle 3"/>
          <p:cNvSpPr/>
          <p:nvPr/>
        </p:nvSpPr>
        <p:spPr>
          <a:xfrm>
            <a:off x="7257417" y="139700"/>
            <a:ext cx="1635063" cy="166199"/>
          </a:xfrm>
          <a:prstGeom prst="rect">
            <a:avLst/>
          </a:prstGeom>
          <a:noFill/>
          <a:ln w="635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1200" dirty="0" smtClean="0">
                <a:latin typeface="Arial" panose="020B0604020202020204" pitchFamily="34" charset="0"/>
              </a:rPr>
              <a:t>Plan de </a:t>
            </a:r>
            <a:r>
              <a:rPr lang="en-US" sz="1200" dirty="0" err="1" smtClean="0">
                <a:latin typeface="Arial" panose="020B0604020202020204" pitchFamily="34" charset="0"/>
              </a:rPr>
              <a:t>implementación</a:t>
            </a:r>
            <a:endParaRPr lang="en-US" sz="12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964090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664797"/>
          </a:xfrm>
        </p:spPr>
        <p:txBody>
          <a:bodyPr/>
          <a:lstStyle/>
          <a:p>
            <a:r>
              <a:rPr lang="es-ES" dirty="0" smtClean="0"/>
              <a:t>Implementación de Nuevos Modelos: fases clave a nivel de la AG, de las regiones y de las UA.</a:t>
            </a:r>
            <a:endParaRPr lang="es-ES" dirty="0"/>
          </a:p>
        </p:txBody>
      </p:sp>
      <p:sp>
        <p:nvSpPr>
          <p:cNvPr id="6" name="Rectangle 5"/>
          <p:cNvSpPr/>
          <p:nvPr/>
        </p:nvSpPr>
        <p:spPr>
          <a:xfrm>
            <a:off x="7257417" y="139700"/>
            <a:ext cx="1635063" cy="166199"/>
          </a:xfrm>
          <a:prstGeom prst="rect">
            <a:avLst/>
          </a:prstGeom>
          <a:noFill/>
          <a:ln w="635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1200" dirty="0" smtClean="0">
                <a:latin typeface="Arial" panose="020B0604020202020204" pitchFamily="34" charset="0"/>
              </a:rPr>
              <a:t>Plan de </a:t>
            </a:r>
            <a:r>
              <a:rPr lang="en-US" sz="1200" dirty="0" err="1" smtClean="0">
                <a:latin typeface="Arial" panose="020B0604020202020204" pitchFamily="34" charset="0"/>
              </a:rPr>
              <a:t>implementación</a:t>
            </a:r>
            <a:endParaRPr lang="en-US" sz="1200" dirty="0">
              <a:latin typeface="Arial" panose="020B0604020202020204" pitchFamily="34" charset="0"/>
            </a:endParaRPr>
          </a:p>
        </p:txBody>
      </p:sp>
      <p:sp>
        <p:nvSpPr>
          <p:cNvPr id="8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65880" y="2685377"/>
            <a:ext cx="682879" cy="33239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es-ES" sz="1200" b="1" dirty="0" smtClean="0">
                <a:latin typeface="Arial"/>
                <a:cs typeface="Arial" pitchFamily="34" charset="0"/>
              </a:rPr>
              <a:t>Acciones</a:t>
            </a:r>
          </a:p>
          <a:p>
            <a:pPr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es-ES" sz="1200" b="1" i="0" dirty="0" smtClean="0">
                <a:latin typeface="Arial"/>
                <a:cs typeface="Arial" pitchFamily="34" charset="0"/>
              </a:rPr>
              <a:t>clave</a:t>
            </a:r>
            <a:endParaRPr lang="es-ES" sz="1200" b="1" i="0" dirty="0">
              <a:latin typeface="Arial"/>
              <a:cs typeface="Arial" pitchFamily="34" charset="0"/>
            </a:endParaRPr>
          </a:p>
        </p:txBody>
      </p:sp>
      <p:sp>
        <p:nvSpPr>
          <p:cNvPr id="9" name="AutoShape 13"/>
          <p:cNvSpPr>
            <a:spLocks noChangeArrowheads="1"/>
          </p:cNvSpPr>
          <p:nvPr/>
        </p:nvSpPr>
        <p:spPr bwMode="gray">
          <a:xfrm>
            <a:off x="6249659" y="1770537"/>
            <a:ext cx="2643200" cy="732259"/>
          </a:xfrm>
          <a:prstGeom prst="chevron">
            <a:avLst>
              <a:gd name="adj" fmla="val 20264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0" hangingPunct="0">
              <a:lnSpc>
                <a:spcPct val="90000"/>
              </a:lnSpc>
              <a:spcBef>
                <a:spcPct val="0"/>
              </a:spcBef>
            </a:pPr>
            <a:r>
              <a:rPr lang="es-ES" sz="1600" b="1" dirty="0" smtClean="0">
                <a:solidFill>
                  <a:schemeClr val="bg1"/>
                </a:solidFill>
                <a:cs typeface="Arial" pitchFamily="34" charset="0"/>
              </a:rPr>
              <a:t>Implementación</a:t>
            </a:r>
            <a:endParaRPr lang="es-ES" sz="1600" b="1" dirty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10" name="AutoShape 13"/>
          <p:cNvSpPr>
            <a:spLocks noChangeArrowheads="1"/>
          </p:cNvSpPr>
          <p:nvPr/>
        </p:nvSpPr>
        <p:spPr bwMode="gray">
          <a:xfrm>
            <a:off x="3697165" y="1770537"/>
            <a:ext cx="2643200" cy="732259"/>
          </a:xfrm>
          <a:prstGeom prst="chevron">
            <a:avLst>
              <a:gd name="adj" fmla="val 20264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0" hangingPunct="0">
              <a:lnSpc>
                <a:spcPct val="90000"/>
              </a:lnSpc>
              <a:spcBef>
                <a:spcPct val="0"/>
              </a:spcBef>
            </a:pPr>
            <a:r>
              <a:rPr lang="es-ES" sz="1600" b="1" dirty="0" smtClean="0">
                <a:solidFill>
                  <a:schemeClr val="bg1"/>
                </a:solidFill>
                <a:cs typeface="Arial" pitchFamily="34" charset="0"/>
              </a:rPr>
              <a:t>Diseño Estratégico de la AG, de las regiones y de las UA.</a:t>
            </a:r>
            <a:endParaRPr lang="es-ES" sz="1600" b="1" dirty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11" name="Pentagon 10"/>
          <p:cNvSpPr/>
          <p:nvPr/>
        </p:nvSpPr>
        <p:spPr>
          <a:xfrm>
            <a:off x="1144672" y="1770537"/>
            <a:ext cx="2643200" cy="732259"/>
          </a:xfrm>
          <a:prstGeom prst="homePlate">
            <a:avLst>
              <a:gd name="adj" fmla="val 19760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0" hangingPunct="0">
              <a:lnSpc>
                <a:spcPct val="90000"/>
              </a:lnSpc>
              <a:spcBef>
                <a:spcPct val="0"/>
              </a:spcBef>
            </a:pPr>
            <a:r>
              <a:rPr lang="es-ES" sz="1600" b="1" dirty="0" smtClean="0">
                <a:solidFill>
                  <a:schemeClr val="bg1"/>
                </a:solidFill>
                <a:cs typeface="Arial" pitchFamily="34" charset="0"/>
              </a:rPr>
              <a:t>Configuración de la AG, de las Regiones y de las UA.</a:t>
            </a:r>
            <a:endParaRPr lang="es-ES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gray">
          <a:xfrm>
            <a:off x="1144673" y="2554622"/>
            <a:ext cx="2223302" cy="1975926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11600" indent="-111600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r>
              <a:rPr lang="es-ES" sz="1400" dirty="0" smtClean="0">
                <a:cs typeface="Arial" pitchFamily="34" charset="0"/>
              </a:rPr>
              <a:t>Configuración de los nuevos órganos de gobernanza de la AG.</a:t>
            </a:r>
          </a:p>
          <a:p>
            <a:pPr marL="111600" indent="-111600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r>
              <a:rPr lang="es-ES" sz="1400" dirty="0" smtClean="0">
                <a:cs typeface="Arial" pitchFamily="34" charset="0"/>
              </a:rPr>
              <a:t>Desarrollo compartido del mecanismo de gobernanza. </a:t>
            </a:r>
          </a:p>
          <a:p>
            <a:pPr marL="111600" indent="-111600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r>
              <a:rPr lang="es-ES" sz="1400" dirty="0" smtClean="0">
                <a:cs typeface="Arial" pitchFamily="34" charset="0"/>
              </a:rPr>
              <a:t>Estudio de las limitaciones / implicaciones canónicas y legales.</a:t>
            </a:r>
            <a:endParaRPr lang="es-ES" sz="1400" dirty="0">
              <a:cs typeface="Arial" pitchFamily="34" charset="0"/>
            </a:endParaRPr>
          </a:p>
        </p:txBody>
      </p:sp>
      <p:sp>
        <p:nvSpPr>
          <p:cNvPr id="13" name="Rectangle 5"/>
          <p:cNvSpPr>
            <a:spLocks noChangeArrowheads="1"/>
          </p:cNvSpPr>
          <p:nvPr/>
        </p:nvSpPr>
        <p:spPr bwMode="gray">
          <a:xfrm>
            <a:off x="3563889" y="2554622"/>
            <a:ext cx="2685770" cy="267457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7212" indent="-97212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dk1"/>
                </a:solidFill>
              </a:rPr>
              <a:t>Evaluación preliminar de posibles oportunidades. </a:t>
            </a:r>
          </a:p>
          <a:p>
            <a:pPr marL="97212" indent="-97212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dk1"/>
                </a:solidFill>
              </a:rPr>
              <a:t>Selección compartida de las “mejores oportunidades</a:t>
            </a:r>
            <a:r>
              <a:rPr lang="es-ES" sz="1400" dirty="0">
                <a:solidFill>
                  <a:schemeClr val="dk1"/>
                </a:solidFill>
              </a:rPr>
              <a:t>” </a:t>
            </a:r>
            <a:r>
              <a:rPr lang="es-ES" sz="1400" dirty="0" smtClean="0">
                <a:solidFill>
                  <a:schemeClr val="dk1"/>
                </a:solidFill>
              </a:rPr>
              <a:t>en una </a:t>
            </a:r>
            <a:r>
              <a:rPr lang="es-ES" sz="1400" dirty="0">
                <a:solidFill>
                  <a:schemeClr val="dk1"/>
                </a:solidFill>
              </a:rPr>
              <a:t>lista </a:t>
            </a:r>
            <a:r>
              <a:rPr lang="es-ES" sz="1400" dirty="0" smtClean="0">
                <a:solidFill>
                  <a:schemeClr val="dk1"/>
                </a:solidFill>
              </a:rPr>
              <a:t>reducida. </a:t>
            </a:r>
          </a:p>
          <a:p>
            <a:pPr marL="97212" indent="-97212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dk1"/>
                </a:solidFill>
              </a:rPr>
              <a:t>Estudio de las limitaciones / implicaciones legales. </a:t>
            </a:r>
          </a:p>
          <a:p>
            <a:pPr marL="97212" indent="-97212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dk1"/>
                </a:solidFill>
              </a:rPr>
              <a:t>Estudio de viabilidad técnica y económica.</a:t>
            </a:r>
          </a:p>
          <a:p>
            <a:pPr marL="97212" indent="-97212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dk1"/>
                </a:solidFill>
              </a:rPr>
              <a:t>Decisiones definitivas sobre las iniciativas y el desarrollo del plan de implementación y del plan estratégico.</a:t>
            </a:r>
            <a:endParaRPr lang="es-ES" sz="1400" dirty="0">
              <a:solidFill>
                <a:srgbClr val="000000"/>
              </a:solidFill>
            </a:endParaRPr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gray">
          <a:xfrm>
            <a:off x="6249659" y="2554622"/>
            <a:ext cx="2493111" cy="900246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97212" indent="-97212"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dk1"/>
                </a:solidFill>
              </a:rPr>
              <a:t>Desglose de las acciones y definición de los roles y responsabilidades clave.</a:t>
            </a:r>
          </a:p>
          <a:p>
            <a:pPr marL="97212" indent="-97212"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dk1"/>
                </a:solidFill>
              </a:rPr>
              <a:t>Despliegue de la estrategia.</a:t>
            </a:r>
          </a:p>
        </p:txBody>
      </p:sp>
      <p:pic>
        <p:nvPicPr>
          <p:cNvPr id="18" name="Picture 4" descr="view detail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4399" y="4395803"/>
            <a:ext cx="1915789" cy="2171228"/>
          </a:xfrm>
          <a:prstGeom prst="rect">
            <a:avLst/>
          </a:prstGeom>
          <a:noFill/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3126" name="Picture 6" descr="http://sricomm.com.my/portal/wp-content/uploads/2013/08/design-projects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0905" y="5353453"/>
            <a:ext cx="2588753" cy="1213578"/>
          </a:xfrm>
          <a:prstGeom prst="rect">
            <a:avLst/>
          </a:prstGeom>
          <a:noFill/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3128" name="Picture 8" descr="http://www.amc.gov.bt/images/LandPreparation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597" y="5088684"/>
            <a:ext cx="2220567" cy="1478347"/>
          </a:xfrm>
          <a:prstGeom prst="rect">
            <a:avLst/>
          </a:prstGeom>
          <a:noFill/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6826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4797"/>
          </a:xfrm>
        </p:spPr>
        <p:txBody>
          <a:bodyPr/>
          <a:lstStyle/>
          <a:p>
            <a:r>
              <a:rPr lang="es-ES" dirty="0" smtClean="0"/>
              <a:t>Próximos pasos – Configuración de las Regiones y desarrollo de la estrategia</a:t>
            </a:r>
            <a:endParaRPr lang="es-E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507" y="2057400"/>
            <a:ext cx="8641080" cy="3694345"/>
          </a:xfrm>
        </p:spPr>
        <p:txBody>
          <a:bodyPr/>
          <a:lstStyle/>
          <a:p>
            <a:pPr marL="129616" indent="-129616">
              <a:buChar char="•"/>
            </a:pPr>
            <a:r>
              <a:rPr lang="es-ES" dirty="0" smtClean="0"/>
              <a:t>Finalización de la configuración y composición de las regiones.</a:t>
            </a:r>
          </a:p>
          <a:p>
            <a:pPr marL="129616" indent="-129616">
              <a:buChar char="•"/>
            </a:pPr>
            <a:r>
              <a:rPr lang="es-ES" dirty="0" smtClean="0"/>
              <a:t>Los Provinciales y Consejos de la misma región acuerdan las propuestas clave que serán evaluadas (lo que trabajarán juntos).</a:t>
            </a:r>
          </a:p>
          <a:p>
            <a:pPr marL="129616" indent="-129616">
              <a:buChar char="•"/>
            </a:pPr>
            <a:r>
              <a:rPr lang="es-ES" dirty="0" smtClean="0"/>
              <a:t>Los Provinciales definen diferentes grupos de trabajo (a partir de las propuestas clave) en lo que respecta a:</a:t>
            </a:r>
          </a:p>
          <a:p>
            <a:pPr marL="309639" indent="-180023">
              <a:buFont typeface="Arial" panose="020B0604020202020204" pitchFamily="34" charset="0"/>
              <a:buChar char="–"/>
            </a:pPr>
            <a:r>
              <a:rPr lang="es-ES" dirty="0" smtClean="0"/>
              <a:t>Objetivos y tareas clave.</a:t>
            </a:r>
          </a:p>
          <a:p>
            <a:pPr marL="309639" indent="-180023">
              <a:buFont typeface="Arial" panose="020B0604020202020204" pitchFamily="34" charset="0"/>
              <a:buChar char="–"/>
            </a:pPr>
            <a:r>
              <a:rPr lang="es-ES" dirty="0" smtClean="0"/>
              <a:t>Roles y responsabilidades de los participantes.</a:t>
            </a:r>
          </a:p>
          <a:p>
            <a:pPr marL="309639" indent="-180023">
              <a:buFont typeface="Arial" panose="020B0604020202020204" pitchFamily="34" charset="0"/>
              <a:buChar char="–"/>
            </a:pPr>
            <a:r>
              <a:rPr lang="es-ES" dirty="0" smtClean="0"/>
              <a:t>Calendario y plazos previstos.</a:t>
            </a:r>
          </a:p>
          <a:p>
            <a:pPr marL="129616" indent="-129616">
              <a:buChar char="•"/>
            </a:pPr>
            <a:r>
              <a:rPr lang="es-ES" dirty="0" smtClean="0"/>
              <a:t>Los grupos de trabajo serán apoyados por el Equipo del Proyecto de Nuevos Modelos.</a:t>
            </a:r>
          </a:p>
          <a:p>
            <a:pPr marL="129616" indent="-129616">
              <a:buChar char="•"/>
            </a:pPr>
            <a:r>
              <a:rPr lang="es-ES" dirty="0" smtClean="0"/>
              <a:t>Se pedirá que cada UA identifique una persona de referencia para el proyecto Nuevos Modelos (que actuará como enlace y coordinador).</a:t>
            </a:r>
            <a:endParaRPr lang="es-ES" dirty="0"/>
          </a:p>
        </p:txBody>
      </p:sp>
      <p:sp>
        <p:nvSpPr>
          <p:cNvPr id="5" name="Rectangle 4"/>
          <p:cNvSpPr/>
          <p:nvPr/>
        </p:nvSpPr>
        <p:spPr>
          <a:xfrm>
            <a:off x="7257417" y="139700"/>
            <a:ext cx="1635063" cy="166199"/>
          </a:xfrm>
          <a:prstGeom prst="rect">
            <a:avLst/>
          </a:prstGeom>
          <a:noFill/>
          <a:ln w="635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1200" dirty="0" smtClean="0">
                <a:latin typeface="Arial" panose="020B0604020202020204" pitchFamily="34" charset="0"/>
              </a:rPr>
              <a:t>Plan de </a:t>
            </a:r>
            <a:r>
              <a:rPr lang="en-US" sz="1200" dirty="0" err="1" smtClean="0">
                <a:latin typeface="Arial" panose="020B0604020202020204" pitchFamily="34" charset="0"/>
              </a:rPr>
              <a:t>implementación</a:t>
            </a:r>
            <a:endParaRPr lang="en-US" sz="12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0352535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59493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968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94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en-US" smtClean="0">
              <a:latin typeface="Arial" charset="0"/>
              <a:cs typeface="Arial" charset="0"/>
            </a:endParaRPr>
          </a:p>
        </p:txBody>
      </p:sp>
      <p:pic>
        <p:nvPicPr>
          <p:cNvPr id="959495" name="Picture 1030" descr="The Visitations"/>
          <p:cNvPicPr>
            <a:picLocks noGrp="1" noChangeAspect="1" noChangeArrowheads="1"/>
          </p:cNvPicPr>
          <p:nvPr>
            <p:ph idx="1"/>
          </p:nvPr>
        </p:nvPicPr>
        <p:blipFill>
          <a:blip r:embed="rId6">
            <a:lum bright="24000"/>
          </a:blip>
          <a:srcRect/>
          <a:stretch>
            <a:fillRect/>
          </a:stretch>
        </p:blipFill>
        <p:spPr>
          <a:xfrm>
            <a:off x="0" y="-19050"/>
            <a:ext cx="3321050" cy="6877050"/>
          </a:xfrm>
        </p:spPr>
      </p:pic>
      <p:pic>
        <p:nvPicPr>
          <p:cNvPr id="959496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321050" y="9525"/>
            <a:ext cx="60642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tângulo 5"/>
          <p:cNvSpPr/>
          <p:nvPr/>
        </p:nvSpPr>
        <p:spPr>
          <a:xfrm>
            <a:off x="3549012" y="310932"/>
            <a:ext cx="5528123" cy="310854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2800" spc="50" dirty="0" smtClean="0">
                <a:ln w="13500">
                  <a:solidFill>
                    <a:srgbClr val="4F81BD">
                      <a:shade val="2500"/>
                      <a:alpha val="6500"/>
                    </a:srgbClr>
                  </a:solidFill>
                  <a:prstDash val="solid"/>
                </a:ln>
                <a:solidFill>
                  <a:schemeClr val="bg1"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Cambria" panose="02040503050406030204" pitchFamily="18" charset="0"/>
                <a:cs typeface="+mn-cs"/>
              </a:rPr>
              <a:t>María y Marcelino han vivido esta peregrinación.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2800" spc="50" dirty="0" smtClean="0">
                <a:ln w="13500">
                  <a:solidFill>
                    <a:srgbClr val="4F81BD">
                      <a:shade val="2500"/>
                      <a:alpha val="6500"/>
                    </a:srgbClr>
                  </a:solidFill>
                  <a:prstDash val="solid"/>
                </a:ln>
                <a:solidFill>
                  <a:schemeClr val="bg1"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Cambria" panose="02040503050406030204" pitchFamily="18" charset="0"/>
                <a:cs typeface="+mn-cs"/>
              </a:rPr>
              <a:t>Ahora es el </a:t>
            </a:r>
            <a:r>
              <a:rPr lang="es-ES_tradnl" sz="2800" b="1" spc="50" dirty="0" smtClean="0">
                <a:ln w="13500">
                  <a:solidFill>
                    <a:srgbClr val="4F81BD">
                      <a:shade val="2500"/>
                      <a:alpha val="6500"/>
                    </a:srgbClr>
                  </a:solidFill>
                  <a:prstDash val="solid"/>
                </a:ln>
                <a:solidFill>
                  <a:schemeClr val="bg1"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Cambria" panose="02040503050406030204" pitchFamily="18" charset="0"/>
                <a:cs typeface="+mn-cs"/>
              </a:rPr>
              <a:t>momento en el que nosotros emprendemos el viaje juntos</a:t>
            </a:r>
            <a:r>
              <a:rPr lang="es-ES_tradnl" sz="2800" spc="50" dirty="0" smtClean="0">
                <a:ln w="13500">
                  <a:solidFill>
                    <a:srgbClr val="4F81BD">
                      <a:shade val="2500"/>
                      <a:alpha val="6500"/>
                    </a:srgbClr>
                  </a:solidFill>
                  <a:prstDash val="solid"/>
                </a:ln>
                <a:solidFill>
                  <a:schemeClr val="bg1"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Cambria" panose="02040503050406030204" pitchFamily="18" charset="0"/>
                <a:cs typeface="+mn-cs"/>
              </a:rPr>
              <a:t>.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2800" b="1" spc="50" dirty="0" smtClean="0">
                <a:ln w="13500">
                  <a:solidFill>
                    <a:srgbClr val="4F81BD">
                      <a:shade val="2500"/>
                      <a:alpha val="6500"/>
                    </a:srgbClr>
                  </a:solidFill>
                  <a:prstDash val="solid"/>
                </a:ln>
                <a:solidFill>
                  <a:schemeClr val="bg1"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Cambria" panose="02040503050406030204" pitchFamily="18" charset="0"/>
                <a:cs typeface="+mn-cs"/>
              </a:rPr>
              <a:t>Maristas nuevos hacia una nueva tierra!</a:t>
            </a:r>
            <a:endParaRPr lang="es-ES_tradnl" sz="2800" b="1" spc="50" dirty="0">
              <a:ln w="13500">
                <a:solidFill>
                  <a:srgbClr val="4F81BD">
                    <a:shade val="2500"/>
                    <a:alpha val="6500"/>
                  </a:srgbClr>
                </a:solidFill>
                <a:prstDash val="solid"/>
              </a:ln>
              <a:solidFill>
                <a:schemeClr val="bg1">
                  <a:alpha val="95000"/>
                </a:schemeClr>
              </a:solidFill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  <a:latin typeface="Cambria" panose="02040503050406030204" pitchFamily="18" charset="0"/>
              <a:cs typeface="+mn-cs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6321" name="Title 1"/>
          <p:cNvSpPr>
            <a:spLocks noGrp="1"/>
          </p:cNvSpPr>
          <p:nvPr>
            <p:ph type="title"/>
          </p:nvPr>
        </p:nvSpPr>
        <p:spPr>
          <a:xfrm>
            <a:off x="252412" y="1055160"/>
            <a:ext cx="8640763" cy="332399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…con sugerencias importantes.</a:t>
            </a:r>
          </a:p>
        </p:txBody>
      </p:sp>
      <p:sp>
        <p:nvSpPr>
          <p:cNvPr id="3256322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88913" y="2241550"/>
            <a:ext cx="2435225" cy="574675"/>
          </a:xfrm>
          <a:prstGeom prst="homePlate">
            <a:avLst>
              <a:gd name="adj" fmla="val 19206"/>
            </a:avLst>
          </a:prstGeom>
          <a:solidFill>
            <a:srgbClr val="778025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>
                <a:solidFill>
                  <a:srgbClr val="FFFFFF"/>
                </a:solidFill>
              </a:rPr>
              <a:t>Espiritualidad</a:t>
            </a:r>
          </a:p>
        </p:txBody>
      </p:sp>
      <p:sp>
        <p:nvSpPr>
          <p:cNvPr id="3256323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862263" y="2241550"/>
            <a:ext cx="6065837" cy="574675"/>
          </a:xfrm>
          <a:prstGeom prst="rect">
            <a:avLst/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>
                <a:solidFill>
                  <a:srgbClr val="000000"/>
                </a:solidFill>
              </a:rPr>
              <a:t>Necesidad de mejorar aún más la </a:t>
            </a:r>
            <a:r>
              <a:rPr lang="es-ES" sz="1400" b="1">
                <a:solidFill>
                  <a:srgbClr val="000000"/>
                </a:solidFill>
              </a:rPr>
              <a:t>espiritualidad</a:t>
            </a:r>
            <a:r>
              <a:rPr lang="es-ES" sz="1400">
                <a:solidFill>
                  <a:srgbClr val="000000"/>
                </a:solidFill>
              </a:rPr>
              <a:t> a través de todas las dimensiones de los Nuevos Modelos.</a:t>
            </a:r>
          </a:p>
        </p:txBody>
      </p:sp>
      <p:sp>
        <p:nvSpPr>
          <p:cNvPr id="3256324" name="AutoShape 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79388" y="2960688"/>
            <a:ext cx="2436812" cy="576262"/>
          </a:xfrm>
          <a:prstGeom prst="homePlate">
            <a:avLst>
              <a:gd name="adj" fmla="val 19166"/>
            </a:avLst>
          </a:prstGeom>
          <a:solidFill>
            <a:srgbClr val="778025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>
                <a:solidFill>
                  <a:srgbClr val="FFFFFF"/>
                </a:solidFill>
              </a:rPr>
              <a:t>Laicos</a:t>
            </a:r>
          </a:p>
        </p:txBody>
      </p:sp>
      <p:sp>
        <p:nvSpPr>
          <p:cNvPr id="3256325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828925" y="2960688"/>
            <a:ext cx="6064250" cy="576262"/>
          </a:xfrm>
          <a:prstGeom prst="rect">
            <a:avLst/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>
                <a:solidFill>
                  <a:srgbClr val="000000"/>
                </a:solidFill>
              </a:rPr>
              <a:t>Necesidad de más formación y acompañamiento. </a:t>
            </a:r>
          </a:p>
        </p:txBody>
      </p:sp>
      <p:sp>
        <p:nvSpPr>
          <p:cNvPr id="3256326" name="AutoShape 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79388" y="4397375"/>
            <a:ext cx="2436812" cy="976313"/>
          </a:xfrm>
          <a:prstGeom prst="homePlate">
            <a:avLst>
              <a:gd name="adj" fmla="val 19170"/>
            </a:avLst>
          </a:prstGeom>
          <a:solidFill>
            <a:srgbClr val="778025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>
                <a:solidFill>
                  <a:srgbClr val="FFFFFF"/>
                </a:solidFill>
              </a:rPr>
              <a:t>Gestión</a:t>
            </a:r>
          </a:p>
        </p:txBody>
      </p:sp>
      <p:sp>
        <p:nvSpPr>
          <p:cNvPr id="3256327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828925" y="4397375"/>
            <a:ext cx="6064250" cy="976313"/>
          </a:xfrm>
          <a:prstGeom prst="rect">
            <a:avLst/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>
                <a:solidFill>
                  <a:srgbClr val="000000"/>
                </a:solidFill>
              </a:rPr>
              <a:t>Necesidad de mejorar significativamente las </a:t>
            </a:r>
            <a:r>
              <a:rPr lang="es-ES" sz="1400" b="1">
                <a:solidFill>
                  <a:srgbClr val="000000"/>
                </a:solidFill>
              </a:rPr>
              <a:t>estructuras regionales</a:t>
            </a:r>
            <a:r>
              <a:rPr lang="es-ES" sz="1400">
                <a:solidFill>
                  <a:srgbClr val="000000"/>
                </a:solidFill>
              </a:rPr>
              <a:t>.</a:t>
            </a:r>
          </a:p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>
                <a:solidFill>
                  <a:srgbClr val="000000"/>
                </a:solidFill>
              </a:rPr>
              <a:t>Desarrollo del </a:t>
            </a:r>
            <a:r>
              <a:rPr lang="es-ES" sz="1400" b="1">
                <a:solidFill>
                  <a:srgbClr val="000000"/>
                </a:solidFill>
              </a:rPr>
              <a:t>liderazgo.</a:t>
            </a:r>
            <a:endParaRPr lang="es-ES" sz="1400">
              <a:solidFill>
                <a:srgbClr val="000000"/>
              </a:solidFill>
            </a:endParaRPr>
          </a:p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>
                <a:solidFill>
                  <a:srgbClr val="000000"/>
                </a:solidFill>
              </a:rPr>
              <a:t>Planificación</a:t>
            </a:r>
            <a:r>
              <a:rPr lang="es-ES_tradnl" sz="1400">
                <a:solidFill>
                  <a:srgbClr val="000000"/>
                </a:solidFill>
              </a:rPr>
              <a:t> y desarrollo de </a:t>
            </a:r>
            <a:r>
              <a:rPr lang="es-ES_tradnl" sz="1400" b="1">
                <a:solidFill>
                  <a:srgbClr val="000000"/>
                </a:solidFill>
              </a:rPr>
              <a:t>competencias.</a:t>
            </a:r>
            <a:endParaRPr lang="es-ES" sz="1400">
              <a:solidFill>
                <a:srgbClr val="000000"/>
              </a:solidFill>
            </a:endParaRPr>
          </a:p>
        </p:txBody>
      </p:sp>
      <p:sp>
        <p:nvSpPr>
          <p:cNvPr id="3256328" name="AutoShape 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79388" y="5516563"/>
            <a:ext cx="2436812" cy="576262"/>
          </a:xfrm>
          <a:prstGeom prst="homePlate">
            <a:avLst>
              <a:gd name="adj" fmla="val 19166"/>
            </a:avLst>
          </a:prstGeom>
          <a:solidFill>
            <a:srgbClr val="778025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>
                <a:solidFill>
                  <a:srgbClr val="FFFFFF"/>
                </a:solidFill>
              </a:rPr>
              <a:t>Implementación</a:t>
            </a:r>
          </a:p>
        </p:txBody>
      </p:sp>
      <p:sp>
        <p:nvSpPr>
          <p:cNvPr id="3256329" name="Rectangle 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828925" y="5516563"/>
            <a:ext cx="6064250" cy="576262"/>
          </a:xfrm>
          <a:prstGeom prst="rect">
            <a:avLst/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>
                <a:solidFill>
                  <a:srgbClr val="000000"/>
                </a:solidFill>
              </a:rPr>
              <a:t>Necesidad de implicar a todo el mundo Marista y tener </a:t>
            </a:r>
            <a:r>
              <a:rPr lang="es-ES" sz="1400" b="1">
                <a:solidFill>
                  <a:srgbClr val="000000"/>
                </a:solidFill>
              </a:rPr>
              <a:t>personas adecuadas </a:t>
            </a:r>
            <a:r>
              <a:rPr lang="es-ES" sz="1400">
                <a:solidFill>
                  <a:srgbClr val="000000"/>
                </a:solidFill>
              </a:rPr>
              <a:t>en todos los niveles para sostener el cambio.</a:t>
            </a:r>
          </a:p>
        </p:txBody>
      </p:sp>
      <p:sp>
        <p:nvSpPr>
          <p:cNvPr id="3256330" name="AutoShap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79388" y="3644900"/>
            <a:ext cx="2436812" cy="576263"/>
          </a:xfrm>
          <a:prstGeom prst="homePlate">
            <a:avLst>
              <a:gd name="adj" fmla="val 19166"/>
            </a:avLst>
          </a:prstGeom>
          <a:solidFill>
            <a:srgbClr val="778025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>
                <a:solidFill>
                  <a:srgbClr val="FFFFFF"/>
                </a:solidFill>
              </a:rPr>
              <a:t>Modelos para Provincias concretas</a:t>
            </a:r>
          </a:p>
        </p:txBody>
      </p:sp>
      <p:sp>
        <p:nvSpPr>
          <p:cNvPr id="3256331" name="Rectangle 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828925" y="3644900"/>
            <a:ext cx="6064250" cy="576263"/>
          </a:xfrm>
          <a:prstGeom prst="rect">
            <a:avLst/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 dirty="0">
                <a:solidFill>
                  <a:srgbClr val="000000"/>
                </a:solidFill>
              </a:rPr>
              <a:t>Necesidad de contar con </a:t>
            </a:r>
            <a:r>
              <a:rPr lang="es-ES" sz="1400" dirty="0" smtClean="0">
                <a:solidFill>
                  <a:srgbClr val="000000"/>
                </a:solidFill>
              </a:rPr>
              <a:t>una propuesta de modelo </a:t>
            </a:r>
            <a:r>
              <a:rPr lang="es-ES" sz="1400" dirty="0">
                <a:solidFill>
                  <a:srgbClr val="000000"/>
                </a:solidFill>
              </a:rPr>
              <a:t>para </a:t>
            </a:r>
            <a:r>
              <a:rPr lang="es-ES" sz="1400" b="1" dirty="0">
                <a:solidFill>
                  <a:srgbClr val="000000"/>
                </a:solidFill>
              </a:rPr>
              <a:t>aquellas Provincias que </a:t>
            </a:r>
            <a:r>
              <a:rPr lang="es-ES" sz="1400" b="1" dirty="0" smtClean="0">
                <a:solidFill>
                  <a:srgbClr val="000000"/>
                </a:solidFill>
              </a:rPr>
              <a:t>han de hacer frente al desafío de </a:t>
            </a:r>
            <a:r>
              <a:rPr lang="es-ES" sz="1400" b="1" dirty="0">
                <a:solidFill>
                  <a:srgbClr val="000000"/>
                </a:solidFill>
              </a:rPr>
              <a:t>la Misión y </a:t>
            </a:r>
            <a:r>
              <a:rPr lang="es-ES" sz="1400" b="1" dirty="0" smtClean="0">
                <a:solidFill>
                  <a:srgbClr val="000000"/>
                </a:solidFill>
              </a:rPr>
              <a:t>de la sostenibilidad vocacional </a:t>
            </a:r>
            <a:r>
              <a:rPr lang="es-ES" sz="1400" dirty="0">
                <a:solidFill>
                  <a:srgbClr val="000000"/>
                </a:solidFill>
              </a:rPr>
              <a:t>(Canadá, Australia, Europa Centro Oeste).</a:t>
            </a:r>
          </a:p>
        </p:txBody>
      </p:sp>
      <p:sp>
        <p:nvSpPr>
          <p:cNvPr id="3256332" name="Rectangle 10"/>
          <p:cNvSpPr>
            <a:spLocks noChangeArrowheads="1"/>
          </p:cNvSpPr>
          <p:nvPr/>
        </p:nvSpPr>
        <p:spPr bwMode="auto">
          <a:xfrm>
            <a:off x="6796088" y="139700"/>
            <a:ext cx="2097087" cy="16668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" sz="1200">
                <a:solidFill>
                  <a:srgbClr val="000000"/>
                </a:solidFill>
              </a:rPr>
              <a:t>Aportaciones de las Provincias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799" name="Rectangle 2"/>
          <p:cNvSpPr>
            <a:spLocks noGrp="1" noChangeArrowheads="1"/>
          </p:cNvSpPr>
          <p:nvPr>
            <p:ph type="title"/>
          </p:nvPr>
        </p:nvSpPr>
        <p:spPr>
          <a:xfrm>
            <a:off x="169863" y="744903"/>
            <a:ext cx="8640763" cy="664797"/>
          </a:xfrm>
        </p:spPr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En el contexto europeo se ha realizado una primera aproximación a las prioridades comunes.</a:t>
            </a:r>
          </a:p>
        </p:txBody>
      </p:sp>
      <p:graphicFrame>
        <p:nvGraphicFramePr>
          <p:cNvPr id="587798" name="AutoShape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619864"/>
              </p:ext>
            </p:ext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99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AutoShape 2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entagon 2"/>
          <p:cNvSpPr/>
          <p:nvPr/>
        </p:nvSpPr>
        <p:spPr>
          <a:xfrm>
            <a:off x="169863" y="1768301"/>
            <a:ext cx="2481262" cy="684212"/>
          </a:xfrm>
          <a:prstGeom prst="homePlate">
            <a:avLst>
              <a:gd name="adj" fmla="val 24506"/>
            </a:avLst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b="1" dirty="0" smtClean="0">
                <a:solidFill>
                  <a:srgbClr val="FFFFFF"/>
                </a:solidFill>
                <a:cs typeface="Arial" pitchFamily="34" charset="0"/>
              </a:rPr>
              <a:t>Fase I</a:t>
            </a:r>
            <a:endParaRPr lang="es-ES_tradnl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9" name="Chevron 18"/>
          <p:cNvSpPr/>
          <p:nvPr/>
        </p:nvSpPr>
        <p:spPr>
          <a:xfrm>
            <a:off x="2532063" y="1768301"/>
            <a:ext cx="2354262" cy="684212"/>
          </a:xfrm>
          <a:prstGeom prst="chevron">
            <a:avLst>
              <a:gd name="adj" fmla="val 24506"/>
            </a:avLst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b="1" dirty="0" smtClean="0">
                <a:solidFill>
                  <a:srgbClr val="FFFFFF"/>
                </a:solidFill>
                <a:cs typeface="Arial" pitchFamily="34" charset="0"/>
              </a:rPr>
              <a:t>Fase II</a:t>
            </a:r>
            <a:endParaRPr lang="es-ES_tradnl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Chevron 19"/>
          <p:cNvSpPr/>
          <p:nvPr/>
        </p:nvSpPr>
        <p:spPr>
          <a:xfrm>
            <a:off x="4764088" y="1768301"/>
            <a:ext cx="2354262" cy="684212"/>
          </a:xfrm>
          <a:prstGeom prst="chevron">
            <a:avLst>
              <a:gd name="adj" fmla="val 24506"/>
            </a:avLst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b="1" dirty="0" smtClean="0">
                <a:solidFill>
                  <a:srgbClr val="FFFFFF"/>
                </a:solidFill>
                <a:cs typeface="Arial" pitchFamily="34" charset="0"/>
              </a:rPr>
              <a:t>Fase III</a:t>
            </a:r>
            <a:endParaRPr lang="es-ES_tradnl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87803" name="Rectangle 8"/>
          <p:cNvSpPr>
            <a:spLocks noChangeArrowheads="1"/>
          </p:cNvSpPr>
          <p:nvPr/>
        </p:nvSpPr>
        <p:spPr bwMode="gray">
          <a:xfrm>
            <a:off x="169863" y="2492896"/>
            <a:ext cx="2362200" cy="403033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66788" eaLnBrk="0" hangingPunct="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</a:pPr>
            <a:r>
              <a:rPr lang="es-ES_tradnl" sz="1400" b="1" dirty="0" smtClean="0">
                <a:solidFill>
                  <a:srgbClr val="000000"/>
                </a:solidFill>
              </a:rPr>
              <a:t>Personas</a:t>
            </a:r>
          </a:p>
          <a:p>
            <a:pPr marL="113414" indent="-113414" defTabSz="966788" eaLnBrk="0" hangingPunct="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s-ES_tradnl" sz="1400" dirty="0" smtClean="0">
                <a:solidFill>
                  <a:srgbClr val="000000"/>
                </a:solidFill>
              </a:rPr>
              <a:t>Facilitar nuevas </a:t>
            </a:r>
            <a:r>
              <a:rPr lang="es-ES_tradnl" sz="1400" b="1" dirty="0" smtClean="0">
                <a:solidFill>
                  <a:srgbClr val="000000"/>
                </a:solidFill>
              </a:rPr>
              <a:t>actitudes Maristas</a:t>
            </a:r>
            <a:r>
              <a:rPr lang="es-ES_tradnl" sz="1400" dirty="0" smtClean="0">
                <a:solidFill>
                  <a:srgbClr val="000000"/>
                </a:solidFill>
              </a:rPr>
              <a:t>.</a:t>
            </a:r>
            <a:endParaRPr lang="es-ES_tradnl" sz="1400" b="1" dirty="0" smtClean="0">
              <a:solidFill>
                <a:srgbClr val="000000"/>
              </a:solidFill>
            </a:endParaRPr>
          </a:p>
          <a:p>
            <a:pPr marL="113414" indent="-113414" defTabSz="966788" eaLnBrk="0" hangingPunct="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s-ES_tradnl" sz="1400" b="1" dirty="0" smtClean="0">
                <a:solidFill>
                  <a:srgbClr val="000000"/>
                </a:solidFill>
              </a:rPr>
              <a:t>Seguimiento y acompañamiento</a:t>
            </a:r>
            <a:r>
              <a:rPr lang="es-ES_tradnl" sz="1400" dirty="0" smtClean="0">
                <a:solidFill>
                  <a:srgbClr val="000000"/>
                </a:solidFill>
              </a:rPr>
              <a:t>.</a:t>
            </a:r>
          </a:p>
          <a:p>
            <a:pPr defTabSz="966788" eaLnBrk="0" hangingPunct="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</a:pPr>
            <a:endParaRPr lang="es-ES_tradnl" sz="1400" b="1" dirty="0" smtClean="0">
              <a:solidFill>
                <a:srgbClr val="000000"/>
              </a:solidFill>
            </a:endParaRPr>
          </a:p>
          <a:p>
            <a:pPr defTabSz="966788" eaLnBrk="0" hangingPunct="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</a:pPr>
            <a:r>
              <a:rPr lang="es-ES_tradnl" sz="1400" b="1" dirty="0" smtClean="0">
                <a:solidFill>
                  <a:srgbClr val="000000"/>
                </a:solidFill>
              </a:rPr>
              <a:t>Misión</a:t>
            </a:r>
          </a:p>
          <a:p>
            <a:pPr marL="113414" indent="-113414" defTabSz="966788" eaLnBrk="0" hangingPunct="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s-ES_tradnl" sz="1400" b="1" dirty="0" smtClean="0">
                <a:solidFill>
                  <a:srgbClr val="000000"/>
                </a:solidFill>
              </a:rPr>
              <a:t>Diseño estratégico </a:t>
            </a:r>
            <a:r>
              <a:rPr lang="es-ES_tradnl" sz="1400" dirty="0" smtClean="0">
                <a:solidFill>
                  <a:srgbClr val="000000"/>
                </a:solidFill>
              </a:rPr>
              <a:t>común.</a:t>
            </a:r>
            <a:endParaRPr lang="es-ES_tradnl" sz="1400" b="1" dirty="0" smtClean="0">
              <a:solidFill>
                <a:srgbClr val="000000"/>
              </a:solidFill>
            </a:endParaRPr>
          </a:p>
          <a:p>
            <a:pPr marL="113414" indent="-113414" defTabSz="966788" eaLnBrk="0" hangingPunct="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s-ES_tradnl" sz="1400" dirty="0" smtClean="0">
                <a:solidFill>
                  <a:srgbClr val="000000"/>
                </a:solidFill>
              </a:rPr>
              <a:t>Desarrollo de </a:t>
            </a:r>
            <a:r>
              <a:rPr lang="es-ES_tradnl" sz="1400" b="1" dirty="0" smtClean="0">
                <a:solidFill>
                  <a:srgbClr val="000000"/>
                </a:solidFill>
              </a:rPr>
              <a:t>redes de trabajo </a:t>
            </a:r>
            <a:r>
              <a:rPr lang="es-ES_tradnl" sz="1400" dirty="0" smtClean="0">
                <a:solidFill>
                  <a:srgbClr val="000000"/>
                </a:solidFill>
              </a:rPr>
              <a:t>internas (escuelas, evangelización y trabajo social).</a:t>
            </a:r>
          </a:p>
          <a:p>
            <a:pPr marL="113414" indent="-113414" defTabSz="966788" eaLnBrk="0" hangingPunct="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s-ES_tradnl" sz="1400" dirty="0" smtClean="0">
                <a:solidFill>
                  <a:srgbClr val="000000"/>
                </a:solidFill>
              </a:rPr>
              <a:t>Mejora de la </a:t>
            </a:r>
            <a:r>
              <a:rPr lang="es-ES_tradnl" sz="1400" b="1" dirty="0" smtClean="0">
                <a:solidFill>
                  <a:srgbClr val="000000"/>
                </a:solidFill>
              </a:rPr>
              <a:t>formación </a:t>
            </a:r>
            <a:r>
              <a:rPr lang="es-ES_tradnl" sz="1400" dirty="0" smtClean="0">
                <a:solidFill>
                  <a:srgbClr val="000000"/>
                </a:solidFill>
              </a:rPr>
              <a:t>(líderes y formación conjunta de hermanos y laicos).</a:t>
            </a:r>
          </a:p>
          <a:p>
            <a:pPr marL="113414" indent="-113414" defTabSz="966788" eaLnBrk="0" hangingPunct="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s-ES_tradnl" sz="1400" b="1" dirty="0" smtClean="0">
                <a:solidFill>
                  <a:srgbClr val="000000"/>
                </a:solidFill>
              </a:rPr>
              <a:t>Compartir recursos humanos</a:t>
            </a:r>
            <a:r>
              <a:rPr lang="es-ES_tradnl" sz="1400" dirty="0" smtClean="0">
                <a:solidFill>
                  <a:srgbClr val="000000"/>
                </a:solidFill>
              </a:rPr>
              <a:t>.</a:t>
            </a:r>
          </a:p>
          <a:p>
            <a:pPr marL="113414" indent="-113414" defTabSz="966788" eaLnBrk="0" hangingPunct="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s-ES_tradnl" sz="1400" b="1" dirty="0" smtClean="0">
                <a:solidFill>
                  <a:srgbClr val="000000"/>
                </a:solidFill>
              </a:rPr>
              <a:t>Comunicación</a:t>
            </a:r>
            <a:r>
              <a:rPr lang="es-ES_tradnl" sz="1400" dirty="0" smtClean="0">
                <a:solidFill>
                  <a:srgbClr val="000000"/>
                </a:solidFill>
              </a:rPr>
              <a:t>.</a:t>
            </a:r>
            <a:endParaRPr lang="es-ES_tradnl" sz="1400" dirty="0">
              <a:solidFill>
                <a:srgbClr val="000000"/>
              </a:solidFill>
            </a:endParaRPr>
          </a:p>
        </p:txBody>
      </p:sp>
      <p:sp>
        <p:nvSpPr>
          <p:cNvPr id="24" name="Rectangle 8"/>
          <p:cNvSpPr>
            <a:spLocks noChangeArrowheads="1"/>
          </p:cNvSpPr>
          <p:nvPr/>
        </p:nvSpPr>
        <p:spPr bwMode="gray">
          <a:xfrm>
            <a:off x="2532063" y="2492896"/>
            <a:ext cx="2111375" cy="294542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66788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defRPr/>
            </a:pPr>
            <a:r>
              <a:rPr lang="es-ES_tradnl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Misión</a:t>
            </a:r>
          </a:p>
          <a:p>
            <a:pPr marL="113414" indent="-113414" defTabSz="966788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/>
              <a:buChar char="•"/>
              <a:defRPr/>
            </a:pPr>
            <a:r>
              <a:rPr lang="es-ES_tradnl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Planificación y control</a:t>
            </a:r>
            <a:r>
              <a:rPr lang="es-ES_tradn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.</a:t>
            </a:r>
          </a:p>
          <a:p>
            <a:pPr marL="113414" indent="-113414" defTabSz="966788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/>
              <a:buChar char="•"/>
              <a:defRPr/>
            </a:pPr>
            <a:r>
              <a:rPr lang="es-ES_tradn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Creación de </a:t>
            </a:r>
            <a:r>
              <a:rPr lang="es-ES_tradnl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servicios compartidos.</a:t>
            </a:r>
            <a:endParaRPr lang="es-ES_tradnl" sz="14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13414" indent="-113414" defTabSz="966788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/>
              <a:buChar char="•"/>
              <a:defRPr/>
            </a:pPr>
            <a:r>
              <a:rPr lang="es-ES_tradn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Modelo de </a:t>
            </a:r>
            <a:r>
              <a:rPr lang="es-ES_tradnl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asociación</a:t>
            </a:r>
            <a:r>
              <a:rPr lang="es-ES_tradn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 en el Instituto.</a:t>
            </a:r>
          </a:p>
          <a:p>
            <a:pPr marL="113414" indent="-113414" defTabSz="966788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/>
              <a:buChar char="•"/>
              <a:defRPr/>
            </a:pPr>
            <a:r>
              <a:rPr lang="es-ES_tradn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Mapeo de </a:t>
            </a:r>
            <a:r>
              <a:rPr lang="es-ES_tradnl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competencias</a:t>
            </a:r>
            <a:r>
              <a:rPr lang="es-ES_tradn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, planificación y desarrollo.</a:t>
            </a:r>
          </a:p>
          <a:p>
            <a:pPr marL="113414" indent="-113414" defTabSz="966788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/>
              <a:buChar char="•"/>
              <a:defRPr/>
            </a:pPr>
            <a:r>
              <a:rPr lang="es-ES_tradnl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Gestión del conocimiento </a:t>
            </a:r>
            <a:r>
              <a:rPr lang="es-ES_tradn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con el apoyo de herramientas y modelos de desarrollo.</a:t>
            </a:r>
          </a:p>
          <a:p>
            <a:pPr marL="113414" indent="-113414" defTabSz="966788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/>
              <a:buChar char="•"/>
              <a:defRPr/>
            </a:pPr>
            <a:endParaRPr lang="es-ES_tradnl" sz="1400" b="1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6" name="Rectangle 8"/>
          <p:cNvSpPr>
            <a:spLocks noChangeArrowheads="1"/>
          </p:cNvSpPr>
          <p:nvPr/>
        </p:nvSpPr>
        <p:spPr bwMode="gray">
          <a:xfrm>
            <a:off x="4764088" y="2492896"/>
            <a:ext cx="2125662" cy="14342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66788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defRPr/>
            </a:pPr>
            <a:r>
              <a:rPr lang="es-ES_tradnl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Misión</a:t>
            </a:r>
          </a:p>
          <a:p>
            <a:pPr marL="113414" indent="-113414" defTabSz="966788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/>
              <a:buChar char="•"/>
              <a:defRPr/>
            </a:pPr>
            <a:r>
              <a:rPr lang="es-ES_tradn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Desarrollo de </a:t>
            </a:r>
            <a:r>
              <a:rPr lang="es-ES_tradnl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indicadores</a:t>
            </a:r>
            <a:r>
              <a:rPr lang="es-ES_tradn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 de impacto.</a:t>
            </a:r>
          </a:p>
          <a:p>
            <a:pPr marL="113414" indent="-113414" defTabSz="966788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/>
              <a:buChar char="•"/>
              <a:defRPr/>
            </a:pPr>
            <a:r>
              <a:rPr lang="es-ES_tradn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Estandarización y desarrollo de </a:t>
            </a:r>
            <a:r>
              <a:rPr lang="es-ES_tradnl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herramientas tecnológicas.</a:t>
            </a:r>
            <a:r>
              <a:rPr lang="es-ES_tradn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.</a:t>
            </a:r>
            <a:endParaRPr lang="es-ES_tradnl" sz="14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8" name="Chevron 17"/>
          <p:cNvSpPr/>
          <p:nvPr/>
        </p:nvSpPr>
        <p:spPr>
          <a:xfrm>
            <a:off x="6999288" y="1768301"/>
            <a:ext cx="1993900" cy="684212"/>
          </a:xfrm>
          <a:prstGeom prst="chevron">
            <a:avLst>
              <a:gd name="adj" fmla="val 24506"/>
            </a:avLst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b="1" dirty="0" smtClean="0">
                <a:solidFill>
                  <a:srgbClr val="FFFFFF"/>
                </a:solidFill>
                <a:cs typeface="Arial" pitchFamily="34" charset="0"/>
              </a:rPr>
              <a:t>Fase IV</a:t>
            </a:r>
            <a:endParaRPr lang="es-ES_tradnl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3" name="Rectangle 8"/>
          <p:cNvSpPr>
            <a:spLocks noChangeArrowheads="1"/>
          </p:cNvSpPr>
          <p:nvPr/>
        </p:nvSpPr>
        <p:spPr bwMode="gray">
          <a:xfrm>
            <a:off x="7010400" y="2492896"/>
            <a:ext cx="2125663" cy="100796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66788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defRPr/>
            </a:pPr>
            <a:r>
              <a:rPr lang="es-ES_tradnl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Misión</a:t>
            </a:r>
          </a:p>
          <a:p>
            <a:pPr marL="113414" indent="-113414" defTabSz="966788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/>
              <a:buChar char="•"/>
              <a:defRPr/>
            </a:pPr>
            <a:r>
              <a:rPr lang="es-ES_tradn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Diseño del </a:t>
            </a:r>
            <a:r>
              <a:rPr lang="es-ES_tradnl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proceso de inversión </a:t>
            </a:r>
            <a:r>
              <a:rPr lang="es-ES_tradn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y diseño centralizado de </a:t>
            </a:r>
            <a:r>
              <a:rPr lang="es-ES_tradnl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captación de fondos</a:t>
            </a:r>
            <a:r>
              <a:rPr lang="es-ES_tradn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.</a:t>
            </a:r>
            <a:endParaRPr lang="es-ES_tradnl" sz="14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587808" name="Rectangle 10"/>
          <p:cNvSpPr>
            <a:spLocks noChangeArrowheads="1"/>
          </p:cNvSpPr>
          <p:nvPr/>
        </p:nvSpPr>
        <p:spPr bwMode="auto">
          <a:xfrm>
            <a:off x="6796088" y="139700"/>
            <a:ext cx="2097087" cy="16668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 dirty="0" smtClean="0">
                <a:solidFill>
                  <a:srgbClr val="000000"/>
                </a:solidFill>
              </a:rPr>
              <a:t>Aportaciones de las Provincias</a:t>
            </a:r>
            <a:endParaRPr lang="es-ES_tradnl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9393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4797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En Arco Norte la reflexión se centró en las Finanzas y se coincidió en la necesidad de compartir conocimientos</a:t>
            </a:r>
          </a:p>
        </p:txBody>
      </p:sp>
      <p:sp>
        <p:nvSpPr>
          <p:cNvPr id="3259394" name="Rectangle 4"/>
          <p:cNvSpPr>
            <a:spLocks noChangeArrowheads="1"/>
          </p:cNvSpPr>
          <p:nvPr/>
        </p:nvSpPr>
        <p:spPr bwMode="auto">
          <a:xfrm>
            <a:off x="6894513" y="139700"/>
            <a:ext cx="1998662" cy="16668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n-US" sz="1200">
                <a:solidFill>
                  <a:srgbClr val="000000"/>
                </a:solidFill>
              </a:rPr>
              <a:t>Feedback from the Provinces</a:t>
            </a:r>
          </a:p>
        </p:txBody>
      </p:sp>
      <p:sp>
        <p:nvSpPr>
          <p:cNvPr id="3259395" name="Content Placeholder 2"/>
          <p:cNvSpPr txBox="1">
            <a:spLocks/>
          </p:cNvSpPr>
          <p:nvPr/>
        </p:nvSpPr>
        <p:spPr bwMode="auto">
          <a:xfrm>
            <a:off x="2232025" y="1772816"/>
            <a:ext cx="6653213" cy="247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09563" lvl="1" indent="-12700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 typeface="Arial" charset="0"/>
              <a:buChar char="•"/>
            </a:pPr>
            <a:r>
              <a:rPr lang="es-ES" sz="1400" dirty="0">
                <a:solidFill>
                  <a:srgbClr val="000000"/>
                </a:solidFill>
              </a:rPr>
              <a:t>Organizar un encuentro dedicado entre los 6 Ecónomos Provinciales para compartir </a:t>
            </a:r>
            <a:r>
              <a:rPr lang="es-ES" sz="1400" dirty="0" smtClean="0">
                <a:solidFill>
                  <a:srgbClr val="000000"/>
                </a:solidFill>
              </a:rPr>
              <a:t>de </a:t>
            </a:r>
            <a:r>
              <a:rPr lang="es-ES" sz="1400" dirty="0">
                <a:solidFill>
                  <a:srgbClr val="000000"/>
                </a:solidFill>
              </a:rPr>
              <a:t>forma transparente </a:t>
            </a:r>
            <a:r>
              <a:rPr lang="es-ES" sz="1400" dirty="0" smtClean="0">
                <a:solidFill>
                  <a:srgbClr val="000000"/>
                </a:solidFill>
              </a:rPr>
              <a:t>sus modelos, </a:t>
            </a:r>
            <a:r>
              <a:rPr lang="es-ES" sz="1400" dirty="0">
                <a:solidFill>
                  <a:srgbClr val="000000"/>
                </a:solidFill>
              </a:rPr>
              <a:t>fomentando el </a:t>
            </a:r>
            <a:r>
              <a:rPr lang="es-ES" sz="1400" b="1" dirty="0">
                <a:solidFill>
                  <a:srgbClr val="000000"/>
                </a:solidFill>
              </a:rPr>
              <a:t>intercambio de conocimientos y comparaciones internas.</a:t>
            </a:r>
            <a:endParaRPr lang="es-ES" sz="1400" dirty="0">
              <a:solidFill>
                <a:srgbClr val="000000"/>
              </a:solidFill>
            </a:endParaRPr>
          </a:p>
          <a:p>
            <a:pPr marL="309563" lvl="1" indent="-12700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 typeface="Arial" charset="0"/>
              <a:buChar char="•"/>
            </a:pPr>
            <a:r>
              <a:rPr lang="es-ES" sz="1400" dirty="0">
                <a:solidFill>
                  <a:srgbClr val="000000"/>
                </a:solidFill>
              </a:rPr>
              <a:t>Priorizar la agenda de las próximas 3 reuniones Regionales a celebrarse </a:t>
            </a:r>
            <a:r>
              <a:rPr lang="es-ES" sz="1400" dirty="0" smtClean="0">
                <a:solidFill>
                  <a:srgbClr val="000000"/>
                </a:solidFill>
              </a:rPr>
              <a:t>en </a:t>
            </a:r>
            <a:r>
              <a:rPr lang="es-ES" sz="1400" dirty="0">
                <a:solidFill>
                  <a:srgbClr val="000000"/>
                </a:solidFill>
              </a:rPr>
              <a:t>2015 para aprovechar la oportunidad </a:t>
            </a:r>
            <a:r>
              <a:rPr lang="es-ES" sz="1400" dirty="0" smtClean="0">
                <a:solidFill>
                  <a:srgbClr val="000000"/>
                </a:solidFill>
              </a:rPr>
              <a:t>de </a:t>
            </a:r>
            <a:r>
              <a:rPr lang="es-ES" sz="1400" dirty="0">
                <a:solidFill>
                  <a:srgbClr val="000000"/>
                </a:solidFill>
              </a:rPr>
              <a:t>implicar a todas las Provincias.</a:t>
            </a:r>
          </a:p>
          <a:p>
            <a:pPr marL="309563" lvl="1" indent="-12700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 typeface="Arial" charset="0"/>
              <a:buChar char="•"/>
            </a:pPr>
            <a:r>
              <a:rPr lang="es-ES" sz="1400" dirty="0">
                <a:solidFill>
                  <a:srgbClr val="000000"/>
                </a:solidFill>
              </a:rPr>
              <a:t>Realizar un </a:t>
            </a:r>
            <a:r>
              <a:rPr lang="es-ES" sz="1400" b="1" dirty="0" smtClean="0">
                <a:solidFill>
                  <a:srgbClr val="000000"/>
                </a:solidFill>
              </a:rPr>
              <a:t>listado </a:t>
            </a:r>
            <a:r>
              <a:rPr lang="es-ES" sz="1400" b="1" dirty="0">
                <a:solidFill>
                  <a:srgbClr val="000000"/>
                </a:solidFill>
              </a:rPr>
              <a:t>completo de los recursos humanos y financieros disponibles</a:t>
            </a:r>
            <a:r>
              <a:rPr lang="es-ES" sz="1400" dirty="0">
                <a:solidFill>
                  <a:srgbClr val="000000"/>
                </a:solidFill>
              </a:rPr>
              <a:t> (crear una base de datos compartida).</a:t>
            </a:r>
          </a:p>
          <a:p>
            <a:pPr marL="309563" lvl="1" indent="-12700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 typeface="Arial" charset="0"/>
              <a:buChar char="•"/>
            </a:pPr>
            <a:r>
              <a:rPr lang="es-ES" sz="1400" dirty="0">
                <a:solidFill>
                  <a:srgbClr val="000000"/>
                </a:solidFill>
              </a:rPr>
              <a:t>Comenzar a trabajar en la dimensión de </a:t>
            </a:r>
            <a:r>
              <a:rPr lang="es-ES" sz="1400" b="1" dirty="0">
                <a:solidFill>
                  <a:srgbClr val="000000"/>
                </a:solidFill>
              </a:rPr>
              <a:t>cambio cultural</a:t>
            </a:r>
            <a:r>
              <a:rPr lang="es-ES" sz="1400" dirty="0">
                <a:solidFill>
                  <a:srgbClr val="000000"/>
                </a:solidFill>
              </a:rPr>
              <a:t> para facilitar una evolución progresiva de la mentalidad de las personas.</a:t>
            </a:r>
          </a:p>
          <a:p>
            <a:pPr marL="179388" indent="-179388" defTabSz="914400">
              <a:lnSpc>
                <a:spcPct val="90000"/>
              </a:lnSpc>
              <a:spcBef>
                <a:spcPts val="1400"/>
              </a:spcBef>
              <a:buClr>
                <a:srgbClr val="9B1717"/>
              </a:buClr>
              <a:buSzPct val="100000"/>
              <a:buFont typeface="Arial" charset="0"/>
              <a:buChar char="■"/>
            </a:pP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3259396" name="AutoShape 3"/>
          <p:cNvSpPr>
            <a:spLocks noChangeArrowheads="1"/>
          </p:cNvSpPr>
          <p:nvPr/>
        </p:nvSpPr>
        <p:spPr bwMode="gray">
          <a:xfrm>
            <a:off x="179388" y="1772816"/>
            <a:ext cx="2052637" cy="2476500"/>
          </a:xfrm>
          <a:prstGeom prst="homePlate">
            <a:avLst>
              <a:gd name="adj" fmla="val 0"/>
            </a:avLst>
          </a:prstGeom>
          <a:solidFill>
            <a:srgbClr val="9B1717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 i="1" dirty="0">
                <a:solidFill>
                  <a:srgbClr val="FFFFFF"/>
                </a:solidFill>
              </a:rPr>
              <a:t>Prioridad inmediata: llegar a conocernos</a:t>
            </a:r>
          </a:p>
        </p:txBody>
      </p:sp>
      <p:sp>
        <p:nvSpPr>
          <p:cNvPr id="3259397" name="Content Placeholder 2"/>
          <p:cNvSpPr txBox="1">
            <a:spLocks/>
          </p:cNvSpPr>
          <p:nvPr/>
        </p:nvSpPr>
        <p:spPr bwMode="auto">
          <a:xfrm>
            <a:off x="2232025" y="4396953"/>
            <a:ext cx="6653213" cy="183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09563" lvl="1" indent="-12700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 typeface="Arial" charset="0"/>
              <a:buChar char="•"/>
            </a:pPr>
            <a:r>
              <a:rPr lang="es-ES" sz="1400" dirty="0" smtClean="0">
                <a:solidFill>
                  <a:srgbClr val="000000"/>
                </a:solidFill>
              </a:rPr>
              <a:t>Con base en </a:t>
            </a:r>
            <a:r>
              <a:rPr lang="es-ES" sz="1400" b="1" dirty="0" smtClean="0">
                <a:solidFill>
                  <a:srgbClr val="000000"/>
                </a:solidFill>
              </a:rPr>
              <a:t>los </a:t>
            </a:r>
            <a:r>
              <a:rPr lang="es-ES" sz="1400" b="1" dirty="0">
                <a:solidFill>
                  <a:srgbClr val="000000"/>
                </a:solidFill>
              </a:rPr>
              <a:t>conocimientos compartidos </a:t>
            </a:r>
            <a:r>
              <a:rPr lang="es-ES" sz="1400" b="1" dirty="0" smtClean="0">
                <a:solidFill>
                  <a:srgbClr val="000000"/>
                </a:solidFill>
              </a:rPr>
              <a:t>hacer una selección de prioridades a ser implementadas por oleadas</a:t>
            </a:r>
            <a:r>
              <a:rPr lang="es-ES" sz="1400" dirty="0" smtClean="0">
                <a:solidFill>
                  <a:srgbClr val="000000"/>
                </a:solidFill>
              </a:rPr>
              <a:t>. </a:t>
            </a:r>
            <a:r>
              <a:rPr lang="es-ES" sz="1400" dirty="0">
                <a:solidFill>
                  <a:srgbClr val="000000"/>
                </a:solidFill>
              </a:rPr>
              <a:t>Los criterios de selección serán áreas en las que tenemos un liderazgo claro y soluciones disponibles </a:t>
            </a:r>
            <a:r>
              <a:rPr lang="es-ES" sz="1400" dirty="0" smtClean="0">
                <a:solidFill>
                  <a:srgbClr val="000000"/>
                </a:solidFill>
              </a:rPr>
              <a:t>para </a:t>
            </a:r>
            <a:r>
              <a:rPr lang="es-ES" sz="1400" dirty="0">
                <a:solidFill>
                  <a:srgbClr val="000000"/>
                </a:solidFill>
              </a:rPr>
              <a:t>ser aprovechadas por otras Provincias o debilidades clave que debemos abordar juntos.</a:t>
            </a:r>
          </a:p>
          <a:p>
            <a:pPr marL="309563" lvl="1" indent="-12700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 typeface="Arial" charset="0"/>
              <a:buChar char="•"/>
            </a:pPr>
            <a:r>
              <a:rPr lang="es-ES" sz="1400" dirty="0">
                <a:solidFill>
                  <a:srgbClr val="000000"/>
                </a:solidFill>
              </a:rPr>
              <a:t>Una vez definida la selección, </a:t>
            </a:r>
            <a:r>
              <a:rPr lang="es-ES" sz="1400" b="1" dirty="0">
                <a:solidFill>
                  <a:srgbClr val="000000"/>
                </a:solidFill>
              </a:rPr>
              <a:t>entran en juego la planificación y el compromiso</a:t>
            </a:r>
            <a:r>
              <a:rPr lang="es-ES" sz="1400" dirty="0">
                <a:solidFill>
                  <a:srgbClr val="000000"/>
                </a:solidFill>
              </a:rPr>
              <a:t> para garantizar los resultados de la implementación.</a:t>
            </a:r>
            <a:endParaRPr lang="es-ES" sz="1400" b="1" dirty="0">
              <a:solidFill>
                <a:srgbClr val="000000"/>
              </a:solidFill>
            </a:endParaRPr>
          </a:p>
        </p:txBody>
      </p:sp>
      <p:sp>
        <p:nvSpPr>
          <p:cNvPr id="3259398" name="AutoShape 3"/>
          <p:cNvSpPr>
            <a:spLocks noChangeArrowheads="1"/>
          </p:cNvSpPr>
          <p:nvPr/>
        </p:nvSpPr>
        <p:spPr bwMode="gray">
          <a:xfrm>
            <a:off x="179388" y="4396953"/>
            <a:ext cx="2052637" cy="1831975"/>
          </a:xfrm>
          <a:prstGeom prst="homePlate">
            <a:avLst>
              <a:gd name="adj" fmla="val 0"/>
            </a:avLst>
          </a:prstGeom>
          <a:solidFill>
            <a:srgbClr val="9B1717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 i="1" dirty="0">
                <a:solidFill>
                  <a:srgbClr val="FFFFFF"/>
                </a:solidFill>
              </a:rPr>
              <a:t>Segunda fase: identificación e implementación prioritaria por </a:t>
            </a:r>
            <a:r>
              <a:rPr lang="es-ES" sz="1600" b="1" i="1" dirty="0" smtClean="0">
                <a:solidFill>
                  <a:srgbClr val="FFFFFF"/>
                </a:solidFill>
              </a:rPr>
              <a:t>oleadas </a:t>
            </a:r>
            <a:endParaRPr lang="es-ES" sz="1600" b="1" i="1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0417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791575" cy="665162"/>
          </a:xfrm>
        </p:spPr>
        <p:txBody>
          <a:bodyPr/>
          <a:lstStyle/>
          <a:p>
            <a:pPr eaLnBrk="1" hangingPunct="1"/>
            <a:r>
              <a:rPr lang="es-ES_tradnl" smtClean="0">
                <a:latin typeface="+mj-lt"/>
                <a:cs typeface="Arial" charset="0"/>
              </a:rPr>
              <a:t>Paralelamente nos estamos coordinando con otros proyectos que se desarrollan a nivel de Instituto</a:t>
            </a:r>
            <a:endParaRPr lang="en-US" smtClean="0">
              <a:latin typeface="+mj-lt"/>
              <a:cs typeface="Arial" charset="0"/>
            </a:endParaRPr>
          </a:p>
        </p:txBody>
      </p:sp>
      <p:sp>
        <p:nvSpPr>
          <p:cNvPr id="3260418" name="TextBox 9"/>
          <p:cNvSpPr txBox="1">
            <a:spLocks noChangeArrowheads="1"/>
          </p:cNvSpPr>
          <p:nvPr/>
        </p:nvSpPr>
        <p:spPr bwMode="auto">
          <a:xfrm>
            <a:off x="0" y="6081713"/>
            <a:ext cx="9144000" cy="539750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180000" tIns="76200" rIns="180000" bIns="76200" anchor="ctr"/>
          <a:lstStyle/>
          <a:p>
            <a:pPr defTabSz="914400">
              <a:lnSpc>
                <a:spcPct val="90000"/>
              </a:lnSpc>
              <a:buClr>
                <a:srgbClr val="9B1717"/>
              </a:buClr>
            </a:pPr>
            <a:r>
              <a:rPr lang="es-ES_tradnl" dirty="0">
                <a:solidFill>
                  <a:srgbClr val="FFFFFF"/>
                </a:solidFill>
                <a:latin typeface="+mj-lt"/>
              </a:rPr>
              <a:t>El proyecto </a:t>
            </a:r>
            <a:r>
              <a:rPr lang="es-ES_tradnl" dirty="0" smtClean="0">
                <a:solidFill>
                  <a:srgbClr val="FFFFFF"/>
                </a:solidFill>
                <a:latin typeface="+mj-lt"/>
              </a:rPr>
              <a:t>se beneficiará </a:t>
            </a:r>
            <a:r>
              <a:rPr lang="es-ES_tradnl" dirty="0">
                <a:solidFill>
                  <a:srgbClr val="FFFFFF"/>
                </a:solidFill>
                <a:latin typeface="+mj-lt"/>
              </a:rPr>
              <a:t>mucho de la adecuada interacción con las otras iniciativas del </a:t>
            </a:r>
            <a:r>
              <a:rPr lang="es-ES_tradnl" dirty="0" smtClean="0">
                <a:solidFill>
                  <a:srgbClr val="FFFFFF"/>
                </a:solidFill>
                <a:latin typeface="+mj-lt"/>
              </a:rPr>
              <a:t>Instituto.</a:t>
            </a:r>
            <a:endParaRPr lang="es-ES_tradnl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260419" name="RunningHead"/>
          <p:cNvSpPr txBox="1">
            <a:spLocks noChangeArrowheads="1"/>
          </p:cNvSpPr>
          <p:nvPr/>
        </p:nvSpPr>
        <p:spPr bwMode="gray">
          <a:xfrm>
            <a:off x="6607175" y="139700"/>
            <a:ext cx="2284413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" sz="1200">
                <a:solidFill>
                  <a:srgbClr val="000000"/>
                </a:solidFill>
                <a:latin typeface="+mj-lt"/>
              </a:rPr>
              <a:t>Coordinación con otros proyectos</a:t>
            </a:r>
          </a:p>
        </p:txBody>
      </p:sp>
      <p:sp>
        <p:nvSpPr>
          <p:cNvPr id="5" name="Rectangle 4"/>
          <p:cNvSpPr/>
          <p:nvPr/>
        </p:nvSpPr>
        <p:spPr>
          <a:xfrm>
            <a:off x="179388" y="1700213"/>
            <a:ext cx="5127625" cy="582612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 anchor="ctr"/>
          <a:lstStyle/>
          <a:p>
            <a:pPr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" sz="1600" b="1" dirty="0">
                <a:solidFill>
                  <a:srgbClr val="FFFFFF"/>
                </a:solidFill>
                <a:latin typeface="+mj-lt"/>
                <a:cs typeface="Arial" pitchFamily="34" charset="0"/>
              </a:rPr>
              <a:t>Proyectos destacados en superposición parcial con Nuevos Modelo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828800" y="2312988"/>
            <a:ext cx="3460750" cy="100806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36000" rIns="71120" bIns="108000"/>
          <a:lstStyle/>
          <a:p>
            <a:pPr marL="109220" indent="-10922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latin typeface="+mj-lt"/>
                <a:cs typeface="Arial" pitchFamily="34" charset="0"/>
              </a:rPr>
              <a:t>Encuentros ampliados del Consejo General con las regiones.</a:t>
            </a:r>
          </a:p>
          <a:p>
            <a:pPr marL="109220" indent="-10922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latin typeface="+mj-lt"/>
                <a:cs typeface="Arial" pitchFamily="34" charset="0"/>
              </a:rPr>
              <a:t>Proceso de celebración del bicentenario de la fundación.</a:t>
            </a:r>
          </a:p>
          <a:p>
            <a:pPr marL="109220" indent="-10922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latin typeface="+mj-lt"/>
                <a:cs typeface="Arial" pitchFamily="34" charset="0"/>
              </a:rPr>
              <a:t>Revisión de las Constituciones.</a:t>
            </a:r>
          </a:p>
        </p:txBody>
      </p:sp>
      <p:sp>
        <p:nvSpPr>
          <p:cNvPr id="14" name="AutoShape 3"/>
          <p:cNvSpPr>
            <a:spLocks noChangeArrowheads="1"/>
          </p:cNvSpPr>
          <p:nvPr/>
        </p:nvSpPr>
        <p:spPr bwMode="gray">
          <a:xfrm>
            <a:off x="179388" y="2312988"/>
            <a:ext cx="1649412" cy="1008062"/>
          </a:xfrm>
          <a:prstGeom prst="homePlate">
            <a:avLst>
              <a:gd name="adj" fmla="val 0"/>
            </a:avLst>
          </a:prstGeom>
          <a:solidFill>
            <a:srgbClr val="9B1717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" sz="1400" kern="0" dirty="0">
                <a:solidFill>
                  <a:srgbClr val="FFFFFF"/>
                </a:solidFill>
                <a:latin typeface="+mj-lt"/>
                <a:cs typeface="Arial" pitchFamily="34" charset="0"/>
              </a:rPr>
              <a:t>Proyectos realizados por la AG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828800" y="3357563"/>
            <a:ext cx="3460750" cy="1382712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36000" rIns="71120" bIns="108000"/>
          <a:lstStyle/>
          <a:p>
            <a:pPr marL="109220" indent="-109220" fontAlgn="auto">
              <a:lnSpc>
                <a:spcPct val="90000"/>
              </a:lnSpc>
              <a:spcBef>
                <a:spcPts val="1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latin typeface="+mj-lt"/>
                <a:cs typeface="Arial" pitchFamily="34" charset="0"/>
              </a:rPr>
              <a:t>Formación inicial de hermanos.</a:t>
            </a:r>
          </a:p>
          <a:p>
            <a:pPr marL="109220" indent="-109220" fontAlgn="auto">
              <a:lnSpc>
                <a:spcPct val="90000"/>
              </a:lnSpc>
              <a:spcBef>
                <a:spcPts val="1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latin typeface="+mj-lt"/>
                <a:cs typeface="Arial" pitchFamily="34" charset="0"/>
              </a:rPr>
              <a:t>Programas de formación: post perpetua, formadores, animadores </a:t>
            </a:r>
            <a:r>
              <a:rPr lang="es-ES" sz="130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vocacionales.</a:t>
            </a:r>
            <a:endParaRPr lang="es-ES" sz="1300" dirty="0">
              <a:solidFill>
                <a:srgbClr val="000000"/>
              </a:solidFill>
              <a:latin typeface="+mj-lt"/>
              <a:cs typeface="Arial" pitchFamily="34" charset="0"/>
            </a:endParaRPr>
          </a:p>
          <a:p>
            <a:pPr marL="109220" indent="-109220" fontAlgn="auto">
              <a:lnSpc>
                <a:spcPct val="90000"/>
              </a:lnSpc>
              <a:spcBef>
                <a:spcPts val="1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latin typeface="+mj-lt"/>
                <a:cs typeface="Arial" pitchFamily="34" charset="0"/>
              </a:rPr>
              <a:t>Programas de formación conjunta de hermanos y laicos.</a:t>
            </a:r>
          </a:p>
          <a:p>
            <a:pPr marL="109220" indent="-109220" fontAlgn="auto">
              <a:lnSpc>
                <a:spcPct val="90000"/>
              </a:lnSpc>
              <a:spcBef>
                <a:spcPts val="1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latin typeface="+mj-lt"/>
                <a:cs typeface="Arial" pitchFamily="34" charset="0"/>
              </a:rPr>
              <a:t>Programas de formación de laicos.</a:t>
            </a:r>
          </a:p>
        </p:txBody>
      </p:sp>
      <p:sp>
        <p:nvSpPr>
          <p:cNvPr id="18" name="AutoShape 3"/>
          <p:cNvSpPr>
            <a:spLocks noChangeArrowheads="1"/>
          </p:cNvSpPr>
          <p:nvPr/>
        </p:nvSpPr>
        <p:spPr bwMode="gray">
          <a:xfrm>
            <a:off x="179388" y="3357563"/>
            <a:ext cx="1649412" cy="1382712"/>
          </a:xfrm>
          <a:prstGeom prst="homePlate">
            <a:avLst>
              <a:gd name="adj" fmla="val 0"/>
            </a:avLst>
          </a:prstGeom>
          <a:solidFill>
            <a:srgbClr val="9B1717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" sz="1400" kern="0" dirty="0">
                <a:solidFill>
                  <a:srgbClr val="FFFFFF"/>
                </a:solidFill>
                <a:latin typeface="+mj-lt"/>
                <a:cs typeface="Arial" pitchFamily="34" charset="0"/>
              </a:rPr>
              <a:t>Formación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828800" y="4784725"/>
            <a:ext cx="3460750" cy="64928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36000" rIns="71120" bIns="108000"/>
          <a:lstStyle/>
          <a:p>
            <a:pPr marL="109220" indent="-10922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latin typeface="+mj-lt"/>
                <a:cs typeface="Arial" pitchFamily="34" charset="0"/>
              </a:rPr>
              <a:t>Comunidades internacionales.</a:t>
            </a:r>
          </a:p>
          <a:p>
            <a:pPr marL="109220" indent="-10922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latin typeface="+mj-lt"/>
                <a:cs typeface="Arial" pitchFamily="34" charset="0"/>
              </a:rPr>
              <a:t>Programas internacionales de voluntariado.</a:t>
            </a:r>
          </a:p>
        </p:txBody>
      </p:sp>
      <p:sp>
        <p:nvSpPr>
          <p:cNvPr id="21" name="AutoShape 3"/>
          <p:cNvSpPr>
            <a:spLocks noChangeArrowheads="1"/>
          </p:cNvSpPr>
          <p:nvPr/>
        </p:nvSpPr>
        <p:spPr bwMode="gray">
          <a:xfrm>
            <a:off x="179388" y="4784725"/>
            <a:ext cx="1649412" cy="649288"/>
          </a:xfrm>
          <a:prstGeom prst="homePlate">
            <a:avLst>
              <a:gd name="adj" fmla="val 0"/>
            </a:avLst>
          </a:prstGeom>
          <a:solidFill>
            <a:srgbClr val="9B1717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" sz="1400" kern="0" dirty="0">
                <a:solidFill>
                  <a:srgbClr val="FFFFFF"/>
                </a:solidFill>
                <a:latin typeface="+mj-lt"/>
                <a:cs typeface="Arial" pitchFamily="34" charset="0"/>
              </a:rPr>
              <a:t>Internacionalidad</a:t>
            </a:r>
            <a:endParaRPr lang="es-ES" sz="1600" kern="0" dirty="0">
              <a:solidFill>
                <a:srgbClr val="FFFFFF"/>
              </a:solidFill>
              <a:latin typeface="+mj-lt"/>
              <a:cs typeface="Arial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828800" y="5468938"/>
            <a:ext cx="3460750" cy="43180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36000" rIns="71120" bIns="108000"/>
          <a:lstStyle/>
          <a:p>
            <a:pPr marL="109220" indent="-10922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latin typeface="+mj-lt"/>
                <a:cs typeface="Arial" pitchFamily="34" charset="0"/>
              </a:rPr>
              <a:t>Proyectos de sostenibilidad de las Unidades Administrativas.</a:t>
            </a:r>
          </a:p>
        </p:txBody>
      </p:sp>
      <p:sp>
        <p:nvSpPr>
          <p:cNvPr id="25" name="AutoShape 3"/>
          <p:cNvSpPr>
            <a:spLocks noChangeArrowheads="1"/>
          </p:cNvSpPr>
          <p:nvPr/>
        </p:nvSpPr>
        <p:spPr bwMode="gray">
          <a:xfrm>
            <a:off x="179388" y="5468938"/>
            <a:ext cx="1649412" cy="431800"/>
          </a:xfrm>
          <a:prstGeom prst="homePlate">
            <a:avLst>
              <a:gd name="adj" fmla="val 0"/>
            </a:avLst>
          </a:prstGeom>
          <a:solidFill>
            <a:srgbClr val="9B1717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" sz="1400" kern="0" dirty="0">
                <a:solidFill>
                  <a:srgbClr val="FFFFFF"/>
                </a:solidFill>
                <a:latin typeface="+mj-lt"/>
                <a:cs typeface="Arial" pitchFamily="34" charset="0"/>
              </a:rPr>
              <a:t>Sostenibilidad</a:t>
            </a:r>
          </a:p>
        </p:txBody>
      </p:sp>
      <p:sp>
        <p:nvSpPr>
          <p:cNvPr id="3260429" name="Rectangle 25"/>
          <p:cNvSpPr>
            <a:spLocks noChangeArrowheads="1"/>
          </p:cNvSpPr>
          <p:nvPr/>
        </p:nvSpPr>
        <p:spPr bwMode="auto">
          <a:xfrm>
            <a:off x="5688124" y="2924944"/>
            <a:ext cx="3127710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44463" indent="-144463"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sz="1400" dirty="0" smtClean="0">
                <a:solidFill>
                  <a:srgbClr val="000000"/>
                </a:solidFill>
                <a:latin typeface="+mj-lt"/>
              </a:rPr>
              <a:t>Decisiones sobre la coordinación de la </a:t>
            </a:r>
            <a:r>
              <a:rPr lang="es-ES" sz="1400" b="1" dirty="0">
                <a:solidFill>
                  <a:srgbClr val="000000"/>
                </a:solidFill>
                <a:latin typeface="+mj-lt"/>
              </a:rPr>
              <a:t>gobernanza y </a:t>
            </a:r>
            <a:r>
              <a:rPr lang="es-ES" sz="1400" b="1" dirty="0" smtClean="0">
                <a:solidFill>
                  <a:srgbClr val="000000"/>
                </a:solidFill>
                <a:latin typeface="+mj-lt"/>
              </a:rPr>
              <a:t>la responsabilidad en la toma de decisiones</a:t>
            </a:r>
            <a:r>
              <a:rPr lang="es-ES" sz="1400" dirty="0" smtClean="0">
                <a:solidFill>
                  <a:srgbClr val="000000"/>
                </a:solidFill>
                <a:latin typeface="+mj-lt"/>
              </a:rPr>
              <a:t>.</a:t>
            </a:r>
            <a:endParaRPr lang="es-ES" sz="1400" dirty="0">
              <a:solidFill>
                <a:srgbClr val="000000"/>
              </a:solidFill>
              <a:latin typeface="+mj-lt"/>
            </a:endParaRPr>
          </a:p>
          <a:p>
            <a:pPr marL="144463" indent="-144463"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sz="1400" b="1" dirty="0">
                <a:solidFill>
                  <a:srgbClr val="000000"/>
                </a:solidFill>
                <a:latin typeface="+mj-lt"/>
              </a:rPr>
              <a:t>Priorización </a:t>
            </a:r>
            <a:r>
              <a:rPr lang="es-ES" sz="1400" dirty="0">
                <a:solidFill>
                  <a:srgbClr val="000000"/>
                </a:solidFill>
                <a:latin typeface="+mj-lt"/>
              </a:rPr>
              <a:t>de proyectos por </a:t>
            </a:r>
            <a:r>
              <a:rPr lang="es-ES" sz="1400" dirty="0" smtClean="0">
                <a:solidFill>
                  <a:srgbClr val="000000"/>
                </a:solidFill>
                <a:latin typeface="+mj-lt"/>
              </a:rPr>
              <a:t>oleadas y tiempo de espera </a:t>
            </a:r>
            <a:r>
              <a:rPr lang="es-ES" sz="1400" dirty="0">
                <a:solidFill>
                  <a:srgbClr val="000000"/>
                </a:solidFill>
                <a:latin typeface="+mj-lt"/>
              </a:rPr>
              <a:t>para los que no son urgentes.</a:t>
            </a:r>
          </a:p>
          <a:p>
            <a:pPr marL="144463" indent="-144463"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sz="1400" b="1" dirty="0">
                <a:solidFill>
                  <a:srgbClr val="000000"/>
                </a:solidFill>
                <a:latin typeface="+mj-lt"/>
              </a:rPr>
              <a:t>Cronograma de finalización y plazo de </a:t>
            </a:r>
            <a:r>
              <a:rPr lang="es-ES" sz="1400" b="1" dirty="0" smtClean="0">
                <a:solidFill>
                  <a:srgbClr val="000000"/>
                </a:solidFill>
                <a:latin typeface="+mj-lt"/>
              </a:rPr>
              <a:t>realización</a:t>
            </a:r>
            <a:r>
              <a:rPr lang="es-ES" sz="1400" dirty="0" smtClean="0">
                <a:solidFill>
                  <a:srgbClr val="000000"/>
                </a:solidFill>
                <a:latin typeface="+mj-lt"/>
              </a:rPr>
              <a:t>.</a:t>
            </a:r>
            <a:endParaRPr lang="es-ES" sz="14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7" name="Isosceles Triangle 26"/>
          <p:cNvSpPr/>
          <p:nvPr/>
        </p:nvSpPr>
        <p:spPr>
          <a:xfrm rot="5400000">
            <a:off x="4330700" y="3851275"/>
            <a:ext cx="2305050" cy="152400"/>
          </a:xfrm>
          <a:prstGeom prst="triangl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600" dirty="0" err="1">
              <a:solidFill>
                <a:srgbClr val="FFFFFF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1441" name="Text Placeholder 8"/>
          <p:cNvSpPr>
            <a:spLocks noGrp="1"/>
          </p:cNvSpPr>
          <p:nvPr>
            <p:ph type="body" sz="quarter" idx="10"/>
            <p:custDataLst>
              <p:tags r:id="rId1"/>
            </p:custDataLst>
          </p:nvPr>
        </p:nvSpPr>
        <p:spPr>
          <a:xfrm>
            <a:off x="244475" y="2157413"/>
            <a:ext cx="8647113" cy="3473450"/>
          </a:xfrm>
        </p:spPr>
        <p:txBody>
          <a:bodyPr/>
          <a:lstStyle/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Descripción del proyecto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b="1" dirty="0" smtClean="0">
                <a:latin typeface="Arial" charset="0"/>
                <a:cs typeface="Arial" charset="0"/>
              </a:rPr>
              <a:t>Principios y directrices clave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s person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 Misión – estructur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Estatus canónico y civil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 Misión – </a:t>
            </a:r>
            <a:r>
              <a:rPr lang="es-ES" dirty="0">
                <a:latin typeface="Arial" charset="0"/>
                <a:cs typeface="Arial" charset="0"/>
              </a:rPr>
              <a:t>procesos y herramientas</a:t>
            </a:r>
            <a:endParaRPr lang="es-ES" dirty="0" smtClean="0">
              <a:latin typeface="Arial" charset="0"/>
              <a:cs typeface="Arial" charset="0"/>
            </a:endParaRP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Modelo de financiación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Hoja de Ruta</a:t>
            </a:r>
          </a:p>
        </p:txBody>
      </p:sp>
      <p:sp>
        <p:nvSpPr>
          <p:cNvPr id="326144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44475" y="1627188"/>
            <a:ext cx="8647113" cy="338137"/>
          </a:xfrm>
        </p:spPr>
        <p:txBody>
          <a:bodyPr/>
          <a:lstStyle/>
          <a:p>
            <a:pPr eaLnBrk="1" hangingPunct="1"/>
            <a:r>
              <a:rPr lang="es-ES_tradnl" smtClean="0">
                <a:latin typeface="Arial" charset="0"/>
                <a:cs typeface="Arial" charset="0"/>
              </a:rPr>
              <a:t>Índice</a:t>
            </a:r>
            <a:endParaRPr lang="en-US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7014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20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93663" y="2092325"/>
            <a:ext cx="1952625" cy="457993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4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9701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s-ES_tradnl" smtClean="0">
                <a:latin typeface="Arial" charset="0"/>
                <a:cs typeface="Arial" charset="0"/>
              </a:rPr>
              <a:t>Nuestros principios maristas…</a:t>
            </a:r>
          </a:p>
        </p:txBody>
      </p:sp>
      <p:sp>
        <p:nvSpPr>
          <p:cNvPr id="597017" name="TextBox 28"/>
          <p:cNvSpPr txBox="1">
            <a:spLocks noChangeArrowheads="1"/>
          </p:cNvSpPr>
          <p:nvPr/>
        </p:nvSpPr>
        <p:spPr bwMode="auto">
          <a:xfrm>
            <a:off x="109538" y="2128838"/>
            <a:ext cx="1987550" cy="22701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_tradnl" sz="1600" b="1" i="1">
                <a:solidFill>
                  <a:srgbClr val="364086"/>
                </a:solidFill>
                <a:latin typeface="Arial "/>
              </a:rPr>
              <a:t>Componentes clave</a:t>
            </a:r>
          </a:p>
        </p:txBody>
      </p:sp>
      <p:sp>
        <p:nvSpPr>
          <p:cNvPr id="597018" name="Rectangle 5"/>
          <p:cNvSpPr txBox="1">
            <a:spLocks noChangeArrowheads="1"/>
          </p:cNvSpPr>
          <p:nvPr/>
        </p:nvSpPr>
        <p:spPr bwMode="auto">
          <a:xfrm>
            <a:off x="6710363" y="139700"/>
            <a:ext cx="2182812" cy="1698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>
                <a:solidFill>
                  <a:srgbClr val="000000"/>
                </a:solidFill>
              </a:rPr>
              <a:t>Marco de la propuesta de futuro</a:t>
            </a:r>
          </a:p>
        </p:txBody>
      </p:sp>
      <p:sp>
        <p:nvSpPr>
          <p:cNvPr id="20" name="Freeform 4"/>
          <p:cNvSpPr>
            <a:spLocks/>
          </p:cNvSpPr>
          <p:nvPr/>
        </p:nvSpPr>
        <p:spPr bwMode="gray">
          <a:xfrm>
            <a:off x="2819400" y="2449513"/>
            <a:ext cx="6161088" cy="584200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lIns="72000" tIns="72000" rIns="72000" bIns="72000" anchor="ctr"/>
          <a:lstStyle/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Espíritu de familia, amor al trabajo, a la manera de María, presencia… con humildad, sencillez y modestia. </a:t>
            </a:r>
          </a:p>
        </p:txBody>
      </p:sp>
      <p:sp>
        <p:nvSpPr>
          <p:cNvPr id="24" name="Freeform 4"/>
          <p:cNvSpPr>
            <a:spLocks/>
          </p:cNvSpPr>
          <p:nvPr/>
        </p:nvSpPr>
        <p:spPr bwMode="gray">
          <a:xfrm>
            <a:off x="2819400" y="4525963"/>
            <a:ext cx="6161088" cy="584200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lIns="72000" tIns="72000" rIns="72000" bIns="72000" anchor="ctr"/>
          <a:lstStyle/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Profundamente conectados con la Iglesia y la sociedad.</a:t>
            </a:r>
          </a:p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Pensando globalmente, actuando localmente.</a:t>
            </a:r>
          </a:p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Capaz de beneficiarse de la innovación.</a:t>
            </a:r>
          </a:p>
        </p:txBody>
      </p:sp>
      <p:sp>
        <p:nvSpPr>
          <p:cNvPr id="31" name="Freeform 4"/>
          <p:cNvSpPr>
            <a:spLocks/>
          </p:cNvSpPr>
          <p:nvPr/>
        </p:nvSpPr>
        <p:spPr bwMode="gray">
          <a:xfrm>
            <a:off x="2819400" y="5218113"/>
            <a:ext cx="6161088" cy="584200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lIns="72000" tIns="72000" rIns="72000" bIns="72000" anchor="ctr"/>
          <a:lstStyle/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Corresponsabilidad, espíritu de comunión, eventualmente formando una “familia carismática".</a:t>
            </a:r>
          </a:p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Diálogo, respeto, </a:t>
            </a:r>
            <a:r>
              <a:rPr lang="es-ES_tradnl" sz="13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apoyo </a:t>
            </a: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y aprendizaje mutuos.</a:t>
            </a:r>
          </a:p>
        </p:txBody>
      </p:sp>
      <p:sp>
        <p:nvSpPr>
          <p:cNvPr id="23" name="Freeform 4"/>
          <p:cNvSpPr>
            <a:spLocks/>
          </p:cNvSpPr>
          <p:nvPr/>
        </p:nvSpPr>
        <p:spPr bwMode="gray">
          <a:xfrm>
            <a:off x="2819400" y="3141663"/>
            <a:ext cx="6161088" cy="584200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lIns="72000" tIns="72000" rIns="72000" bIns="72000" anchor="ctr"/>
          <a:lstStyle/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Apostólica y mariana que se expresa hoy como místicos y profetas en comunión.</a:t>
            </a:r>
          </a:p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Rostro mariano de la Iglesia.</a:t>
            </a:r>
          </a:p>
        </p:txBody>
      </p:sp>
      <p:sp>
        <p:nvSpPr>
          <p:cNvPr id="26" name="Freeform 4"/>
          <p:cNvSpPr>
            <a:spLocks/>
          </p:cNvSpPr>
          <p:nvPr/>
        </p:nvSpPr>
        <p:spPr bwMode="gray">
          <a:xfrm>
            <a:off x="2819400" y="3833813"/>
            <a:ext cx="6161088" cy="584200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lIns="72000" tIns="72000" rIns="72000" bIns="72000" anchor="ctr"/>
          <a:lstStyle/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Un cuerpo </a:t>
            </a:r>
            <a:r>
              <a:rPr lang="es-ES_tradnl" sz="13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global al </a:t>
            </a: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servicio de nuestra misión.</a:t>
            </a:r>
          </a:p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Corresponsabilidad y disponibilidad global.</a:t>
            </a:r>
          </a:p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Compartir </a:t>
            </a: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recursos.</a:t>
            </a:r>
          </a:p>
        </p:txBody>
      </p:sp>
      <p:sp>
        <p:nvSpPr>
          <p:cNvPr id="36" name="Freeform 4"/>
          <p:cNvSpPr>
            <a:spLocks/>
          </p:cNvSpPr>
          <p:nvPr/>
        </p:nvSpPr>
        <p:spPr bwMode="gray">
          <a:xfrm>
            <a:off x="2819400" y="5910263"/>
            <a:ext cx="6161088" cy="871537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lIns="72000" tIns="72000" rIns="72000" bIns="72000" anchor="ctr"/>
          <a:lstStyle/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Constructores del Reino de Dios, haciendo que Jesús sea conocido y amado.</a:t>
            </a:r>
          </a:p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Mediante la educación y evangelización, con nuevos métodos y lenguajes.</a:t>
            </a:r>
          </a:p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En las nuevas periferias del mundo.</a:t>
            </a:r>
          </a:p>
        </p:txBody>
      </p:sp>
      <p:sp>
        <p:nvSpPr>
          <p:cNvPr id="19" name="AutoShape 3"/>
          <p:cNvSpPr>
            <a:spLocks noChangeArrowheads="1"/>
          </p:cNvSpPr>
          <p:nvPr/>
        </p:nvSpPr>
        <p:spPr bwMode="gray">
          <a:xfrm>
            <a:off x="263525" y="2471738"/>
            <a:ext cx="2735263" cy="584200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600" b="1" dirty="0" smtClean="0">
                <a:solidFill>
                  <a:srgbClr val="FFFFFF"/>
                </a:solidFill>
                <a:cs typeface="Arial" pitchFamily="34" charset="0"/>
              </a:rPr>
              <a:t>Basada </a:t>
            </a:r>
            <a:r>
              <a:rPr lang="es-ES_tradnl" sz="1600" b="1" dirty="0">
                <a:solidFill>
                  <a:srgbClr val="FFFFFF"/>
                </a:solidFill>
                <a:cs typeface="Arial" pitchFamily="34" charset="0"/>
              </a:rPr>
              <a:t>en valores maristas centrales…</a:t>
            </a:r>
          </a:p>
        </p:txBody>
      </p:sp>
      <p:sp>
        <p:nvSpPr>
          <p:cNvPr id="21" name="AutoShape 3"/>
          <p:cNvSpPr>
            <a:spLocks noChangeArrowheads="1"/>
          </p:cNvSpPr>
          <p:nvPr/>
        </p:nvSpPr>
        <p:spPr bwMode="gray">
          <a:xfrm>
            <a:off x="263525" y="4525963"/>
            <a:ext cx="2735263" cy="584200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600" b="1" dirty="0">
                <a:solidFill>
                  <a:srgbClr val="FFFFFF"/>
                </a:solidFill>
                <a:cs typeface="Arial" pitchFamily="34" charset="0"/>
              </a:rPr>
              <a:t>…inmerso en el mundo de nuestro tiempo…</a:t>
            </a:r>
          </a:p>
        </p:txBody>
      </p:sp>
      <p:sp>
        <p:nvSpPr>
          <p:cNvPr id="27" name="AutoShape 3"/>
          <p:cNvSpPr>
            <a:spLocks noChangeArrowheads="1"/>
          </p:cNvSpPr>
          <p:nvPr/>
        </p:nvSpPr>
        <p:spPr bwMode="gray">
          <a:xfrm>
            <a:off x="263525" y="5229225"/>
            <a:ext cx="2735263" cy="584200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600" b="1" dirty="0">
                <a:solidFill>
                  <a:srgbClr val="FFFFFF"/>
                </a:solidFill>
                <a:cs typeface="Arial" pitchFamily="34" charset="0"/>
              </a:rPr>
              <a:t>…con una nueva relación entre hermanos y laicos…</a:t>
            </a:r>
          </a:p>
        </p:txBody>
      </p:sp>
      <p:sp>
        <p:nvSpPr>
          <p:cNvPr id="22" name="AutoShape 3"/>
          <p:cNvSpPr>
            <a:spLocks noChangeArrowheads="1"/>
          </p:cNvSpPr>
          <p:nvPr/>
        </p:nvSpPr>
        <p:spPr bwMode="gray">
          <a:xfrm>
            <a:off x="263525" y="3141663"/>
            <a:ext cx="2735263" cy="584200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600" b="1" dirty="0">
                <a:solidFill>
                  <a:srgbClr val="FFFFFF"/>
                </a:solidFill>
                <a:cs typeface="Arial" pitchFamily="34" charset="0"/>
              </a:rPr>
              <a:t>…con una espiritualidad particular…</a:t>
            </a:r>
          </a:p>
        </p:txBody>
      </p:sp>
      <p:sp>
        <p:nvSpPr>
          <p:cNvPr id="25" name="AutoShape 3"/>
          <p:cNvSpPr>
            <a:spLocks noChangeArrowheads="1"/>
          </p:cNvSpPr>
          <p:nvPr/>
        </p:nvSpPr>
        <p:spPr bwMode="gray">
          <a:xfrm>
            <a:off x="263525" y="3833813"/>
            <a:ext cx="2735263" cy="584200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600" b="1" dirty="0" smtClean="0">
                <a:solidFill>
                  <a:srgbClr val="FFFFFF"/>
                </a:solidFill>
                <a:cs typeface="Arial" pitchFamily="34" charset="0"/>
              </a:rPr>
              <a:t>…un </a:t>
            </a:r>
            <a:r>
              <a:rPr lang="es-ES_tradnl" sz="1600" b="1" dirty="0">
                <a:solidFill>
                  <a:srgbClr val="FFFFFF"/>
                </a:solidFill>
                <a:cs typeface="Arial" pitchFamily="34" charset="0"/>
              </a:rPr>
              <a:t>Instituto global…</a:t>
            </a:r>
          </a:p>
        </p:txBody>
      </p:sp>
      <p:sp>
        <p:nvSpPr>
          <p:cNvPr id="35" name="AutoShape 3"/>
          <p:cNvSpPr>
            <a:spLocks noChangeArrowheads="1"/>
          </p:cNvSpPr>
          <p:nvPr/>
        </p:nvSpPr>
        <p:spPr bwMode="gray">
          <a:xfrm>
            <a:off x="263525" y="5910263"/>
            <a:ext cx="2735263" cy="866775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 anchor="ctr"/>
          <a:lstStyle/>
          <a:p>
            <a:pPr algn="ctr" defTabSz="914400">
              <a:lnSpc>
                <a:spcPct val="90000"/>
              </a:lnSpc>
              <a:spcBef>
                <a:spcPts val="900"/>
              </a:spcBef>
              <a:defRPr/>
            </a:pPr>
            <a:r>
              <a:rPr lang="es-ES_tradnl" sz="1600" b="1" dirty="0" smtClean="0">
                <a:solidFill>
                  <a:srgbClr val="FFFFFF"/>
                </a:solidFill>
                <a:cs typeface="Arial" charset="0"/>
              </a:rPr>
              <a:t>…al servicio de </a:t>
            </a:r>
            <a:r>
              <a:rPr lang="es-ES_tradnl" sz="1600" b="1" dirty="0">
                <a:solidFill>
                  <a:srgbClr val="FFFFFF"/>
                </a:solidFill>
                <a:cs typeface="Arial" charset="0"/>
              </a:rPr>
              <a:t>los niños y los jóvenes.</a:t>
            </a:r>
          </a:p>
        </p:txBody>
      </p:sp>
      <p:sp>
        <p:nvSpPr>
          <p:cNvPr id="28" name="Freeform 4"/>
          <p:cNvSpPr>
            <a:spLocks/>
          </p:cNvSpPr>
          <p:nvPr/>
        </p:nvSpPr>
        <p:spPr bwMode="gray">
          <a:xfrm>
            <a:off x="2743200" y="1304925"/>
            <a:ext cx="6084888" cy="612775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lIns="72000" tIns="72000" rIns="72000" bIns="72000" anchor="ctr"/>
          <a:lstStyle/>
          <a:p>
            <a:pPr marL="309600" indent="-128016" defTabSz="914400" eaLnBrk="0" fontAlgn="auto" hangingPunc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Dar a conocer a Jesucristo y hacerlo amar (C.2)</a:t>
            </a:r>
            <a:r>
              <a:rPr lang="es-ES_tradnl" sz="1400" b="1" dirty="0">
                <a:solidFill>
                  <a:srgbClr val="000000"/>
                </a:solidFill>
                <a:latin typeface="Arial"/>
                <a:cs typeface="Arial" pitchFamily="34" charset="0"/>
              </a:rPr>
              <a:t> </a:t>
            </a:r>
            <a:r>
              <a:rPr lang="es-ES_tradnl" sz="1400" dirty="0">
                <a:solidFill>
                  <a:srgbClr val="000000"/>
                </a:solidFill>
                <a:latin typeface="Arial"/>
                <a:cs typeface="Arial" pitchFamily="34" charset="0"/>
              </a:rPr>
              <a:t>con una presencia significativa entre los niños y los jóvenes pobres.</a:t>
            </a:r>
          </a:p>
        </p:txBody>
      </p:sp>
      <p:sp>
        <p:nvSpPr>
          <p:cNvPr id="32" name="AutoShape 3"/>
          <p:cNvSpPr>
            <a:spLocks noChangeArrowheads="1"/>
          </p:cNvSpPr>
          <p:nvPr/>
        </p:nvSpPr>
        <p:spPr bwMode="gray">
          <a:xfrm>
            <a:off x="79375" y="1304925"/>
            <a:ext cx="2844800" cy="612775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>
            <a:noFill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600" b="1">
                <a:solidFill>
                  <a:srgbClr val="FFFFFF"/>
                </a:solidFill>
                <a:cs typeface="Arial" pitchFamily="34" charset="0"/>
              </a:rPr>
              <a:t>Una misión</a:t>
            </a:r>
          </a:p>
        </p:txBody>
      </p:sp>
      <p:sp>
        <p:nvSpPr>
          <p:cNvPr id="33" name="AutoShape 3"/>
          <p:cNvSpPr>
            <a:spLocks noChangeArrowheads="1"/>
          </p:cNvSpPr>
          <p:nvPr/>
        </p:nvSpPr>
        <p:spPr bwMode="gray">
          <a:xfrm>
            <a:off x="263525" y="4538663"/>
            <a:ext cx="2735263" cy="584200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600" b="1" dirty="0">
                <a:solidFill>
                  <a:srgbClr val="FFFFFF"/>
                </a:solidFill>
                <a:cs typeface="Arial" pitchFamily="34" charset="0"/>
              </a:rPr>
              <a:t>…inmerso en el mundo de nuestro tiempo…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2134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32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2135" name="Title 1"/>
          <p:cNvSpPr>
            <a:spLocks noGrp="1"/>
          </p:cNvSpPr>
          <p:nvPr>
            <p:ph type="title"/>
          </p:nvPr>
        </p:nvSpPr>
        <p:spPr>
          <a:xfrm>
            <a:off x="136525" y="692150"/>
            <a:ext cx="8632825" cy="332399"/>
          </a:xfrm>
        </p:spPr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…han inspirado algunos principios de los Nuevos Modelos</a:t>
            </a:r>
          </a:p>
        </p:txBody>
      </p:sp>
      <p:sp>
        <p:nvSpPr>
          <p:cNvPr id="20" name="Freeform 4"/>
          <p:cNvSpPr>
            <a:spLocks/>
          </p:cNvSpPr>
          <p:nvPr/>
        </p:nvSpPr>
        <p:spPr bwMode="gray">
          <a:xfrm>
            <a:off x="2816225" y="1116013"/>
            <a:ext cx="6084888" cy="584200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lIns="72000" tIns="72000" rIns="72000" bIns="72000" anchor="ctr"/>
          <a:lstStyle/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La vitalidad de la Misión es resultado de la pasión por la vida Marista y el compromiso de los hermanos y laicos que forman una familia carismática.</a:t>
            </a:r>
          </a:p>
        </p:txBody>
      </p:sp>
      <p:sp>
        <p:nvSpPr>
          <p:cNvPr id="24" name="Freeform 4"/>
          <p:cNvSpPr>
            <a:spLocks/>
          </p:cNvSpPr>
          <p:nvPr/>
        </p:nvSpPr>
        <p:spPr bwMode="gray">
          <a:xfrm>
            <a:off x="2795588" y="6084888"/>
            <a:ext cx="6084887" cy="584200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lIns="72000" tIns="72000" rIns="72000" bIns="72000" anchor="ctr"/>
          <a:lstStyle/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En la distribución y el uso de los recursos.</a:t>
            </a:r>
          </a:p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En la comunicación interna y externa.</a:t>
            </a:r>
          </a:p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En el comportamiento y las actitudes de las personas.</a:t>
            </a:r>
          </a:p>
        </p:txBody>
      </p:sp>
      <p:sp>
        <p:nvSpPr>
          <p:cNvPr id="31" name="Freeform 4"/>
          <p:cNvSpPr>
            <a:spLocks/>
          </p:cNvSpPr>
          <p:nvPr/>
        </p:nvSpPr>
        <p:spPr bwMode="gray">
          <a:xfrm>
            <a:off x="2816225" y="2565400"/>
            <a:ext cx="6084888" cy="584200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lIns="72000" tIns="72000" rIns="72000" bIns="72000" anchor="ctr"/>
          <a:lstStyle/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En la vida y la Misión a todos los niveles y dimensiones del carisma Marista. </a:t>
            </a:r>
          </a:p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Entre los hermanos y los laicos, con un papel significativo de la mujer.</a:t>
            </a:r>
          </a:p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En la toma de </a:t>
            </a:r>
            <a:r>
              <a:rPr lang="es-ES_tradnl" sz="13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decisiones </a:t>
            </a: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y en la asignación de </a:t>
            </a:r>
            <a:r>
              <a:rPr lang="es-ES_tradnl" sz="13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recursos</a:t>
            </a: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.</a:t>
            </a:r>
          </a:p>
        </p:txBody>
      </p:sp>
      <p:sp>
        <p:nvSpPr>
          <p:cNvPr id="26" name="Freeform 4"/>
          <p:cNvSpPr>
            <a:spLocks/>
          </p:cNvSpPr>
          <p:nvPr/>
        </p:nvSpPr>
        <p:spPr bwMode="gray">
          <a:xfrm>
            <a:off x="2795588" y="3289300"/>
            <a:ext cx="6105525" cy="657225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lIns="72000" tIns="72000" rIns="72000" bIns="72000" anchor="ctr"/>
          <a:lstStyle/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Actuar </a:t>
            </a: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como un solo cuerpo </a:t>
            </a:r>
            <a:r>
              <a:rPr lang="es-ES_tradnl" sz="13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para fortalecer </a:t>
            </a: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nuestra</a:t>
            </a:r>
            <a:r>
              <a:rPr lang="es-ES_tradnl" sz="1300" dirty="0">
                <a:solidFill>
                  <a:srgbClr val="FF0000"/>
                </a:solidFill>
                <a:latin typeface="Arial"/>
                <a:cs typeface="Arial" pitchFamily="34" charset="0"/>
              </a:rPr>
              <a:t> </a:t>
            </a: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identidad</a:t>
            </a:r>
            <a:r>
              <a:rPr lang="es-ES_tradnl" sz="1300" dirty="0">
                <a:solidFill>
                  <a:srgbClr val="FF0000"/>
                </a:solidFill>
                <a:latin typeface="Arial"/>
                <a:cs typeface="Arial" pitchFamily="34" charset="0"/>
              </a:rPr>
              <a:t> </a:t>
            </a:r>
            <a:r>
              <a:rPr lang="es-ES_tradnl" sz="13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internacional.</a:t>
            </a:r>
            <a:endParaRPr lang="es-ES_tradnl" sz="1300" dirty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Competencia intercultural.</a:t>
            </a:r>
          </a:p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I</a:t>
            </a:r>
            <a:r>
              <a:rPr lang="es-ES_tradnl" sz="13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nterdependencia </a:t>
            </a: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y cooperación, con gran movilidad y agilidad.</a:t>
            </a:r>
          </a:p>
        </p:txBody>
      </p:sp>
      <p:sp>
        <p:nvSpPr>
          <p:cNvPr id="36" name="Freeform 4"/>
          <p:cNvSpPr>
            <a:spLocks/>
          </p:cNvSpPr>
          <p:nvPr/>
        </p:nvSpPr>
        <p:spPr bwMode="gray">
          <a:xfrm>
            <a:off x="2806700" y="4076700"/>
            <a:ext cx="6084888" cy="584200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lIns="72000" tIns="72000" rIns="72000" bIns="72000" anchor="ctr"/>
          <a:lstStyle/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Reconociendo que somos diferentes y complementarios.</a:t>
            </a:r>
          </a:p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Aprendiendo los unos de los otros. </a:t>
            </a:r>
          </a:p>
        </p:txBody>
      </p:sp>
      <p:sp>
        <p:nvSpPr>
          <p:cNvPr id="19" name="AutoShape 3"/>
          <p:cNvSpPr>
            <a:spLocks noChangeArrowheads="1"/>
          </p:cNvSpPr>
          <p:nvPr/>
        </p:nvSpPr>
        <p:spPr bwMode="gray">
          <a:xfrm>
            <a:off x="150813" y="1116013"/>
            <a:ext cx="2844800" cy="584200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600" b="1" dirty="0">
                <a:solidFill>
                  <a:srgbClr val="FFFFFF"/>
                </a:solidFill>
                <a:cs typeface="Arial" pitchFamily="34" charset="0"/>
              </a:rPr>
              <a:t>Pasión</a:t>
            </a:r>
            <a:r>
              <a:rPr lang="es-ES_tradnl" sz="1600" dirty="0">
                <a:solidFill>
                  <a:srgbClr val="FFFFFF"/>
                </a:solidFill>
                <a:cs typeface="Arial" pitchFamily="34" charset="0"/>
              </a:rPr>
              <a:t> por la vida y la Misión Marista</a:t>
            </a:r>
          </a:p>
        </p:txBody>
      </p:sp>
      <p:sp>
        <p:nvSpPr>
          <p:cNvPr id="21" name="AutoShape 3"/>
          <p:cNvSpPr>
            <a:spLocks noChangeArrowheads="1"/>
          </p:cNvSpPr>
          <p:nvPr/>
        </p:nvSpPr>
        <p:spPr bwMode="gray">
          <a:xfrm>
            <a:off x="130175" y="6084888"/>
            <a:ext cx="2844800" cy="584200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600" b="1">
                <a:solidFill>
                  <a:srgbClr val="FFFFFF"/>
                </a:solidFill>
                <a:cs typeface="Arial" pitchFamily="34" charset="0"/>
              </a:rPr>
              <a:t>Transparencia</a:t>
            </a:r>
          </a:p>
        </p:txBody>
      </p:sp>
      <p:sp>
        <p:nvSpPr>
          <p:cNvPr id="27" name="AutoShape 3"/>
          <p:cNvSpPr>
            <a:spLocks noChangeArrowheads="1"/>
          </p:cNvSpPr>
          <p:nvPr/>
        </p:nvSpPr>
        <p:spPr bwMode="gray">
          <a:xfrm>
            <a:off x="150813" y="2565400"/>
            <a:ext cx="2844800" cy="584200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500" b="1">
                <a:solidFill>
                  <a:srgbClr val="FFFFFF"/>
                </a:solidFill>
                <a:cs typeface="Arial" pitchFamily="34" charset="0"/>
              </a:rPr>
              <a:t>Corresponsabilidad</a:t>
            </a:r>
            <a:r>
              <a:rPr lang="es-ES_tradnl" sz="1500">
                <a:solidFill>
                  <a:srgbClr val="FFFFFF"/>
                </a:solidFill>
                <a:cs typeface="Arial" pitchFamily="34" charset="0"/>
              </a:rPr>
              <a:t>,</a:t>
            </a:r>
            <a:r>
              <a:rPr lang="es-ES_tradnl" sz="1500" b="1">
                <a:solidFill>
                  <a:srgbClr val="FFFFFF"/>
                </a:solidFill>
                <a:cs typeface="Arial" pitchFamily="34" charset="0"/>
              </a:rPr>
              <a:t> solidaridad y subsidiariedad</a:t>
            </a:r>
          </a:p>
        </p:txBody>
      </p:sp>
      <p:sp>
        <p:nvSpPr>
          <p:cNvPr id="25" name="AutoShape 3"/>
          <p:cNvSpPr>
            <a:spLocks noChangeArrowheads="1"/>
          </p:cNvSpPr>
          <p:nvPr/>
        </p:nvSpPr>
        <p:spPr bwMode="gray">
          <a:xfrm>
            <a:off x="149225" y="3276600"/>
            <a:ext cx="2846388" cy="692150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600" b="1">
                <a:solidFill>
                  <a:srgbClr val="FFFFFF"/>
                </a:solidFill>
                <a:cs typeface="Arial" pitchFamily="34" charset="0"/>
              </a:rPr>
              <a:t>Mentalidad global</a:t>
            </a:r>
          </a:p>
        </p:txBody>
      </p:sp>
      <p:sp>
        <p:nvSpPr>
          <p:cNvPr id="35" name="AutoShape 3"/>
          <p:cNvSpPr>
            <a:spLocks noChangeArrowheads="1"/>
          </p:cNvSpPr>
          <p:nvPr/>
        </p:nvSpPr>
        <p:spPr bwMode="gray">
          <a:xfrm>
            <a:off x="141288" y="4076700"/>
            <a:ext cx="2844800" cy="584200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600" b="1" dirty="0">
                <a:solidFill>
                  <a:srgbClr val="FFFFFF"/>
                </a:solidFill>
                <a:cs typeface="Arial" pitchFamily="34" charset="0"/>
              </a:rPr>
              <a:t>Interculturalidad</a:t>
            </a:r>
          </a:p>
        </p:txBody>
      </p:sp>
      <p:sp>
        <p:nvSpPr>
          <p:cNvPr id="32" name="Freeform 4"/>
          <p:cNvSpPr>
            <a:spLocks/>
          </p:cNvSpPr>
          <p:nvPr/>
        </p:nvSpPr>
        <p:spPr bwMode="gray">
          <a:xfrm>
            <a:off x="2786063" y="5397500"/>
            <a:ext cx="6084887" cy="584200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lIns="72000" tIns="72000" rIns="72000" bIns="72000" anchor="ctr"/>
          <a:lstStyle/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Desarrollando liderazgos espirituales y profesionales en todas dimensiones.</a:t>
            </a:r>
          </a:p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Construyendo y fortaleciendo las competencias, actitudes y conductas básicas.</a:t>
            </a:r>
          </a:p>
        </p:txBody>
      </p:sp>
      <p:sp>
        <p:nvSpPr>
          <p:cNvPr id="37" name="AutoShape 3"/>
          <p:cNvSpPr>
            <a:spLocks noChangeArrowheads="1"/>
          </p:cNvSpPr>
          <p:nvPr/>
        </p:nvSpPr>
        <p:spPr bwMode="gray">
          <a:xfrm>
            <a:off x="120650" y="5397500"/>
            <a:ext cx="2844800" cy="584200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 anchor="ctr"/>
          <a:lstStyle/>
          <a:p>
            <a:pPr marL="181584" algn="ctr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es-ES_tradnl" sz="1600" b="1" dirty="0">
                <a:solidFill>
                  <a:srgbClr val="FFFFFF"/>
                </a:solidFill>
                <a:cs typeface="Arial" pitchFamily="34" charset="0"/>
              </a:rPr>
              <a:t>Competencias y actitudes adecuadas</a:t>
            </a:r>
          </a:p>
        </p:txBody>
      </p:sp>
      <p:sp>
        <p:nvSpPr>
          <p:cNvPr id="602148" name="Rectangle 5"/>
          <p:cNvSpPr txBox="1">
            <a:spLocks noChangeArrowheads="1"/>
          </p:cNvSpPr>
          <p:nvPr/>
        </p:nvSpPr>
        <p:spPr bwMode="auto">
          <a:xfrm>
            <a:off x="6710363" y="139700"/>
            <a:ext cx="2182812" cy="1698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>
                <a:solidFill>
                  <a:srgbClr val="000000"/>
                </a:solidFill>
              </a:rPr>
              <a:t>Marco de la propuesta de futuro</a:t>
            </a:r>
          </a:p>
        </p:txBody>
      </p:sp>
      <p:sp>
        <p:nvSpPr>
          <p:cNvPr id="23" name="Freeform 4"/>
          <p:cNvSpPr>
            <a:spLocks/>
          </p:cNvSpPr>
          <p:nvPr/>
        </p:nvSpPr>
        <p:spPr bwMode="gray">
          <a:xfrm>
            <a:off x="2808288" y="1800225"/>
            <a:ext cx="6084887" cy="657225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lIns="72000" tIns="72000" rIns="72000" bIns="72000" anchor="ctr"/>
          <a:lstStyle/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Nuevos lenguajes y métodos.</a:t>
            </a:r>
          </a:p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Especialmente entre los vulnerables y pobres.</a:t>
            </a:r>
          </a:p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Disponibles, escuchando, acogiendo y acompañando sus procesos de vida.</a:t>
            </a:r>
          </a:p>
        </p:txBody>
      </p:sp>
      <p:sp>
        <p:nvSpPr>
          <p:cNvPr id="28" name="AutoShape 3"/>
          <p:cNvSpPr>
            <a:spLocks noChangeArrowheads="1"/>
          </p:cNvSpPr>
          <p:nvPr/>
        </p:nvSpPr>
        <p:spPr bwMode="gray">
          <a:xfrm>
            <a:off x="150813" y="1800225"/>
            <a:ext cx="2844800" cy="657225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600" b="1">
                <a:solidFill>
                  <a:srgbClr val="FFFFFF"/>
                </a:solidFill>
                <a:cs typeface="Arial" pitchFamily="34" charset="0"/>
              </a:rPr>
              <a:t>Presencia</a:t>
            </a:r>
            <a:r>
              <a:rPr lang="es-ES_tradnl" sz="1600">
                <a:solidFill>
                  <a:srgbClr val="FFFFFF"/>
                </a:solidFill>
                <a:cs typeface="Arial" pitchFamily="34" charset="0"/>
              </a:rPr>
              <a:t> entre los niños y los jóvenes</a:t>
            </a:r>
          </a:p>
        </p:txBody>
      </p:sp>
      <p:sp>
        <p:nvSpPr>
          <p:cNvPr id="29" name="Freeform 4"/>
          <p:cNvSpPr>
            <a:spLocks/>
          </p:cNvSpPr>
          <p:nvPr/>
        </p:nvSpPr>
        <p:spPr bwMode="gray">
          <a:xfrm>
            <a:off x="2795588" y="4724400"/>
            <a:ext cx="6084887" cy="585788"/>
          </a:xfrm>
          <a:custGeom>
            <a:avLst/>
            <a:gdLst>
              <a:gd name="T0" fmla="*/ 0 w 3836"/>
              <a:gd name="T1" fmla="*/ 0 h 573"/>
              <a:gd name="T2" fmla="*/ 142805 w 3836"/>
              <a:gd name="T3" fmla="*/ 549109 h 573"/>
              <a:gd name="T4" fmla="*/ 0 w 3836"/>
              <a:gd name="T5" fmla="*/ 1100137 h 573"/>
              <a:gd name="T6" fmla="*/ 6521450 w 3836"/>
              <a:gd name="T7" fmla="*/ 1100137 h 573"/>
              <a:gd name="T8" fmla="*/ 6521450 w 3836"/>
              <a:gd name="T9" fmla="*/ 0 h 573"/>
              <a:gd name="T10" fmla="*/ 0 w 3836"/>
              <a:gd name="T11" fmla="*/ 0 h 57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836"/>
              <a:gd name="T19" fmla="*/ 0 h 573"/>
              <a:gd name="T20" fmla="*/ 3836 w 3836"/>
              <a:gd name="T21" fmla="*/ 573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04 w 4462"/>
              <a:gd name="connsiteY2" fmla="*/ 287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78 w 3836"/>
              <a:gd name="connsiteY2" fmla="*/ 287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0 w 3836"/>
              <a:gd name="connsiteY0" fmla="*/ 0 h 573"/>
              <a:gd name="connsiteX1" fmla="*/ 84 w 3836"/>
              <a:gd name="connsiteY1" fmla="*/ 286 h 573"/>
              <a:gd name="connsiteX2" fmla="*/ 156 w 3836"/>
              <a:gd name="connsiteY2" fmla="*/ 414 h 573"/>
              <a:gd name="connsiteX3" fmla="*/ 0 w 3836"/>
              <a:gd name="connsiteY3" fmla="*/ 573 h 573"/>
              <a:gd name="connsiteX4" fmla="*/ 3836 w 3836"/>
              <a:gd name="connsiteY4" fmla="*/ 573 h 573"/>
              <a:gd name="connsiteX5" fmla="*/ 3836 w 3836"/>
              <a:gd name="connsiteY5" fmla="*/ 0 h 573"/>
              <a:gd name="connsiteX6" fmla="*/ 0 w 3836"/>
              <a:gd name="connsiteY6" fmla="*/ 0 h 573"/>
              <a:gd name="connsiteX0" fmla="*/ 625 w 4461"/>
              <a:gd name="connsiteY0" fmla="*/ 0 h 573"/>
              <a:gd name="connsiteX1" fmla="*/ 709 w 4461"/>
              <a:gd name="connsiteY1" fmla="*/ 286 h 573"/>
              <a:gd name="connsiteX2" fmla="*/ 625 w 4461"/>
              <a:gd name="connsiteY2" fmla="*/ 573 h 573"/>
              <a:gd name="connsiteX3" fmla="*/ 4461 w 4461"/>
              <a:gd name="connsiteY3" fmla="*/ 573 h 573"/>
              <a:gd name="connsiteX4" fmla="*/ 4461 w 4461"/>
              <a:gd name="connsiteY4" fmla="*/ 0 h 573"/>
              <a:gd name="connsiteX5" fmla="*/ 625 w 4461"/>
              <a:gd name="connsiteY5" fmla="*/ 0 h 573"/>
              <a:gd name="connsiteX0" fmla="*/ 626 w 4462"/>
              <a:gd name="connsiteY0" fmla="*/ 0 h 573"/>
              <a:gd name="connsiteX1" fmla="*/ 710 w 4462"/>
              <a:gd name="connsiteY1" fmla="*/ 286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26 w 4462"/>
              <a:gd name="connsiteY0" fmla="*/ 0 h 573"/>
              <a:gd name="connsiteX1" fmla="*/ 854 w 4462"/>
              <a:gd name="connsiteY1" fmla="*/ 215 h 573"/>
              <a:gd name="connsiteX2" fmla="*/ 756 w 4462"/>
              <a:gd name="connsiteY2" fmla="*/ 304 h 573"/>
              <a:gd name="connsiteX3" fmla="*/ 626 w 4462"/>
              <a:gd name="connsiteY3" fmla="*/ 573 h 573"/>
              <a:gd name="connsiteX4" fmla="*/ 4462 w 4462"/>
              <a:gd name="connsiteY4" fmla="*/ 573 h 573"/>
              <a:gd name="connsiteX5" fmla="*/ 4462 w 4462"/>
              <a:gd name="connsiteY5" fmla="*/ 0 h 573"/>
              <a:gd name="connsiteX6" fmla="*/ 626 w 4462"/>
              <a:gd name="connsiteY6" fmla="*/ 0 h 573"/>
              <a:gd name="connsiteX0" fmla="*/ 601 w 4437"/>
              <a:gd name="connsiteY0" fmla="*/ 0 h 573"/>
              <a:gd name="connsiteX1" fmla="*/ 829 w 4437"/>
              <a:gd name="connsiteY1" fmla="*/ 215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601 w 4437"/>
              <a:gd name="connsiteY0" fmla="*/ 0 h 573"/>
              <a:gd name="connsiteX1" fmla="*/ 723 w 4437"/>
              <a:gd name="connsiteY1" fmla="*/ 286 h 573"/>
              <a:gd name="connsiteX2" fmla="*/ 601 w 4437"/>
              <a:gd name="connsiteY2" fmla="*/ 573 h 573"/>
              <a:gd name="connsiteX3" fmla="*/ 4437 w 4437"/>
              <a:gd name="connsiteY3" fmla="*/ 573 h 573"/>
              <a:gd name="connsiteX4" fmla="*/ 4437 w 4437"/>
              <a:gd name="connsiteY4" fmla="*/ 0 h 573"/>
              <a:gd name="connsiteX5" fmla="*/ 601 w 4437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  <a:gd name="connsiteX0" fmla="*/ 0 w 3836"/>
              <a:gd name="connsiteY0" fmla="*/ 0 h 573"/>
              <a:gd name="connsiteX1" fmla="*/ 122 w 3836"/>
              <a:gd name="connsiteY1" fmla="*/ 286 h 573"/>
              <a:gd name="connsiteX2" fmla="*/ 0 w 3836"/>
              <a:gd name="connsiteY2" fmla="*/ 573 h 573"/>
              <a:gd name="connsiteX3" fmla="*/ 3836 w 3836"/>
              <a:gd name="connsiteY3" fmla="*/ 573 h 573"/>
              <a:gd name="connsiteX4" fmla="*/ 3836 w 3836"/>
              <a:gd name="connsiteY4" fmla="*/ 0 h 573"/>
              <a:gd name="connsiteX5" fmla="*/ 0 w 3836"/>
              <a:gd name="connsiteY5" fmla="*/ 0 h 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6" h="573">
                <a:moveTo>
                  <a:pt x="0" y="0"/>
                </a:moveTo>
                <a:cubicBezTo>
                  <a:pt x="41" y="95"/>
                  <a:pt x="81" y="191"/>
                  <a:pt x="122" y="286"/>
                </a:cubicBezTo>
                <a:cubicBezTo>
                  <a:pt x="81" y="382"/>
                  <a:pt x="41" y="477"/>
                  <a:pt x="0" y="573"/>
                </a:cubicBezTo>
                <a:lnTo>
                  <a:pt x="3836" y="573"/>
                </a:lnTo>
                <a:lnTo>
                  <a:pt x="3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6350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lIns="72000" tIns="72000" rIns="72000" bIns="72000" anchor="ctr"/>
          <a:lstStyle/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Respondiendo a las llamadas y a los desafíos de los niños y de los jóvenes.</a:t>
            </a:r>
          </a:p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En el liderazgo de la vida y la misión marista.</a:t>
            </a:r>
          </a:p>
          <a:p>
            <a:pPr marL="309600" indent="-128016" defTabSz="914400" eaLnBrk="0" fontAlgn="auto" hangingPunct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latin typeface="Arial"/>
                <a:cs typeface="Arial" pitchFamily="34" charset="0"/>
              </a:rPr>
              <a:t>En las propuestas y en los recursos.</a:t>
            </a:r>
          </a:p>
        </p:txBody>
      </p:sp>
      <p:sp>
        <p:nvSpPr>
          <p:cNvPr id="33" name="AutoShape 3"/>
          <p:cNvSpPr>
            <a:spLocks noChangeArrowheads="1"/>
          </p:cNvSpPr>
          <p:nvPr/>
        </p:nvSpPr>
        <p:spPr bwMode="gray">
          <a:xfrm>
            <a:off x="130175" y="4724400"/>
            <a:ext cx="2844800" cy="585788"/>
          </a:xfrm>
          <a:prstGeom prst="homePlate">
            <a:avLst>
              <a:gd name="adj" fmla="val 19168"/>
            </a:avLst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6350" cap="flat" cmpd="sng" algn="ctr">
            <a:noFill/>
            <a:prstDash val="solid"/>
            <a:miter lim="800000"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600" b="1" dirty="0">
                <a:solidFill>
                  <a:srgbClr val="FFFFFF"/>
                </a:solidFill>
                <a:cs typeface="Arial" pitchFamily="34" charset="0"/>
              </a:rPr>
              <a:t>Creatividad e innovación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656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Directrices </a:t>
            </a:r>
          </a:p>
        </p:txBody>
      </p:sp>
      <p:sp>
        <p:nvSpPr>
          <p:cNvPr id="3266562" name="Content Placeholder 2"/>
          <p:cNvSpPr>
            <a:spLocks noGrp="1"/>
          </p:cNvSpPr>
          <p:nvPr>
            <p:ph idx="1"/>
          </p:nvPr>
        </p:nvSpPr>
        <p:spPr>
          <a:xfrm>
            <a:off x="1871700" y="1792287"/>
            <a:ext cx="6935787" cy="4450449"/>
          </a:xfrm>
        </p:spPr>
        <p:txBody>
          <a:bodyPr/>
          <a:lstStyle/>
          <a:p>
            <a:pPr eaLnBrk="1" hangingPunct="1">
              <a:spcBef>
                <a:spcPts val="600"/>
              </a:spcBef>
            </a:pPr>
            <a:r>
              <a:rPr lang="es-ES" dirty="0" smtClean="0">
                <a:latin typeface="Arial" charset="0"/>
                <a:cs typeface="Arial" charset="0"/>
              </a:rPr>
              <a:t>En los inicios del tercer centenario buscamos las formas más adecuadas para </a:t>
            </a:r>
            <a:r>
              <a:rPr lang="es-ES" b="1" i="1" dirty="0" smtClean="0">
                <a:latin typeface="Arial" charset="0"/>
                <a:cs typeface="Arial" charset="0"/>
              </a:rPr>
              <a:t>asegurar la sostenibilidad y la vitalidad de la Misión Marista</a:t>
            </a:r>
            <a:r>
              <a:rPr lang="es-ES" dirty="0" smtClean="0">
                <a:latin typeface="Arial" charset="0"/>
                <a:cs typeface="Arial" charset="0"/>
              </a:rPr>
              <a:t>.</a:t>
            </a:r>
          </a:p>
          <a:p>
            <a:pPr eaLnBrk="1" hangingPunct="1">
              <a:spcBef>
                <a:spcPts val="600"/>
              </a:spcBef>
            </a:pPr>
            <a:r>
              <a:rPr lang="es-ES" dirty="0" smtClean="0">
                <a:latin typeface="Arial" charset="0"/>
                <a:cs typeface="Arial" charset="0"/>
              </a:rPr>
              <a:t>Queremos personas felices, apasionadas y comprometidas con el carisma Marista; para ello promovemos </a:t>
            </a:r>
            <a:r>
              <a:rPr lang="es-ES" b="1" i="1" dirty="0" smtClean="0">
                <a:latin typeface="Arial" charset="0"/>
                <a:cs typeface="Arial" charset="0"/>
              </a:rPr>
              <a:t>experiencias y procesos de acompañamiento y de formación </a:t>
            </a:r>
            <a:r>
              <a:rPr lang="es-ES" dirty="0" smtClean="0">
                <a:latin typeface="Arial" charset="0"/>
                <a:cs typeface="Arial" charset="0"/>
              </a:rPr>
              <a:t>a todos los niveles del Instituto.</a:t>
            </a:r>
          </a:p>
          <a:p>
            <a:pPr eaLnBrk="1" hangingPunct="1">
              <a:spcBef>
                <a:spcPts val="600"/>
              </a:spcBef>
            </a:pPr>
            <a:r>
              <a:rPr lang="es-ES" dirty="0" smtClean="0">
                <a:latin typeface="Arial" charset="0"/>
                <a:cs typeface="Arial" charset="0"/>
              </a:rPr>
              <a:t>Nos reconocemos como un </a:t>
            </a:r>
            <a:r>
              <a:rPr lang="es-ES" b="1" i="1" dirty="0" smtClean="0">
                <a:latin typeface="Arial" charset="0"/>
                <a:cs typeface="Arial" charset="0"/>
              </a:rPr>
              <a:t>Instituto internacional </a:t>
            </a:r>
            <a:r>
              <a:rPr lang="es-ES" dirty="0" smtClean="0">
                <a:latin typeface="Arial" charset="0"/>
                <a:cs typeface="Arial" charset="0"/>
              </a:rPr>
              <a:t>que actúa como </a:t>
            </a:r>
            <a:r>
              <a:rPr lang="es-ES" b="1" i="1" dirty="0" smtClean="0">
                <a:latin typeface="Arial" charset="0"/>
                <a:cs typeface="Arial" charset="0"/>
              </a:rPr>
              <a:t>un cuerpo global </a:t>
            </a:r>
            <a:r>
              <a:rPr lang="es-ES" dirty="0" smtClean="0">
                <a:latin typeface="Arial" charset="0"/>
                <a:cs typeface="Arial" charset="0"/>
              </a:rPr>
              <a:t>en todas las dimensiones de la vida y Misión Marista.</a:t>
            </a:r>
          </a:p>
          <a:p>
            <a:pPr eaLnBrk="1" hangingPunct="1">
              <a:spcBef>
                <a:spcPts val="600"/>
              </a:spcBef>
            </a:pPr>
            <a:r>
              <a:rPr lang="es-ES" dirty="0" smtClean="0">
                <a:latin typeface="Arial" charset="0"/>
                <a:cs typeface="Arial" charset="0"/>
              </a:rPr>
              <a:t>Priorizamos </a:t>
            </a:r>
            <a:r>
              <a:rPr lang="es-ES" b="1" i="1" dirty="0" smtClean="0">
                <a:latin typeface="Arial" charset="0"/>
                <a:cs typeface="Arial" charset="0"/>
              </a:rPr>
              <a:t>la presencia y cercanía de hermanos y laicos </a:t>
            </a:r>
            <a:r>
              <a:rPr lang="es-ES" b="1" i="1" dirty="0" err="1" smtClean="0">
                <a:latin typeface="Arial" charset="0"/>
                <a:cs typeface="Arial" charset="0"/>
              </a:rPr>
              <a:t>vocacionados</a:t>
            </a:r>
            <a:r>
              <a:rPr lang="es-ES" b="1" i="1" dirty="0" smtClean="0">
                <a:latin typeface="Arial" charset="0"/>
                <a:cs typeface="Arial" charset="0"/>
              </a:rPr>
              <a:t> entre los niños y jóvenes</a:t>
            </a:r>
            <a:r>
              <a:rPr lang="es-ES" dirty="0" smtClean="0">
                <a:latin typeface="Arial" charset="0"/>
                <a:cs typeface="Arial" charset="0"/>
              </a:rPr>
              <a:t>, especialmente entre los más pobres y vulnerables.</a:t>
            </a:r>
          </a:p>
          <a:p>
            <a:pPr eaLnBrk="1" hangingPunct="1">
              <a:spcBef>
                <a:spcPts val="600"/>
              </a:spcBef>
            </a:pPr>
            <a:r>
              <a:rPr lang="es-ES" dirty="0" smtClean="0">
                <a:latin typeface="Arial" charset="0"/>
                <a:cs typeface="Arial" charset="0"/>
              </a:rPr>
              <a:t>Vivimos y asumimos la </a:t>
            </a:r>
            <a:r>
              <a:rPr lang="es-ES" b="1" i="1" dirty="0" smtClean="0">
                <a:latin typeface="Arial" charset="0"/>
                <a:cs typeface="Arial" charset="0"/>
              </a:rPr>
              <a:t>comunión y la corresponsabilidad </a:t>
            </a:r>
            <a:r>
              <a:rPr lang="es-ES" dirty="0" smtClean="0">
                <a:latin typeface="Arial" charset="0"/>
                <a:cs typeface="Arial" charset="0"/>
              </a:rPr>
              <a:t>en la Misión Marista.</a:t>
            </a:r>
          </a:p>
          <a:p>
            <a:pPr eaLnBrk="1" hangingPunct="1">
              <a:spcBef>
                <a:spcPts val="600"/>
              </a:spcBef>
            </a:pPr>
            <a:r>
              <a:rPr lang="es-ES" dirty="0" smtClean="0">
                <a:latin typeface="Arial" charset="0"/>
                <a:cs typeface="Arial" charset="0"/>
              </a:rPr>
              <a:t>Asumimos desde todas las instancias del Instituto (UA, Regiones y Gobierno General) la </a:t>
            </a:r>
            <a:r>
              <a:rPr lang="es-ES" b="1" i="1" dirty="0" smtClean="0">
                <a:latin typeface="Arial" charset="0"/>
                <a:cs typeface="Arial" charset="0"/>
              </a:rPr>
              <a:t>participación y corresponsabilidad </a:t>
            </a:r>
            <a:r>
              <a:rPr lang="es-ES" dirty="0" smtClean="0">
                <a:latin typeface="Arial" charset="0"/>
                <a:cs typeface="Arial" charset="0"/>
              </a:rPr>
              <a:t>en la animación, gobierno y gestión de la Misión Marista.</a:t>
            </a:r>
          </a:p>
          <a:p>
            <a:pPr eaLnBrk="1" hangingPunct="1">
              <a:spcBef>
                <a:spcPts val="600"/>
              </a:spcBef>
            </a:pPr>
            <a:r>
              <a:rPr lang="es-ES" dirty="0" smtClean="0">
                <a:latin typeface="Arial" charset="0"/>
                <a:cs typeface="Arial" charset="0"/>
              </a:rPr>
              <a:t>Para responder a las llamadas y desafíos de nuestra misión buscamos </a:t>
            </a:r>
            <a:r>
              <a:rPr lang="es-ES" b="1" i="1" dirty="0" smtClean="0">
                <a:latin typeface="Arial" charset="0"/>
                <a:cs typeface="Arial" charset="0"/>
              </a:rPr>
              <a:t>las estructuras adecuadas</a:t>
            </a:r>
            <a:r>
              <a:rPr lang="es-ES" dirty="0" smtClean="0">
                <a:latin typeface="Arial" charset="0"/>
                <a:cs typeface="Arial" charset="0"/>
              </a:rPr>
              <a:t> y definimos con claridad las funciones y responsabilidades de las personas. </a:t>
            </a:r>
          </a:p>
        </p:txBody>
      </p:sp>
      <p:pic>
        <p:nvPicPr>
          <p:cNvPr id="3266563" name="Imagen 3"/>
          <p:cNvPicPr>
            <a:picLocks noChangeAspect="1"/>
          </p:cNvPicPr>
          <p:nvPr/>
        </p:nvPicPr>
        <p:blipFill>
          <a:blip r:embed="rId2"/>
          <a:srcRect l="16884" r="52617" b="15935"/>
          <a:stretch>
            <a:fillRect/>
          </a:stretch>
        </p:blipFill>
        <p:spPr bwMode="auto">
          <a:xfrm>
            <a:off x="165527" y="1773238"/>
            <a:ext cx="1625600" cy="4788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7585" name="Text Placeholder 8"/>
          <p:cNvSpPr>
            <a:spLocks noGrp="1"/>
          </p:cNvSpPr>
          <p:nvPr>
            <p:ph type="body" sz="quarter" idx="10"/>
            <p:custDataLst>
              <p:tags r:id="rId1"/>
            </p:custDataLst>
          </p:nvPr>
        </p:nvSpPr>
        <p:spPr>
          <a:xfrm>
            <a:off x="244475" y="2157413"/>
            <a:ext cx="8647113" cy="3473450"/>
          </a:xfrm>
        </p:spPr>
        <p:txBody>
          <a:bodyPr/>
          <a:lstStyle/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Descripción del proyecto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Principios y directrices clave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b="1" dirty="0" smtClean="0">
                <a:latin typeface="Arial" charset="0"/>
                <a:cs typeface="Arial" charset="0"/>
              </a:rPr>
              <a:t>Nuestras person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 Misión – estructur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Estatus canónico y civil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 Misión – procesos y herramient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Modelo de financiación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Hoja de Ruta</a:t>
            </a:r>
          </a:p>
        </p:txBody>
      </p:sp>
      <p:sp>
        <p:nvSpPr>
          <p:cNvPr id="3267586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44475" y="1627188"/>
            <a:ext cx="8647113" cy="338137"/>
          </a:xfrm>
        </p:spPr>
        <p:txBody>
          <a:bodyPr/>
          <a:lstStyle/>
          <a:p>
            <a:pPr eaLnBrk="1" hangingPunct="1"/>
            <a:r>
              <a:rPr lang="es-ES_tradnl" smtClean="0">
                <a:latin typeface="Arial" charset="0"/>
                <a:cs typeface="Arial" charset="0"/>
              </a:rPr>
              <a:t>Índice</a:t>
            </a:r>
            <a:endParaRPr lang="en-US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3246082" name="Imagen 3"/>
          <p:cNvPicPr>
            <a:picLocks noChangeAspect="1"/>
          </p:cNvPicPr>
          <p:nvPr/>
        </p:nvPicPr>
        <p:blipFill>
          <a:blip r:embed="rId2"/>
          <a:srcRect l="999" t="700"/>
          <a:stretch>
            <a:fillRect/>
          </a:stretch>
        </p:blipFill>
        <p:spPr bwMode="auto">
          <a:xfrm>
            <a:off x="46038" y="887413"/>
            <a:ext cx="9051925" cy="510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1350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54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1352" name="TextBox 56"/>
          <p:cNvSpPr txBox="1">
            <a:spLocks noChangeArrowheads="1"/>
          </p:cNvSpPr>
          <p:nvPr/>
        </p:nvSpPr>
        <p:spPr bwMode="gray">
          <a:xfrm>
            <a:off x="196850" y="1773238"/>
            <a:ext cx="6842125" cy="254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4400">
              <a:lnSpc>
                <a:spcPct val="90000"/>
              </a:lnSpc>
            </a:pPr>
            <a:r>
              <a:rPr lang="es-ES_tradnl" b="1">
                <a:solidFill>
                  <a:srgbClr val="000000"/>
                </a:solidFill>
              </a:rPr>
              <a:t>Visión</a:t>
            </a:r>
          </a:p>
        </p:txBody>
      </p:sp>
      <p:sp>
        <p:nvSpPr>
          <p:cNvPr id="611353" name="Rectángulo 46"/>
          <p:cNvSpPr>
            <a:spLocks noChangeArrowheads="1"/>
          </p:cNvSpPr>
          <p:nvPr/>
        </p:nvSpPr>
        <p:spPr bwMode="auto">
          <a:xfrm>
            <a:off x="1331913" y="1968500"/>
            <a:ext cx="6556375" cy="701675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 defTabSz="914400">
              <a:lnSpc>
                <a:spcPct val="90000"/>
              </a:lnSpc>
            </a:pPr>
            <a:r>
              <a:rPr lang="es-ES_tradnl" sz="1600" b="1">
                <a:solidFill>
                  <a:srgbClr val="FFFFFF"/>
                </a:solidFill>
              </a:rPr>
              <a:t>Laicos y Hermanos, místicos y profetas en comunión,</a:t>
            </a:r>
          </a:p>
          <a:p>
            <a:pPr algn="ctr" defTabSz="914400">
              <a:lnSpc>
                <a:spcPct val="90000"/>
              </a:lnSpc>
            </a:pPr>
            <a:r>
              <a:rPr lang="es-ES_tradnl" sz="1600" b="1">
                <a:solidFill>
                  <a:srgbClr val="FFFFFF"/>
                </a:solidFill>
              </a:rPr>
              <a:t>  con significativa presencia evangelizadora</a:t>
            </a:r>
          </a:p>
          <a:p>
            <a:pPr algn="ctr" defTabSz="914400">
              <a:lnSpc>
                <a:spcPct val="90000"/>
              </a:lnSpc>
            </a:pPr>
            <a:r>
              <a:rPr lang="es-ES_tradnl" sz="1600" b="1">
                <a:solidFill>
                  <a:srgbClr val="FFFFFF"/>
                </a:solidFill>
              </a:rPr>
              <a:t> entre los niños y jóvenes pobres</a:t>
            </a:r>
          </a:p>
        </p:txBody>
      </p:sp>
      <p:sp>
        <p:nvSpPr>
          <p:cNvPr id="611354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4475" y="804863"/>
            <a:ext cx="8640763" cy="665162"/>
          </a:xfrm>
        </p:spPr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Nuestro nuevo comienzo empieza desde nuestra Visión y necesita involucrar a nuestras </a:t>
            </a:r>
            <a:r>
              <a:rPr lang="es-ES_tradnl" b="1" dirty="0" smtClean="0">
                <a:latin typeface="Arial" charset="0"/>
                <a:cs typeface="Arial" charset="0"/>
              </a:rPr>
              <a:t>personas</a:t>
            </a:r>
            <a:r>
              <a:rPr lang="es-ES_tradnl" dirty="0" smtClean="0">
                <a:latin typeface="Arial" charset="0"/>
                <a:cs typeface="Arial" charset="0"/>
              </a:rPr>
              <a:t> y nuestra </a:t>
            </a:r>
            <a:r>
              <a:rPr lang="es-ES_tradnl" b="1" dirty="0" smtClean="0">
                <a:latin typeface="Arial" charset="0"/>
                <a:cs typeface="Arial" charset="0"/>
              </a:rPr>
              <a:t>Misión</a:t>
            </a:r>
          </a:p>
        </p:txBody>
      </p:sp>
      <p:sp>
        <p:nvSpPr>
          <p:cNvPr id="74" name="Line 6"/>
          <p:cNvSpPr>
            <a:spLocks noChangeShapeType="1"/>
          </p:cNvSpPr>
          <p:nvPr/>
        </p:nvSpPr>
        <p:spPr bwMode="gray">
          <a:xfrm flipH="1" flipV="1">
            <a:off x="4575175" y="2913063"/>
            <a:ext cx="0" cy="2522537"/>
          </a:xfrm>
          <a:prstGeom prst="line">
            <a:avLst/>
          </a:prstGeom>
          <a:noFill/>
          <a:ln w="28575">
            <a:solidFill>
              <a:schemeClr val="accent3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_tradnl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Line 10"/>
          <p:cNvSpPr>
            <a:spLocks noChangeShapeType="1"/>
          </p:cNvSpPr>
          <p:nvPr/>
        </p:nvSpPr>
        <p:spPr bwMode="gray">
          <a:xfrm flipV="1">
            <a:off x="344488" y="2913063"/>
            <a:ext cx="4227512" cy="1011237"/>
          </a:xfrm>
          <a:prstGeom prst="line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_tradnl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11357" name="Group 12"/>
          <p:cNvGrpSpPr>
            <a:grpSpLocks/>
          </p:cNvGrpSpPr>
          <p:nvPr/>
        </p:nvGrpSpPr>
        <p:grpSpPr bwMode="auto">
          <a:xfrm>
            <a:off x="260350" y="2913063"/>
            <a:ext cx="8626475" cy="354012"/>
            <a:chOff x="468" y="1897"/>
            <a:chExt cx="5384" cy="234"/>
          </a:xfrm>
        </p:grpSpPr>
        <p:sp>
          <p:nvSpPr>
            <p:cNvPr id="77" name="Line 13"/>
            <p:cNvSpPr>
              <a:spLocks noChangeShapeType="1"/>
            </p:cNvSpPr>
            <p:nvPr/>
          </p:nvSpPr>
          <p:spPr bwMode="gray">
            <a:xfrm flipV="1">
              <a:off x="468" y="1897"/>
              <a:ext cx="2691" cy="234"/>
            </a:xfrm>
            <a:prstGeom prst="line">
              <a:avLst/>
            </a:prstGeom>
            <a:noFill/>
            <a:ln w="1270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1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8" name="Line 14"/>
            <p:cNvSpPr>
              <a:spLocks noChangeShapeType="1"/>
            </p:cNvSpPr>
            <p:nvPr/>
          </p:nvSpPr>
          <p:spPr bwMode="gray">
            <a:xfrm flipH="1" flipV="1">
              <a:off x="3161" y="1897"/>
              <a:ext cx="2691" cy="234"/>
            </a:xfrm>
            <a:prstGeom prst="line">
              <a:avLst/>
            </a:prstGeom>
            <a:noFill/>
            <a:ln w="1270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1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11358" name="Group 15"/>
          <p:cNvGrpSpPr>
            <a:grpSpLocks/>
          </p:cNvGrpSpPr>
          <p:nvPr/>
        </p:nvGrpSpPr>
        <p:grpSpPr bwMode="auto">
          <a:xfrm>
            <a:off x="260350" y="2913063"/>
            <a:ext cx="8626475" cy="101600"/>
            <a:chOff x="482" y="1897"/>
            <a:chExt cx="5356" cy="63"/>
          </a:xfrm>
        </p:grpSpPr>
        <p:sp>
          <p:nvSpPr>
            <p:cNvPr id="80" name="Line 17"/>
            <p:cNvSpPr>
              <a:spLocks noChangeShapeType="1"/>
            </p:cNvSpPr>
            <p:nvPr/>
          </p:nvSpPr>
          <p:spPr bwMode="gray">
            <a:xfrm flipH="1" flipV="1">
              <a:off x="3161" y="1897"/>
              <a:ext cx="2677" cy="63"/>
            </a:xfrm>
            <a:prstGeom prst="line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1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1" name="Line 16"/>
            <p:cNvSpPr>
              <a:spLocks noChangeShapeType="1"/>
            </p:cNvSpPr>
            <p:nvPr/>
          </p:nvSpPr>
          <p:spPr bwMode="gray">
            <a:xfrm flipV="1">
              <a:off x="482" y="1897"/>
              <a:ext cx="2677" cy="63"/>
            </a:xfrm>
            <a:prstGeom prst="line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1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82" name="Line 18"/>
          <p:cNvSpPr>
            <a:spLocks noChangeShapeType="1"/>
          </p:cNvSpPr>
          <p:nvPr/>
        </p:nvSpPr>
        <p:spPr bwMode="gray">
          <a:xfrm>
            <a:off x="260350" y="2906713"/>
            <a:ext cx="8626475" cy="0"/>
          </a:xfrm>
          <a:prstGeom prst="line">
            <a:avLst/>
          </a:prstGeom>
          <a:noFill/>
          <a:ln w="6350">
            <a:solidFill>
              <a:schemeClr val="accent3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_tradnl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3" name="Arc 3"/>
          <p:cNvSpPr>
            <a:spLocks/>
          </p:cNvSpPr>
          <p:nvPr/>
        </p:nvSpPr>
        <p:spPr bwMode="gray">
          <a:xfrm>
            <a:off x="341313" y="3019425"/>
            <a:ext cx="8475662" cy="1073150"/>
          </a:xfrm>
          <a:custGeom>
            <a:avLst/>
            <a:gdLst>
              <a:gd name="G0" fmla="+- 21600 0 0"/>
              <a:gd name="G1" fmla="+- 726 0 0"/>
              <a:gd name="G2" fmla="+- 21600 0 0"/>
              <a:gd name="T0" fmla="*/ 43194 w 43200"/>
              <a:gd name="T1" fmla="*/ 233 h 22326"/>
              <a:gd name="T2" fmla="*/ 12 w 43200"/>
              <a:gd name="T3" fmla="*/ 0 h 22326"/>
              <a:gd name="T4" fmla="*/ 21600 w 43200"/>
              <a:gd name="T5" fmla="*/ 726 h 22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3200" h="22326" fill="none" extrusionOk="0">
                <a:moveTo>
                  <a:pt x="43194" y="232"/>
                </a:moveTo>
                <a:cubicBezTo>
                  <a:pt x="43198" y="397"/>
                  <a:pt x="43200" y="561"/>
                  <a:pt x="43200" y="726"/>
                </a:cubicBezTo>
                <a:cubicBezTo>
                  <a:pt x="43200" y="12655"/>
                  <a:pt x="33529" y="22326"/>
                  <a:pt x="21600" y="22326"/>
                </a:cubicBezTo>
                <a:cubicBezTo>
                  <a:pt x="9670" y="22326"/>
                  <a:pt x="0" y="12655"/>
                  <a:pt x="0" y="726"/>
                </a:cubicBezTo>
                <a:cubicBezTo>
                  <a:pt x="-1" y="483"/>
                  <a:pt x="4" y="241"/>
                  <a:pt x="12" y="0"/>
                </a:cubicBezTo>
              </a:path>
              <a:path w="43200" h="22326" stroke="0" extrusionOk="0">
                <a:moveTo>
                  <a:pt x="43194" y="232"/>
                </a:moveTo>
                <a:cubicBezTo>
                  <a:pt x="43198" y="397"/>
                  <a:pt x="43200" y="561"/>
                  <a:pt x="43200" y="726"/>
                </a:cubicBezTo>
                <a:cubicBezTo>
                  <a:pt x="43200" y="12655"/>
                  <a:pt x="33529" y="22326"/>
                  <a:pt x="21600" y="22326"/>
                </a:cubicBezTo>
                <a:cubicBezTo>
                  <a:pt x="9670" y="22326"/>
                  <a:pt x="0" y="12655"/>
                  <a:pt x="0" y="726"/>
                </a:cubicBezTo>
                <a:cubicBezTo>
                  <a:pt x="-1" y="483"/>
                  <a:pt x="4" y="241"/>
                  <a:pt x="12" y="0"/>
                </a:cubicBezTo>
                <a:lnTo>
                  <a:pt x="21600" y="726"/>
                </a:lnTo>
                <a:close/>
              </a:path>
            </a:pathLst>
          </a:custGeom>
          <a:noFill/>
          <a:ln w="9525">
            <a:solidFill>
              <a:schemeClr val="accent3"/>
            </a:solidFill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Arc 4"/>
          <p:cNvSpPr>
            <a:spLocks/>
          </p:cNvSpPr>
          <p:nvPr/>
        </p:nvSpPr>
        <p:spPr bwMode="gray">
          <a:xfrm>
            <a:off x="2803525" y="3022600"/>
            <a:ext cx="3546475" cy="336550"/>
          </a:xfrm>
          <a:custGeom>
            <a:avLst/>
            <a:gdLst>
              <a:gd name="G0" fmla="+- 21600 0 0"/>
              <a:gd name="G1" fmla="+- 0 0 0"/>
              <a:gd name="G2" fmla="+- 21600 0 0"/>
              <a:gd name="T0" fmla="*/ 43200 w 43200"/>
              <a:gd name="T1" fmla="*/ 0 h 21600"/>
              <a:gd name="T2" fmla="*/ 0 w 43200"/>
              <a:gd name="T3" fmla="*/ 0 h 21600"/>
              <a:gd name="T4" fmla="*/ 21600 w 43200"/>
              <a:gd name="T5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3200" h="21600" fill="none" extrusionOk="0">
                <a:moveTo>
                  <a:pt x="43200" y="0"/>
                </a:moveTo>
                <a:cubicBezTo>
                  <a:pt x="43200" y="11929"/>
                  <a:pt x="33529" y="21600"/>
                  <a:pt x="21600" y="21600"/>
                </a:cubicBezTo>
                <a:cubicBezTo>
                  <a:pt x="9670" y="21600"/>
                  <a:pt x="0" y="11929"/>
                  <a:pt x="0" y="0"/>
                </a:cubicBezTo>
              </a:path>
              <a:path w="43200" h="21600" stroke="0" extrusionOk="0">
                <a:moveTo>
                  <a:pt x="43200" y="0"/>
                </a:moveTo>
                <a:cubicBezTo>
                  <a:pt x="43200" y="11929"/>
                  <a:pt x="33529" y="21600"/>
                  <a:pt x="21600" y="21600"/>
                </a:cubicBezTo>
                <a:cubicBezTo>
                  <a:pt x="9670" y="21600"/>
                  <a:pt x="0" y="11929"/>
                  <a:pt x="0" y="0"/>
                </a:cubicBezTo>
                <a:lnTo>
                  <a:pt x="21600" y="0"/>
                </a:lnTo>
                <a:close/>
              </a:path>
            </a:pathLst>
          </a:custGeom>
          <a:noFill/>
          <a:ln w="6350">
            <a:solidFill>
              <a:schemeClr val="accent3"/>
            </a:solidFill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5" name="Line 10"/>
          <p:cNvSpPr>
            <a:spLocks noChangeShapeType="1"/>
          </p:cNvSpPr>
          <p:nvPr/>
        </p:nvSpPr>
        <p:spPr bwMode="gray">
          <a:xfrm flipH="1" flipV="1">
            <a:off x="4572000" y="2913063"/>
            <a:ext cx="4227513" cy="1011237"/>
          </a:xfrm>
          <a:prstGeom prst="line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_tradnl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1363" name="TextBox 30"/>
          <p:cNvSpPr txBox="1">
            <a:spLocks noChangeArrowheads="1"/>
          </p:cNvSpPr>
          <p:nvPr/>
        </p:nvSpPr>
        <p:spPr bwMode="gray">
          <a:xfrm>
            <a:off x="142875" y="4100513"/>
            <a:ext cx="6842125" cy="254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4400">
              <a:lnSpc>
                <a:spcPct val="90000"/>
              </a:lnSpc>
            </a:pPr>
            <a:r>
              <a:rPr lang="es-ES_tradnl" b="1">
                <a:solidFill>
                  <a:srgbClr val="000000"/>
                </a:solidFill>
              </a:rPr>
              <a:t>Un nuevo comienzo</a:t>
            </a:r>
          </a:p>
        </p:txBody>
      </p:sp>
      <p:sp>
        <p:nvSpPr>
          <p:cNvPr id="87" name="Rectangle 4"/>
          <p:cNvSpPr>
            <a:spLocks noChangeArrowheads="1"/>
          </p:cNvSpPr>
          <p:nvPr/>
        </p:nvSpPr>
        <p:spPr bwMode="gray">
          <a:xfrm>
            <a:off x="447675" y="5435600"/>
            <a:ext cx="3763963" cy="12668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6350">
            <a:noFill/>
            <a:miter lim="800000"/>
            <a:headEnd/>
            <a:tailEnd/>
          </a:ln>
          <a:extLst/>
        </p:spPr>
        <p:txBody>
          <a:bodyPr lIns="72000" tIns="72000" rIns="72000" bIns="36000"/>
          <a:lstStyle/>
          <a:p>
            <a:pPr marL="97212" indent="-97212" defTabSz="914400" eaLnBrk="0" fontAlgn="auto" hangingPunct="0">
              <a:lnSpc>
                <a:spcPct val="7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latin typeface="Arial"/>
                <a:cs typeface="Arial"/>
              </a:rPr>
              <a:t>¿Cómo podemos mejorar nuestra respuesta vocacional? </a:t>
            </a:r>
          </a:p>
          <a:p>
            <a:pPr marL="97212" indent="-97212" defTabSz="914400" eaLnBrk="0" fontAlgn="auto" hangingPunct="0">
              <a:lnSpc>
                <a:spcPct val="7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latin typeface="Arial"/>
                <a:cs typeface="Arial"/>
              </a:rPr>
              <a:t>¿Estamos desarrollando adecuadamente a nuestras personas? </a:t>
            </a:r>
          </a:p>
          <a:p>
            <a:pPr marL="97212" indent="-97212" defTabSz="914400" eaLnBrk="0" fontAlgn="auto" hangingPunct="0">
              <a:lnSpc>
                <a:spcPct val="7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latin typeface="Arial"/>
                <a:cs typeface="Arial"/>
              </a:rPr>
              <a:t>¿Cómo pueden nuestros procesos internos facilitar un nuevo comienzo? </a:t>
            </a:r>
          </a:p>
          <a:p>
            <a:pPr marL="97212" indent="-97212" defTabSz="914400" eaLnBrk="0" fontAlgn="auto" hangingPunct="0">
              <a:lnSpc>
                <a:spcPct val="7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latin typeface="Arial"/>
                <a:cs typeface="Arial"/>
              </a:rPr>
              <a:t>¿Cómo podemos incrementar la participación de los laicos?</a:t>
            </a:r>
          </a:p>
        </p:txBody>
      </p:sp>
      <p:sp>
        <p:nvSpPr>
          <p:cNvPr id="611365" name="Text Box 3"/>
          <p:cNvSpPr txBox="1">
            <a:spLocks noChangeArrowheads="1"/>
          </p:cNvSpPr>
          <p:nvPr/>
        </p:nvSpPr>
        <p:spPr bwMode="gray">
          <a:xfrm>
            <a:off x="431800" y="4460875"/>
            <a:ext cx="3779838" cy="996950"/>
          </a:xfrm>
          <a:prstGeom prst="rect">
            <a:avLst/>
          </a:prstGeom>
          <a:solidFill>
            <a:schemeClr val="tx2"/>
          </a:solidFill>
          <a:ln w="6350">
            <a:noFill/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 defTabSz="914400">
              <a:lnSpc>
                <a:spcPct val="90000"/>
              </a:lnSpc>
            </a:pPr>
            <a:r>
              <a:rPr lang="es-ES_tradnl" sz="1600" b="1" dirty="0">
                <a:solidFill>
                  <a:srgbClr val="FFFFFF"/>
                </a:solidFill>
              </a:rPr>
              <a:t>Para nuestras personas</a:t>
            </a:r>
            <a:r>
              <a:rPr lang="es-ES_tradnl" sz="1600" dirty="0">
                <a:solidFill>
                  <a:srgbClr val="FFFFFF"/>
                </a:solidFill>
              </a:rPr>
              <a:t>:</a:t>
            </a:r>
            <a:br>
              <a:rPr lang="es-ES_tradnl" sz="1600" dirty="0">
                <a:solidFill>
                  <a:srgbClr val="FFFFFF"/>
                </a:solidFill>
              </a:rPr>
            </a:br>
            <a:r>
              <a:rPr lang="es-ES_tradnl" sz="1600" dirty="0" smtClean="0">
                <a:solidFill>
                  <a:srgbClr val="FFFFFF"/>
                </a:solidFill>
              </a:rPr>
              <a:t>Animar Hermanos </a:t>
            </a:r>
            <a:r>
              <a:rPr lang="es-ES_tradnl" sz="1600" dirty="0">
                <a:solidFill>
                  <a:srgbClr val="FFFFFF"/>
                </a:solidFill>
              </a:rPr>
              <a:t>y Laicos </a:t>
            </a:r>
            <a:r>
              <a:rPr lang="es-ES_tradnl" sz="1600" dirty="0" smtClean="0">
                <a:solidFill>
                  <a:srgbClr val="FFFFFF"/>
                </a:solidFill>
              </a:rPr>
              <a:t>para ser </a:t>
            </a:r>
          </a:p>
          <a:p>
            <a:pPr algn="ctr" defTabSz="914400">
              <a:lnSpc>
                <a:spcPct val="90000"/>
              </a:lnSpc>
            </a:pPr>
            <a:r>
              <a:rPr lang="es-ES_tradnl" sz="1600" dirty="0" smtClean="0">
                <a:solidFill>
                  <a:srgbClr val="FFFFFF"/>
                </a:solidFill>
              </a:rPr>
              <a:t>personas </a:t>
            </a:r>
            <a:r>
              <a:rPr lang="es-ES_tradnl" sz="1600" b="1" dirty="0" smtClean="0">
                <a:solidFill>
                  <a:srgbClr val="FFFFFF"/>
                </a:solidFill>
              </a:rPr>
              <a:t>felices, apasionadas </a:t>
            </a:r>
          </a:p>
          <a:p>
            <a:pPr algn="ctr" defTabSz="914400">
              <a:lnSpc>
                <a:spcPct val="90000"/>
              </a:lnSpc>
            </a:pPr>
            <a:r>
              <a:rPr lang="es-ES_tradnl" sz="1600" b="1" dirty="0" smtClean="0">
                <a:solidFill>
                  <a:srgbClr val="FFFFFF"/>
                </a:solidFill>
              </a:rPr>
              <a:t>y comprometidas </a:t>
            </a:r>
            <a:r>
              <a:rPr lang="es-ES_tradnl" sz="1600" dirty="0" smtClean="0">
                <a:solidFill>
                  <a:srgbClr val="FFFFFF"/>
                </a:solidFill>
              </a:rPr>
              <a:t>con </a:t>
            </a:r>
            <a:r>
              <a:rPr lang="es-ES_tradnl" sz="1600" dirty="0">
                <a:solidFill>
                  <a:srgbClr val="FFFFFF"/>
                </a:solidFill>
              </a:rPr>
              <a:t>el carisma marista.</a:t>
            </a:r>
          </a:p>
        </p:txBody>
      </p:sp>
      <p:sp>
        <p:nvSpPr>
          <p:cNvPr id="611366" name="Freeform 17"/>
          <p:cNvSpPr>
            <a:spLocks/>
          </p:cNvSpPr>
          <p:nvPr/>
        </p:nvSpPr>
        <p:spPr bwMode="gray">
          <a:xfrm>
            <a:off x="5522913" y="3435350"/>
            <a:ext cx="1127125" cy="388938"/>
          </a:xfrm>
          <a:custGeom>
            <a:avLst/>
            <a:gdLst>
              <a:gd name="T0" fmla="*/ 654975 w 635"/>
              <a:gd name="T1" fmla="*/ 388938 h 208"/>
              <a:gd name="T2" fmla="*/ 1127125 w 635"/>
              <a:gd name="T3" fmla="*/ 321622 h 208"/>
              <a:gd name="T4" fmla="*/ 482800 w 635"/>
              <a:gd name="T5" fmla="*/ 52357 h 208"/>
              <a:gd name="T6" fmla="*/ 660300 w 635"/>
              <a:gd name="T7" fmla="*/ 18699 h 208"/>
              <a:gd name="T8" fmla="*/ 191700 w 635"/>
              <a:gd name="T9" fmla="*/ 0 h 208"/>
              <a:gd name="T10" fmla="*/ 0 w 635"/>
              <a:gd name="T11" fmla="*/ 108454 h 208"/>
              <a:gd name="T12" fmla="*/ 209450 w 635"/>
              <a:gd name="T13" fmla="*/ 82275 h 208"/>
              <a:gd name="T14" fmla="*/ 654975 w 635"/>
              <a:gd name="T15" fmla="*/ 388938 h 20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35"/>
              <a:gd name="T25" fmla="*/ 0 h 208"/>
              <a:gd name="T26" fmla="*/ 635 w 635"/>
              <a:gd name="T27" fmla="*/ 208 h 20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35" h="208">
                <a:moveTo>
                  <a:pt x="369" y="208"/>
                </a:moveTo>
                <a:lnTo>
                  <a:pt x="635" y="172"/>
                </a:lnTo>
                <a:lnTo>
                  <a:pt x="272" y="28"/>
                </a:lnTo>
                <a:lnTo>
                  <a:pt x="372" y="10"/>
                </a:lnTo>
                <a:lnTo>
                  <a:pt x="108" y="0"/>
                </a:lnTo>
                <a:lnTo>
                  <a:pt x="0" y="58"/>
                </a:lnTo>
                <a:lnTo>
                  <a:pt x="118" y="44"/>
                </a:lnTo>
                <a:lnTo>
                  <a:pt x="369" y="208"/>
                </a:lnTo>
                <a:close/>
              </a:path>
            </a:pathLst>
          </a:custGeom>
          <a:solidFill>
            <a:schemeClr val="accent1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grpSp>
        <p:nvGrpSpPr>
          <p:cNvPr id="611367" name="Group 2"/>
          <p:cNvGrpSpPr>
            <a:grpSpLocks/>
          </p:cNvGrpSpPr>
          <p:nvPr/>
        </p:nvGrpSpPr>
        <p:grpSpPr bwMode="auto">
          <a:xfrm>
            <a:off x="4822825" y="4365625"/>
            <a:ext cx="3846513" cy="2357438"/>
            <a:chOff x="789489" y="4274359"/>
            <a:chExt cx="3626299" cy="2471263"/>
          </a:xfrm>
        </p:grpSpPr>
        <p:sp>
          <p:nvSpPr>
            <p:cNvPr id="91" name="Rectangle 4"/>
            <p:cNvSpPr>
              <a:spLocks noChangeArrowheads="1"/>
            </p:cNvSpPr>
            <p:nvPr/>
          </p:nvSpPr>
          <p:spPr bwMode="gray">
            <a:xfrm>
              <a:off x="796973" y="5317781"/>
              <a:ext cx="3618815" cy="142784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6350">
              <a:noFill/>
              <a:miter lim="800000"/>
              <a:headEnd/>
              <a:tailEnd/>
            </a:ln>
            <a:extLst/>
          </p:spPr>
          <p:txBody>
            <a:bodyPr lIns="72000" tIns="72000" rIns="72000" bIns="36000"/>
            <a:lstStyle/>
            <a:p>
              <a:pPr marL="97212" indent="-97212" defTabSz="914400" eaLnBrk="0" fontAlgn="auto" hangingPunct="0">
                <a:lnSpc>
                  <a:spcPct val="7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>
                  <a:solidFill>
                    <a:srgbClr val="000000"/>
                  </a:solidFill>
                  <a:latin typeface="Arial"/>
                  <a:cs typeface="Arial"/>
                </a:rPr>
                <a:t>Mejorar nuestra eficacia en la Misión.</a:t>
              </a:r>
            </a:p>
            <a:p>
              <a:pPr marL="97212" indent="-97212" defTabSz="914400" eaLnBrk="0" fontAlgn="auto" hangingPunct="0">
                <a:lnSpc>
                  <a:spcPct val="7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>
                  <a:solidFill>
                    <a:srgbClr val="000000"/>
                  </a:solidFill>
                  <a:latin typeface="Arial"/>
                  <a:cs typeface="Arial"/>
                </a:rPr>
                <a:t>¿Estamos definiendo adecuadamente nuestros objetivos?</a:t>
              </a:r>
            </a:p>
            <a:p>
              <a:pPr marL="97212" indent="-97212" defTabSz="914400" eaLnBrk="0" fontAlgn="auto" hangingPunct="0">
                <a:lnSpc>
                  <a:spcPct val="7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>
                  <a:solidFill>
                    <a:srgbClr val="000000"/>
                  </a:solidFill>
                  <a:latin typeface="Arial"/>
                  <a:cs typeface="Arial"/>
                </a:rPr>
                <a:t>¿Usamos plenamente nuestros bienes?</a:t>
              </a:r>
            </a:p>
            <a:p>
              <a:pPr marL="97212" indent="-97212" defTabSz="914400" eaLnBrk="0" fontAlgn="auto" hangingPunct="0">
                <a:lnSpc>
                  <a:spcPct val="7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>
                  <a:solidFill>
                    <a:srgbClr val="000000"/>
                  </a:solidFill>
                  <a:latin typeface="Arial"/>
                  <a:cs typeface="Arial"/>
                </a:rPr>
                <a:t>¿Estamos organizados adecuadamente?</a:t>
              </a:r>
            </a:p>
            <a:p>
              <a:pPr marL="97212" indent="-97212" defTabSz="914400" eaLnBrk="0" fontAlgn="auto" hangingPunct="0">
                <a:lnSpc>
                  <a:spcPct val="7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>
                  <a:solidFill>
                    <a:srgbClr val="000000"/>
                  </a:solidFill>
                  <a:latin typeface="Arial"/>
                  <a:cs typeface="Arial"/>
                </a:rPr>
                <a:t>Nuestras herramientas, ¿están </a:t>
              </a:r>
              <a:r>
                <a:rPr lang="es-ES_tradnl" sz="1200" dirty="0" smtClean="0">
                  <a:solidFill>
                    <a:srgbClr val="000000"/>
                  </a:solidFill>
                  <a:latin typeface="Arial"/>
                  <a:cs typeface="Arial"/>
                </a:rPr>
                <a:t>en concordancia </a:t>
              </a:r>
              <a:r>
                <a:rPr lang="es-ES_tradnl" sz="1200" dirty="0">
                  <a:solidFill>
                    <a:srgbClr val="000000"/>
                  </a:solidFill>
                  <a:latin typeface="Arial"/>
                  <a:cs typeface="Arial"/>
                </a:rPr>
                <a:t>con la sociedad actual y la iglesia?</a:t>
              </a:r>
            </a:p>
            <a:p>
              <a:pPr marL="97212" indent="-97212" defTabSz="914400" eaLnBrk="0" fontAlgn="auto" hangingPunct="0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endParaRPr lang="es-ES_tradnl" sz="120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611371" name="Text Box 3"/>
            <p:cNvSpPr txBox="1">
              <a:spLocks noChangeArrowheads="1"/>
            </p:cNvSpPr>
            <p:nvPr/>
          </p:nvSpPr>
          <p:spPr bwMode="gray">
            <a:xfrm>
              <a:off x="789489" y="4274359"/>
              <a:ext cx="3619309" cy="996587"/>
            </a:xfrm>
            <a:prstGeom prst="rect">
              <a:avLst/>
            </a:prstGeom>
            <a:solidFill>
              <a:schemeClr val="accent1"/>
            </a:solidFill>
            <a:ln w="6350">
              <a:noFill/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defTabSz="914400">
                <a:lnSpc>
                  <a:spcPct val="90000"/>
                </a:lnSpc>
              </a:pPr>
              <a:r>
                <a:rPr lang="es-ES_tradnl" sz="1600" b="1" dirty="0">
                  <a:solidFill>
                    <a:srgbClr val="FFFFFF"/>
                  </a:solidFill>
                </a:rPr>
                <a:t>Para nuestra Misión</a:t>
              </a:r>
              <a:r>
                <a:rPr lang="es-ES_tradnl" sz="1600" dirty="0">
                  <a:solidFill>
                    <a:srgbClr val="FFFFFF"/>
                  </a:solidFill>
                </a:rPr>
                <a:t>:</a:t>
              </a:r>
              <a:br>
                <a:rPr lang="es-ES_tradnl" sz="1600" dirty="0">
                  <a:solidFill>
                    <a:srgbClr val="FFFFFF"/>
                  </a:solidFill>
                </a:rPr>
              </a:br>
              <a:r>
                <a:rPr lang="es-ES_tradnl" sz="1600" dirty="0" smtClean="0">
                  <a:solidFill>
                    <a:srgbClr val="FFFFFF"/>
                  </a:solidFill>
                </a:rPr>
                <a:t>Garantizar la </a:t>
              </a:r>
              <a:r>
                <a:rPr lang="es-ES_tradnl" sz="1600" b="1" dirty="0" smtClean="0">
                  <a:solidFill>
                    <a:srgbClr val="FFFFFF"/>
                  </a:solidFill>
                </a:rPr>
                <a:t>sostenibilidad y la vitalidad</a:t>
              </a:r>
            </a:p>
            <a:p>
              <a:pPr algn="ctr" defTabSz="914400">
                <a:lnSpc>
                  <a:spcPct val="90000"/>
                </a:lnSpc>
              </a:pPr>
              <a:r>
                <a:rPr lang="es-ES_tradnl" sz="1600" dirty="0" smtClean="0">
                  <a:solidFill>
                    <a:srgbClr val="FFFFFF"/>
                  </a:solidFill>
                </a:rPr>
                <a:t>de la Misión Marista.</a:t>
              </a:r>
              <a:endParaRPr lang="es-ES_tradnl" sz="1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611368" name="Freeform 17"/>
          <p:cNvSpPr>
            <a:spLocks/>
          </p:cNvSpPr>
          <p:nvPr/>
        </p:nvSpPr>
        <p:spPr bwMode="gray">
          <a:xfrm flipH="1">
            <a:off x="2533650" y="3435350"/>
            <a:ext cx="1128713" cy="388938"/>
          </a:xfrm>
          <a:custGeom>
            <a:avLst/>
            <a:gdLst>
              <a:gd name="T0" fmla="*/ 655898 w 635"/>
              <a:gd name="T1" fmla="*/ 388938 h 208"/>
              <a:gd name="T2" fmla="*/ 1128713 w 635"/>
              <a:gd name="T3" fmla="*/ 321622 h 208"/>
              <a:gd name="T4" fmla="*/ 483480 w 635"/>
              <a:gd name="T5" fmla="*/ 52357 h 208"/>
              <a:gd name="T6" fmla="*/ 661230 w 635"/>
              <a:gd name="T7" fmla="*/ 18699 h 208"/>
              <a:gd name="T8" fmla="*/ 191970 w 635"/>
              <a:gd name="T9" fmla="*/ 0 h 208"/>
              <a:gd name="T10" fmla="*/ 0 w 635"/>
              <a:gd name="T11" fmla="*/ 108454 h 208"/>
              <a:gd name="T12" fmla="*/ 209745 w 635"/>
              <a:gd name="T13" fmla="*/ 82275 h 208"/>
              <a:gd name="T14" fmla="*/ 655898 w 635"/>
              <a:gd name="T15" fmla="*/ 388938 h 20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35"/>
              <a:gd name="T25" fmla="*/ 0 h 208"/>
              <a:gd name="T26" fmla="*/ 635 w 635"/>
              <a:gd name="T27" fmla="*/ 208 h 20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35" h="208">
                <a:moveTo>
                  <a:pt x="369" y="208"/>
                </a:moveTo>
                <a:lnTo>
                  <a:pt x="635" y="172"/>
                </a:lnTo>
                <a:lnTo>
                  <a:pt x="272" y="28"/>
                </a:lnTo>
                <a:lnTo>
                  <a:pt x="372" y="10"/>
                </a:lnTo>
                <a:lnTo>
                  <a:pt x="108" y="0"/>
                </a:lnTo>
                <a:lnTo>
                  <a:pt x="0" y="58"/>
                </a:lnTo>
                <a:lnTo>
                  <a:pt x="118" y="44"/>
                </a:lnTo>
                <a:lnTo>
                  <a:pt x="369" y="208"/>
                </a:lnTo>
                <a:close/>
              </a:path>
            </a:pathLst>
          </a:custGeom>
          <a:solidFill>
            <a:schemeClr val="tx2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94" name="Rounded Rectangle 26"/>
          <p:cNvSpPr/>
          <p:nvPr/>
        </p:nvSpPr>
        <p:spPr>
          <a:xfrm>
            <a:off x="196850" y="4425950"/>
            <a:ext cx="4224338" cy="2297113"/>
          </a:xfrm>
          <a:prstGeom prst="roundRect">
            <a:avLst>
              <a:gd name="adj" fmla="val 8001"/>
            </a:avLst>
          </a:prstGeom>
          <a:noFill/>
          <a:ln w="190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400">
              <a:solidFill>
                <a:srgbClr val="FFFFFF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2374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56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2375" name="Freeform 5"/>
          <p:cNvSpPr>
            <a:spLocks/>
          </p:cNvSpPr>
          <p:nvPr/>
        </p:nvSpPr>
        <p:spPr bwMode="gray">
          <a:xfrm flipH="1">
            <a:off x="233363" y="4278313"/>
            <a:ext cx="4337050" cy="1966912"/>
          </a:xfrm>
          <a:custGeom>
            <a:avLst/>
            <a:gdLst>
              <a:gd name="T0" fmla="*/ 0 w 10045"/>
              <a:gd name="T1" fmla="*/ 160420393 h 10080"/>
              <a:gd name="T2" fmla="*/ 665262410 w 10045"/>
              <a:gd name="T3" fmla="*/ 383820971 h 10080"/>
              <a:gd name="T4" fmla="*/ 1872389893 w 10045"/>
              <a:gd name="T5" fmla="*/ 134413455 h 10080"/>
              <a:gd name="T6" fmla="*/ 421264584 w 10045"/>
              <a:gd name="T7" fmla="*/ 0 h 10080"/>
              <a:gd name="T8" fmla="*/ 0 w 10045"/>
              <a:gd name="T9" fmla="*/ 160420393 h 1008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045"/>
              <a:gd name="T16" fmla="*/ 0 h 10080"/>
              <a:gd name="T17" fmla="*/ 10045 w 10045"/>
              <a:gd name="T18" fmla="*/ 10080 h 1008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045" h="10080">
                <a:moveTo>
                  <a:pt x="0" y="4213"/>
                </a:moveTo>
                <a:lnTo>
                  <a:pt x="3569" y="10080"/>
                </a:lnTo>
                <a:lnTo>
                  <a:pt x="10045" y="3530"/>
                </a:lnTo>
                <a:lnTo>
                  <a:pt x="2260" y="0"/>
                </a:lnTo>
                <a:lnTo>
                  <a:pt x="0" y="4213"/>
                </a:lnTo>
                <a:close/>
              </a:path>
            </a:pathLst>
          </a:custGeom>
          <a:solidFill>
            <a:schemeClr val="accent2"/>
          </a:solidFill>
          <a:ln w="6350" cap="rnd">
            <a:noFill/>
            <a:round/>
            <a:headEnd/>
            <a:tailEnd/>
          </a:ln>
        </p:spPr>
        <p:txBody>
          <a:bodyPr anchor="ctr" anchorCtr="1"/>
          <a:lstStyle/>
          <a:p>
            <a:endParaRPr lang="it-IT"/>
          </a:p>
        </p:txBody>
      </p:sp>
      <p:sp>
        <p:nvSpPr>
          <p:cNvPr id="612376" name="Freeform 5"/>
          <p:cNvSpPr>
            <a:spLocks/>
          </p:cNvSpPr>
          <p:nvPr/>
        </p:nvSpPr>
        <p:spPr bwMode="gray">
          <a:xfrm>
            <a:off x="4572000" y="4278313"/>
            <a:ext cx="4337050" cy="1966912"/>
          </a:xfrm>
          <a:custGeom>
            <a:avLst/>
            <a:gdLst>
              <a:gd name="T0" fmla="*/ 0 w 10045"/>
              <a:gd name="T1" fmla="*/ 160420393 h 10080"/>
              <a:gd name="T2" fmla="*/ 665262410 w 10045"/>
              <a:gd name="T3" fmla="*/ 383820971 h 10080"/>
              <a:gd name="T4" fmla="*/ 1872389893 w 10045"/>
              <a:gd name="T5" fmla="*/ 134413455 h 10080"/>
              <a:gd name="T6" fmla="*/ 421264584 w 10045"/>
              <a:gd name="T7" fmla="*/ 0 h 10080"/>
              <a:gd name="T8" fmla="*/ 0 w 10045"/>
              <a:gd name="T9" fmla="*/ 160420393 h 1008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045"/>
              <a:gd name="T16" fmla="*/ 0 h 10080"/>
              <a:gd name="T17" fmla="*/ 10045 w 10045"/>
              <a:gd name="T18" fmla="*/ 10080 h 1008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045" h="10080">
                <a:moveTo>
                  <a:pt x="0" y="4213"/>
                </a:moveTo>
                <a:lnTo>
                  <a:pt x="3569" y="10080"/>
                </a:lnTo>
                <a:lnTo>
                  <a:pt x="10045" y="3530"/>
                </a:lnTo>
                <a:lnTo>
                  <a:pt x="2260" y="0"/>
                </a:lnTo>
                <a:lnTo>
                  <a:pt x="0" y="4213"/>
                </a:lnTo>
                <a:close/>
              </a:path>
            </a:pathLst>
          </a:custGeom>
          <a:solidFill>
            <a:schemeClr val="accent2"/>
          </a:solidFill>
          <a:ln w="6350" cap="rnd">
            <a:noFill/>
            <a:round/>
            <a:headEnd/>
            <a:tailEnd/>
          </a:ln>
        </p:spPr>
        <p:txBody>
          <a:bodyPr anchor="ctr" anchorCtr="1"/>
          <a:lstStyle/>
          <a:p>
            <a:endParaRPr lang="it-IT"/>
          </a:p>
        </p:txBody>
      </p:sp>
      <p:sp>
        <p:nvSpPr>
          <p:cNvPr id="612377" name="Freeform 5"/>
          <p:cNvSpPr>
            <a:spLocks/>
          </p:cNvSpPr>
          <p:nvPr/>
        </p:nvSpPr>
        <p:spPr bwMode="gray">
          <a:xfrm flipH="1" flipV="1">
            <a:off x="230188" y="2316163"/>
            <a:ext cx="4335462" cy="1966912"/>
          </a:xfrm>
          <a:custGeom>
            <a:avLst/>
            <a:gdLst>
              <a:gd name="T0" fmla="*/ 0 w 10045"/>
              <a:gd name="T1" fmla="*/ 160420393 h 10080"/>
              <a:gd name="T2" fmla="*/ 665018826 w 10045"/>
              <a:gd name="T3" fmla="*/ 383820971 h 10080"/>
              <a:gd name="T4" fmla="*/ 1871704323 w 10045"/>
              <a:gd name="T5" fmla="*/ 134413455 h 10080"/>
              <a:gd name="T6" fmla="*/ 421110339 w 10045"/>
              <a:gd name="T7" fmla="*/ 0 h 10080"/>
              <a:gd name="T8" fmla="*/ 0 w 10045"/>
              <a:gd name="T9" fmla="*/ 160420393 h 1008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045"/>
              <a:gd name="T16" fmla="*/ 0 h 10080"/>
              <a:gd name="T17" fmla="*/ 10045 w 10045"/>
              <a:gd name="T18" fmla="*/ 10080 h 1008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045" h="10080">
                <a:moveTo>
                  <a:pt x="0" y="4213"/>
                </a:moveTo>
                <a:lnTo>
                  <a:pt x="3569" y="10080"/>
                </a:lnTo>
                <a:lnTo>
                  <a:pt x="10045" y="3530"/>
                </a:lnTo>
                <a:lnTo>
                  <a:pt x="2260" y="0"/>
                </a:lnTo>
                <a:lnTo>
                  <a:pt x="0" y="4213"/>
                </a:lnTo>
                <a:close/>
              </a:path>
            </a:pathLst>
          </a:custGeom>
          <a:solidFill>
            <a:schemeClr val="accent2"/>
          </a:solidFill>
          <a:ln w="6350" cap="rnd">
            <a:noFill/>
            <a:round/>
            <a:headEnd/>
            <a:tailEnd/>
          </a:ln>
        </p:spPr>
        <p:txBody>
          <a:bodyPr anchor="ctr" anchorCtr="1"/>
          <a:lstStyle/>
          <a:p>
            <a:endParaRPr lang="it-IT"/>
          </a:p>
        </p:txBody>
      </p:sp>
      <p:sp>
        <p:nvSpPr>
          <p:cNvPr id="612378" name="Freeform 5"/>
          <p:cNvSpPr>
            <a:spLocks/>
          </p:cNvSpPr>
          <p:nvPr/>
        </p:nvSpPr>
        <p:spPr bwMode="gray">
          <a:xfrm flipV="1">
            <a:off x="4572000" y="2312988"/>
            <a:ext cx="4337050" cy="1968500"/>
          </a:xfrm>
          <a:custGeom>
            <a:avLst/>
            <a:gdLst>
              <a:gd name="T0" fmla="*/ 0 w 10045"/>
              <a:gd name="T1" fmla="*/ 160549909 h 10080"/>
              <a:gd name="T2" fmla="*/ 665262410 w 10045"/>
              <a:gd name="T3" fmla="*/ 384130852 h 10080"/>
              <a:gd name="T4" fmla="*/ 1872389893 w 10045"/>
              <a:gd name="T5" fmla="*/ 134521975 h 10080"/>
              <a:gd name="T6" fmla="*/ 421264584 w 10045"/>
              <a:gd name="T7" fmla="*/ 0 h 10080"/>
              <a:gd name="T8" fmla="*/ 0 w 10045"/>
              <a:gd name="T9" fmla="*/ 160549909 h 1008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045"/>
              <a:gd name="T16" fmla="*/ 0 h 10080"/>
              <a:gd name="T17" fmla="*/ 10045 w 10045"/>
              <a:gd name="T18" fmla="*/ 10080 h 1008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045" h="10080">
                <a:moveTo>
                  <a:pt x="0" y="4213"/>
                </a:moveTo>
                <a:lnTo>
                  <a:pt x="3569" y="10080"/>
                </a:lnTo>
                <a:lnTo>
                  <a:pt x="10045" y="3530"/>
                </a:lnTo>
                <a:lnTo>
                  <a:pt x="2260" y="0"/>
                </a:lnTo>
                <a:lnTo>
                  <a:pt x="0" y="4213"/>
                </a:lnTo>
                <a:close/>
              </a:path>
            </a:pathLst>
          </a:custGeom>
          <a:solidFill>
            <a:schemeClr val="accent2"/>
          </a:solidFill>
          <a:ln w="6350" cap="rnd">
            <a:noFill/>
            <a:round/>
            <a:headEnd/>
            <a:tailEnd/>
          </a:ln>
        </p:spPr>
        <p:txBody>
          <a:bodyPr anchor="ctr" anchorCtr="1"/>
          <a:lstStyle/>
          <a:p>
            <a:endParaRPr lang="it-IT"/>
          </a:p>
        </p:txBody>
      </p:sp>
      <p:grpSp>
        <p:nvGrpSpPr>
          <p:cNvPr id="612379" name="Group 39"/>
          <p:cNvGrpSpPr>
            <a:grpSpLocks noChangeAspect="1"/>
          </p:cNvGrpSpPr>
          <p:nvPr/>
        </p:nvGrpSpPr>
        <p:grpSpPr bwMode="auto">
          <a:xfrm rot="7624465">
            <a:off x="2037557" y="1537493"/>
            <a:ext cx="5194300" cy="5192713"/>
            <a:chOff x="3165475" y="1136650"/>
            <a:chExt cx="2727325" cy="2727326"/>
          </a:xfrm>
        </p:grpSpPr>
        <p:sp>
          <p:nvSpPr>
            <p:cNvPr id="70" name="Freeform 5"/>
            <p:cNvSpPr>
              <a:spLocks/>
            </p:cNvSpPr>
            <p:nvPr/>
          </p:nvSpPr>
          <p:spPr bwMode="gray">
            <a:xfrm>
              <a:off x="3165340" y="2239616"/>
              <a:ext cx="1265305" cy="1429115"/>
            </a:xfrm>
            <a:custGeom>
              <a:avLst/>
              <a:gdLst>
                <a:gd name="T0" fmla="*/ 797 w 149"/>
                <a:gd name="T1" fmla="*/ 600 h 168"/>
                <a:gd name="T2" fmla="*/ 417 w 149"/>
                <a:gd name="T3" fmla="*/ 161 h 168"/>
                <a:gd name="T4" fmla="*/ 535 w 149"/>
                <a:gd name="T5" fmla="*/ 161 h 168"/>
                <a:gd name="T6" fmla="*/ 278 w 149"/>
                <a:gd name="T7" fmla="*/ 0 h 168"/>
                <a:gd name="T8" fmla="*/ 0 w 149"/>
                <a:gd name="T9" fmla="*/ 161 h 168"/>
                <a:gd name="T10" fmla="*/ 118 w 149"/>
                <a:gd name="T11" fmla="*/ 161 h 168"/>
                <a:gd name="T12" fmla="*/ 792 w 149"/>
                <a:gd name="T13" fmla="*/ 900 h 168"/>
                <a:gd name="T14" fmla="*/ 695 w 149"/>
                <a:gd name="T15" fmla="*/ 734 h 168"/>
                <a:gd name="T16" fmla="*/ 797 w 149"/>
                <a:gd name="T17" fmla="*/ 600 h 16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9"/>
                <a:gd name="T28" fmla="*/ 0 h 168"/>
                <a:gd name="T29" fmla="*/ 149 w 149"/>
                <a:gd name="T30" fmla="*/ 168 h 16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9" h="168">
                  <a:moveTo>
                    <a:pt x="149" y="112"/>
                  </a:moveTo>
                  <a:cubicBezTo>
                    <a:pt x="105" y="104"/>
                    <a:pt x="80" y="71"/>
                    <a:pt x="78" y="30"/>
                  </a:cubicBezTo>
                  <a:lnTo>
                    <a:pt x="100" y="30"/>
                  </a:lnTo>
                  <a:lnTo>
                    <a:pt x="52" y="0"/>
                  </a:lnTo>
                  <a:lnTo>
                    <a:pt x="0" y="30"/>
                  </a:lnTo>
                  <a:lnTo>
                    <a:pt x="22" y="30"/>
                  </a:lnTo>
                  <a:cubicBezTo>
                    <a:pt x="25" y="98"/>
                    <a:pt x="68" y="159"/>
                    <a:pt x="148" y="168"/>
                  </a:cubicBezTo>
                  <a:lnTo>
                    <a:pt x="130" y="137"/>
                  </a:lnTo>
                  <a:lnTo>
                    <a:pt x="149" y="112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4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71" name="Freeform 6"/>
            <p:cNvSpPr>
              <a:spLocks/>
            </p:cNvSpPr>
            <p:nvPr/>
          </p:nvSpPr>
          <p:spPr bwMode="gray">
            <a:xfrm>
              <a:off x="4259128" y="2614780"/>
              <a:ext cx="1437014" cy="1249017"/>
            </a:xfrm>
            <a:custGeom>
              <a:avLst/>
              <a:gdLst>
                <a:gd name="T0" fmla="*/ 605 w 169"/>
                <a:gd name="T1" fmla="*/ 0 h 147"/>
                <a:gd name="T2" fmla="*/ 155 w 169"/>
                <a:gd name="T3" fmla="*/ 369 h 147"/>
                <a:gd name="T4" fmla="*/ 155 w 169"/>
                <a:gd name="T5" fmla="*/ 246 h 147"/>
                <a:gd name="T6" fmla="*/ 0 w 169"/>
                <a:gd name="T7" fmla="*/ 498 h 147"/>
                <a:gd name="T8" fmla="*/ 155 w 169"/>
                <a:gd name="T9" fmla="*/ 787 h 147"/>
                <a:gd name="T10" fmla="*/ 155 w 169"/>
                <a:gd name="T11" fmla="*/ 669 h 147"/>
                <a:gd name="T12" fmla="*/ 905 w 169"/>
                <a:gd name="T13" fmla="*/ 5 h 147"/>
                <a:gd name="T14" fmla="*/ 766 w 169"/>
                <a:gd name="T15" fmla="*/ 91 h 147"/>
                <a:gd name="T16" fmla="*/ 605 w 169"/>
                <a:gd name="T17" fmla="*/ 0 h 14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9"/>
                <a:gd name="T28" fmla="*/ 0 h 147"/>
                <a:gd name="T29" fmla="*/ 169 w 169"/>
                <a:gd name="T30" fmla="*/ 147 h 14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9" h="147">
                  <a:moveTo>
                    <a:pt x="113" y="0"/>
                  </a:moveTo>
                  <a:cubicBezTo>
                    <a:pt x="104" y="48"/>
                    <a:pt x="65" y="68"/>
                    <a:pt x="29" y="69"/>
                  </a:cubicBezTo>
                  <a:lnTo>
                    <a:pt x="29" y="46"/>
                  </a:lnTo>
                  <a:lnTo>
                    <a:pt x="0" y="93"/>
                  </a:lnTo>
                  <a:lnTo>
                    <a:pt x="29" y="147"/>
                  </a:lnTo>
                  <a:lnTo>
                    <a:pt x="29" y="125"/>
                  </a:lnTo>
                  <a:cubicBezTo>
                    <a:pt x="100" y="125"/>
                    <a:pt x="161" y="74"/>
                    <a:pt x="169" y="1"/>
                  </a:cubicBezTo>
                  <a:lnTo>
                    <a:pt x="143" y="17"/>
                  </a:lnTo>
                  <a:lnTo>
                    <a:pt x="113" y="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4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72" name="Freeform 7"/>
            <p:cNvSpPr>
              <a:spLocks/>
            </p:cNvSpPr>
            <p:nvPr/>
          </p:nvSpPr>
          <p:spPr bwMode="gray">
            <a:xfrm>
              <a:off x="4636040" y="1325460"/>
              <a:ext cx="1256970" cy="1436619"/>
            </a:xfrm>
            <a:custGeom>
              <a:avLst/>
              <a:gdLst>
                <a:gd name="T0" fmla="*/ 0 w 148"/>
                <a:gd name="T1" fmla="*/ 305 h 169"/>
                <a:gd name="T2" fmla="*/ 375 w 148"/>
                <a:gd name="T3" fmla="*/ 750 h 169"/>
                <a:gd name="T4" fmla="*/ 252 w 148"/>
                <a:gd name="T5" fmla="*/ 750 h 169"/>
                <a:gd name="T6" fmla="*/ 524 w 148"/>
                <a:gd name="T7" fmla="*/ 905 h 169"/>
                <a:gd name="T8" fmla="*/ 792 w 148"/>
                <a:gd name="T9" fmla="*/ 750 h 169"/>
                <a:gd name="T10" fmla="*/ 674 w 148"/>
                <a:gd name="T11" fmla="*/ 750 h 169"/>
                <a:gd name="T12" fmla="*/ 0 w 148"/>
                <a:gd name="T13" fmla="*/ 0 h 169"/>
                <a:gd name="T14" fmla="*/ 96 w 148"/>
                <a:gd name="T15" fmla="*/ 161 h 169"/>
                <a:gd name="T16" fmla="*/ 0 w 148"/>
                <a:gd name="T17" fmla="*/ 305 h 16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8"/>
                <a:gd name="T28" fmla="*/ 0 h 169"/>
                <a:gd name="T29" fmla="*/ 148 w 148"/>
                <a:gd name="T30" fmla="*/ 169 h 16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8" h="169">
                  <a:moveTo>
                    <a:pt x="0" y="57"/>
                  </a:moveTo>
                  <a:cubicBezTo>
                    <a:pt x="41" y="63"/>
                    <a:pt x="73" y="101"/>
                    <a:pt x="70" y="140"/>
                  </a:cubicBezTo>
                  <a:lnTo>
                    <a:pt x="47" y="140"/>
                  </a:lnTo>
                  <a:lnTo>
                    <a:pt x="98" y="169"/>
                  </a:lnTo>
                  <a:lnTo>
                    <a:pt x="148" y="140"/>
                  </a:lnTo>
                  <a:lnTo>
                    <a:pt x="126" y="140"/>
                  </a:lnTo>
                  <a:cubicBezTo>
                    <a:pt x="124" y="67"/>
                    <a:pt x="75" y="8"/>
                    <a:pt x="0" y="0"/>
                  </a:cubicBezTo>
                  <a:lnTo>
                    <a:pt x="18" y="30"/>
                  </a:lnTo>
                  <a:lnTo>
                    <a:pt x="0" y="57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4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73" name="Freeform 8"/>
            <p:cNvSpPr>
              <a:spLocks/>
            </p:cNvSpPr>
            <p:nvPr/>
          </p:nvSpPr>
          <p:spPr bwMode="gray">
            <a:xfrm>
              <a:off x="3359389" y="1137606"/>
              <a:ext cx="1521200" cy="1250684"/>
            </a:xfrm>
            <a:custGeom>
              <a:avLst/>
              <a:gdLst>
                <a:gd name="T0" fmla="*/ 302 w 942"/>
                <a:gd name="T1" fmla="*/ 786 h 775"/>
                <a:gd name="T2" fmla="*/ 771 w 942"/>
                <a:gd name="T3" fmla="*/ 418 h 775"/>
                <a:gd name="T4" fmla="*/ 771 w 942"/>
                <a:gd name="T5" fmla="*/ 535 h 775"/>
                <a:gd name="T6" fmla="*/ 958 w 942"/>
                <a:gd name="T7" fmla="*/ 279 h 775"/>
                <a:gd name="T8" fmla="*/ 771 w 942"/>
                <a:gd name="T9" fmla="*/ 0 h 775"/>
                <a:gd name="T10" fmla="*/ 771 w 942"/>
                <a:gd name="T11" fmla="*/ 118 h 775"/>
                <a:gd name="T12" fmla="*/ 0 w 942"/>
                <a:gd name="T13" fmla="*/ 786 h 775"/>
                <a:gd name="T14" fmla="*/ 156 w 942"/>
                <a:gd name="T15" fmla="*/ 695 h 775"/>
                <a:gd name="T16" fmla="*/ 302 w 942"/>
                <a:gd name="T17" fmla="*/ 788 h 7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42"/>
                <a:gd name="T28" fmla="*/ 0 h 775"/>
                <a:gd name="T29" fmla="*/ 942 w 942"/>
                <a:gd name="T30" fmla="*/ 775 h 7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42" h="775">
                  <a:moveTo>
                    <a:pt x="297" y="773"/>
                  </a:moveTo>
                  <a:cubicBezTo>
                    <a:pt x="339" y="552"/>
                    <a:pt x="500" y="400"/>
                    <a:pt x="758" y="411"/>
                  </a:cubicBezTo>
                  <a:lnTo>
                    <a:pt x="758" y="526"/>
                  </a:lnTo>
                  <a:lnTo>
                    <a:pt x="942" y="274"/>
                  </a:lnTo>
                  <a:lnTo>
                    <a:pt x="758" y="0"/>
                  </a:lnTo>
                  <a:lnTo>
                    <a:pt x="758" y="116"/>
                  </a:lnTo>
                  <a:cubicBezTo>
                    <a:pt x="358" y="105"/>
                    <a:pt x="42" y="378"/>
                    <a:pt x="0" y="773"/>
                  </a:cubicBezTo>
                  <a:cubicBezTo>
                    <a:pt x="76" y="728"/>
                    <a:pt x="153" y="684"/>
                    <a:pt x="153" y="684"/>
                  </a:cubicBezTo>
                  <a:lnTo>
                    <a:pt x="297" y="775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4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612380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4475" y="804863"/>
            <a:ext cx="8640763" cy="665162"/>
          </a:xfrm>
        </p:spPr>
        <p:txBody>
          <a:bodyPr/>
          <a:lstStyle/>
          <a:p>
            <a:pPr eaLnBrk="1" hangingPunct="1"/>
            <a:r>
              <a:rPr lang="es-ES" smtClean="0">
                <a:latin typeface="Arial" charset="0"/>
                <a:cs typeface="Arial" charset="0"/>
              </a:rPr>
              <a:t>Nuestras personas: Hermanos y Laicos felices, apasionados y comprometidos con el carisma Marista.</a:t>
            </a:r>
            <a:endParaRPr lang="en-US" b="1" smtClean="0">
              <a:latin typeface="Arial" charset="0"/>
              <a:cs typeface="Arial" charset="0"/>
            </a:endParaRPr>
          </a:p>
        </p:txBody>
      </p:sp>
      <p:sp>
        <p:nvSpPr>
          <p:cNvPr id="612381" name="Rectangle 5"/>
          <p:cNvSpPr txBox="1">
            <a:spLocks noChangeArrowheads="1"/>
          </p:cNvSpPr>
          <p:nvPr/>
        </p:nvSpPr>
        <p:spPr bwMode="auto">
          <a:xfrm>
            <a:off x="7605963" y="139700"/>
            <a:ext cx="1287212" cy="16619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n-GB" sz="1200" dirty="0" err="1" smtClean="0">
                <a:solidFill>
                  <a:srgbClr val="000000"/>
                </a:solidFill>
              </a:rPr>
              <a:t>Nuestras</a:t>
            </a:r>
            <a:r>
              <a:rPr lang="en-GB" sz="1200" dirty="0" smtClean="0">
                <a:solidFill>
                  <a:srgbClr val="000000"/>
                </a:solidFill>
              </a:rPr>
              <a:t> personas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Diamond 31"/>
          <p:cNvSpPr/>
          <p:nvPr/>
        </p:nvSpPr>
        <p:spPr bwMode="gray">
          <a:xfrm>
            <a:off x="3590925" y="3302000"/>
            <a:ext cx="2133600" cy="1819275"/>
          </a:xfrm>
          <a:prstGeom prst="diamond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Aft>
                <a:spcPts val="0"/>
              </a:spcAft>
              <a:defRPr/>
            </a:pPr>
            <a:r>
              <a:rPr lang="es-ES_tradnl" sz="1600" b="1" dirty="0">
                <a:solidFill>
                  <a:srgbClr val="FFFFFF"/>
                </a:solidFill>
                <a:ea typeface="Calibri" charset="0"/>
                <a:cs typeface="Calibri" charset="0"/>
              </a:rPr>
              <a:t>Un </a:t>
            </a:r>
            <a:br>
              <a:rPr lang="es-ES_tradnl" sz="1600" b="1" dirty="0">
                <a:solidFill>
                  <a:srgbClr val="FFFFFF"/>
                </a:solidFill>
                <a:ea typeface="Calibri" charset="0"/>
                <a:cs typeface="Calibri" charset="0"/>
              </a:rPr>
            </a:br>
            <a:r>
              <a:rPr lang="es-ES_tradnl" sz="1600" b="1" dirty="0">
                <a:solidFill>
                  <a:srgbClr val="FFFFFF"/>
                </a:solidFill>
                <a:ea typeface="Calibri" charset="0"/>
                <a:cs typeface="Calibri" charset="0"/>
              </a:rPr>
              <a:t>nuevo comienzo</a:t>
            </a:r>
          </a:p>
        </p:txBody>
      </p:sp>
      <p:grpSp>
        <p:nvGrpSpPr>
          <p:cNvPr id="612383" name="Group 32"/>
          <p:cNvGrpSpPr>
            <a:grpSpLocks/>
          </p:cNvGrpSpPr>
          <p:nvPr/>
        </p:nvGrpSpPr>
        <p:grpSpPr bwMode="auto">
          <a:xfrm>
            <a:off x="6121400" y="4799013"/>
            <a:ext cx="2773363" cy="1749425"/>
            <a:chOff x="250825" y="4716558"/>
            <a:chExt cx="2773032" cy="1749354"/>
          </a:xfrm>
        </p:grpSpPr>
        <p:sp>
          <p:nvSpPr>
            <p:cNvPr id="36" name="Rectangle 9"/>
            <p:cNvSpPr>
              <a:spLocks noChangeArrowheads="1"/>
            </p:cNvSpPr>
            <p:nvPr/>
          </p:nvSpPr>
          <p:spPr bwMode="gray">
            <a:xfrm>
              <a:off x="250825" y="5445190"/>
              <a:ext cx="2773032" cy="102072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 cap="flat">
              <a:noFill/>
              <a:miter lim="800000"/>
              <a:headEnd/>
              <a:tailEnd/>
            </a:ln>
          </p:spPr>
          <p:txBody>
            <a:bodyPr lIns="0" tIns="18000" rIns="0" bIns="18000" anchor="ctr"/>
            <a:lstStyle/>
            <a:p>
              <a:pPr marL="113414" indent="-113414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Identificando </a:t>
              </a:r>
              <a:r>
                <a:rPr lang="es-ES_tradnl" sz="1200" dirty="0" smtClean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los </a:t>
              </a:r>
              <a:r>
                <a:rPr lang="es-ES_tradnl" sz="1200" b="1" dirty="0" smtClean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diferentes </a:t>
              </a:r>
              <a:r>
                <a:rPr lang="es-ES_tradnl" sz="1200" b="1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grupos </a:t>
              </a: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de laicos.</a:t>
              </a:r>
            </a:p>
            <a:p>
              <a:pPr marL="113414" indent="-113414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Definiendo </a:t>
              </a:r>
              <a:r>
                <a:rPr lang="es-ES_tradnl" sz="1200" b="1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pautas para el desarrollo </a:t>
              </a: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del laicado Marista.</a:t>
              </a:r>
            </a:p>
            <a:p>
              <a:pPr marL="113414" indent="-113414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b="1" dirty="0" smtClean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Gestionando de forma </a:t>
              </a:r>
              <a:r>
                <a:rPr lang="es-ES_tradnl" sz="1200" b="1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profesional </a:t>
              </a:r>
              <a:r>
                <a:rPr lang="es-ES_tradnl" sz="1200" dirty="0" smtClean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los </a:t>
              </a: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colaboradores.</a:t>
              </a: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250825" y="4716558"/>
              <a:ext cx="2773032" cy="739745"/>
            </a:xfrm>
            <a:prstGeom prst="rect">
              <a:avLst/>
            </a:prstGeom>
            <a:solidFill>
              <a:schemeClr val="tx2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914400" eaLnBrk="0" fontAlgn="auto" hangingPunct="0">
                <a:lnSpc>
                  <a:spcPct val="9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defRPr/>
              </a:pPr>
              <a:r>
                <a:rPr lang="es-ES_tradnl" sz="1600" dirty="0">
                  <a:solidFill>
                    <a:srgbClr val="FFFFFF"/>
                  </a:solidFill>
                  <a:ea typeface="Calibri" charset="0"/>
                  <a:cs typeface="Calibri" charset="0"/>
                </a:rPr>
                <a:t>¿Cómo podemos favorecer la participación de los laicos?</a:t>
              </a:r>
            </a:p>
          </p:txBody>
        </p:sp>
      </p:grpSp>
      <p:sp>
        <p:nvSpPr>
          <p:cNvPr id="612384" name="Rectangle 2"/>
          <p:cNvSpPr txBox="1">
            <a:spLocks noChangeArrowheads="1"/>
          </p:cNvSpPr>
          <p:nvPr/>
        </p:nvSpPr>
        <p:spPr bwMode="gray">
          <a:xfrm>
            <a:off x="244475" y="1628775"/>
            <a:ext cx="7227136" cy="24929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14400">
              <a:lnSpc>
                <a:spcPct val="90000"/>
              </a:lnSpc>
            </a:pPr>
            <a:r>
              <a:rPr lang="es-ES_tradnl" b="1" dirty="0">
                <a:solidFill>
                  <a:srgbClr val="000000"/>
                </a:solidFill>
              </a:rPr>
              <a:t>La visión inspirada comienza </a:t>
            </a:r>
            <a:r>
              <a:rPr lang="es-ES_tradnl" b="1" dirty="0" smtClean="0">
                <a:solidFill>
                  <a:srgbClr val="000000"/>
                </a:solidFill>
              </a:rPr>
              <a:t>con </a:t>
            </a:r>
            <a:r>
              <a:rPr lang="es-ES_tradnl" b="1" dirty="0">
                <a:solidFill>
                  <a:srgbClr val="000000"/>
                </a:solidFill>
              </a:rPr>
              <a:t>la definición de pautas </a:t>
            </a:r>
            <a:r>
              <a:rPr lang="es-ES_tradnl" b="1" dirty="0" smtClean="0">
                <a:solidFill>
                  <a:srgbClr val="000000"/>
                </a:solidFill>
              </a:rPr>
              <a:t>clave </a:t>
            </a:r>
            <a:endParaRPr lang="es-ES_tradnl" b="1" dirty="0">
              <a:solidFill>
                <a:srgbClr val="000000"/>
              </a:solidFill>
            </a:endParaRPr>
          </a:p>
        </p:txBody>
      </p:sp>
      <p:grpSp>
        <p:nvGrpSpPr>
          <p:cNvPr id="612385" name="Group 38"/>
          <p:cNvGrpSpPr>
            <a:grpSpLocks/>
          </p:cNvGrpSpPr>
          <p:nvPr/>
        </p:nvGrpSpPr>
        <p:grpSpPr bwMode="auto">
          <a:xfrm>
            <a:off x="254000" y="4799013"/>
            <a:ext cx="2773363" cy="1906587"/>
            <a:chOff x="233556" y="2054827"/>
            <a:chExt cx="2773032" cy="1905612"/>
          </a:xfrm>
        </p:grpSpPr>
        <p:sp>
          <p:nvSpPr>
            <p:cNvPr id="40" name="Rectangle 39"/>
            <p:cNvSpPr/>
            <p:nvPr/>
          </p:nvSpPr>
          <p:spPr>
            <a:xfrm>
              <a:off x="233556" y="2054827"/>
              <a:ext cx="2773032" cy="863158"/>
            </a:xfrm>
            <a:prstGeom prst="rect">
              <a:avLst/>
            </a:prstGeom>
            <a:solidFill>
              <a:schemeClr val="tx2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0" rIns="73152" bIns="0" anchor="ctr"/>
            <a:lstStyle/>
            <a:p>
              <a:pPr algn="ctr" defTabSz="914400" eaLnBrk="0" fontAlgn="auto" hangingPunct="0">
                <a:lnSpc>
                  <a:spcPct val="9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defRPr/>
              </a:pPr>
              <a:r>
                <a:rPr lang="es-ES_tradnl" sz="1600" dirty="0">
                  <a:solidFill>
                    <a:srgbClr val="FFFFFF"/>
                  </a:solidFill>
                  <a:ea typeface="Calibri" charset="0"/>
                  <a:cs typeface="Calibri" charset="0"/>
                </a:rPr>
                <a:t>¿Cómo pueden nuestros procesos internos facilitar un nuevo comienzo? </a:t>
              </a:r>
            </a:p>
          </p:txBody>
        </p:sp>
        <p:sp>
          <p:nvSpPr>
            <p:cNvPr id="41" name="Rectangle 9"/>
            <p:cNvSpPr>
              <a:spLocks noChangeArrowheads="1"/>
            </p:cNvSpPr>
            <p:nvPr/>
          </p:nvSpPr>
          <p:spPr bwMode="gray">
            <a:xfrm>
              <a:off x="233556" y="2924332"/>
              <a:ext cx="2773032" cy="103610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 cap="flat">
              <a:noFill/>
              <a:miter lim="800000"/>
              <a:headEnd/>
              <a:tailEnd/>
            </a:ln>
          </p:spPr>
          <p:txBody>
            <a:bodyPr lIns="0" tIns="18000" rIns="0" bIns="18000" anchor="ctr"/>
            <a:lstStyle/>
            <a:p>
              <a:pPr marL="113414" indent="-113414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Explorando </a:t>
              </a:r>
              <a:r>
                <a:rPr lang="es-ES_tradnl" sz="1200" b="1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nuevos paradigmas</a:t>
              </a: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.</a:t>
              </a:r>
            </a:p>
            <a:p>
              <a:pPr marL="113414" indent="-113414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Estableciendo procesos de evaluación, </a:t>
              </a:r>
              <a:r>
                <a:rPr lang="es-ES_tradnl" sz="1200" b="1" dirty="0" smtClean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seguimiento </a:t>
              </a:r>
              <a:r>
                <a:rPr lang="es-ES_tradnl" sz="1200" b="1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y </a:t>
              </a:r>
              <a:r>
                <a:rPr lang="es-ES_tradnl" sz="1200" b="1" dirty="0" smtClean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acompañamiento</a:t>
              </a: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.</a:t>
              </a:r>
            </a:p>
            <a:p>
              <a:pPr marL="113414" indent="-113414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 smtClean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Promoviendo </a:t>
              </a: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el </a:t>
              </a:r>
              <a:r>
                <a:rPr lang="es-ES_tradnl" sz="1200" b="1" dirty="0" smtClean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compromiso</a:t>
              </a:r>
              <a:r>
                <a:rPr lang="es-ES_tradnl" sz="1200" dirty="0" smtClean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 de </a:t>
              </a: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las personas.</a:t>
              </a:r>
            </a:p>
            <a:p>
              <a:pPr marL="113414" indent="-113414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Fortaleciendo la </a:t>
              </a:r>
              <a:r>
                <a:rPr lang="es-ES_tradnl" sz="1200" b="1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vocación Marista</a:t>
              </a: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. </a:t>
              </a:r>
            </a:p>
          </p:txBody>
        </p:sp>
      </p:grpSp>
      <p:grpSp>
        <p:nvGrpSpPr>
          <p:cNvPr id="612386" name="Group 41"/>
          <p:cNvGrpSpPr>
            <a:grpSpLocks/>
          </p:cNvGrpSpPr>
          <p:nvPr/>
        </p:nvGrpSpPr>
        <p:grpSpPr bwMode="auto">
          <a:xfrm>
            <a:off x="228600" y="2144713"/>
            <a:ext cx="2773363" cy="1792287"/>
            <a:chOff x="6120143" y="2054827"/>
            <a:chExt cx="2773032" cy="1791226"/>
          </a:xfrm>
        </p:grpSpPr>
        <p:sp>
          <p:nvSpPr>
            <p:cNvPr id="43" name="Rectangle 42"/>
            <p:cNvSpPr/>
            <p:nvPr/>
          </p:nvSpPr>
          <p:spPr>
            <a:xfrm>
              <a:off x="6120143" y="2054827"/>
              <a:ext cx="2773032" cy="739337"/>
            </a:xfrm>
            <a:prstGeom prst="rect">
              <a:avLst/>
            </a:prstGeom>
            <a:solidFill>
              <a:schemeClr val="tx2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0" rIns="73152" bIns="0" anchor="ctr"/>
            <a:lstStyle/>
            <a:p>
              <a:pPr algn="ctr" defTabSz="914400" eaLnBrk="0" fontAlgn="auto" hangingPunct="0">
                <a:lnSpc>
                  <a:spcPct val="9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defRPr/>
              </a:pPr>
              <a:r>
                <a:rPr lang="es-ES_tradnl" sz="1600" dirty="0">
                  <a:solidFill>
                    <a:srgbClr val="FFFFFF"/>
                  </a:solidFill>
                  <a:ea typeface="Calibri" charset="0"/>
                  <a:cs typeface="Calibri" charset="0"/>
                </a:rPr>
                <a:t>¿Cómo podemos mejorar nuestra respuesta vocacional? </a:t>
              </a:r>
            </a:p>
          </p:txBody>
        </p:sp>
        <p:sp>
          <p:nvSpPr>
            <p:cNvPr id="44" name="Rectangle 9"/>
            <p:cNvSpPr>
              <a:spLocks noChangeArrowheads="1"/>
            </p:cNvSpPr>
            <p:nvPr/>
          </p:nvSpPr>
          <p:spPr bwMode="gray">
            <a:xfrm>
              <a:off x="6120143" y="2781472"/>
              <a:ext cx="2773032" cy="106458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 cap="flat">
              <a:noFill/>
              <a:miter lim="800000"/>
              <a:headEnd/>
              <a:tailEnd/>
            </a:ln>
          </p:spPr>
          <p:txBody>
            <a:bodyPr lIns="0" tIns="18000" rIns="0" bIns="18000" anchor="ctr"/>
            <a:lstStyle/>
            <a:p>
              <a:pPr marL="113414" indent="-113414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Propiciando la </a:t>
              </a:r>
              <a:r>
                <a:rPr lang="es-ES_tradnl" sz="1200" b="1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vivencia</a:t>
              </a: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 de actitudes Maristas.</a:t>
              </a:r>
            </a:p>
            <a:p>
              <a:pPr marL="113414" indent="-113414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Mejorando la </a:t>
              </a:r>
              <a:r>
                <a:rPr lang="es-ES_tradnl" sz="1200" b="1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comunicación</a:t>
              </a: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 informal.</a:t>
              </a:r>
            </a:p>
            <a:p>
              <a:pPr marL="113414" indent="-113414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Mejorando la misión global, la corresponsabilidad y el </a:t>
              </a:r>
              <a:r>
                <a:rPr lang="es-ES_tradnl" sz="1200" b="1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sentido de pertenencia</a:t>
              </a: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 a la Congregación.</a:t>
              </a:r>
            </a:p>
          </p:txBody>
        </p:sp>
      </p:grpSp>
      <p:grpSp>
        <p:nvGrpSpPr>
          <p:cNvPr id="612387" name="Group 44"/>
          <p:cNvGrpSpPr>
            <a:grpSpLocks/>
          </p:cNvGrpSpPr>
          <p:nvPr/>
        </p:nvGrpSpPr>
        <p:grpSpPr bwMode="auto">
          <a:xfrm>
            <a:off x="6121400" y="2144712"/>
            <a:ext cx="2773363" cy="1851123"/>
            <a:chOff x="6120143" y="4707972"/>
            <a:chExt cx="2773032" cy="1849514"/>
          </a:xfrm>
        </p:grpSpPr>
        <p:sp>
          <p:nvSpPr>
            <p:cNvPr id="46" name="Rectangle 45"/>
            <p:cNvSpPr/>
            <p:nvPr/>
          </p:nvSpPr>
          <p:spPr>
            <a:xfrm>
              <a:off x="6120143" y="4707972"/>
              <a:ext cx="2773032" cy="739132"/>
            </a:xfrm>
            <a:prstGeom prst="rect">
              <a:avLst/>
            </a:prstGeom>
            <a:solidFill>
              <a:schemeClr val="tx2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0" rIns="73152" bIns="0" anchor="ctr"/>
            <a:lstStyle/>
            <a:p>
              <a:pPr algn="ctr" defTabSz="914400" eaLnBrk="0" fontAlgn="auto" hangingPunct="0">
                <a:lnSpc>
                  <a:spcPct val="9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defRPr/>
              </a:pPr>
              <a:r>
                <a:rPr lang="es-ES_tradnl" sz="1600" dirty="0">
                  <a:solidFill>
                    <a:srgbClr val="FFFFFF"/>
                  </a:solidFill>
                  <a:ea typeface="Calibri" charset="0"/>
                  <a:cs typeface="Calibri" charset="0"/>
                </a:rPr>
                <a:t> ¿Estamos desarrollando adecuadamente a nuestras personas? </a:t>
              </a:r>
            </a:p>
          </p:txBody>
        </p:sp>
        <p:sp>
          <p:nvSpPr>
            <p:cNvPr id="62" name="Rectangle 9"/>
            <p:cNvSpPr>
              <a:spLocks noChangeArrowheads="1"/>
            </p:cNvSpPr>
            <p:nvPr/>
          </p:nvSpPr>
          <p:spPr bwMode="gray">
            <a:xfrm>
              <a:off x="6120143" y="5439173"/>
              <a:ext cx="2773032" cy="1118313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 cap="flat">
              <a:noFill/>
              <a:miter lim="800000"/>
              <a:headEnd/>
              <a:tailEnd/>
            </a:ln>
          </p:spPr>
          <p:txBody>
            <a:bodyPr lIns="0" tIns="18000" rIns="0" bIns="18000" anchor="ctr"/>
            <a:lstStyle/>
            <a:p>
              <a:pPr marL="113414" indent="-113414" defTabSz="914400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 smtClean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Creando un </a:t>
              </a:r>
              <a:r>
                <a:rPr lang="es-ES_tradnl" sz="1200" b="1" dirty="0" smtClean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proceso de planificación de capacidades</a:t>
              </a:r>
              <a:r>
                <a:rPr lang="es-ES_tradnl" sz="1200" dirty="0" smtClean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.</a:t>
              </a:r>
            </a:p>
            <a:p>
              <a:pPr marL="113414" indent="-113414" defTabSz="914400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 smtClean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Estableciendo procesos de </a:t>
              </a: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c</a:t>
              </a:r>
              <a:r>
                <a:rPr lang="es-ES_tradnl" sz="1200" b="1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apacitación</a:t>
              </a: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.</a:t>
              </a:r>
            </a:p>
            <a:p>
              <a:pPr marL="113414" indent="-113414" defTabSz="914400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 smtClean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Mejorando </a:t>
              </a: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e </a:t>
              </a:r>
              <a:r>
                <a:rPr lang="es-ES_tradnl" sz="1200" dirty="0" smtClean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innovando </a:t>
              </a: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la</a:t>
              </a:r>
              <a:r>
                <a:rPr lang="es-ES_tradnl" sz="1200" b="1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 formación</a:t>
              </a: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.</a:t>
              </a:r>
            </a:p>
            <a:p>
              <a:pPr marL="113414" indent="-113414" defTabSz="914400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 smtClean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Definiendo </a:t>
              </a: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modelos para </a:t>
              </a:r>
              <a:r>
                <a:rPr lang="es-ES_tradnl" sz="1200" b="1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compartir recursos</a:t>
              </a:r>
              <a:r>
                <a:rPr lang="es-ES_tradnl" sz="12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.</a:t>
              </a:r>
            </a:p>
          </p:txBody>
        </p:sp>
      </p:grp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3398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59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339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4475" y="804863"/>
            <a:ext cx="8640763" cy="996950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¿Cómo podemos mejorar nuestra respuesta vocacional? </a:t>
            </a:r>
            <a:br>
              <a:rPr lang="es-ES" dirty="0" smtClean="0">
                <a:latin typeface="Arial" charset="0"/>
                <a:cs typeface="Arial" charset="0"/>
              </a:rPr>
            </a:br>
            <a:r>
              <a:rPr lang="es-ES" dirty="0" smtClean="0">
                <a:latin typeface="Arial" charset="0"/>
                <a:cs typeface="Arial" charset="0"/>
              </a:rPr>
              <a:t>Áreas clave de mejora subrayadas en la fase de evaluación del diagnóstico</a:t>
            </a:r>
            <a:endParaRPr lang="es-ES" b="1" dirty="0" smtClean="0">
              <a:latin typeface="Arial" charset="0"/>
              <a:cs typeface="Arial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671888" y="1801466"/>
            <a:ext cx="5364162" cy="497590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7212" indent="-97212" defTabSz="914400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Con frecuencia hay Hermanos implicados en puestos de responsabilidad (en algunos casos sin tener habilidades para ello) lo que </a:t>
            </a:r>
            <a:r>
              <a:rPr lang="es-ES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limita su contacto </a:t>
            </a: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directo con los destinatarios de la Misión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No tenemos suficiente desarrollo de una </a:t>
            </a:r>
            <a:r>
              <a:rPr lang="es-ES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cultura basada en evidencias</a:t>
            </a: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 para la toma de decisiones; quizá no tenemos una formación específica sobre gestión y toma de decisione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Necesitamos </a:t>
            </a:r>
            <a:r>
              <a:rPr lang="es-ES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promover </a:t>
            </a: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la </a:t>
            </a:r>
            <a:r>
              <a:rPr lang="es-ES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transparencia y la profesionalidad </a:t>
            </a: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de nuestra gestión a todos los nivele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Hay casos de </a:t>
            </a:r>
            <a:r>
              <a:rPr lang="es-ES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limitado sentido de pertenencia a un Instituto global más amplio </a:t>
            </a: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y no sólo a una Provincia, país o comunidad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También existen </a:t>
            </a:r>
            <a:r>
              <a:rPr lang="es-ES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barreras</a:t>
            </a: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 lingüísticas y culturale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Podemos invertir en la </a:t>
            </a:r>
            <a:r>
              <a:rPr lang="es-ES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calidad de nuestra formación </a:t>
            </a: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en beneficio de nuestro crecimiento personal y comunitario, y enriquecer así nuestras trayectorias personale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Usualmente </a:t>
            </a:r>
            <a:r>
              <a:rPr lang="es-ES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duplicamos trabajo </a:t>
            </a: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desarrollando iniciativas similares a distintos niveles (obras, países, Provincias)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Existen algunas dificultades en la vida comunitaria, con frecuencia debido a la </a:t>
            </a:r>
            <a:r>
              <a:rPr lang="es-ES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falta de comunicación</a:t>
            </a: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Otras congregaciones consideran que el </a:t>
            </a:r>
            <a:r>
              <a:rPr lang="es-ES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cuidado de los ancianos y enfermos </a:t>
            </a: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podría estar en manos de profesionales, y así </a:t>
            </a:r>
            <a:r>
              <a:rPr lang="es-ES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permitir </a:t>
            </a: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que los demás se comprometan con la misión.</a:t>
            </a:r>
          </a:p>
        </p:txBody>
      </p:sp>
      <p:cxnSp>
        <p:nvCxnSpPr>
          <p:cNvPr id="24" name="Straight Connector 23"/>
          <p:cNvCxnSpPr/>
          <p:nvPr/>
        </p:nvCxnSpPr>
        <p:spPr>
          <a:xfrm flipV="1">
            <a:off x="3157538" y="1801813"/>
            <a:ext cx="434975" cy="133985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3157538" y="5265738"/>
            <a:ext cx="514350" cy="1223962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146050" y="3141663"/>
            <a:ext cx="3021013" cy="738187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lnSpc>
                <a:spcPts val="1300"/>
              </a:lnSpc>
              <a:spcBef>
                <a:spcPts val="0"/>
              </a:spcBef>
              <a:spcAft>
                <a:spcPts val="1300"/>
              </a:spcAft>
              <a:defRPr/>
            </a:pPr>
            <a:r>
              <a:rPr lang="es-MX" sz="1600" dirty="0">
                <a:solidFill>
                  <a:srgbClr val="FFFFFF"/>
                </a:solidFill>
                <a:ea typeface="Calibri" charset="0"/>
                <a:cs typeface="Calibri" charset="0"/>
              </a:rPr>
              <a:t>¿Cómo podemos mejorar nuestra respuesta vocacional? </a:t>
            </a:r>
          </a:p>
        </p:txBody>
      </p:sp>
      <p:sp>
        <p:nvSpPr>
          <p:cNvPr id="27" name="Rectangle 9"/>
          <p:cNvSpPr>
            <a:spLocks noChangeArrowheads="1"/>
          </p:cNvSpPr>
          <p:nvPr/>
        </p:nvSpPr>
        <p:spPr bwMode="gray">
          <a:xfrm>
            <a:off x="152400" y="3878263"/>
            <a:ext cx="3005138" cy="13874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0" tIns="18000" rIns="0" bIns="18000" anchor="ctr"/>
          <a:lstStyle/>
          <a:p>
            <a:pPr marL="113414" indent="-113414" defTabSz="914400" eaLnBrk="0" fontAlgn="auto" hangingPunct="0">
              <a:lnSpc>
                <a:spcPct val="90000"/>
              </a:lnSpc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Propiciando la </a:t>
            </a:r>
            <a:r>
              <a:rPr lang="es-ES_tradnl" sz="1400" b="1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vivencia</a:t>
            </a:r>
            <a:r>
              <a:rPr lang="es-ES_tradnl" sz="1400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 de actitudes Maristas.</a:t>
            </a:r>
          </a:p>
          <a:p>
            <a:pPr marL="113414" indent="-113414" defTabSz="914400" eaLnBrk="0" fontAlgn="auto" hangingPunct="0">
              <a:lnSpc>
                <a:spcPct val="90000"/>
              </a:lnSpc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Mejorando la </a:t>
            </a:r>
            <a:r>
              <a:rPr lang="es-ES_tradnl" sz="1400" b="1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comunicación</a:t>
            </a:r>
            <a:r>
              <a:rPr lang="es-ES_tradnl" sz="1400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 informal.</a:t>
            </a:r>
          </a:p>
          <a:p>
            <a:pPr marL="113414" indent="-113414" defTabSz="914400" eaLnBrk="0" fontAlgn="auto" hangingPunct="0">
              <a:lnSpc>
                <a:spcPct val="90000"/>
              </a:lnSpc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Mejorando la misión global, la corresponsabilidad y el </a:t>
            </a:r>
            <a:r>
              <a:rPr lang="es-ES_tradnl" sz="1400" b="1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sentido de pertenencia</a:t>
            </a:r>
            <a:r>
              <a:rPr lang="es-ES_tradnl" sz="1400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 a la Congregación.</a:t>
            </a:r>
          </a:p>
        </p:txBody>
      </p:sp>
      <p:sp>
        <p:nvSpPr>
          <p:cNvPr id="613405" name="RunningHead"/>
          <p:cNvSpPr txBox="1">
            <a:spLocks noChangeArrowheads="1"/>
          </p:cNvSpPr>
          <p:nvPr/>
        </p:nvSpPr>
        <p:spPr bwMode="gray">
          <a:xfrm>
            <a:off x="5016500" y="139700"/>
            <a:ext cx="3875088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MX" sz="1200">
                <a:solidFill>
                  <a:srgbClr val="000000"/>
                </a:solidFill>
              </a:rPr>
              <a:t>¿Cómo podemos mejorar nuestra respuesta vocacional? 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422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1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23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4475" y="804863"/>
            <a:ext cx="8640763" cy="665162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¿Cómo podemos mejorar nuestra respuesta vocacional? </a:t>
            </a:r>
            <a:br>
              <a:rPr lang="es-ES" dirty="0" smtClean="0">
                <a:latin typeface="Arial" charset="0"/>
                <a:cs typeface="Arial" charset="0"/>
              </a:rPr>
            </a:br>
            <a:r>
              <a:rPr lang="es-ES" dirty="0" smtClean="0">
                <a:latin typeface="Arial" charset="0"/>
                <a:cs typeface="Arial" charset="0"/>
              </a:rPr>
              <a:t>Propuestas clave </a:t>
            </a:r>
            <a:r>
              <a:rPr lang="es-ES" dirty="0">
                <a:latin typeface="Arial" charset="0"/>
                <a:cs typeface="Arial" charset="0"/>
              </a:rPr>
              <a:t>(1 de 2)</a:t>
            </a:r>
            <a:endParaRPr lang="en-US" b="1" dirty="0" smtClean="0">
              <a:latin typeface="Arial" charset="0"/>
              <a:cs typeface="Arial" charset="0"/>
            </a:endParaRPr>
          </a:p>
        </p:txBody>
      </p:sp>
      <p:sp>
        <p:nvSpPr>
          <p:cNvPr id="614424" name="RunningHead"/>
          <p:cNvSpPr txBox="1">
            <a:spLocks noChangeArrowheads="1"/>
          </p:cNvSpPr>
          <p:nvPr/>
        </p:nvSpPr>
        <p:spPr bwMode="gray">
          <a:xfrm>
            <a:off x="5016500" y="139700"/>
            <a:ext cx="3875088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MX" sz="1200">
                <a:solidFill>
                  <a:srgbClr val="000000"/>
                </a:solidFill>
              </a:rPr>
              <a:t>¿Cómo podemos mejorar nuestra respuesta vocacional?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79388" y="1806575"/>
            <a:ext cx="2197100" cy="3278188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600" dirty="0" smtClean="0">
                <a:solidFill>
                  <a:srgbClr val="FFFFFF"/>
                </a:solidFill>
                <a:ea typeface="Calibri" charset="0"/>
                <a:cs typeface="Calibri" charset="0"/>
              </a:rPr>
              <a:t>Fomentar una </a:t>
            </a:r>
            <a:r>
              <a:rPr lang="es-ES_tradnl" sz="1600" dirty="0">
                <a:solidFill>
                  <a:srgbClr val="FFFFFF"/>
                </a:solidFill>
                <a:ea typeface="Calibri" charset="0"/>
                <a:cs typeface="Calibri" charset="0"/>
              </a:rPr>
              <a:t>nueva actitud Marista para un nuevo comienzo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482850" y="1806575"/>
            <a:ext cx="6505575" cy="3278188"/>
          </a:xfrm>
          <a:prstGeom prst="rect">
            <a:avLst/>
          </a:prstGeom>
          <a:solidFill>
            <a:schemeClr val="bg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Definir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procedimientos de selección, nombramiento y acompañamiento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de personas para puestos de responsabilidad en diferentes contextos, incluyendo los periodos de relevo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Visibilizar nuestros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valores clave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: humildad, sencillez, modestia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Dinamizar nuestras comunidades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para promover un estilo de vida más sencillo y fraterno, en contacto con los niños y los jóvenes pobre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Proporcionar unas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directrices generales sobre nuestra presencia pastoral y cercanía a la Misión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 (en expresión del Papa Francisco, ser como “pastores que </a:t>
            </a:r>
            <a:r>
              <a:rPr lang="es-ES_tradnl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huelen a oveja”)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frente al enfoque sobre la gestión (hermanos trabajando en oficinas, con poco contacto con los niños y jóvenes)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Aprender a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tomar decisiones </a:t>
            </a:r>
            <a:r>
              <a:rPr lang="es-ES_tradnl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teniendo en cuenta evidencias</a:t>
            </a: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.</a:t>
            </a:r>
            <a:endParaRPr lang="es-ES_tradnl" sz="1400" dirty="0">
              <a:solidFill>
                <a:srgbClr val="000000"/>
              </a:solidFill>
              <a:ea typeface="Calibri" charset="0"/>
              <a:cs typeface="Calibri" charset="0"/>
            </a:endParaRP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Estimular la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sensibilidad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 a las necesidades del entorno, salir de nuestras zonas de confort e ir a donde veamos necesario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Elaborar un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código ético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para hermanos y laicos.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5446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4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544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4475" y="804863"/>
            <a:ext cx="8640763" cy="665162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¿Cómo podemos mejorar nuestra respuesta vocacional? </a:t>
            </a:r>
            <a:br>
              <a:rPr lang="es-ES" dirty="0" smtClean="0">
                <a:latin typeface="Arial" charset="0"/>
                <a:cs typeface="Arial" charset="0"/>
              </a:rPr>
            </a:br>
            <a:r>
              <a:rPr lang="es-ES" dirty="0" smtClean="0">
                <a:latin typeface="Arial" charset="0"/>
                <a:cs typeface="Arial" charset="0"/>
              </a:rPr>
              <a:t>Propuestas clave (2 </a:t>
            </a:r>
            <a:r>
              <a:rPr lang="es-ES" dirty="0">
                <a:latin typeface="Arial" charset="0"/>
                <a:cs typeface="Arial" charset="0"/>
              </a:rPr>
              <a:t>de 2)</a:t>
            </a:r>
            <a:endParaRPr lang="en-US" b="1" dirty="0" smtClean="0">
              <a:latin typeface="Arial" charset="0"/>
              <a:cs typeface="Arial" charset="0"/>
            </a:endParaRPr>
          </a:p>
        </p:txBody>
      </p:sp>
      <p:sp>
        <p:nvSpPr>
          <p:cNvPr id="615448" name="RunningHead"/>
          <p:cNvSpPr txBox="1">
            <a:spLocks noChangeArrowheads="1"/>
          </p:cNvSpPr>
          <p:nvPr/>
        </p:nvSpPr>
        <p:spPr bwMode="gray">
          <a:xfrm>
            <a:off x="5016500" y="139700"/>
            <a:ext cx="3875088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MX" sz="1200">
                <a:solidFill>
                  <a:srgbClr val="000000"/>
                </a:solidFill>
              </a:rPr>
              <a:t>¿Cómo podemos mejorar nuestra respuesta vocacional?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79388" y="1772766"/>
            <a:ext cx="2193925" cy="3528392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600">
                <a:solidFill>
                  <a:srgbClr val="FFFFFF"/>
                </a:solidFill>
                <a:ea typeface="Calibri" charset="0"/>
                <a:cs typeface="Calibri" charset="0"/>
              </a:rPr>
              <a:t>Corresponsabilidad en la Misión global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482850" y="1772766"/>
            <a:ext cx="6499225" cy="3600450"/>
          </a:xfrm>
          <a:prstGeom prst="rect">
            <a:avLst/>
          </a:prstGeom>
          <a:solidFill>
            <a:schemeClr val="bg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Avanzar en la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idea de liderazgo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: carismático, espiritual, para la misión… que sirva para mantener y aumentar el compromiso de las personas y el desarrollo de su vida y misión Marista.</a:t>
            </a:r>
            <a:r>
              <a:rPr lang="es-ES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 </a:t>
            </a:r>
            <a:endParaRPr lang="es-ES_tradnl" sz="1400" dirty="0">
              <a:solidFill>
                <a:srgbClr val="000000"/>
              </a:solidFill>
              <a:ea typeface="Calibri" charset="0"/>
              <a:cs typeface="Calibri" charset="0"/>
            </a:endParaRP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Fortalecer el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sentido de pertenencia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al Instituto promoviendo el trabajo en red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Promover que todos nos sintamos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corresponsables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 del futuro de la Congregación a nivel global (no sólo de la Provincia): convertir nuestros corazones y mentes para que sean internacionales en su Visión a través de procesos "inter" (internacional – intercultural – </a:t>
            </a:r>
            <a:r>
              <a:rPr lang="es-ES_tradnl" sz="1400" dirty="0" err="1">
                <a:solidFill>
                  <a:srgbClr val="000000"/>
                </a:solidFill>
                <a:ea typeface="Calibri" charset="0"/>
                <a:cs typeface="Calibri" charset="0"/>
              </a:rPr>
              <a:t>intercongregacional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 - </a:t>
            </a:r>
            <a:r>
              <a:rPr lang="es-ES_tradnl" sz="1400" dirty="0" err="1">
                <a:solidFill>
                  <a:srgbClr val="000000"/>
                </a:solidFill>
                <a:ea typeface="Calibri" charset="0"/>
                <a:cs typeface="Calibri" charset="0"/>
              </a:rPr>
              <a:t>intereclesial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), que puedan consolidar la Misión Marista en nuevas tierra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Introducir el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requisito de comunicarse en dos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idiomas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 (inglés y español) para todos los hermanos y equipos laicos internacionale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Requerir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una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experiencia apostólica periódica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fuera de la Provincia para los hermano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Aumentar el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sentido de responsabilidad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de los </a:t>
            </a:r>
            <a:r>
              <a:rPr lang="es-ES_tradnl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hermanos y laicos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sobre los bienes tangibles e intangibles que hemos recibido de las anteriores generaciones.</a:t>
            </a:r>
          </a:p>
        </p:txBody>
      </p:sp>
      <p:sp>
        <p:nvSpPr>
          <p:cNvPr id="8" name="Rectangle 9"/>
          <p:cNvSpPr/>
          <p:nvPr/>
        </p:nvSpPr>
        <p:spPr>
          <a:xfrm>
            <a:off x="2482850" y="5409579"/>
            <a:ext cx="6251575" cy="1331789"/>
          </a:xfrm>
          <a:prstGeom prst="rect">
            <a:avLst/>
          </a:prstGeom>
          <a:solidFill>
            <a:schemeClr val="bg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Mejorar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 nuestro modo de comunicación en </a:t>
            </a:r>
            <a:r>
              <a:rPr lang="es-ES_tradnl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línea.</a:t>
            </a:r>
            <a:endParaRPr lang="es-ES_tradnl" sz="1400" dirty="0">
              <a:solidFill>
                <a:srgbClr val="000000"/>
              </a:solidFill>
              <a:ea typeface="Calibri" charset="0"/>
              <a:cs typeface="Calibri" charset="0"/>
            </a:endParaRP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Mejorar la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comunicación directa y la atención fraternal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como elementos que construyen la comunidad de consagrado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Aceptar los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procesos </a:t>
            </a:r>
            <a:r>
              <a:rPr lang="es-ES_tradnl" sz="1400" b="1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constructivos de debate</a:t>
            </a:r>
            <a:r>
              <a:rPr lang="es-ES_tradnl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.</a:t>
            </a:r>
            <a:endParaRPr lang="es-ES_tradnl" sz="1400" dirty="0">
              <a:solidFill>
                <a:srgbClr val="000000"/>
              </a:solidFill>
              <a:ea typeface="Calibri" charset="0"/>
              <a:cs typeface="Calibri" charset="0"/>
            </a:endParaRP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Aumentar la comunicación con los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hermanos jóvenes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(ver proceso de acompañamiento y </a:t>
            </a:r>
            <a:r>
              <a:rPr lang="es-ES_tradnl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seguimiento).</a:t>
            </a:r>
            <a:endParaRPr lang="es-ES_tradnl" sz="1400" dirty="0">
              <a:solidFill>
                <a:srgbClr val="000000"/>
              </a:solidFill>
              <a:ea typeface="Calibri" charset="0"/>
              <a:cs typeface="Calibri" charset="0"/>
            </a:endParaRPr>
          </a:p>
        </p:txBody>
      </p:sp>
      <p:sp>
        <p:nvSpPr>
          <p:cNvPr id="9" name="Rectangle 10"/>
          <p:cNvSpPr/>
          <p:nvPr/>
        </p:nvSpPr>
        <p:spPr>
          <a:xfrm>
            <a:off x="179388" y="5455617"/>
            <a:ext cx="2193925" cy="1285751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600" dirty="0">
                <a:solidFill>
                  <a:srgbClr val="FFFFFF"/>
                </a:solidFill>
                <a:ea typeface="Calibri" charset="0"/>
                <a:cs typeface="Calibri" charset="0"/>
              </a:rPr>
              <a:t>Comunicación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6470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6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6471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4475" y="804863"/>
            <a:ext cx="8640763" cy="997196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¿Estamos desarrollando adecuadamente a nuestras personas? </a:t>
            </a:r>
            <a:br>
              <a:rPr lang="es-ES" dirty="0" smtClean="0">
                <a:latin typeface="Arial" charset="0"/>
                <a:cs typeface="Arial" charset="0"/>
              </a:rPr>
            </a:br>
            <a:r>
              <a:rPr lang="es-ES" dirty="0">
                <a:latin typeface="Arial" charset="0"/>
                <a:cs typeface="Arial" charset="0"/>
              </a:rPr>
              <a:t>Áreas clave de mejora subrayadas en la fase de evaluación del </a:t>
            </a:r>
            <a:r>
              <a:rPr lang="es-ES" dirty="0" smtClean="0">
                <a:latin typeface="Arial" charset="0"/>
                <a:cs typeface="Arial" charset="0"/>
              </a:rPr>
              <a:t>diagnóstico.</a:t>
            </a:r>
            <a:endParaRPr lang="en-US" b="1" dirty="0" smtClean="0">
              <a:latin typeface="Arial" charset="0"/>
              <a:cs typeface="Arial" charset="0"/>
            </a:endParaRPr>
          </a:p>
        </p:txBody>
      </p:sp>
      <p:sp>
        <p:nvSpPr>
          <p:cNvPr id="616472" name="RunningHead"/>
          <p:cNvSpPr txBox="1">
            <a:spLocks noChangeArrowheads="1"/>
          </p:cNvSpPr>
          <p:nvPr/>
        </p:nvSpPr>
        <p:spPr bwMode="gray">
          <a:xfrm>
            <a:off x="4543425" y="139700"/>
            <a:ext cx="4348163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" sz="1200">
                <a:solidFill>
                  <a:srgbClr val="000000"/>
                </a:solidFill>
              </a:rPr>
              <a:t>¿Estamos desarrollando adecuadamente a nuestras personas? </a:t>
            </a:r>
          </a:p>
        </p:txBody>
      </p:sp>
      <p:sp>
        <p:nvSpPr>
          <p:cNvPr id="6" name="Rectangle 5"/>
          <p:cNvSpPr/>
          <p:nvPr/>
        </p:nvSpPr>
        <p:spPr>
          <a:xfrm>
            <a:off x="3527425" y="1808163"/>
            <a:ext cx="5354638" cy="49339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6838" indent="-96838" defTabSz="91440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Tenemos pocos ejemplos de </a:t>
            </a:r>
            <a:r>
              <a:rPr lang="es-ES_tradnl" sz="1400" b="1" dirty="0">
                <a:solidFill>
                  <a:srgbClr val="000000"/>
                </a:solidFill>
                <a:cs typeface="Arial" charset="0"/>
              </a:rPr>
              <a:t>mapas de competencias </a:t>
            </a:r>
            <a:r>
              <a:rPr lang="es-ES_tradnl" sz="1400" dirty="0" smtClean="0">
                <a:solidFill>
                  <a:srgbClr val="000000"/>
                </a:solidFill>
                <a:cs typeface="Arial" charset="0"/>
              </a:rPr>
              <a:t>de las personas.</a:t>
            </a:r>
            <a:endParaRPr lang="es-ES_tradnl" sz="1400" dirty="0">
              <a:solidFill>
                <a:srgbClr val="000000"/>
              </a:solidFill>
              <a:cs typeface="Arial" charset="0"/>
            </a:endParaRPr>
          </a:p>
          <a:p>
            <a:pPr marL="96838" indent="-96838" defTabSz="91440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Hay necesidad de </a:t>
            </a:r>
            <a:r>
              <a:rPr lang="es-ES_tradnl" sz="1400" b="1" dirty="0">
                <a:solidFill>
                  <a:srgbClr val="000000"/>
                </a:solidFill>
                <a:cs typeface="Arial" charset="0"/>
              </a:rPr>
              <a:t>mejorar las competencias </a:t>
            </a: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en casi todos los niveles.</a:t>
            </a:r>
          </a:p>
          <a:p>
            <a:pPr marL="96838" indent="-96838" defTabSz="91440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Tenemos pocos casos de programas de desarrollo del </a:t>
            </a:r>
            <a:r>
              <a:rPr lang="es-ES_tradnl" sz="1400" b="1" dirty="0">
                <a:solidFill>
                  <a:srgbClr val="000000"/>
                </a:solidFill>
                <a:cs typeface="Arial" charset="0"/>
              </a:rPr>
              <a:t>liderazgo</a:t>
            </a: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.</a:t>
            </a:r>
          </a:p>
          <a:p>
            <a:pPr marL="96838" indent="-96838" defTabSz="91440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Los laicos no han de estar al servicio de los hermanos, sino </a:t>
            </a:r>
            <a:r>
              <a:rPr lang="es-ES_tradnl" sz="1400" b="1" dirty="0">
                <a:solidFill>
                  <a:srgbClr val="000000"/>
                </a:solidFill>
                <a:cs typeface="Arial" charset="0"/>
              </a:rPr>
              <a:t>al servicio de la misión.</a:t>
            </a:r>
          </a:p>
          <a:p>
            <a:pPr marL="96838" indent="-96838" defTabSz="91440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Dar un fuerte impulso a la gestión </a:t>
            </a:r>
            <a:r>
              <a:rPr lang="es-ES_tradnl" sz="1400" b="1" dirty="0">
                <a:solidFill>
                  <a:srgbClr val="000000"/>
                </a:solidFill>
                <a:cs typeface="Arial" charset="0"/>
              </a:rPr>
              <a:t>transparente y profesional </a:t>
            </a: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a todos los niveles.</a:t>
            </a:r>
          </a:p>
          <a:p>
            <a:pPr marL="96838" indent="-96838" defTabSz="91440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Mejorar nuestra </a:t>
            </a:r>
            <a:r>
              <a:rPr lang="es-ES_tradnl" sz="1400" b="1" dirty="0">
                <a:solidFill>
                  <a:srgbClr val="000000"/>
                </a:solidFill>
                <a:cs typeface="Arial" charset="0"/>
              </a:rPr>
              <a:t>capacidad de análisis </a:t>
            </a: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(convertir datos en informaciones para respaldar decisiones).</a:t>
            </a:r>
          </a:p>
          <a:p>
            <a:pPr marL="96838" indent="-96838" defTabSz="91440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Se encuentran </a:t>
            </a:r>
            <a:r>
              <a:rPr lang="es-ES_tradnl" sz="1400" b="1" dirty="0">
                <a:solidFill>
                  <a:srgbClr val="000000"/>
                </a:solidFill>
                <a:cs typeface="Arial" charset="0"/>
              </a:rPr>
              <a:t>diferentes enfoques </a:t>
            </a: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en las </a:t>
            </a:r>
            <a:r>
              <a:rPr lang="es-ES_tradnl" sz="1400" dirty="0" smtClean="0">
                <a:solidFill>
                  <a:srgbClr val="000000"/>
                </a:solidFill>
                <a:cs typeface="Arial" charset="0"/>
              </a:rPr>
              <a:t>UA y </a:t>
            </a: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no compartimos nuestras buenas prácticas. </a:t>
            </a:r>
            <a:endParaRPr lang="es-ES_tradnl" sz="1400" b="1" dirty="0">
              <a:solidFill>
                <a:srgbClr val="000000"/>
              </a:solidFill>
              <a:cs typeface="Arial" charset="0"/>
            </a:endParaRPr>
          </a:p>
          <a:p>
            <a:pPr marL="96838" indent="-96838" defTabSz="91440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Hay una </a:t>
            </a:r>
            <a:r>
              <a:rPr lang="es-ES_tradnl" sz="1400" b="1" dirty="0">
                <a:solidFill>
                  <a:srgbClr val="000000"/>
                </a:solidFill>
                <a:cs typeface="Arial" charset="0"/>
              </a:rPr>
              <a:t>cooperación internacional limitada </a:t>
            </a: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y prácticamente no se </a:t>
            </a:r>
            <a:r>
              <a:rPr lang="es-ES_tradnl" sz="1400" b="1" dirty="0">
                <a:solidFill>
                  <a:srgbClr val="000000"/>
                </a:solidFill>
                <a:cs typeface="Arial" charset="0"/>
              </a:rPr>
              <a:t>comparten los recursos humanos</a:t>
            </a: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.</a:t>
            </a:r>
          </a:p>
          <a:p>
            <a:pPr marL="96838" indent="-96838" defTabSz="91440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Existen </a:t>
            </a:r>
            <a:r>
              <a:rPr lang="es-ES_tradnl" sz="1400" b="1" dirty="0">
                <a:solidFill>
                  <a:srgbClr val="000000"/>
                </a:solidFill>
                <a:cs typeface="Arial" charset="0"/>
              </a:rPr>
              <a:t>buenas prácticas </a:t>
            </a: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en algunas partes del Instituto sobre la gestión de competencias, tanto de hermanos como de laicos que se pueden compartir con otras </a:t>
            </a:r>
            <a:r>
              <a:rPr lang="es-ES_tradnl" sz="1400" dirty="0" smtClean="0">
                <a:solidFill>
                  <a:srgbClr val="000000"/>
                </a:solidFill>
                <a:cs typeface="Arial" charset="0"/>
              </a:rPr>
              <a:t>UA. </a:t>
            </a:r>
            <a:endParaRPr lang="es-ES_tradnl" sz="1400" dirty="0">
              <a:solidFill>
                <a:srgbClr val="000000"/>
              </a:solidFill>
              <a:cs typeface="Arial" charset="0"/>
            </a:endParaRPr>
          </a:p>
          <a:p>
            <a:pPr marL="96838" indent="-96838" defTabSz="91440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Otras congregaciones promocionan el </a:t>
            </a:r>
            <a:r>
              <a:rPr lang="es-ES_tradnl" sz="1400" b="1" dirty="0">
                <a:solidFill>
                  <a:srgbClr val="000000"/>
                </a:solidFill>
                <a:cs typeface="Arial" charset="0"/>
              </a:rPr>
              <a:t>intercambio de recursos </a:t>
            </a: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en las regiones y Unidades Administrativas.</a:t>
            </a:r>
          </a:p>
          <a:p>
            <a:pPr marL="96838" indent="-96838" defTabSz="91440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Otras congregaciones desarrollan programas de </a:t>
            </a:r>
            <a:r>
              <a:rPr lang="es-ES_tradnl" sz="1400" b="1" dirty="0">
                <a:solidFill>
                  <a:srgbClr val="000000"/>
                </a:solidFill>
                <a:cs typeface="Arial" charset="0"/>
              </a:rPr>
              <a:t>formación continua </a:t>
            </a:r>
            <a:r>
              <a:rPr lang="es-ES_tradnl" sz="1400" dirty="0">
                <a:solidFill>
                  <a:srgbClr val="000000"/>
                </a:solidFill>
                <a:cs typeface="Arial" charset="0"/>
              </a:rPr>
              <a:t>(también para los laicos). </a:t>
            </a:r>
          </a:p>
          <a:p>
            <a:pPr marL="96838" indent="-96838" defTabSz="91440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endParaRPr lang="es-ES_tradnl" sz="1400" dirty="0">
              <a:solidFill>
                <a:srgbClr val="000000"/>
              </a:solidFill>
              <a:cs typeface="Arial" charset="0"/>
            </a:endParaRPr>
          </a:p>
          <a:p>
            <a:pPr marL="96838" indent="-96838" defTabSz="91440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endParaRPr lang="es-ES_tradnl" sz="1400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2916238" y="2024063"/>
            <a:ext cx="611187" cy="144145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2916239" y="5868741"/>
            <a:ext cx="611186" cy="763834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177801" y="3465513"/>
            <a:ext cx="2738438" cy="739775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eaLnBrk="0" fontAlgn="auto" hangingPunct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defRPr/>
            </a:pPr>
            <a:r>
              <a:rPr lang="es-ES_tradnl" sz="1600" dirty="0">
                <a:solidFill>
                  <a:srgbClr val="FFFFFF"/>
                </a:solidFill>
                <a:ea typeface="Calibri" charset="0"/>
                <a:cs typeface="Calibri" charset="0"/>
              </a:rPr>
              <a:t> ¿Estamos desarrollando adecuadamente a nuestras personas? </a:t>
            </a: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gray">
          <a:xfrm>
            <a:off x="177801" y="4214812"/>
            <a:ext cx="2738438" cy="16539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0" tIns="18000" rIns="0" bIns="18000" anchor="ctr"/>
          <a:lstStyle/>
          <a:p>
            <a:pPr marL="113414" indent="-113414" defTabSz="914400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Creando un </a:t>
            </a:r>
            <a:r>
              <a:rPr lang="es-ES_tradnl" sz="1400" b="1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proceso de planificación de capacidades</a:t>
            </a:r>
            <a:r>
              <a:rPr lang="es-ES_tradnl" sz="1400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.</a:t>
            </a:r>
          </a:p>
          <a:p>
            <a:pPr marL="113414" indent="-113414" defTabSz="914400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Estableciendo procesos de c</a:t>
            </a:r>
            <a:r>
              <a:rPr lang="es-ES_tradnl" sz="1400" b="1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apacitación</a:t>
            </a:r>
            <a:r>
              <a:rPr lang="es-ES_tradnl" sz="1400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.</a:t>
            </a:r>
          </a:p>
          <a:p>
            <a:pPr marL="113414" indent="-113414" defTabSz="914400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Mejorando e innovando la</a:t>
            </a:r>
            <a:r>
              <a:rPr lang="es-ES_tradnl" sz="1400" b="1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 formación</a:t>
            </a:r>
            <a:r>
              <a:rPr lang="es-ES_tradnl" sz="1400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.</a:t>
            </a:r>
          </a:p>
          <a:p>
            <a:pPr marL="113414" indent="-113414" defTabSz="914400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Definiendo modelos para </a:t>
            </a:r>
            <a:r>
              <a:rPr lang="es-ES_tradnl" sz="1400" b="1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compartir recursos</a:t>
            </a:r>
            <a:r>
              <a:rPr lang="es-ES_tradnl" sz="1400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.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7494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68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7495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4475" y="804863"/>
            <a:ext cx="8640763" cy="665162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¿Estamos desarrollando adecuadamente a nuestras personas? </a:t>
            </a:r>
            <a:br>
              <a:rPr lang="es-ES" dirty="0" smtClean="0">
                <a:latin typeface="Arial" charset="0"/>
                <a:cs typeface="Arial" charset="0"/>
              </a:rPr>
            </a:br>
            <a:r>
              <a:rPr lang="es-ES" dirty="0" smtClean="0">
                <a:latin typeface="Arial" charset="0"/>
                <a:cs typeface="Arial" charset="0"/>
              </a:rPr>
              <a:t>Propuestas clave</a:t>
            </a:r>
            <a:endParaRPr lang="en-US" b="1" dirty="0" smtClean="0">
              <a:latin typeface="Arial" charset="0"/>
              <a:cs typeface="Arial" charset="0"/>
            </a:endParaRPr>
          </a:p>
        </p:txBody>
      </p:sp>
      <p:sp>
        <p:nvSpPr>
          <p:cNvPr id="617496" name="RunningHead"/>
          <p:cNvSpPr txBox="1">
            <a:spLocks noChangeArrowheads="1"/>
          </p:cNvSpPr>
          <p:nvPr/>
        </p:nvSpPr>
        <p:spPr bwMode="gray">
          <a:xfrm>
            <a:off x="4543425" y="139700"/>
            <a:ext cx="4348163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" sz="1200">
                <a:solidFill>
                  <a:srgbClr val="000000"/>
                </a:solidFill>
              </a:rPr>
              <a:t>¿Estamos desarrollando adecuadamente a nuestras personas?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79388" y="1664804"/>
            <a:ext cx="2198687" cy="1995488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600" b="1" i="1">
                <a:solidFill>
                  <a:srgbClr val="FFFFFF"/>
                </a:solidFill>
                <a:ea typeface="Calibri" charset="0"/>
                <a:cs typeface="Calibri" charset="0"/>
              </a:rPr>
              <a:t>Formación</a:t>
            </a:r>
            <a:endParaRPr lang="es-ES_tradnl" sz="1600" i="1">
              <a:solidFill>
                <a:srgbClr val="FFFFFF"/>
              </a:solidFill>
              <a:ea typeface="Calibri" charset="0"/>
              <a:cs typeface="Calibri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87613" y="1664804"/>
            <a:ext cx="6408737" cy="1995488"/>
          </a:xfrm>
          <a:prstGeom prst="rect">
            <a:avLst/>
          </a:prstGeom>
          <a:solidFill>
            <a:schemeClr val="bg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7212" indent="-97212" defTabSz="91440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Elaborar un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plan de formación integral de líderes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, hermanos y laicos, para mejorar competencias en dimensiones específicas (en ocasiones, los líderes han sido elegidos por motivos diferentes a su nivel </a:t>
            </a:r>
            <a:r>
              <a:rPr lang="es-ES_tradnl" sz="12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de competencias).</a:t>
            </a:r>
            <a:endParaRPr lang="es-ES_tradnl" sz="1200" dirty="0">
              <a:solidFill>
                <a:srgbClr val="000000"/>
              </a:solidFill>
              <a:ea typeface="Calibri" charset="0"/>
              <a:cs typeface="Calibri" charset="0"/>
            </a:endParaRPr>
          </a:p>
          <a:p>
            <a:pPr marL="97212" indent="-97212" defTabSz="91440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Renovar los programas de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formación inicial 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para hermanos y desarrollar planes específicos a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nivel regional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. </a:t>
            </a:r>
            <a:r>
              <a:rPr lang="es-ES_tradnl" sz="1200" b="1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Innovar</a:t>
            </a:r>
            <a:r>
              <a:rPr lang="es-ES_tradnl" sz="12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 la formación permanente.</a:t>
            </a:r>
            <a:endParaRPr lang="es-ES_tradnl" sz="1200" dirty="0">
              <a:solidFill>
                <a:srgbClr val="000000"/>
              </a:solidFill>
              <a:ea typeface="Calibri" charset="0"/>
              <a:cs typeface="Calibri" charset="0"/>
            </a:endParaRPr>
          </a:p>
          <a:p>
            <a:pPr marL="97212" indent="-97212" defTabSz="91440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Definir e implementar programas de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formación conjunta 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(hermanos y laicos), también a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nivel regional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Mantener adecuadas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oportunidades de crecimiento personal 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(espiritualidad, interioridad...): centrarse en la formación inicial religiosa / espiritual y en línea con la </a:t>
            </a:r>
            <a:r>
              <a:rPr lang="es-ES_tradnl" sz="12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Misión.</a:t>
            </a:r>
            <a:endParaRPr lang="es-ES_tradnl" sz="1200" dirty="0">
              <a:solidFill>
                <a:srgbClr val="000000"/>
              </a:solidFill>
              <a:ea typeface="Calibri" charset="0"/>
              <a:cs typeface="Calibri" charset="0"/>
            </a:endParaRPr>
          </a:p>
          <a:p>
            <a:pPr marL="97212" indent="-97212" defTabSz="91440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Desarrollar el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liderazgo espiritual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.</a:t>
            </a:r>
          </a:p>
        </p:txBody>
      </p:sp>
      <p:sp>
        <p:nvSpPr>
          <p:cNvPr id="8" name="Rectangle 13"/>
          <p:cNvSpPr/>
          <p:nvPr/>
        </p:nvSpPr>
        <p:spPr>
          <a:xfrm>
            <a:off x="2490912" y="3674307"/>
            <a:ext cx="6408737" cy="1726393"/>
          </a:xfrm>
          <a:prstGeom prst="rect">
            <a:avLst/>
          </a:prstGeom>
          <a:solidFill>
            <a:schemeClr val="bg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7200" indent="-97200" defTabSz="91440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Definir modelos para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compartir recursos humanos 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incluyendo:</a:t>
            </a:r>
          </a:p>
          <a:p>
            <a:pPr marL="554400" lvl="2" indent="-97200" defTabSz="91440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‒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actividades de apoyo a otros lugares del mundo Marista.</a:t>
            </a:r>
          </a:p>
          <a:p>
            <a:pPr marL="554400" lvl="2" indent="-97200" defTabSz="91440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‒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la transferencia temporal.</a:t>
            </a:r>
          </a:p>
          <a:p>
            <a:pPr marL="554400" lvl="2" indent="-97200" defTabSz="91440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‒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la transferencia permanente… </a:t>
            </a:r>
          </a:p>
          <a:p>
            <a:pPr marL="97200" lvl="1" indent="-97200" defTabSz="91440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por ejemplo, para actividades clave de evangelización, de educación…).</a:t>
            </a:r>
          </a:p>
          <a:p>
            <a:pPr marL="97200" indent="-97200" defTabSz="91440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Diseñar procesos para facilitar 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la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movilidad de las </a:t>
            </a:r>
            <a:r>
              <a:rPr lang="es-ES_tradnl" sz="1200" b="1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personas </a:t>
            </a:r>
            <a:r>
              <a:rPr lang="es-ES_tradnl" sz="12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(conocer y distribuir los recursos humanos a nivel central, programas de movilidad).</a:t>
            </a:r>
            <a:endParaRPr lang="es-ES_tradnl" sz="1200" dirty="0">
              <a:solidFill>
                <a:srgbClr val="000000"/>
              </a:solidFill>
              <a:ea typeface="Calibri" charset="0"/>
              <a:cs typeface="Calibri" charset="0"/>
            </a:endParaRPr>
          </a:p>
          <a:p>
            <a:pPr marL="97200" indent="-97200" defTabSz="91440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Introducir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procesos tecnológicos 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para facilitar el apoyo a otros lugares del mundo Marista.</a:t>
            </a:r>
          </a:p>
        </p:txBody>
      </p:sp>
      <p:sp>
        <p:nvSpPr>
          <p:cNvPr id="9" name="Rectangle 14"/>
          <p:cNvSpPr/>
          <p:nvPr/>
        </p:nvSpPr>
        <p:spPr>
          <a:xfrm>
            <a:off x="179512" y="3717950"/>
            <a:ext cx="2198687" cy="1682750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600" b="1" i="1" dirty="0">
                <a:solidFill>
                  <a:srgbClr val="FFFFFF"/>
                </a:solidFill>
                <a:ea typeface="Calibri" charset="0"/>
                <a:cs typeface="Calibri" charset="0"/>
              </a:rPr>
              <a:t>Compartir recursos</a:t>
            </a:r>
            <a:endParaRPr lang="es-ES_tradnl" sz="1600" i="1" dirty="0">
              <a:solidFill>
                <a:srgbClr val="FFFFFF"/>
              </a:solidFill>
              <a:ea typeface="Calibri" charset="0"/>
              <a:cs typeface="Calibri" charset="0"/>
            </a:endParaRPr>
          </a:p>
        </p:txBody>
      </p:sp>
      <p:sp>
        <p:nvSpPr>
          <p:cNvPr id="10" name="Rectangle 14"/>
          <p:cNvSpPr/>
          <p:nvPr/>
        </p:nvSpPr>
        <p:spPr>
          <a:xfrm>
            <a:off x="179387" y="5490691"/>
            <a:ext cx="2198687" cy="1247775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600" b="1" i="1" dirty="0">
                <a:solidFill>
                  <a:srgbClr val="FFFFFF"/>
                </a:solidFill>
                <a:ea typeface="Calibri" charset="0"/>
                <a:cs typeface="Calibri" charset="0"/>
              </a:rPr>
              <a:t>Gestión de competencias</a:t>
            </a:r>
          </a:p>
        </p:txBody>
      </p:sp>
      <p:sp>
        <p:nvSpPr>
          <p:cNvPr id="14" name="Rectangle 15"/>
          <p:cNvSpPr/>
          <p:nvPr/>
        </p:nvSpPr>
        <p:spPr>
          <a:xfrm>
            <a:off x="2478088" y="5373216"/>
            <a:ext cx="6408737" cy="1419225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7200" indent="-97200" defTabSz="91440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Conocimiento de las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competencias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:</a:t>
            </a:r>
          </a:p>
          <a:p>
            <a:pPr marL="97200" indent="-97200" defTabSz="91440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‒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Estructurar un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diccionario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 de competencias.</a:t>
            </a:r>
          </a:p>
          <a:p>
            <a:pPr marL="97200" indent="-97200" defTabSz="91440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‒"/>
              <a:defRPr/>
            </a:pP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Mapa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 estructural y profesional de competencias de hermanos y laicos.</a:t>
            </a:r>
          </a:p>
          <a:p>
            <a:pPr marL="97200" indent="-97200" defTabSz="91440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‒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Definir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criterios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 comunes para la evaluación del nivel de competencia.</a:t>
            </a:r>
          </a:p>
          <a:p>
            <a:pPr marL="97200" indent="-97200" defTabSz="91440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Cobertura de las competencias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:</a:t>
            </a:r>
          </a:p>
          <a:p>
            <a:pPr marL="97200" lvl="1" indent="-97200" defTabSz="91440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‒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Diseñar un plan de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desarrollo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 de competencias para </a:t>
            </a:r>
            <a:r>
              <a:rPr lang="es-ES_tradnl" sz="12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cubrir 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carencias.</a:t>
            </a:r>
          </a:p>
          <a:p>
            <a:pPr marL="97200" lvl="1" indent="-97200" defTabSz="914400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‒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Planificar el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relevo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 en las responsabilidades.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8518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1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851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4475" y="804863"/>
            <a:ext cx="8640763" cy="996950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¿Cómo podemos favorecer el compromiso de los laicos?</a:t>
            </a:r>
            <a:br>
              <a:rPr lang="es-ES" dirty="0" smtClean="0">
                <a:latin typeface="Arial" charset="0"/>
                <a:cs typeface="Arial" charset="0"/>
              </a:rPr>
            </a:br>
            <a:r>
              <a:rPr lang="es-ES" dirty="0" smtClean="0">
                <a:latin typeface="Arial" charset="0"/>
                <a:cs typeface="Arial" charset="0"/>
              </a:rPr>
              <a:t>Principales áreas de mejora resaltadas en la fase de diagnóstico.</a:t>
            </a:r>
            <a:endParaRPr lang="en-US" b="1" dirty="0" smtClean="0">
              <a:latin typeface="Arial" charset="0"/>
              <a:cs typeface="Arial" charset="0"/>
            </a:endParaRPr>
          </a:p>
        </p:txBody>
      </p:sp>
      <p:sp>
        <p:nvSpPr>
          <p:cNvPr id="618520" name="RunningHead"/>
          <p:cNvSpPr txBox="1">
            <a:spLocks noChangeArrowheads="1"/>
          </p:cNvSpPr>
          <p:nvPr/>
        </p:nvSpPr>
        <p:spPr bwMode="gray">
          <a:xfrm>
            <a:off x="5020335" y="163513"/>
            <a:ext cx="3871253" cy="1661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 dirty="0">
                <a:solidFill>
                  <a:srgbClr val="000000"/>
                </a:solidFill>
              </a:rPr>
              <a:t>¿Cómo podemos </a:t>
            </a:r>
            <a:r>
              <a:rPr lang="es-ES_tradnl" sz="1200" dirty="0" smtClean="0">
                <a:solidFill>
                  <a:srgbClr val="000000"/>
                </a:solidFill>
              </a:rPr>
              <a:t>favorecer </a:t>
            </a:r>
            <a:r>
              <a:rPr lang="es-ES_tradnl" sz="1200" dirty="0">
                <a:solidFill>
                  <a:srgbClr val="000000"/>
                </a:solidFill>
              </a:rPr>
              <a:t>el compromiso de los laicos?</a:t>
            </a:r>
          </a:p>
        </p:txBody>
      </p:sp>
      <p:sp>
        <p:nvSpPr>
          <p:cNvPr id="9" name="Rectangle 8"/>
          <p:cNvSpPr/>
          <p:nvPr/>
        </p:nvSpPr>
        <p:spPr>
          <a:xfrm>
            <a:off x="3311525" y="1760763"/>
            <a:ext cx="5719763" cy="49083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Falta una </a:t>
            </a:r>
            <a:r>
              <a:rPr lang="es-ES_tradnl" sz="1300" b="1" dirty="0">
                <a:solidFill>
                  <a:srgbClr val="000000"/>
                </a:solidFill>
                <a:ea typeface="Calibri" charset="0"/>
                <a:cs typeface="Calibri" charset="0"/>
              </a:rPr>
              <a:t>definición</a:t>
            </a: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 clara de lo que son los laicos Maristas. 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Los laicos aportan su </a:t>
            </a:r>
            <a:r>
              <a:rPr lang="es-ES_tradnl" sz="1300" b="1" dirty="0">
                <a:solidFill>
                  <a:srgbClr val="000000"/>
                </a:solidFill>
                <a:ea typeface="Calibri" charset="0"/>
                <a:cs typeface="Calibri" charset="0"/>
              </a:rPr>
              <a:t>forma específica </a:t>
            </a: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de vivir el carisma Marista y su identidad no se reduce a colaborar con los hermano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Hay una </a:t>
            </a:r>
            <a:r>
              <a:rPr lang="es-ES_tradnl" sz="1300" b="1" dirty="0">
                <a:solidFill>
                  <a:srgbClr val="000000"/>
                </a:solidFill>
                <a:ea typeface="Calibri" charset="0"/>
                <a:cs typeface="Calibri" charset="0"/>
              </a:rPr>
              <a:t>creciente participación </a:t>
            </a: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de los laicos en órganos de gestión y gobierno y en otras estructuras de la vida Marista (asociaciones, fundaciones…)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Empleamos a los laicos Maristas en actividades que podríamos externalizar y estamos dejando de </a:t>
            </a:r>
            <a:r>
              <a:rPr lang="es-ES_tradnl" sz="1300" b="1" dirty="0">
                <a:solidFill>
                  <a:srgbClr val="000000"/>
                </a:solidFill>
                <a:ea typeface="Calibri" charset="0"/>
                <a:cs typeface="Calibri" charset="0"/>
              </a:rPr>
              <a:t>atender lo pastoral</a:t>
            </a: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, la evangelización, la innovación, la planificación, el marketing, el análisis de competitividad..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Hay un </a:t>
            </a:r>
            <a:r>
              <a:rPr lang="es-ES_tradnl" sz="1300" b="1" dirty="0">
                <a:solidFill>
                  <a:srgbClr val="000000"/>
                </a:solidFill>
                <a:ea typeface="Calibri" charset="0"/>
                <a:cs typeface="Calibri" charset="0"/>
              </a:rPr>
              <a:t>liderazgo limitado </a:t>
            </a: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mostrado por los equipos de gestión compuestos por laicos (tendencia a “agradar” a los hermanos</a:t>
            </a:r>
            <a:r>
              <a:rPr lang="es-ES_tradnl" sz="13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)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300" b="1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Escaso </a:t>
            </a:r>
            <a:r>
              <a:rPr lang="es-ES_tradnl" sz="1300" b="1" dirty="0">
                <a:solidFill>
                  <a:srgbClr val="000000"/>
                </a:solidFill>
                <a:ea typeface="Calibri" charset="0"/>
                <a:cs typeface="Calibri" charset="0"/>
              </a:rPr>
              <a:t>trabajo en red</a:t>
            </a: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Necesitamos profesionalizar la “</a:t>
            </a:r>
            <a:r>
              <a:rPr lang="es-ES_tradnl" sz="1300" b="1" dirty="0">
                <a:solidFill>
                  <a:srgbClr val="000000"/>
                </a:solidFill>
                <a:ea typeface="Calibri" charset="0"/>
                <a:cs typeface="Calibri" charset="0"/>
              </a:rPr>
              <a:t>movilidad global</a:t>
            </a: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" (hermanos y laicos). 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Existe un </a:t>
            </a:r>
            <a:r>
              <a:rPr lang="es-ES_tradnl" sz="1300" b="1" dirty="0">
                <a:solidFill>
                  <a:srgbClr val="000000"/>
                </a:solidFill>
                <a:ea typeface="Calibri" charset="0"/>
                <a:cs typeface="Calibri" charset="0"/>
              </a:rPr>
              <a:t>amplio reconocimiento del componente carismático</a:t>
            </a: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También existe una </a:t>
            </a:r>
            <a:r>
              <a:rPr lang="es-ES_tradnl" sz="1300" b="1" dirty="0">
                <a:solidFill>
                  <a:srgbClr val="000000"/>
                </a:solidFill>
                <a:ea typeface="Calibri" charset="0"/>
                <a:cs typeface="Calibri" charset="0"/>
              </a:rPr>
              <a:t>fragmentación</a:t>
            </a: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 de ese reconocimiento por causa de los diferentes enfoques y etapas de desarrollo de cada lugar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Hay una búsqueda activa para encontrar </a:t>
            </a:r>
            <a:r>
              <a:rPr lang="es-ES_tradnl" sz="1300" b="1" dirty="0">
                <a:solidFill>
                  <a:srgbClr val="000000"/>
                </a:solidFill>
                <a:ea typeface="Calibri" charset="0"/>
                <a:cs typeface="Calibri" charset="0"/>
              </a:rPr>
              <a:t>nuevas estructuras </a:t>
            </a: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para la corresponsabilidad de los laico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300" b="1" dirty="0">
                <a:solidFill>
                  <a:srgbClr val="000000"/>
                </a:solidFill>
                <a:ea typeface="Calibri" charset="0"/>
                <a:cs typeface="Calibri" charset="0"/>
              </a:rPr>
              <a:t>Otras congregaciones están trabajando </a:t>
            </a: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en una definición clara del carisma laical dentro de la congregación y en el desarrollo de su espiritualidad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Algunas congregaciones diseñan nuevos </a:t>
            </a:r>
            <a:r>
              <a:rPr lang="es-ES_tradnl" sz="1300" b="1" dirty="0">
                <a:solidFill>
                  <a:srgbClr val="000000"/>
                </a:solidFill>
                <a:ea typeface="Calibri" charset="0"/>
                <a:cs typeface="Calibri" charset="0"/>
              </a:rPr>
              <a:t>órganos centrales </a:t>
            </a:r>
            <a:r>
              <a:rPr lang="es-ES_tradnl" sz="1300" dirty="0">
                <a:solidFill>
                  <a:srgbClr val="000000"/>
                </a:solidFill>
                <a:ea typeface="Calibri" charset="0"/>
                <a:cs typeface="Calibri" charset="0"/>
              </a:rPr>
              <a:t>encargados de dirigir la misión donde se espera que dos tercios de sus miembros sean laicos.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2881313" y="1881188"/>
            <a:ext cx="412750" cy="1368425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2844800" y="4933950"/>
            <a:ext cx="466725" cy="1735138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107950" y="3249613"/>
            <a:ext cx="2773363" cy="739775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 fontAlgn="auto">
              <a:lnSpc>
                <a:spcPts val="1300"/>
              </a:lnSpc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600" dirty="0">
                <a:solidFill>
                  <a:srgbClr val="FFFFFF"/>
                </a:solidFill>
                <a:ea typeface="Calibri" charset="0"/>
                <a:cs typeface="Calibri" charset="0"/>
              </a:rPr>
              <a:t> ¿Cómo podemos favorecer el compromiso de los laicos? </a:t>
            </a: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gray">
          <a:xfrm>
            <a:off x="125413" y="3989388"/>
            <a:ext cx="2755900" cy="11191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0" tIns="18000" rIns="0" bIns="18000" anchor="ctr"/>
          <a:lstStyle/>
          <a:p>
            <a:pPr marL="113414" indent="-113414" defTabSz="914400" eaLnBrk="0" fontAlgn="auto" hangingPunct="0">
              <a:lnSpc>
                <a:spcPct val="90000"/>
              </a:lnSpc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Identificando los </a:t>
            </a:r>
            <a:r>
              <a:rPr lang="es-ES_tradnl" sz="1200" b="1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diferentes grupos </a:t>
            </a:r>
            <a:r>
              <a:rPr lang="es-ES_tradnl" sz="1200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de laicos.</a:t>
            </a:r>
          </a:p>
          <a:p>
            <a:pPr marL="113414" indent="-113414" defTabSz="914400" eaLnBrk="0" fontAlgn="auto" hangingPunct="0">
              <a:lnSpc>
                <a:spcPct val="90000"/>
              </a:lnSpc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Definiendo </a:t>
            </a:r>
            <a:r>
              <a:rPr lang="es-ES_tradnl" sz="1200" b="1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pautas para el desarrollo </a:t>
            </a:r>
            <a:r>
              <a:rPr lang="es-ES_tradnl" sz="1200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del laicado Marista.</a:t>
            </a:r>
          </a:p>
          <a:p>
            <a:pPr marL="113414" indent="-113414" defTabSz="914400" eaLnBrk="0" fontAlgn="auto" hangingPunct="0">
              <a:lnSpc>
                <a:spcPct val="90000"/>
              </a:lnSpc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b="1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Gestionando de forma profesional </a:t>
            </a:r>
            <a:r>
              <a:rPr lang="es-ES_tradnl" sz="1200" dirty="0">
                <a:solidFill>
                  <a:srgbClr val="000000"/>
                </a:solidFill>
                <a:latin typeface="Arial"/>
                <a:ea typeface="Calibri" charset="0"/>
                <a:cs typeface="Calibri" charset="0"/>
              </a:rPr>
              <a:t>los colaboradores.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9542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73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9543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4475" y="804863"/>
            <a:ext cx="8640763" cy="664797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¿Cómo podemos favorecer el compromiso de los laicos?</a:t>
            </a:r>
            <a:br>
              <a:rPr lang="es-ES" dirty="0" smtClean="0">
                <a:latin typeface="Arial" charset="0"/>
                <a:cs typeface="Arial" charset="0"/>
              </a:rPr>
            </a:br>
            <a:r>
              <a:rPr lang="es-ES" dirty="0" smtClean="0">
                <a:latin typeface="Arial" charset="0"/>
                <a:cs typeface="Arial" charset="0"/>
              </a:rPr>
              <a:t>Propuestas clave</a:t>
            </a:r>
            <a:endParaRPr lang="en-US" b="1" dirty="0" smtClean="0">
              <a:latin typeface="Arial" charset="0"/>
              <a:cs typeface="Arial" charset="0"/>
            </a:endParaRPr>
          </a:p>
        </p:txBody>
      </p:sp>
      <p:sp>
        <p:nvSpPr>
          <p:cNvPr id="619544" name="RunningHead"/>
          <p:cNvSpPr txBox="1">
            <a:spLocks noChangeArrowheads="1"/>
          </p:cNvSpPr>
          <p:nvPr/>
        </p:nvSpPr>
        <p:spPr bwMode="gray">
          <a:xfrm>
            <a:off x="5020335" y="163513"/>
            <a:ext cx="3871253" cy="1661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 dirty="0">
                <a:solidFill>
                  <a:srgbClr val="000000"/>
                </a:solidFill>
              </a:rPr>
              <a:t>¿Cómo podemos </a:t>
            </a:r>
            <a:r>
              <a:rPr lang="es-ES_tradnl" sz="1200" dirty="0" smtClean="0">
                <a:solidFill>
                  <a:srgbClr val="000000"/>
                </a:solidFill>
              </a:rPr>
              <a:t>favorecer </a:t>
            </a:r>
            <a:r>
              <a:rPr lang="es-ES_tradnl" sz="1200" dirty="0">
                <a:solidFill>
                  <a:srgbClr val="000000"/>
                </a:solidFill>
              </a:rPr>
              <a:t>el compromiso de los laicos?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79388" y="1804988"/>
            <a:ext cx="2198687" cy="2501900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600" dirty="0">
                <a:solidFill>
                  <a:srgbClr val="FFFFFF"/>
                </a:solidFill>
                <a:ea typeface="Calibri" charset="0"/>
                <a:cs typeface="Calibri" charset="0"/>
              </a:rPr>
              <a:t>Definicione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484438" y="1804988"/>
            <a:ext cx="6381750" cy="3235325"/>
          </a:xfrm>
          <a:prstGeom prst="rect">
            <a:avLst/>
          </a:prstGeom>
          <a:solidFill>
            <a:schemeClr val="bg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Definir una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nueva relación 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entre hermanos y laicos Maristas basada en la comunión y en la búsqueda conjunta de una mayor vitalidad del carisma Marista para nuestro mundo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Definir un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camino Marista 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basado en procesos de formación y experiencias implicando tanto a hermanos como a laicos Marista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Facilitar el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compromiso laical 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para distinguir la contribución a la misión espiritual de la relación laboral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Identificar los diferentes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grupos de laicos 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(Maristas, colaboradores, voluntarios…)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Definir algunas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pautas generales 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para facilitar la presencia de Maristas en las actividades pastorales </a:t>
            </a:r>
            <a:r>
              <a:rPr lang="es-ES_tradnl" sz="12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y en los trabajos clave de la Misión (enseñanza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, obras sociales...)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Avanzar en la idea y en la definición de nuestra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familia carismática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. 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Definir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el papel del laico </a:t>
            </a:r>
            <a:r>
              <a:rPr lang="es-ES_tradnl" sz="12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en 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el apoyo al carisma, a la animación, al gobierno y a la gestión</a:t>
            </a:r>
            <a:r>
              <a:rPr lang="es-ES_tradnl" sz="12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, en el contexto del Instituto, 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permitiendo a todos ser corresponsables de nuestra vida, espiritualidad y Misión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s-ES_tradnl" sz="1200" dirty="0">
              <a:solidFill>
                <a:srgbClr val="000000"/>
              </a:solidFill>
              <a:ea typeface="Calibri" charset="0"/>
              <a:cs typeface="Calibri" charset="0"/>
            </a:endParaRPr>
          </a:p>
        </p:txBody>
      </p:sp>
      <p:sp>
        <p:nvSpPr>
          <p:cNvPr id="9" name="Rectangle 17"/>
          <p:cNvSpPr/>
          <p:nvPr/>
        </p:nvSpPr>
        <p:spPr>
          <a:xfrm>
            <a:off x="2503488" y="4389438"/>
            <a:ext cx="6381750" cy="1366837"/>
          </a:xfrm>
          <a:prstGeom prst="rect">
            <a:avLst/>
          </a:prstGeom>
          <a:solidFill>
            <a:schemeClr val="bg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Diseñar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estructuras homogéneas de organización 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(entidades, asociaciones…) de modo que las personas responsables de la misma función puedan trabajar conjuntamente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Establecer un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servicio de voluntarios Maristas 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cuyos miembros estén disponibles para trabajar en nuestras necesidades pastorales o para ser movilizados en emergencia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s-ES_tradnl" sz="1200" dirty="0">
              <a:solidFill>
                <a:srgbClr val="000000"/>
              </a:solidFill>
              <a:ea typeface="Calibri" charset="0"/>
              <a:cs typeface="Calibri" charset="0"/>
            </a:endParaRPr>
          </a:p>
        </p:txBody>
      </p:sp>
      <p:sp>
        <p:nvSpPr>
          <p:cNvPr id="10" name="Rectangle 18"/>
          <p:cNvSpPr/>
          <p:nvPr/>
        </p:nvSpPr>
        <p:spPr>
          <a:xfrm>
            <a:off x="179388" y="4424363"/>
            <a:ext cx="2198687" cy="785812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600" dirty="0">
                <a:solidFill>
                  <a:srgbClr val="FFFFFF"/>
                </a:solidFill>
                <a:ea typeface="Calibri" charset="0"/>
                <a:cs typeface="Calibri" charset="0"/>
              </a:rPr>
              <a:t>Estructuras</a:t>
            </a:r>
          </a:p>
        </p:txBody>
      </p:sp>
      <p:sp>
        <p:nvSpPr>
          <p:cNvPr id="11" name="Rectangle 16"/>
          <p:cNvSpPr/>
          <p:nvPr/>
        </p:nvSpPr>
        <p:spPr>
          <a:xfrm>
            <a:off x="179388" y="5321300"/>
            <a:ext cx="2198687" cy="1111250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600" dirty="0">
                <a:solidFill>
                  <a:srgbClr val="FFFFFF"/>
                </a:solidFill>
                <a:ea typeface="Calibri" charset="0"/>
                <a:cs typeface="Calibri" charset="0"/>
              </a:rPr>
              <a:t>Acciones de desarrollo</a:t>
            </a:r>
          </a:p>
        </p:txBody>
      </p:sp>
      <p:sp>
        <p:nvSpPr>
          <p:cNvPr id="12" name="Rectangle 15"/>
          <p:cNvSpPr/>
          <p:nvPr/>
        </p:nvSpPr>
        <p:spPr>
          <a:xfrm>
            <a:off x="2513013" y="5314950"/>
            <a:ext cx="6399212" cy="1117600"/>
          </a:xfrm>
          <a:prstGeom prst="rect">
            <a:avLst/>
          </a:prstGeom>
          <a:solidFill>
            <a:schemeClr val="bg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Abordar la </a:t>
            </a:r>
            <a:r>
              <a:rPr lang="es-ES_tradnl" sz="1200" b="1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proyección de la asignación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de </a:t>
            </a:r>
            <a:r>
              <a:rPr lang="es-ES_tradnl" sz="1200" b="1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recursos 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basada en las necesidade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Promover la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formación Marista 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(valores humanos y cristianos) para personas a cargo de funciones clave (por ejemplo, directores, profesores…) según el marco legislativo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Diseñar un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plan de formación de docentes 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en pedagogía específica Marista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Definir un </a:t>
            </a:r>
            <a:r>
              <a:rPr lang="es-ES_tradnl" sz="1200" b="1" dirty="0">
                <a:solidFill>
                  <a:srgbClr val="000000"/>
                </a:solidFill>
                <a:ea typeface="Calibri" charset="0"/>
                <a:cs typeface="Calibri" charset="0"/>
              </a:rPr>
              <a:t>código ético </a:t>
            </a:r>
            <a:r>
              <a:rPr lang="es-ES_tradnl" sz="1200" dirty="0">
                <a:solidFill>
                  <a:srgbClr val="000000"/>
                </a:solidFill>
                <a:ea typeface="Calibri" charset="0"/>
                <a:cs typeface="Calibri" charset="0"/>
              </a:rPr>
              <a:t>para todos las personas.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0566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1481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76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056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4475" y="807036"/>
            <a:ext cx="8201693" cy="559127"/>
          </a:xfrm>
        </p:spPr>
        <p:txBody>
          <a:bodyPr/>
          <a:lstStyle/>
          <a:p>
            <a:pPr eaLnBrk="1" hangingPunct="1"/>
            <a:r>
              <a:rPr lang="es-ES_tradnl" sz="2000" dirty="0" smtClean="0">
                <a:latin typeface="Arial" charset="0"/>
                <a:cs typeface="Arial" charset="0"/>
              </a:rPr>
              <a:t>Dependiendo de los diferentes segmentos de </a:t>
            </a:r>
            <a:r>
              <a:rPr lang="es-ES_tradnl" sz="2000" dirty="0" smtClean="0">
                <a:latin typeface="Arial" charset="0"/>
                <a:cs typeface="Arial" charset="0"/>
              </a:rPr>
              <a:t>laicos implicados en la Misi</a:t>
            </a:r>
            <a:r>
              <a:rPr lang="es-ES_tradnl" sz="2000" dirty="0" smtClean="0">
                <a:latin typeface="Arial" charset="0"/>
                <a:cs typeface="Arial" charset="0"/>
              </a:rPr>
              <a:t>ón,</a:t>
            </a:r>
            <a:r>
              <a:rPr lang="es-ES_tradnl" sz="2000" dirty="0" smtClean="0">
                <a:latin typeface="Arial" charset="0"/>
                <a:cs typeface="Arial" charset="0"/>
              </a:rPr>
              <a:t> </a:t>
            </a:r>
            <a:r>
              <a:rPr lang="es-ES_tradnl" sz="2000" dirty="0" smtClean="0">
                <a:latin typeface="Arial" charset="0"/>
                <a:cs typeface="Arial" charset="0"/>
              </a:rPr>
              <a:t>el Instituto desarrollará distintas actividades de animación</a:t>
            </a:r>
            <a:endParaRPr lang="es-ES_tradnl" sz="2000" b="1" dirty="0" smtClean="0">
              <a:latin typeface="Arial" charset="0"/>
              <a:cs typeface="Arial" charset="0"/>
            </a:endParaRPr>
          </a:p>
        </p:txBody>
      </p:sp>
      <p:sp>
        <p:nvSpPr>
          <p:cNvPr id="620568" name="RunningHead"/>
          <p:cNvSpPr txBox="1">
            <a:spLocks noChangeArrowheads="1"/>
          </p:cNvSpPr>
          <p:nvPr/>
        </p:nvSpPr>
        <p:spPr bwMode="gray">
          <a:xfrm>
            <a:off x="5020335" y="163513"/>
            <a:ext cx="3871253" cy="1661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 dirty="0">
                <a:solidFill>
                  <a:srgbClr val="000000"/>
                </a:solidFill>
              </a:rPr>
              <a:t>¿Cómo podemos </a:t>
            </a:r>
            <a:r>
              <a:rPr lang="es-ES_tradnl" sz="1200" dirty="0" smtClean="0">
                <a:solidFill>
                  <a:srgbClr val="000000"/>
                </a:solidFill>
              </a:rPr>
              <a:t>favorecer </a:t>
            </a:r>
            <a:r>
              <a:rPr lang="es-ES_tradnl" sz="1200" dirty="0">
                <a:solidFill>
                  <a:srgbClr val="000000"/>
                </a:solidFill>
              </a:rPr>
              <a:t>el compromiso de los laicos?</a:t>
            </a:r>
          </a:p>
        </p:txBody>
      </p:sp>
      <p:sp>
        <p:nvSpPr>
          <p:cNvPr id="14" name="TextBox 2"/>
          <p:cNvSpPr txBox="1"/>
          <p:nvPr/>
        </p:nvSpPr>
        <p:spPr>
          <a:xfrm>
            <a:off x="244474" y="1772816"/>
            <a:ext cx="6840220" cy="2492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s-ES_tradnl" b="1" dirty="0" smtClean="0">
                <a:latin typeface="Arial" panose="020B0604020202020204" pitchFamily="34" charset="0"/>
                <a:cs typeface="Arial" panose="020B0604020202020204" pitchFamily="34" charset="0"/>
              </a:rPr>
              <a:t>Actividades del Instituto con base en segmentos de laicos</a:t>
            </a:r>
          </a:p>
        </p:txBody>
      </p:sp>
      <p:sp>
        <p:nvSpPr>
          <p:cNvPr id="15" name="Rectangle 24"/>
          <p:cNvSpPr/>
          <p:nvPr/>
        </p:nvSpPr>
        <p:spPr>
          <a:xfrm>
            <a:off x="2978622" y="2276872"/>
            <a:ext cx="1614012" cy="1614012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ristas</a:t>
            </a:r>
          </a:p>
        </p:txBody>
      </p:sp>
      <p:sp>
        <p:nvSpPr>
          <p:cNvPr id="16" name="Rectangle 25"/>
          <p:cNvSpPr/>
          <p:nvPr/>
        </p:nvSpPr>
        <p:spPr>
          <a:xfrm>
            <a:off x="4592634" y="2276872"/>
            <a:ext cx="1614012" cy="161401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es-ES_tradnl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laboradores Maristas</a:t>
            </a:r>
            <a:endParaRPr lang="es-ES_tradnl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26"/>
          <p:cNvSpPr/>
          <p:nvPr/>
        </p:nvSpPr>
        <p:spPr>
          <a:xfrm>
            <a:off x="2978622" y="3890884"/>
            <a:ext cx="1614012" cy="161401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es-ES_tradnl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Voluntarios</a:t>
            </a:r>
          </a:p>
        </p:txBody>
      </p:sp>
      <p:sp>
        <p:nvSpPr>
          <p:cNvPr id="18" name="Rectangle 27"/>
          <p:cNvSpPr/>
          <p:nvPr/>
        </p:nvSpPr>
        <p:spPr>
          <a:xfrm>
            <a:off x="4592634" y="3890884"/>
            <a:ext cx="1614012" cy="1614012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laboradore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empleados/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laboradores pagados )</a:t>
            </a:r>
          </a:p>
        </p:txBody>
      </p:sp>
      <p:sp>
        <p:nvSpPr>
          <p:cNvPr id="19" name="TextBox 28"/>
          <p:cNvSpPr txBox="1"/>
          <p:nvPr/>
        </p:nvSpPr>
        <p:spPr>
          <a:xfrm rot="16200000">
            <a:off x="1827372" y="3755788"/>
            <a:ext cx="1727002" cy="270193"/>
          </a:xfrm>
          <a:prstGeom prst="rect">
            <a:avLst/>
          </a:prstGeom>
          <a:solidFill>
            <a:schemeClr val="bg1"/>
          </a:solidFill>
          <a:ln w="6350" cap="flat">
            <a:noFill/>
            <a:miter lim="800000"/>
          </a:ln>
        </p:spPr>
        <p:txBody>
          <a:bodyPr wrap="none" lIns="36000" tIns="36000" rIns="36000" bIns="3600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s-ES_tradnl" sz="1400" b="1" dirty="0" smtClean="0">
                <a:latin typeface="Arial" pitchFamily="34" charset="0"/>
                <a:cs typeface="Arial" pitchFamily="34" charset="0"/>
              </a:rPr>
              <a:t>Dimensi</a:t>
            </a:r>
            <a:r>
              <a:rPr lang="es-ES_tradnl" sz="1400" b="1" dirty="0" smtClean="0">
                <a:latin typeface="Arial" pitchFamily="34" charset="0"/>
                <a:cs typeface="Arial" pitchFamily="34" charset="0"/>
              </a:rPr>
              <a:t>ón  </a:t>
            </a:r>
            <a:r>
              <a:rPr lang="es-ES_tradnl" sz="1400" b="1" dirty="0" smtClean="0">
                <a:latin typeface="Arial" pitchFamily="34" charset="0"/>
                <a:cs typeface="Arial" pitchFamily="34" charset="0"/>
              </a:rPr>
              <a:t>Marista</a:t>
            </a:r>
            <a:endParaRPr lang="es-ES_tradnl" sz="14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30"/>
          <p:cNvSpPr txBox="1"/>
          <p:nvPr/>
        </p:nvSpPr>
        <p:spPr>
          <a:xfrm>
            <a:off x="3814295" y="5589240"/>
            <a:ext cx="1678887" cy="270193"/>
          </a:xfrm>
          <a:prstGeom prst="rect">
            <a:avLst/>
          </a:prstGeom>
          <a:solidFill>
            <a:schemeClr val="bg1"/>
          </a:solidFill>
          <a:ln w="6350" cap="flat">
            <a:noFill/>
            <a:miter lim="800000"/>
          </a:ln>
        </p:spPr>
        <p:txBody>
          <a:bodyPr wrap="none" lIns="36000" tIns="36000" rIns="36000" bIns="3600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s-ES_tradn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imensi</a:t>
            </a:r>
            <a:r>
              <a:rPr lang="es-ES_tradn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ón  laboral</a:t>
            </a:r>
            <a:endParaRPr lang="es-ES_tradnl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gray">
          <a:xfrm>
            <a:off x="6372200" y="2349516"/>
            <a:ext cx="2555900" cy="92753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00584" lvl="0" indent="-100584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r>
              <a:rPr lang="es-ES_tradnl" sz="1400" dirty="0" smtClean="0">
                <a:latin typeface="Arial" pitchFamily="34" charset="0"/>
                <a:cs typeface="Arial" pitchFamily="34" charset="0"/>
              </a:rPr>
              <a:t>Comprometerlos con roles claves enfocados en el contacto con otras personas y la animación (directores de escuela, profesores, ….)</a:t>
            </a:r>
            <a:endParaRPr lang="es-ES_tradnl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Rectangle 4"/>
          <p:cNvSpPr>
            <a:spLocks noChangeArrowheads="1"/>
          </p:cNvSpPr>
          <p:nvPr/>
        </p:nvSpPr>
        <p:spPr bwMode="gray">
          <a:xfrm>
            <a:off x="142875" y="4367426"/>
            <a:ext cx="2251981" cy="92753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00584" lvl="0" indent="-100584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r>
              <a:rPr lang="es-ES_tradnl" sz="1400" dirty="0" smtClean="0">
                <a:latin typeface="Arial" pitchFamily="34" charset="0"/>
                <a:cs typeface="Arial" pitchFamily="34" charset="0"/>
              </a:rPr>
              <a:t>Comunicar los valores Maristas. </a:t>
            </a:r>
          </a:p>
          <a:p>
            <a:pPr marL="100584" lvl="0" indent="-100584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r>
              <a:rPr lang="es-ES_tradnl" sz="1400" dirty="0" smtClean="0">
                <a:latin typeface="Arial" pitchFamily="34" charset="0"/>
                <a:cs typeface="Arial" pitchFamily="34" charset="0"/>
              </a:rPr>
              <a:t>Redes para trabajos específicos.</a:t>
            </a:r>
          </a:p>
          <a:p>
            <a:pPr marL="100584" lvl="0" indent="-100584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r>
              <a:rPr lang="es-ES_tradnl" sz="1400" dirty="0" smtClean="0">
                <a:latin typeface="Arial" pitchFamily="34" charset="0"/>
                <a:cs typeface="Arial" pitchFamily="34" charset="0"/>
              </a:rPr>
              <a:t>Comprometer principalmente en el trabajo social/otras actividades humanitarias.</a:t>
            </a:r>
          </a:p>
        </p:txBody>
      </p:sp>
      <p:sp>
        <p:nvSpPr>
          <p:cNvPr id="27" name="Rectangle 4"/>
          <p:cNvSpPr>
            <a:spLocks noChangeArrowheads="1"/>
          </p:cNvSpPr>
          <p:nvPr/>
        </p:nvSpPr>
        <p:spPr bwMode="gray">
          <a:xfrm>
            <a:off x="142875" y="2424329"/>
            <a:ext cx="2251981" cy="117223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00584" lvl="0" indent="-100584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r>
              <a:rPr lang="es-ES_tradnl" sz="1400" dirty="0" smtClean="0">
                <a:latin typeface="Arial" pitchFamily="34" charset="0"/>
                <a:cs typeface="Arial" pitchFamily="34" charset="0"/>
              </a:rPr>
              <a:t>Comprometerlos mayoritariamente con actividades de animación (normalmente hay limitada disponibilidad de tiempo)</a:t>
            </a:r>
            <a:endParaRPr lang="es-ES_tradnl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4"/>
          <p:cNvSpPr>
            <a:spLocks noChangeArrowheads="1"/>
          </p:cNvSpPr>
          <p:nvPr/>
        </p:nvSpPr>
        <p:spPr bwMode="gray">
          <a:xfrm>
            <a:off x="6372200" y="4193658"/>
            <a:ext cx="2555900" cy="92753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00584" lvl="0" indent="-100584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r>
              <a:rPr lang="es-ES_tradnl" sz="1400" dirty="0" smtClean="0">
                <a:latin typeface="Arial" pitchFamily="34" charset="0"/>
                <a:cs typeface="Arial" pitchFamily="34" charset="0"/>
              </a:rPr>
              <a:t>Comunicarles los valores Maristas e intentar comprometerlos en alguna actividad de la Misión.</a:t>
            </a:r>
          </a:p>
          <a:p>
            <a:pPr marL="100584" lvl="0" indent="-100584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r>
              <a:rPr lang="es-ES_tradnl" sz="1400" dirty="0" smtClean="0">
                <a:latin typeface="Arial" pitchFamily="34" charset="0"/>
                <a:cs typeface="Arial" pitchFamily="34" charset="0"/>
              </a:rPr>
              <a:t>Elaborar y definir un Código de conducta.</a:t>
            </a:r>
          </a:p>
          <a:p>
            <a:pPr marL="100584" lvl="0" indent="-100584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endParaRPr lang="es-ES_tradnl" sz="14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7105" name="Text Placeholder 8"/>
          <p:cNvSpPr>
            <a:spLocks noGrp="1"/>
          </p:cNvSpPr>
          <p:nvPr>
            <p:ph type="body" sz="quarter" idx="10"/>
            <p:custDataLst>
              <p:tags r:id="rId1"/>
            </p:custDataLst>
          </p:nvPr>
        </p:nvSpPr>
        <p:spPr>
          <a:xfrm>
            <a:off x="244475" y="2157413"/>
            <a:ext cx="8647113" cy="3473450"/>
          </a:xfrm>
        </p:spPr>
        <p:txBody>
          <a:bodyPr/>
          <a:lstStyle/>
          <a:p>
            <a:pPr marL="161925" indent="-161925" eaLnBrk="1" hangingPunct="1">
              <a:buFont typeface="Arial" charset="0"/>
              <a:buChar char="•"/>
            </a:pPr>
            <a:r>
              <a:rPr lang="es-ES" b="1" dirty="0" smtClean="0">
                <a:latin typeface="Arial" charset="0"/>
                <a:cs typeface="Arial" charset="0"/>
              </a:rPr>
              <a:t>Descripción del proyecto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Principios y directrices clave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s person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 Misión – estructur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Estatus canónico y civil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 Misión – </a:t>
            </a:r>
            <a:r>
              <a:rPr lang="es-ES" dirty="0">
                <a:latin typeface="Arial" charset="0"/>
                <a:cs typeface="Arial" charset="0"/>
              </a:rPr>
              <a:t>procesos y herramientas</a:t>
            </a:r>
            <a:endParaRPr lang="es-ES" dirty="0" smtClean="0">
              <a:latin typeface="Arial" charset="0"/>
              <a:cs typeface="Arial" charset="0"/>
            </a:endParaRP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Modelo de financiación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Hoja de Ruta</a:t>
            </a:r>
          </a:p>
        </p:txBody>
      </p:sp>
      <p:sp>
        <p:nvSpPr>
          <p:cNvPr id="3247106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44475" y="1627188"/>
            <a:ext cx="8647113" cy="338137"/>
          </a:xfrm>
        </p:spPr>
        <p:txBody>
          <a:bodyPr/>
          <a:lstStyle/>
          <a:p>
            <a:pPr eaLnBrk="1" hangingPunct="1"/>
            <a:r>
              <a:rPr lang="es-ES_tradnl" smtClean="0">
                <a:latin typeface="Arial" charset="0"/>
                <a:cs typeface="Arial" charset="0"/>
              </a:rPr>
              <a:t>Índice</a:t>
            </a:r>
            <a:endParaRPr lang="en-US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1590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78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1591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4475" y="804863"/>
            <a:ext cx="8640763" cy="996950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¿Cómo pueden nuestros procesos internos facilitar un nuevo comienzo? </a:t>
            </a:r>
            <a:r>
              <a:rPr lang="es-ES" dirty="0">
                <a:latin typeface="Arial" charset="0"/>
                <a:cs typeface="Arial" charset="0"/>
              </a:rPr>
              <a:t>Áreas clave de mejora subrayadas en la fase de evaluación del diagnóstico.</a:t>
            </a:r>
            <a:endParaRPr lang="en-US" b="1" dirty="0" smtClean="0">
              <a:latin typeface="Arial" charset="0"/>
              <a:cs typeface="Arial" charset="0"/>
            </a:endParaRPr>
          </a:p>
        </p:txBody>
      </p:sp>
      <p:sp>
        <p:nvSpPr>
          <p:cNvPr id="621592" name="RunningHead"/>
          <p:cNvSpPr txBox="1">
            <a:spLocks noChangeArrowheads="1"/>
          </p:cNvSpPr>
          <p:nvPr/>
        </p:nvSpPr>
        <p:spPr bwMode="gray">
          <a:xfrm>
            <a:off x="3843338" y="117475"/>
            <a:ext cx="5011737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>
                <a:solidFill>
                  <a:srgbClr val="000000"/>
                </a:solidFill>
              </a:rPr>
              <a:t>¿Cómo pueden nuestros procesos internos facilitar un nuevo comienzo?</a:t>
            </a:r>
          </a:p>
        </p:txBody>
      </p:sp>
      <p:sp>
        <p:nvSpPr>
          <p:cNvPr id="10" name="Rectangle 9"/>
          <p:cNvSpPr/>
          <p:nvPr/>
        </p:nvSpPr>
        <p:spPr>
          <a:xfrm>
            <a:off x="3434556" y="2024844"/>
            <a:ext cx="5435600" cy="460851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112713" indent="-112713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No siempre se hace una </a:t>
            </a: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gestión adecuada de los procesos personales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(planificación de competencias, trayectorias personales, hay pocos mecanismos de reconocimiento, falta planificación de la sucesión).</a:t>
            </a:r>
          </a:p>
          <a:p>
            <a:pPr marL="112713" indent="-112713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Sería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necesario aumentar y mejorar un </a:t>
            </a: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acompañamiento organizado y sistemático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de las personas en su recorrido vital y de Misión. </a:t>
            </a:r>
          </a:p>
          <a:p>
            <a:pPr marL="112713" indent="-112713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Otras congregaciones han diseñado e implementado planes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(titulación,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edad madura...) para evitar las </a:t>
            </a: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salidas del Instituto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.</a:t>
            </a:r>
          </a:p>
          <a:p>
            <a:pPr marL="112713" indent="-112713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En otras congregaciones hay </a:t>
            </a: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hermanos mayores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comprometidos en actividades de apoyo (traducciones, estudios sobre la historia de la congregación, actualización de noticias relevantes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…) y a un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enorme conjunto de dedicaciones en las que siguen desarrollando plenamente su vocación. </a:t>
            </a:r>
          </a:p>
          <a:p>
            <a:pPr marL="112713" indent="-112713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Creemos que sería bueno promover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entre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nosotros mecanismos de </a:t>
            </a: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reconocimiento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 (social, emocional, profesional, económico…). </a:t>
            </a:r>
          </a:p>
          <a:p>
            <a:pPr marL="112713" indent="-112713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Establecer </a:t>
            </a: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nuevos procesos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de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acompañamiento y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de evaluación que nos ayuden a encontrar una forma atrevida de vivir y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actuar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para asumir nuestros retos.</a:t>
            </a:r>
          </a:p>
          <a:p>
            <a:pPr marL="112713" indent="-112713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Crear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un </a:t>
            </a: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marco institucional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para nuestras personas.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2952875" y="2024845"/>
            <a:ext cx="481681" cy="1008061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2916238" y="5625294"/>
            <a:ext cx="518318" cy="1008062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/>
          <p:nvPr/>
        </p:nvGrpSpPr>
        <p:grpSpPr>
          <a:xfrm>
            <a:off x="179512" y="3032906"/>
            <a:ext cx="2773363" cy="2592388"/>
            <a:chOff x="179512" y="2889250"/>
            <a:chExt cx="2773363" cy="2592388"/>
          </a:xfrm>
        </p:grpSpPr>
        <p:sp>
          <p:nvSpPr>
            <p:cNvPr id="13" name="Rectangle 9"/>
            <p:cNvSpPr>
              <a:spLocks noChangeArrowheads="1"/>
            </p:cNvSpPr>
            <p:nvPr/>
          </p:nvSpPr>
          <p:spPr bwMode="gray">
            <a:xfrm>
              <a:off x="179512" y="3752850"/>
              <a:ext cx="2773363" cy="1728788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6350" cap="flat">
              <a:noFill/>
              <a:miter lim="800000"/>
              <a:headEnd/>
              <a:tailEnd/>
            </a:ln>
          </p:spPr>
          <p:txBody>
            <a:bodyPr lIns="0" tIns="18000" rIns="0" bIns="18000" anchor="ctr"/>
            <a:lstStyle/>
            <a:p>
              <a:pPr marL="113414" indent="-113414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4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Explorando </a:t>
              </a:r>
              <a:r>
                <a:rPr lang="es-ES_tradnl" sz="1400" b="1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nuevos paradigmas</a:t>
              </a:r>
              <a:r>
                <a:rPr lang="es-ES_tradnl" sz="14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.</a:t>
              </a:r>
            </a:p>
            <a:p>
              <a:pPr marL="113414" indent="-113414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4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Estableciendo procesos de evaluación, </a:t>
              </a:r>
              <a:r>
                <a:rPr lang="es-ES_tradnl" sz="1400" b="1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seguimiento y acompañamiento</a:t>
              </a:r>
              <a:r>
                <a:rPr lang="es-ES_tradnl" sz="14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.</a:t>
              </a:r>
            </a:p>
            <a:p>
              <a:pPr marL="113414" indent="-113414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4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Promoviendo el </a:t>
              </a:r>
              <a:r>
                <a:rPr lang="es-ES_tradnl" sz="1400" b="1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compromiso</a:t>
              </a:r>
              <a:r>
                <a:rPr lang="es-ES_tradnl" sz="14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 de las personas.</a:t>
              </a:r>
            </a:p>
            <a:p>
              <a:pPr marL="113414" indent="-113414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4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Fortaleciendo la </a:t>
              </a:r>
              <a:r>
                <a:rPr lang="es-ES_tradnl" sz="1400" b="1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vocación Marista</a:t>
              </a:r>
              <a:r>
                <a:rPr lang="es-ES_tradnl" sz="1400" dirty="0">
                  <a:solidFill>
                    <a:srgbClr val="000000"/>
                  </a:solidFill>
                  <a:latin typeface="Arial"/>
                  <a:ea typeface="Calibri" charset="0"/>
                  <a:cs typeface="Calibri" charset="0"/>
                </a:rPr>
                <a:t>. 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79512" y="2889250"/>
              <a:ext cx="2773363" cy="862013"/>
            </a:xfrm>
            <a:prstGeom prst="rect">
              <a:avLst/>
            </a:prstGeom>
            <a:solidFill>
              <a:schemeClr val="tx2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0" rIns="73152" bIns="0" anchor="ctr"/>
            <a:lstStyle/>
            <a:p>
              <a:pPr algn="ctr" defTabSz="914400" eaLnBrk="0" fontAlgn="auto" hangingPunct="0">
                <a:lnSpc>
                  <a:spcPct val="90000"/>
                </a:lnSpc>
                <a:spcBef>
                  <a:spcPts val="2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defRPr/>
              </a:pPr>
              <a:r>
                <a:rPr lang="es-ES_tradnl" sz="1600" dirty="0">
                  <a:solidFill>
                    <a:srgbClr val="FFFFFF"/>
                  </a:solidFill>
                  <a:cs typeface="Arial"/>
                </a:rPr>
                <a:t>¿Cómo pueden nuestros procesos internos facilitar un nuevo comienzo? </a:t>
              </a:r>
            </a:p>
          </p:txBody>
        </p:sp>
      </p:grp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2614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80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2615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4475" y="804863"/>
            <a:ext cx="8640763" cy="665162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¿Cómo pueden nuestros procesos internos facilitar un nuevo comienzo? Propuestas clave </a:t>
            </a:r>
            <a:r>
              <a:rPr lang="es-ES" dirty="0">
                <a:latin typeface="Arial" charset="0"/>
                <a:cs typeface="Arial" charset="0"/>
              </a:rPr>
              <a:t>(1 de </a:t>
            </a:r>
            <a:r>
              <a:rPr lang="es-ES" dirty="0" smtClean="0">
                <a:latin typeface="Arial" charset="0"/>
                <a:cs typeface="Arial" charset="0"/>
              </a:rPr>
              <a:t>2)</a:t>
            </a:r>
            <a:endParaRPr lang="en-US" b="1" dirty="0" smtClean="0">
              <a:latin typeface="Arial" charset="0"/>
              <a:cs typeface="Arial" charset="0"/>
            </a:endParaRPr>
          </a:p>
        </p:txBody>
      </p:sp>
      <p:sp>
        <p:nvSpPr>
          <p:cNvPr id="622616" name="RunningHead"/>
          <p:cNvSpPr txBox="1">
            <a:spLocks noChangeArrowheads="1"/>
          </p:cNvSpPr>
          <p:nvPr/>
        </p:nvSpPr>
        <p:spPr bwMode="gray">
          <a:xfrm>
            <a:off x="3843338" y="117475"/>
            <a:ext cx="5011737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>
                <a:solidFill>
                  <a:srgbClr val="000000"/>
                </a:solidFill>
              </a:rPr>
              <a:t>¿Cómo pueden nuestros procesos internos facilitar un nuevo comienzo?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79388" y="1773239"/>
            <a:ext cx="2220912" cy="3594830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dirty="0" smtClean="0">
                <a:solidFill>
                  <a:srgbClr val="FFFFFF"/>
                </a:solidFill>
                <a:ea typeface="Calibri" charset="0"/>
                <a:cs typeface="Calibri" charset="0"/>
              </a:rPr>
              <a:t>Acompañamiento y evaluación </a:t>
            </a:r>
            <a:r>
              <a:rPr lang="es-ES_tradnl" dirty="0">
                <a:solidFill>
                  <a:srgbClr val="FFFFFF"/>
                </a:solidFill>
                <a:ea typeface="Calibri" charset="0"/>
                <a:cs typeface="Calibri" charset="0"/>
              </a:rPr>
              <a:t>de  hermanos y laico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516188" y="1773238"/>
            <a:ext cx="6369050" cy="359483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Explorar nuevos paradigmas en el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acompañamiento vocacional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de hermanos y laico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Definir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la figura del </a:t>
            </a:r>
            <a:r>
              <a:rPr lang="es-ES_tradnl" sz="1400" b="1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acompañante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(por ejemplo, un hermano o laico experimentado de una comunidad distinta encargado de apoyar o dar sugerencias a los acompañados)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Definir un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proceso sistemático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de acompañamiento y evaluación (una o dos veces al año) para:</a:t>
            </a:r>
          </a:p>
          <a:p>
            <a:pPr marL="232229" indent="-135017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Traducir en cascada los objetivos estratégicos globales y los de la UA en objetivos personales.</a:t>
            </a:r>
          </a:p>
          <a:p>
            <a:pPr marL="232229" indent="-135017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Recibir retroalimentación sobre actividades ya realizadas, y establecer y discutir los objetivos que se pretende conseguir.</a:t>
            </a:r>
          </a:p>
          <a:p>
            <a:pPr marL="232229" indent="-135017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Revisar el rol actual y deseado en </a:t>
            </a:r>
            <a:r>
              <a:rPr lang="es-ES_tradnl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el Instituto.</a:t>
            </a:r>
            <a:endParaRPr lang="es-ES_tradnl" sz="1400" dirty="0">
              <a:solidFill>
                <a:srgbClr val="000000"/>
              </a:solidFill>
              <a:ea typeface="Calibri" charset="0"/>
              <a:cs typeface="Calibri" charset="0"/>
            </a:endParaRPr>
          </a:p>
          <a:p>
            <a:pPr marL="232229" indent="-135017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Discutir habilidades a desarrollar y mejorar, y definir las necesidades de formación.</a:t>
            </a:r>
          </a:p>
          <a:p>
            <a:pPr marL="232229" indent="-135017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Promover continuamente el desarrollo y sentido de pertenencia </a:t>
            </a:r>
            <a:r>
              <a:rPr lang="es-ES_tradnl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al Instituto.</a:t>
            </a:r>
            <a:endParaRPr lang="es-ES_tradnl" sz="1400" dirty="0">
              <a:solidFill>
                <a:srgbClr val="000000"/>
              </a:solidFill>
              <a:ea typeface="Calibri" charset="0"/>
              <a:cs typeface="Calibri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3638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83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363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4475" y="804863"/>
            <a:ext cx="8640763" cy="665162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¿Cómo pueden nuestros procesos internos facilitar un nuevo comienzo? Propuestas clave (2 </a:t>
            </a:r>
            <a:r>
              <a:rPr lang="es-ES" dirty="0">
                <a:latin typeface="Arial" charset="0"/>
                <a:cs typeface="Arial" charset="0"/>
              </a:rPr>
              <a:t>de 2)</a:t>
            </a:r>
            <a:endParaRPr lang="en-US" b="1" dirty="0" smtClean="0">
              <a:latin typeface="Arial" charset="0"/>
              <a:cs typeface="Arial" charset="0"/>
            </a:endParaRPr>
          </a:p>
        </p:txBody>
      </p:sp>
      <p:sp>
        <p:nvSpPr>
          <p:cNvPr id="623640" name="RunningHead"/>
          <p:cNvSpPr txBox="1">
            <a:spLocks noChangeArrowheads="1"/>
          </p:cNvSpPr>
          <p:nvPr/>
        </p:nvSpPr>
        <p:spPr bwMode="gray">
          <a:xfrm>
            <a:off x="3843338" y="117475"/>
            <a:ext cx="5011737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>
                <a:solidFill>
                  <a:srgbClr val="000000"/>
                </a:solidFill>
              </a:rPr>
              <a:t>¿Cómo pueden nuestros procesos internos facilitar un nuevo comienzo?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79388" y="3578225"/>
            <a:ext cx="2203450" cy="2899255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dirty="0">
                <a:solidFill>
                  <a:srgbClr val="FFFFFF"/>
                </a:solidFill>
                <a:ea typeface="Calibri" charset="0"/>
                <a:cs typeface="Calibri" charset="0"/>
              </a:rPr>
              <a:t>Cuidar de los hermanos en momentos de dificultad vocacional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447925" y="3578225"/>
            <a:ext cx="6499225" cy="2899255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Cada salida debe ser considerada como un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acontecimiento serio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y ha de ser analizada cuidadosamente para abordar su </a:t>
            </a:r>
            <a:r>
              <a:rPr lang="es-ES_tradnl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proceso.</a:t>
            </a:r>
            <a:endParaRPr lang="es-ES_tradnl" sz="1400" dirty="0">
              <a:solidFill>
                <a:srgbClr val="000000"/>
              </a:solidFill>
              <a:ea typeface="Calibri" charset="0"/>
              <a:cs typeface="Calibri" charset="0"/>
            </a:endParaRP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Definir e implementar un conjunto de iniciativas coordinadas basadas en buenas prácticas internas para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canalizar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 las salidas del Instituto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Analizar la tendencia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de las salidas actuales y del pasado para mejorar </a:t>
            </a:r>
            <a:r>
              <a:rPr lang="es-ES_tradnl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prácticas y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para indicar directrices clave a nivel global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Ampliar el análisis a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otras congregaciones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, si es posible</a:t>
            </a:r>
            <a:r>
              <a:rPr lang="es-ES_tradnl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Definir un </a:t>
            </a:r>
            <a:r>
              <a:rPr lang="es-ES_tradnl" sz="1400" b="1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proceso más robusto de selección</a:t>
            </a:r>
            <a:r>
              <a:rPr lang="es-ES_tradnl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 de los candidatos a la vida religiosa Marista.</a:t>
            </a:r>
            <a:endParaRPr lang="es-ES_tradnl" sz="1400" dirty="0">
              <a:solidFill>
                <a:srgbClr val="000000"/>
              </a:solidFill>
              <a:ea typeface="Calibri" charset="0"/>
              <a:cs typeface="Calibri" charset="0"/>
            </a:endParaRP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Definir un marco más claro para cuidar de los hermanos en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momentos de dificultad vocacional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Introducir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actividades pastorales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especialmente diseñadas para los que dejan el Instituto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79388" y="1914525"/>
            <a:ext cx="2203450" cy="1330325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dirty="0">
                <a:solidFill>
                  <a:srgbClr val="FFFFFF"/>
                </a:solidFill>
                <a:ea typeface="Calibri" charset="0"/>
                <a:cs typeface="Calibri" charset="0"/>
              </a:rPr>
              <a:t>Compromiso de los hermano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493963" y="1851025"/>
            <a:ext cx="6453187" cy="146526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Promover la presencia de los hermanos en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contacto directo con los niños y jóvenes pobres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a través del liderazgo local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Establecer una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política ocupacional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para hermanos mayores que los implique en algunas actividades de apoyo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Revisar y potenciar los </a:t>
            </a:r>
            <a:r>
              <a:rPr lang="es-ES_tradnl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planes y procesos de motivación vocacional </a:t>
            </a:r>
            <a:r>
              <a:rPr lang="es-ES_tradnl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y desarrollo de las vocaciones a la vida Marista.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3638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215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363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4475" y="804863"/>
            <a:ext cx="8640763" cy="332399"/>
          </a:xfrm>
        </p:spPr>
        <p:txBody>
          <a:bodyPr/>
          <a:lstStyle/>
          <a:p>
            <a:pPr eaLnBrk="1" hangingPunct="1"/>
            <a:r>
              <a:rPr lang="es-ES" dirty="0">
                <a:latin typeface="Arial" charset="0"/>
                <a:cs typeface="Arial" charset="0"/>
              </a:rPr>
              <a:t>Horizontes de futuro (1 de </a:t>
            </a:r>
            <a:r>
              <a:rPr lang="es-ES" dirty="0" smtClean="0">
                <a:latin typeface="Arial" charset="0"/>
                <a:cs typeface="Arial" charset="0"/>
              </a:rPr>
              <a:t>3)</a:t>
            </a:r>
            <a:endParaRPr lang="en-US" b="1" dirty="0" smtClean="0">
              <a:latin typeface="Arial" charset="0"/>
              <a:cs typeface="Arial" charset="0"/>
            </a:endParaRPr>
          </a:p>
        </p:txBody>
      </p:sp>
      <p:sp>
        <p:nvSpPr>
          <p:cNvPr id="623640" name="RunningHead"/>
          <p:cNvSpPr txBox="1">
            <a:spLocks noChangeArrowheads="1"/>
          </p:cNvSpPr>
          <p:nvPr/>
        </p:nvSpPr>
        <p:spPr bwMode="gray">
          <a:xfrm>
            <a:off x="3843338" y="117475"/>
            <a:ext cx="5011737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>
                <a:solidFill>
                  <a:srgbClr val="000000"/>
                </a:solidFill>
              </a:rPr>
              <a:t>¿Cómo pueden nuestros procesos internos facilitar un nuevo comienzo?</a:t>
            </a:r>
          </a:p>
        </p:txBody>
      </p:sp>
      <p:sp>
        <p:nvSpPr>
          <p:cNvPr id="9" name="CuadroTexto 1"/>
          <p:cNvSpPr txBox="1"/>
          <p:nvPr/>
        </p:nvSpPr>
        <p:spPr>
          <a:xfrm>
            <a:off x="2451100" y="1728788"/>
            <a:ext cx="6019800" cy="1079500"/>
          </a:xfrm>
          <a:prstGeom prst="rect">
            <a:avLst/>
          </a:prstGeom>
          <a:solidFill>
            <a:schemeClr val="bg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>
            <a:defPPr>
              <a:defRPr lang="de-DE"/>
            </a:defPPr>
            <a:lvl1pPr marL="97212" indent="-97212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 sz="1400">
                <a:latin typeface="+mj-lt"/>
                <a:ea typeface="Calibri" charset="0"/>
                <a:cs typeface="Calibri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fontAlgn="auto">
              <a:spcAft>
                <a:spcPts val="0"/>
              </a:spcAft>
              <a:buClr>
                <a:srgbClr val="9B1717"/>
              </a:buClr>
              <a:defRPr/>
            </a:pPr>
            <a:r>
              <a:rPr lang="es-ES_tradnl" b="1" dirty="0">
                <a:solidFill>
                  <a:srgbClr val="000000"/>
                </a:solidFill>
              </a:rPr>
              <a:t>Creer en “nuestras personas”, </a:t>
            </a:r>
            <a:r>
              <a:rPr lang="es-ES_tradnl" b="1" dirty="0" smtClean="0">
                <a:solidFill>
                  <a:srgbClr val="000000"/>
                </a:solidFill>
              </a:rPr>
              <a:t>hermanos </a:t>
            </a:r>
            <a:r>
              <a:rPr lang="es-ES_tradnl" b="1" dirty="0">
                <a:solidFill>
                  <a:srgbClr val="000000"/>
                </a:solidFill>
              </a:rPr>
              <a:t>y </a:t>
            </a:r>
            <a:r>
              <a:rPr lang="es-ES_tradnl" b="1" dirty="0" smtClean="0">
                <a:solidFill>
                  <a:srgbClr val="000000"/>
                </a:solidFill>
              </a:rPr>
              <a:t>laicos </a:t>
            </a:r>
            <a:r>
              <a:rPr lang="es-ES_tradnl" b="1" dirty="0">
                <a:solidFill>
                  <a:srgbClr val="000000"/>
                </a:solidFill>
              </a:rPr>
              <a:t>felices, apasionados y comprometidos con el carisma Marista</a:t>
            </a:r>
            <a:r>
              <a:rPr lang="es-ES_tradnl" dirty="0">
                <a:solidFill>
                  <a:srgbClr val="000000"/>
                </a:solidFill>
              </a:rPr>
              <a:t>. </a:t>
            </a:r>
          </a:p>
          <a:p>
            <a:pPr fontAlgn="auto">
              <a:spcAft>
                <a:spcPts val="0"/>
              </a:spcAft>
              <a:buClr>
                <a:srgbClr val="9B1717"/>
              </a:buClr>
              <a:defRPr/>
            </a:pPr>
            <a:r>
              <a:rPr lang="es-ES_tradnl" dirty="0">
                <a:solidFill>
                  <a:srgbClr val="000000"/>
                </a:solidFill>
              </a:rPr>
              <a:t>Fortalecer la relación de </a:t>
            </a:r>
            <a:r>
              <a:rPr lang="es-ES_tradnl" dirty="0" smtClean="0">
                <a:solidFill>
                  <a:srgbClr val="000000"/>
                </a:solidFill>
              </a:rPr>
              <a:t>hermanos </a:t>
            </a:r>
            <a:r>
              <a:rPr lang="es-ES_tradnl" dirty="0">
                <a:solidFill>
                  <a:srgbClr val="000000"/>
                </a:solidFill>
              </a:rPr>
              <a:t>y </a:t>
            </a:r>
            <a:r>
              <a:rPr lang="es-ES_tradnl" dirty="0" smtClean="0">
                <a:solidFill>
                  <a:srgbClr val="000000"/>
                </a:solidFill>
              </a:rPr>
              <a:t>laicos </a:t>
            </a:r>
            <a:r>
              <a:rPr lang="es-ES_tradnl" dirty="0">
                <a:solidFill>
                  <a:srgbClr val="000000"/>
                </a:solidFill>
              </a:rPr>
              <a:t>basándonos en la </a:t>
            </a:r>
            <a:r>
              <a:rPr lang="es-ES_tradnl" b="1" dirty="0">
                <a:solidFill>
                  <a:srgbClr val="000000"/>
                </a:solidFill>
              </a:rPr>
              <a:t>corresponsabilidad en la </a:t>
            </a:r>
            <a:r>
              <a:rPr lang="es-ES_tradnl" b="1" dirty="0" smtClean="0">
                <a:solidFill>
                  <a:srgbClr val="000000"/>
                </a:solidFill>
              </a:rPr>
              <a:t>Misión</a:t>
            </a:r>
            <a:r>
              <a:rPr lang="es-ES_tradnl" dirty="0">
                <a:solidFill>
                  <a:srgbClr val="000000"/>
                </a:solidFill>
              </a:rPr>
              <a:t>, el espíritu de comunión y de familia.</a:t>
            </a:r>
          </a:p>
        </p:txBody>
      </p:sp>
      <p:sp>
        <p:nvSpPr>
          <p:cNvPr id="10" name="Rectangle 9"/>
          <p:cNvSpPr/>
          <p:nvPr/>
        </p:nvSpPr>
        <p:spPr>
          <a:xfrm>
            <a:off x="179388" y="1800225"/>
            <a:ext cx="2203450" cy="1008063"/>
          </a:xfrm>
          <a:prstGeom prst="rect">
            <a:avLst/>
          </a:prstGeom>
          <a:solidFill>
            <a:srgbClr val="57A766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600" dirty="0">
                <a:solidFill>
                  <a:srgbClr val="FFFFFF"/>
                </a:solidFill>
                <a:ea typeface="Calibri" charset="0"/>
                <a:cs typeface="Calibri" charset="0"/>
              </a:rPr>
              <a:t>Creer </a:t>
            </a:r>
            <a:br>
              <a:rPr lang="es-ES_tradnl" sz="1600" dirty="0">
                <a:solidFill>
                  <a:srgbClr val="FFFFFF"/>
                </a:solidFill>
                <a:ea typeface="Calibri" charset="0"/>
                <a:cs typeface="Calibri" charset="0"/>
              </a:rPr>
            </a:br>
            <a:r>
              <a:rPr lang="es-ES_tradnl" sz="1600" dirty="0">
                <a:solidFill>
                  <a:srgbClr val="FFFFFF"/>
                </a:solidFill>
                <a:ea typeface="Calibri" charset="0"/>
                <a:cs typeface="Calibri" charset="0"/>
              </a:rPr>
              <a:t>en las persona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79388" y="2987675"/>
            <a:ext cx="2203450" cy="1727200"/>
          </a:xfrm>
          <a:prstGeom prst="rect">
            <a:avLst/>
          </a:prstGeom>
          <a:solidFill>
            <a:srgbClr val="57A766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600" dirty="0">
                <a:solidFill>
                  <a:srgbClr val="FFFFFF"/>
                </a:solidFill>
                <a:ea typeface="Calibri" charset="0"/>
                <a:cs typeface="Calibri" charset="0"/>
              </a:rPr>
              <a:t>Ser corresponsables en la Misión</a:t>
            </a:r>
          </a:p>
        </p:txBody>
      </p:sp>
      <p:sp>
        <p:nvSpPr>
          <p:cNvPr id="12" name="Rectángulo 2"/>
          <p:cNvSpPr>
            <a:spLocks noChangeArrowheads="1"/>
          </p:cNvSpPr>
          <p:nvPr/>
        </p:nvSpPr>
        <p:spPr bwMode="auto">
          <a:xfrm>
            <a:off x="2451100" y="2917825"/>
            <a:ext cx="6019800" cy="178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96838" indent="-96838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b="1" dirty="0">
                <a:solidFill>
                  <a:srgbClr val="000000"/>
                </a:solidFill>
              </a:rPr>
              <a:t>Avanzar juntos, hermanos y laicos,</a:t>
            </a:r>
            <a:r>
              <a:rPr lang="es-ES_tradnl" sz="1400" dirty="0">
                <a:solidFill>
                  <a:srgbClr val="000000"/>
                </a:solidFill>
              </a:rPr>
              <a:t> hacia nuevas fronteras de misión donde las necesidades de los niños y los jóvenes son más urgentes.</a:t>
            </a:r>
          </a:p>
          <a:p>
            <a:pPr marL="96838" indent="-96838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dirty="0">
                <a:solidFill>
                  <a:srgbClr val="000000"/>
                </a:solidFill>
              </a:rPr>
              <a:t>Garantizar </a:t>
            </a:r>
            <a:r>
              <a:rPr lang="es-ES_tradnl" sz="1400" b="1" dirty="0">
                <a:solidFill>
                  <a:srgbClr val="000000"/>
                </a:solidFill>
              </a:rPr>
              <a:t>estructuras y espacios </a:t>
            </a:r>
            <a:r>
              <a:rPr lang="es-ES_tradnl" sz="1400" dirty="0">
                <a:solidFill>
                  <a:srgbClr val="000000"/>
                </a:solidFill>
              </a:rPr>
              <a:t>donde sea posible el ejercicio de la corresponsabilidad en la animación, gobernanza y gestión de la Misión Marista.</a:t>
            </a:r>
          </a:p>
          <a:p>
            <a:pPr marL="96838" indent="-96838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dirty="0">
                <a:solidFill>
                  <a:srgbClr val="000000"/>
                </a:solidFill>
              </a:rPr>
              <a:t>Dar </a:t>
            </a:r>
            <a:r>
              <a:rPr lang="es-ES_tradnl" sz="1400" b="1" dirty="0">
                <a:solidFill>
                  <a:srgbClr val="000000"/>
                </a:solidFill>
              </a:rPr>
              <a:t>protagonismo y participación a los niños y jóvenes </a:t>
            </a:r>
            <a:r>
              <a:rPr lang="es-ES_tradnl" sz="1400" dirty="0">
                <a:solidFill>
                  <a:srgbClr val="000000"/>
                </a:solidFill>
              </a:rPr>
              <a:t>en la búsqueda de nuevas formas de evangelización, defensa y promoción de sus derechos.</a:t>
            </a:r>
          </a:p>
        </p:txBody>
      </p:sp>
      <p:sp>
        <p:nvSpPr>
          <p:cNvPr id="13" name="Rectangle 11"/>
          <p:cNvSpPr/>
          <p:nvPr/>
        </p:nvSpPr>
        <p:spPr>
          <a:xfrm>
            <a:off x="179388" y="4933950"/>
            <a:ext cx="2203450" cy="1022350"/>
          </a:xfrm>
          <a:prstGeom prst="rect">
            <a:avLst/>
          </a:prstGeom>
          <a:solidFill>
            <a:srgbClr val="57A766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600" dirty="0">
                <a:solidFill>
                  <a:srgbClr val="FFFFFF"/>
                </a:solidFill>
                <a:ea typeface="Calibri" charset="0"/>
                <a:cs typeface="Calibri" charset="0"/>
              </a:rPr>
              <a:t>Revitalizar la vida comunitaria</a:t>
            </a:r>
          </a:p>
        </p:txBody>
      </p:sp>
      <p:sp>
        <p:nvSpPr>
          <p:cNvPr id="14" name="Rectángulo 17"/>
          <p:cNvSpPr>
            <a:spLocks noChangeArrowheads="1"/>
          </p:cNvSpPr>
          <p:nvPr/>
        </p:nvSpPr>
        <p:spPr bwMode="auto">
          <a:xfrm>
            <a:off x="2451100" y="4933950"/>
            <a:ext cx="6019800" cy="102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96838" indent="-96838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>
                <a:solidFill>
                  <a:srgbClr val="000000"/>
                </a:solidFill>
              </a:rPr>
              <a:t>Fortalecer la </a:t>
            </a:r>
            <a:r>
              <a:rPr lang="es-ES_tradnl" sz="1400" b="1">
                <a:solidFill>
                  <a:srgbClr val="000000"/>
                </a:solidFill>
              </a:rPr>
              <a:t>vida comunitaria </a:t>
            </a:r>
            <a:r>
              <a:rPr lang="es-ES_tradnl" sz="1400">
                <a:solidFill>
                  <a:srgbClr val="000000"/>
                </a:solidFill>
              </a:rPr>
              <a:t>y desarrollar un sentido de </a:t>
            </a:r>
            <a:r>
              <a:rPr lang="es-ES_tradnl" sz="1400" b="1">
                <a:solidFill>
                  <a:srgbClr val="000000"/>
                </a:solidFill>
              </a:rPr>
              <a:t>liderazgo</a:t>
            </a:r>
            <a:r>
              <a:rPr lang="es-ES_tradnl" sz="1400">
                <a:solidFill>
                  <a:srgbClr val="000000"/>
                </a:solidFill>
              </a:rPr>
              <a:t> en el entorno de la comunidad</a:t>
            </a:r>
            <a:r>
              <a:rPr lang="es-ES" sz="1400">
                <a:solidFill>
                  <a:srgbClr val="000000"/>
                </a:solidFill>
              </a:rPr>
              <a:t>.</a:t>
            </a:r>
            <a:endParaRPr lang="es-ES_tradnl" sz="1400">
              <a:solidFill>
                <a:srgbClr val="000000"/>
              </a:solidFill>
            </a:endParaRPr>
          </a:p>
          <a:p>
            <a:pPr marL="96838" indent="-96838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sz="1400">
                <a:solidFill>
                  <a:srgbClr val="000000"/>
                </a:solidFill>
              </a:rPr>
              <a:t>Apoyar </a:t>
            </a:r>
            <a:r>
              <a:rPr lang="es-ES" sz="1400" b="1">
                <a:solidFill>
                  <a:srgbClr val="000000"/>
                </a:solidFill>
              </a:rPr>
              <a:t>nuevas expresiones </a:t>
            </a:r>
            <a:r>
              <a:rPr lang="es-ES" sz="1400">
                <a:solidFill>
                  <a:srgbClr val="000000"/>
                </a:solidFill>
              </a:rPr>
              <a:t>de vida comunitaria.</a:t>
            </a:r>
          </a:p>
          <a:p>
            <a:pPr marL="96838" indent="-96838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>
                <a:solidFill>
                  <a:srgbClr val="000000"/>
                </a:solidFill>
              </a:rPr>
              <a:t>Buscar una respuesta común a un </a:t>
            </a:r>
            <a:r>
              <a:rPr lang="es-ES_tradnl" sz="1400" b="1">
                <a:solidFill>
                  <a:srgbClr val="000000"/>
                </a:solidFill>
              </a:rPr>
              <a:t>liderazgo místico y profético</a:t>
            </a:r>
            <a:r>
              <a:rPr lang="es-ES_tradnl" sz="140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1693653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3638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317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363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4475" y="804863"/>
            <a:ext cx="8640763" cy="332399"/>
          </a:xfrm>
        </p:spPr>
        <p:txBody>
          <a:bodyPr/>
          <a:lstStyle/>
          <a:p>
            <a:pPr eaLnBrk="1" hangingPunct="1"/>
            <a:r>
              <a:rPr lang="es-ES" dirty="0">
                <a:latin typeface="Arial" charset="0"/>
                <a:cs typeface="Arial" charset="0"/>
              </a:rPr>
              <a:t>Horizontes de futuro </a:t>
            </a:r>
            <a:r>
              <a:rPr lang="es-ES" dirty="0" smtClean="0">
                <a:latin typeface="Arial" charset="0"/>
                <a:cs typeface="Arial" charset="0"/>
              </a:rPr>
              <a:t>(2 </a:t>
            </a:r>
            <a:r>
              <a:rPr lang="es-ES" dirty="0">
                <a:latin typeface="Arial" charset="0"/>
                <a:cs typeface="Arial" charset="0"/>
              </a:rPr>
              <a:t>de </a:t>
            </a:r>
            <a:r>
              <a:rPr lang="es-ES" dirty="0" smtClean="0">
                <a:latin typeface="Arial" charset="0"/>
                <a:cs typeface="Arial" charset="0"/>
              </a:rPr>
              <a:t>3)</a:t>
            </a:r>
            <a:endParaRPr lang="en-US" b="1" dirty="0" smtClean="0">
              <a:latin typeface="Arial" charset="0"/>
              <a:cs typeface="Arial" charset="0"/>
            </a:endParaRPr>
          </a:p>
        </p:txBody>
      </p:sp>
      <p:sp>
        <p:nvSpPr>
          <p:cNvPr id="623640" name="RunningHead"/>
          <p:cNvSpPr txBox="1">
            <a:spLocks noChangeArrowheads="1"/>
          </p:cNvSpPr>
          <p:nvPr/>
        </p:nvSpPr>
        <p:spPr bwMode="gray">
          <a:xfrm>
            <a:off x="3843338" y="117475"/>
            <a:ext cx="5011737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>
                <a:solidFill>
                  <a:srgbClr val="000000"/>
                </a:solidFill>
              </a:rPr>
              <a:t>¿Cómo pueden nuestros procesos internos facilitar un nuevo comienzo?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79388" y="1773237"/>
            <a:ext cx="2203450" cy="1912937"/>
          </a:xfrm>
          <a:prstGeom prst="rect">
            <a:avLst/>
          </a:prstGeom>
          <a:solidFill>
            <a:srgbClr val="57A766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600" dirty="0">
                <a:solidFill>
                  <a:srgbClr val="FFFFFF"/>
                </a:solidFill>
                <a:ea typeface="Calibri" charset="0"/>
                <a:cs typeface="Calibri" charset="0"/>
              </a:rPr>
              <a:t>Buscar nuevas expresiones carismáticas</a:t>
            </a:r>
          </a:p>
        </p:txBody>
      </p:sp>
      <p:sp>
        <p:nvSpPr>
          <p:cNvPr id="16" name="Rectángulo 2"/>
          <p:cNvSpPr>
            <a:spLocks noChangeArrowheads="1"/>
          </p:cNvSpPr>
          <p:nvPr/>
        </p:nvSpPr>
        <p:spPr bwMode="auto">
          <a:xfrm>
            <a:off x="2493963" y="1773237"/>
            <a:ext cx="6137275" cy="2042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96838" indent="-96838">
              <a:lnSpc>
                <a:spcPct val="90000"/>
              </a:lnSpc>
              <a:spcBef>
                <a:spcPts val="4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b="1" dirty="0">
                <a:solidFill>
                  <a:srgbClr val="000000"/>
                </a:solidFill>
              </a:rPr>
              <a:t>Avanzar más en la definición</a:t>
            </a:r>
            <a:r>
              <a:rPr lang="es-ES_tradnl" sz="1400" dirty="0">
                <a:solidFill>
                  <a:srgbClr val="000000"/>
                </a:solidFill>
              </a:rPr>
              <a:t> de lo que es un laico Marista.</a:t>
            </a:r>
          </a:p>
          <a:p>
            <a:pPr marL="96838" indent="-96838">
              <a:lnSpc>
                <a:spcPct val="90000"/>
              </a:lnSpc>
              <a:spcBef>
                <a:spcPts val="4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dirty="0">
                <a:solidFill>
                  <a:srgbClr val="000000"/>
                </a:solidFill>
              </a:rPr>
              <a:t>Favorecer la vocación y el compromiso laical definiendo propuestas de </a:t>
            </a:r>
            <a:r>
              <a:rPr lang="es-ES_tradnl" sz="1400" b="1" dirty="0">
                <a:solidFill>
                  <a:srgbClr val="000000"/>
                </a:solidFill>
              </a:rPr>
              <a:t>vinculación y pertenencia </a:t>
            </a:r>
            <a:r>
              <a:rPr lang="es-ES_tradnl" sz="1400" dirty="0">
                <a:solidFill>
                  <a:srgbClr val="000000"/>
                </a:solidFill>
              </a:rPr>
              <a:t>al carisma y al Instituto.</a:t>
            </a:r>
          </a:p>
          <a:p>
            <a:pPr marL="96838" indent="-96838">
              <a:lnSpc>
                <a:spcPct val="90000"/>
              </a:lnSpc>
              <a:spcBef>
                <a:spcPts val="4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dirty="0">
                <a:solidFill>
                  <a:srgbClr val="000000"/>
                </a:solidFill>
              </a:rPr>
              <a:t>Acoger y apoyar </a:t>
            </a:r>
            <a:r>
              <a:rPr lang="es-ES_tradnl" sz="1400" b="1" dirty="0">
                <a:solidFill>
                  <a:srgbClr val="000000"/>
                </a:solidFill>
              </a:rPr>
              <a:t>otras expresiones y compromisos de laicos</a:t>
            </a:r>
            <a:r>
              <a:rPr lang="es-ES_tradnl" sz="1400" dirty="0">
                <a:solidFill>
                  <a:srgbClr val="000000"/>
                </a:solidFill>
              </a:rPr>
              <a:t> que se identifican con la Misión y el carisma Marista.</a:t>
            </a:r>
          </a:p>
          <a:p>
            <a:pPr marL="96838" indent="-96838">
              <a:lnSpc>
                <a:spcPct val="90000"/>
              </a:lnSpc>
              <a:spcBef>
                <a:spcPts val="4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dirty="0">
                <a:solidFill>
                  <a:srgbClr val="000000"/>
                </a:solidFill>
              </a:rPr>
              <a:t>Discernir la especificidad de la </a:t>
            </a:r>
            <a:r>
              <a:rPr lang="es-ES_tradnl" sz="1400" b="1" dirty="0">
                <a:solidFill>
                  <a:srgbClr val="000000"/>
                </a:solidFill>
              </a:rPr>
              <a:t>vocación y misión del Hermano </a:t>
            </a:r>
            <a:r>
              <a:rPr lang="es-ES_tradnl" sz="1400" dirty="0">
                <a:solidFill>
                  <a:srgbClr val="000000"/>
                </a:solidFill>
              </a:rPr>
              <a:t>Marista ante las nuevas realidades.</a:t>
            </a:r>
          </a:p>
          <a:p>
            <a:pPr marL="96838" indent="-96838">
              <a:lnSpc>
                <a:spcPct val="90000"/>
              </a:lnSpc>
              <a:spcBef>
                <a:spcPts val="4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dirty="0">
                <a:solidFill>
                  <a:srgbClr val="000000"/>
                </a:solidFill>
              </a:rPr>
              <a:t>Reconocer las </a:t>
            </a:r>
            <a:r>
              <a:rPr lang="es-ES_tradnl" sz="1400" b="1" dirty="0">
                <a:solidFill>
                  <a:srgbClr val="000000"/>
                </a:solidFill>
              </a:rPr>
              <a:t>distintas expresiones y rostros de personas implicadas en  la Misión </a:t>
            </a:r>
            <a:r>
              <a:rPr lang="es-ES_tradnl" sz="1400" dirty="0">
                <a:solidFill>
                  <a:srgbClr val="000000"/>
                </a:solidFill>
              </a:rPr>
              <a:t>más allá de las obras</a:t>
            </a:r>
            <a:r>
              <a:rPr lang="es-ES_tradnl" sz="1400" b="1" dirty="0">
                <a:solidFill>
                  <a:srgbClr val="000000"/>
                </a:solidFill>
              </a:rPr>
              <a:t> Maristas.</a:t>
            </a:r>
            <a:endParaRPr lang="es-ES_tradnl" sz="1400" dirty="0">
              <a:solidFill>
                <a:srgbClr val="000000"/>
              </a:solidFill>
            </a:endParaRPr>
          </a:p>
        </p:txBody>
      </p:sp>
      <p:sp>
        <p:nvSpPr>
          <p:cNvPr id="17" name="Rectangle 10"/>
          <p:cNvSpPr/>
          <p:nvPr/>
        </p:nvSpPr>
        <p:spPr>
          <a:xfrm>
            <a:off x="179388" y="3905250"/>
            <a:ext cx="2155825" cy="2763838"/>
          </a:xfrm>
          <a:prstGeom prst="rect">
            <a:avLst/>
          </a:prstGeom>
          <a:solidFill>
            <a:srgbClr val="57A766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600" dirty="0">
                <a:solidFill>
                  <a:srgbClr val="FFFFFF"/>
                </a:solidFill>
                <a:ea typeface="Calibri" charset="0"/>
                <a:cs typeface="Calibri" charset="0"/>
              </a:rPr>
              <a:t>Garantizar el acompañamiento personal e institucional</a:t>
            </a:r>
          </a:p>
        </p:txBody>
      </p:sp>
      <p:sp>
        <p:nvSpPr>
          <p:cNvPr id="18" name="Rectángulo 17"/>
          <p:cNvSpPr>
            <a:spLocks noChangeArrowheads="1"/>
          </p:cNvSpPr>
          <p:nvPr/>
        </p:nvSpPr>
        <p:spPr bwMode="auto">
          <a:xfrm>
            <a:off x="2493963" y="3905250"/>
            <a:ext cx="6137275" cy="2763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96838" indent="-96838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dirty="0">
                <a:solidFill>
                  <a:srgbClr val="000000"/>
                </a:solidFill>
              </a:rPr>
              <a:t>Aumentar y mejorar un acompañamiento </a:t>
            </a:r>
            <a:r>
              <a:rPr lang="es-ES_tradnl" sz="1400" b="1" dirty="0">
                <a:solidFill>
                  <a:srgbClr val="000000"/>
                </a:solidFill>
              </a:rPr>
              <a:t>organizado y sistemático </a:t>
            </a:r>
            <a:r>
              <a:rPr lang="es-ES_tradnl" sz="1400" dirty="0">
                <a:solidFill>
                  <a:srgbClr val="000000"/>
                </a:solidFill>
              </a:rPr>
              <a:t>de las personas en su recorrido vital y de misión.</a:t>
            </a:r>
          </a:p>
          <a:p>
            <a:pPr marL="96838" indent="-96838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dirty="0">
                <a:solidFill>
                  <a:srgbClr val="000000"/>
                </a:solidFill>
              </a:rPr>
              <a:t>Proporcionar </a:t>
            </a:r>
            <a:r>
              <a:rPr lang="es-ES_tradnl" sz="1400" b="1" dirty="0">
                <a:solidFill>
                  <a:srgbClr val="000000"/>
                </a:solidFill>
              </a:rPr>
              <a:t>procesos de acompañamiento y cultivo personal </a:t>
            </a:r>
            <a:r>
              <a:rPr lang="es-ES_tradnl" sz="1400" dirty="0">
                <a:solidFill>
                  <a:srgbClr val="000000"/>
                </a:solidFill>
              </a:rPr>
              <a:t>de hermanos y laicos a lo largo de su ciclo de vida</a:t>
            </a:r>
          </a:p>
          <a:p>
            <a:pPr marL="96838" indent="-96838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dirty="0">
                <a:solidFill>
                  <a:srgbClr val="000000"/>
                </a:solidFill>
              </a:rPr>
              <a:t>Establecer </a:t>
            </a:r>
            <a:r>
              <a:rPr lang="es-ES_tradnl" sz="1400" b="1" dirty="0">
                <a:solidFill>
                  <a:srgbClr val="000000"/>
                </a:solidFill>
              </a:rPr>
              <a:t>nuevos procesos </a:t>
            </a:r>
            <a:r>
              <a:rPr lang="es-ES_tradnl" sz="1400" dirty="0">
                <a:solidFill>
                  <a:srgbClr val="000000"/>
                </a:solidFill>
              </a:rPr>
              <a:t>de </a:t>
            </a:r>
            <a:r>
              <a:rPr lang="es-ES_tradnl" sz="1400" dirty="0" smtClean="0">
                <a:solidFill>
                  <a:srgbClr val="000000"/>
                </a:solidFill>
              </a:rPr>
              <a:t>acompañamiento y </a:t>
            </a:r>
            <a:r>
              <a:rPr lang="es-ES_tradnl" sz="1400" dirty="0">
                <a:solidFill>
                  <a:srgbClr val="000000"/>
                </a:solidFill>
              </a:rPr>
              <a:t>de evaluación para asumir estos retos: </a:t>
            </a:r>
          </a:p>
          <a:p>
            <a:pPr marL="742950" lvl="1" indent="-28575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‒"/>
            </a:pPr>
            <a:r>
              <a:rPr lang="es-ES_tradnl" sz="1400" dirty="0">
                <a:solidFill>
                  <a:srgbClr val="000000"/>
                </a:solidFill>
              </a:rPr>
              <a:t>la presencia entre los niños y jóvenes pobres, </a:t>
            </a:r>
          </a:p>
          <a:p>
            <a:pPr marL="742950" lvl="1" indent="-28575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‒"/>
            </a:pPr>
            <a:r>
              <a:rPr lang="es-ES_tradnl" sz="1400" dirty="0">
                <a:solidFill>
                  <a:srgbClr val="000000"/>
                </a:solidFill>
              </a:rPr>
              <a:t>los nuevos métodos en educación, </a:t>
            </a:r>
          </a:p>
          <a:p>
            <a:pPr marL="742950" lvl="1" indent="-28575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‒"/>
            </a:pPr>
            <a:r>
              <a:rPr lang="es-ES_tradnl" sz="1400" dirty="0">
                <a:solidFill>
                  <a:srgbClr val="000000"/>
                </a:solidFill>
              </a:rPr>
              <a:t>la corresponsabilidad y la disponibilidad global, </a:t>
            </a:r>
          </a:p>
          <a:p>
            <a:pPr marL="742950" lvl="1" indent="-28575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‒"/>
            </a:pPr>
            <a:r>
              <a:rPr lang="es-ES_tradnl" sz="1400" dirty="0">
                <a:solidFill>
                  <a:srgbClr val="000000"/>
                </a:solidFill>
              </a:rPr>
              <a:t>la nueva relación y compromiso entre hermanos y laicos y </a:t>
            </a:r>
          </a:p>
          <a:p>
            <a:pPr marL="742950" lvl="1" indent="-28575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‒"/>
            </a:pPr>
            <a:r>
              <a:rPr lang="es-ES_tradnl" sz="1400" dirty="0">
                <a:solidFill>
                  <a:srgbClr val="000000"/>
                </a:solidFill>
              </a:rPr>
              <a:t>el fortalecimiento </a:t>
            </a:r>
            <a:r>
              <a:rPr lang="es-ES_tradnl" sz="1400" dirty="0" smtClean="0">
                <a:solidFill>
                  <a:srgbClr val="000000"/>
                </a:solidFill>
              </a:rPr>
              <a:t>de la </a:t>
            </a:r>
            <a:r>
              <a:rPr lang="es-ES_tradnl" sz="1400" dirty="0">
                <a:solidFill>
                  <a:srgbClr val="000000"/>
                </a:solidFill>
              </a:rPr>
              <a:t>vocación Marista.</a:t>
            </a:r>
            <a:endParaRPr lang="es-ES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33454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3638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420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363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4475" y="804863"/>
            <a:ext cx="8640763" cy="332399"/>
          </a:xfrm>
        </p:spPr>
        <p:txBody>
          <a:bodyPr/>
          <a:lstStyle/>
          <a:p>
            <a:pPr eaLnBrk="1" hangingPunct="1"/>
            <a:r>
              <a:rPr lang="es-ES" dirty="0">
                <a:latin typeface="Arial" charset="0"/>
                <a:cs typeface="Arial" charset="0"/>
              </a:rPr>
              <a:t>Horizontes de futuro </a:t>
            </a:r>
            <a:r>
              <a:rPr lang="es-ES" dirty="0" smtClean="0">
                <a:latin typeface="Arial" charset="0"/>
                <a:cs typeface="Arial" charset="0"/>
              </a:rPr>
              <a:t>(3 </a:t>
            </a:r>
            <a:r>
              <a:rPr lang="es-ES" dirty="0">
                <a:latin typeface="Arial" charset="0"/>
                <a:cs typeface="Arial" charset="0"/>
              </a:rPr>
              <a:t>de </a:t>
            </a:r>
            <a:r>
              <a:rPr lang="es-ES" dirty="0" smtClean="0">
                <a:latin typeface="Arial" charset="0"/>
                <a:cs typeface="Arial" charset="0"/>
              </a:rPr>
              <a:t>3)</a:t>
            </a:r>
            <a:endParaRPr lang="en-US" b="1" dirty="0" smtClean="0">
              <a:latin typeface="Arial" charset="0"/>
              <a:cs typeface="Arial" charset="0"/>
            </a:endParaRPr>
          </a:p>
        </p:txBody>
      </p:sp>
      <p:sp>
        <p:nvSpPr>
          <p:cNvPr id="623640" name="RunningHead"/>
          <p:cNvSpPr txBox="1">
            <a:spLocks noChangeArrowheads="1"/>
          </p:cNvSpPr>
          <p:nvPr/>
        </p:nvSpPr>
        <p:spPr bwMode="gray">
          <a:xfrm>
            <a:off x="3843338" y="117475"/>
            <a:ext cx="5011737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>
                <a:solidFill>
                  <a:srgbClr val="000000"/>
                </a:solidFill>
              </a:rPr>
              <a:t>¿Cómo pueden nuestros procesos internos facilitar un nuevo comienzo?</a:t>
            </a:r>
          </a:p>
        </p:txBody>
      </p:sp>
      <p:sp>
        <p:nvSpPr>
          <p:cNvPr id="9" name="Rectangle 10"/>
          <p:cNvSpPr/>
          <p:nvPr/>
        </p:nvSpPr>
        <p:spPr>
          <a:xfrm>
            <a:off x="179388" y="1788499"/>
            <a:ext cx="2203450" cy="1784517"/>
          </a:xfrm>
          <a:prstGeom prst="rect">
            <a:avLst/>
          </a:prstGeom>
          <a:solidFill>
            <a:srgbClr val="57A766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600" dirty="0">
                <a:solidFill>
                  <a:srgbClr val="FFFFFF"/>
                </a:solidFill>
                <a:ea typeface="Calibri" charset="0"/>
                <a:cs typeface="Calibri" charset="0"/>
              </a:rPr>
              <a:t>Garantizar la formación</a:t>
            </a:r>
          </a:p>
        </p:txBody>
      </p:sp>
      <p:sp>
        <p:nvSpPr>
          <p:cNvPr id="10" name="Rectángulo 17"/>
          <p:cNvSpPr>
            <a:spLocks noChangeArrowheads="1"/>
          </p:cNvSpPr>
          <p:nvPr/>
        </p:nvSpPr>
        <p:spPr bwMode="auto">
          <a:xfrm>
            <a:off x="2484438" y="1732936"/>
            <a:ext cx="6183312" cy="1952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96838" indent="-96838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dirty="0">
                <a:solidFill>
                  <a:srgbClr val="000000"/>
                </a:solidFill>
              </a:rPr>
              <a:t>Elaborar planes de formación orientados al </a:t>
            </a:r>
            <a:r>
              <a:rPr lang="es-ES_tradnl" sz="1400" b="1" dirty="0">
                <a:solidFill>
                  <a:srgbClr val="000000"/>
                </a:solidFill>
              </a:rPr>
              <a:t>compromiso personal </a:t>
            </a:r>
            <a:r>
              <a:rPr lang="es-ES_tradnl" sz="1400" dirty="0">
                <a:solidFill>
                  <a:srgbClr val="000000"/>
                </a:solidFill>
              </a:rPr>
              <a:t>con la Misión, el carisma y </a:t>
            </a:r>
            <a:r>
              <a:rPr lang="es-ES_tradnl" sz="1400" dirty="0" smtClean="0">
                <a:solidFill>
                  <a:srgbClr val="000000"/>
                </a:solidFill>
              </a:rPr>
              <a:t>el Instituto, </a:t>
            </a:r>
            <a:r>
              <a:rPr lang="es-ES_tradnl" sz="1400" dirty="0">
                <a:solidFill>
                  <a:srgbClr val="000000"/>
                </a:solidFill>
              </a:rPr>
              <a:t>y a la implicación de cada uno en su propio crecimiento</a:t>
            </a:r>
            <a:r>
              <a:rPr lang="es-ES" sz="1400" dirty="0">
                <a:solidFill>
                  <a:srgbClr val="000000"/>
                </a:solidFill>
              </a:rPr>
              <a:t>.</a:t>
            </a:r>
          </a:p>
          <a:p>
            <a:pPr marL="96838" indent="-96838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dirty="0">
                <a:solidFill>
                  <a:srgbClr val="000000"/>
                </a:solidFill>
              </a:rPr>
              <a:t>Facilitar la participación de todos en un </a:t>
            </a:r>
            <a:r>
              <a:rPr lang="es-ES_tradnl" sz="1400" b="1" dirty="0">
                <a:solidFill>
                  <a:srgbClr val="000000"/>
                </a:solidFill>
              </a:rPr>
              <a:t>plan de formación permanente.</a:t>
            </a:r>
            <a:endParaRPr lang="es-ES_tradnl" sz="1400" dirty="0">
              <a:solidFill>
                <a:srgbClr val="000000"/>
              </a:solidFill>
            </a:endParaRPr>
          </a:p>
          <a:p>
            <a:pPr marL="96838" indent="-96838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dirty="0">
                <a:solidFill>
                  <a:srgbClr val="000000"/>
                </a:solidFill>
              </a:rPr>
              <a:t>Definir </a:t>
            </a:r>
            <a:r>
              <a:rPr lang="es-ES_tradnl" sz="1400" b="1" dirty="0">
                <a:solidFill>
                  <a:srgbClr val="000000"/>
                </a:solidFill>
              </a:rPr>
              <a:t>nuevos procesos de crecimiento carismático y vocacional Marista </a:t>
            </a:r>
            <a:r>
              <a:rPr lang="es-ES_tradnl" sz="1400" dirty="0">
                <a:solidFill>
                  <a:srgbClr val="000000"/>
                </a:solidFill>
              </a:rPr>
              <a:t>para hermanos y laicos promoviendo </a:t>
            </a:r>
            <a:r>
              <a:rPr lang="es-ES_tradnl" sz="1400" b="1" dirty="0">
                <a:solidFill>
                  <a:srgbClr val="000000"/>
                </a:solidFill>
              </a:rPr>
              <a:t>programas de formación conjunta.</a:t>
            </a:r>
          </a:p>
          <a:p>
            <a:pPr marL="96838" indent="-96838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dirty="0">
                <a:solidFill>
                  <a:srgbClr val="000000"/>
                </a:solidFill>
              </a:rPr>
              <a:t>Favorecer el crecimiento y el </a:t>
            </a:r>
            <a:r>
              <a:rPr lang="es-ES_tradnl" sz="1400" b="1" dirty="0">
                <a:solidFill>
                  <a:srgbClr val="000000"/>
                </a:solidFill>
              </a:rPr>
              <a:t>liderazgo místico y profético</a:t>
            </a:r>
            <a:r>
              <a:rPr lang="es-ES_tradnl" sz="1400" dirty="0">
                <a:solidFill>
                  <a:srgbClr val="000000"/>
                </a:solidFill>
              </a:rPr>
              <a:t> a nivel personal y comunitario de hermanos y laicos.</a:t>
            </a:r>
            <a:r>
              <a:rPr lang="es-ES" sz="14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1" name="Rectángulo 2"/>
          <p:cNvSpPr>
            <a:spLocks noChangeArrowheads="1"/>
          </p:cNvSpPr>
          <p:nvPr/>
        </p:nvSpPr>
        <p:spPr bwMode="auto">
          <a:xfrm>
            <a:off x="2484438" y="3717032"/>
            <a:ext cx="6183312" cy="3037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96838" indent="-96838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dirty="0">
                <a:solidFill>
                  <a:srgbClr val="000000"/>
                </a:solidFill>
              </a:rPr>
              <a:t>Avanzar en la </a:t>
            </a:r>
            <a:r>
              <a:rPr lang="es-ES_tradnl" sz="1400" b="1" dirty="0">
                <a:solidFill>
                  <a:srgbClr val="000000"/>
                </a:solidFill>
              </a:rPr>
              <a:t>gestión profesional </a:t>
            </a:r>
            <a:r>
              <a:rPr lang="es-ES_tradnl" sz="1400" dirty="0">
                <a:solidFill>
                  <a:srgbClr val="000000"/>
                </a:solidFill>
              </a:rPr>
              <a:t>de los que colaboran en la misión abordando:</a:t>
            </a:r>
          </a:p>
          <a:p>
            <a:pPr marL="270934" lvl="1" indent="-157520" algn="just">
              <a:lnSpc>
                <a:spcPct val="9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s-ES_tradnl" sz="1400" dirty="0">
                <a:solidFill>
                  <a:srgbClr val="000000"/>
                </a:solidFill>
              </a:rPr>
              <a:t>la proyección de recursos humanos basada en las necesidades detectadas, </a:t>
            </a:r>
          </a:p>
          <a:p>
            <a:pPr marL="270934" lvl="1" indent="-157520" algn="just">
              <a:lnSpc>
                <a:spcPct val="9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s-ES_tradnl" sz="1400" dirty="0">
                <a:solidFill>
                  <a:srgbClr val="000000"/>
                </a:solidFill>
              </a:rPr>
              <a:t>promoviendo la formación Marista (en valores humanos y cristianos) para las personas que desempeñen funciones clave, </a:t>
            </a:r>
          </a:p>
          <a:p>
            <a:pPr marL="270934" lvl="1" indent="-157520" algn="just">
              <a:lnSpc>
                <a:spcPct val="90000"/>
              </a:lnSpc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s-ES_tradnl" sz="1400" dirty="0">
                <a:solidFill>
                  <a:srgbClr val="000000"/>
                </a:solidFill>
              </a:rPr>
              <a:t>diseñando un plan de formación de educadores en pedagogía Marista, y definiendo un código de conducta.</a:t>
            </a:r>
            <a:r>
              <a:rPr lang="es-ES" sz="1400" dirty="0">
                <a:solidFill>
                  <a:srgbClr val="000000"/>
                </a:solidFill>
              </a:rPr>
              <a:t> </a:t>
            </a:r>
          </a:p>
          <a:p>
            <a:pPr marL="96838" indent="-96838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dirty="0">
                <a:solidFill>
                  <a:srgbClr val="000000"/>
                </a:solidFill>
              </a:rPr>
              <a:t>Diseñar </a:t>
            </a:r>
            <a:r>
              <a:rPr lang="es-ES_tradnl" sz="1400" b="1" dirty="0">
                <a:solidFill>
                  <a:srgbClr val="000000"/>
                </a:solidFill>
              </a:rPr>
              <a:t>estructuras homogéneas de organización </a:t>
            </a:r>
            <a:r>
              <a:rPr lang="es-ES_tradnl" sz="1400" dirty="0">
                <a:solidFill>
                  <a:srgbClr val="000000"/>
                </a:solidFill>
              </a:rPr>
              <a:t>de modo que las personas responsables de la misma función en cada lugar del Instituto puedan trabajar de manera coherente</a:t>
            </a:r>
            <a:r>
              <a:rPr lang="es-ES" sz="1400" dirty="0">
                <a:solidFill>
                  <a:srgbClr val="000000"/>
                </a:solidFill>
              </a:rPr>
              <a:t>.</a:t>
            </a:r>
          </a:p>
          <a:p>
            <a:pPr marL="96838" indent="-96838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dirty="0">
                <a:solidFill>
                  <a:srgbClr val="000000"/>
                </a:solidFill>
              </a:rPr>
              <a:t>Establecer algunas prácticas o mecanismos de </a:t>
            </a:r>
            <a:r>
              <a:rPr lang="es-ES_tradnl" sz="1400" b="1" dirty="0">
                <a:solidFill>
                  <a:srgbClr val="000000"/>
                </a:solidFill>
              </a:rPr>
              <a:t>reconocimiento</a:t>
            </a:r>
            <a:r>
              <a:rPr lang="es-ES_tradnl" sz="1400" dirty="0">
                <a:solidFill>
                  <a:srgbClr val="000000"/>
                </a:solidFill>
              </a:rPr>
              <a:t> (social, emocional, profesional, económico…).</a:t>
            </a:r>
          </a:p>
          <a:p>
            <a:pPr marL="96838" indent="-96838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dirty="0">
                <a:solidFill>
                  <a:srgbClr val="000000"/>
                </a:solidFill>
              </a:rPr>
              <a:t>Elaborar un </a:t>
            </a:r>
            <a:r>
              <a:rPr lang="es-ES_tradnl" sz="1400" b="1" dirty="0">
                <a:solidFill>
                  <a:srgbClr val="000000"/>
                </a:solidFill>
              </a:rPr>
              <a:t>marco institucional </a:t>
            </a:r>
            <a:r>
              <a:rPr lang="es-ES_tradnl" sz="1400" dirty="0">
                <a:solidFill>
                  <a:srgbClr val="000000"/>
                </a:solidFill>
              </a:rPr>
              <a:t>para la gestión del talento humano.</a:t>
            </a:r>
            <a:endParaRPr lang="es-ES" sz="1400" dirty="0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79388" y="3717032"/>
            <a:ext cx="2203450" cy="3003550"/>
          </a:xfrm>
          <a:prstGeom prst="rect">
            <a:avLst/>
          </a:prstGeom>
          <a:solidFill>
            <a:srgbClr val="57A766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600" dirty="0">
                <a:solidFill>
                  <a:srgbClr val="FFFFFF"/>
                </a:solidFill>
                <a:ea typeface="Calibri" charset="0"/>
                <a:cs typeface="Calibri" charset="0"/>
              </a:rPr>
              <a:t>Gestionar</a:t>
            </a:r>
            <a:br>
              <a:rPr lang="es-ES_tradnl" sz="1600" dirty="0">
                <a:solidFill>
                  <a:srgbClr val="FFFFFF"/>
                </a:solidFill>
                <a:ea typeface="Calibri" charset="0"/>
                <a:cs typeface="Calibri" charset="0"/>
              </a:rPr>
            </a:br>
            <a:r>
              <a:rPr lang="es-ES_tradnl" sz="1600" dirty="0">
                <a:solidFill>
                  <a:srgbClr val="FFFFFF"/>
                </a:solidFill>
                <a:ea typeface="Calibri" charset="0"/>
                <a:cs typeface="Calibri" charset="0"/>
              </a:rPr>
              <a:t> el talento </a:t>
            </a:r>
            <a:r>
              <a:rPr lang="es-ES_tradnl" sz="1600" dirty="0" smtClean="0">
                <a:solidFill>
                  <a:srgbClr val="FFFFFF"/>
                </a:solidFill>
                <a:ea typeface="Calibri" charset="0"/>
                <a:cs typeface="Calibri" charset="0"/>
              </a:rPr>
              <a:t>de las personas</a:t>
            </a:r>
            <a:endParaRPr lang="es-ES_tradnl" sz="1600" dirty="0">
              <a:solidFill>
                <a:srgbClr val="FFFFFF"/>
              </a:solidFill>
              <a:ea typeface="Calibri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214779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2401" name="Text Placeholder 8"/>
          <p:cNvSpPr>
            <a:spLocks noGrp="1"/>
          </p:cNvSpPr>
          <p:nvPr>
            <p:ph type="body" sz="quarter" idx="10"/>
            <p:custDataLst>
              <p:tags r:id="rId1"/>
            </p:custDataLst>
          </p:nvPr>
        </p:nvSpPr>
        <p:spPr>
          <a:xfrm>
            <a:off x="244475" y="2157413"/>
            <a:ext cx="8647113" cy="3473450"/>
          </a:xfrm>
        </p:spPr>
        <p:txBody>
          <a:bodyPr/>
          <a:lstStyle/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Descripción del proyecto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Principios y directrices clave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s person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b="1" dirty="0" smtClean="0">
                <a:latin typeface="Arial" charset="0"/>
                <a:cs typeface="Arial" charset="0"/>
              </a:rPr>
              <a:t>Nuestra Misión – estructur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Estatus canónico y civil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 Misión – procesos y herramient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Modelo de financiación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Hoja de ruta</a:t>
            </a:r>
          </a:p>
        </p:txBody>
      </p:sp>
      <p:sp>
        <p:nvSpPr>
          <p:cNvPr id="330240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44475" y="1627188"/>
            <a:ext cx="8647113" cy="338137"/>
          </a:xfrm>
        </p:spPr>
        <p:txBody>
          <a:bodyPr/>
          <a:lstStyle/>
          <a:p>
            <a:pPr eaLnBrk="1" hangingPunct="1"/>
            <a:r>
              <a:rPr lang="es-ES_tradnl" smtClean="0">
                <a:latin typeface="Arial" charset="0"/>
                <a:cs typeface="Arial" charset="0"/>
              </a:rPr>
              <a:t>Índice</a:t>
            </a:r>
            <a:endParaRPr lang="en-US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1350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816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1351" name="Rectangle 5"/>
          <p:cNvSpPr txBox="1">
            <a:spLocks noChangeArrowheads="1"/>
          </p:cNvSpPr>
          <p:nvPr/>
        </p:nvSpPr>
        <p:spPr bwMode="auto">
          <a:xfrm>
            <a:off x="6983413" y="139700"/>
            <a:ext cx="1909762" cy="16668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n-GB" sz="1200">
                <a:solidFill>
                  <a:srgbClr val="000000"/>
                </a:solidFill>
              </a:rPr>
              <a:t>Overview and key principles</a:t>
            </a:r>
          </a:p>
        </p:txBody>
      </p:sp>
      <p:sp>
        <p:nvSpPr>
          <p:cNvPr id="611352" name="TextBox 56"/>
          <p:cNvSpPr txBox="1">
            <a:spLocks noChangeArrowheads="1"/>
          </p:cNvSpPr>
          <p:nvPr/>
        </p:nvSpPr>
        <p:spPr bwMode="gray">
          <a:xfrm>
            <a:off x="196850" y="1773238"/>
            <a:ext cx="6842125" cy="254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4400">
              <a:lnSpc>
                <a:spcPct val="90000"/>
              </a:lnSpc>
            </a:pPr>
            <a:r>
              <a:rPr lang="es-ES_tradnl" b="1">
                <a:solidFill>
                  <a:srgbClr val="000000"/>
                </a:solidFill>
              </a:rPr>
              <a:t>Visión</a:t>
            </a:r>
          </a:p>
        </p:txBody>
      </p:sp>
      <p:sp>
        <p:nvSpPr>
          <p:cNvPr id="611353" name="Rectángulo 46"/>
          <p:cNvSpPr>
            <a:spLocks noChangeArrowheads="1"/>
          </p:cNvSpPr>
          <p:nvPr/>
        </p:nvSpPr>
        <p:spPr bwMode="auto">
          <a:xfrm>
            <a:off x="1331913" y="1968500"/>
            <a:ext cx="6556375" cy="701675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 defTabSz="914400">
              <a:lnSpc>
                <a:spcPct val="90000"/>
              </a:lnSpc>
            </a:pPr>
            <a:r>
              <a:rPr lang="es-ES_tradnl" sz="1600" b="1">
                <a:solidFill>
                  <a:srgbClr val="FFFFFF"/>
                </a:solidFill>
              </a:rPr>
              <a:t>Laicos y Hermanos, místicos y profetas en comunión,</a:t>
            </a:r>
          </a:p>
          <a:p>
            <a:pPr algn="ctr" defTabSz="914400">
              <a:lnSpc>
                <a:spcPct val="90000"/>
              </a:lnSpc>
            </a:pPr>
            <a:r>
              <a:rPr lang="es-ES_tradnl" sz="1600" b="1">
                <a:solidFill>
                  <a:srgbClr val="FFFFFF"/>
                </a:solidFill>
              </a:rPr>
              <a:t>  con significativa presencia evangelizadora</a:t>
            </a:r>
          </a:p>
          <a:p>
            <a:pPr algn="ctr" defTabSz="914400">
              <a:lnSpc>
                <a:spcPct val="90000"/>
              </a:lnSpc>
            </a:pPr>
            <a:r>
              <a:rPr lang="es-ES_tradnl" sz="1600" b="1">
                <a:solidFill>
                  <a:srgbClr val="FFFFFF"/>
                </a:solidFill>
              </a:rPr>
              <a:t> entre los niños y jóvenes pobres</a:t>
            </a:r>
          </a:p>
        </p:txBody>
      </p:sp>
      <p:sp>
        <p:nvSpPr>
          <p:cNvPr id="611354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4475" y="804863"/>
            <a:ext cx="8640763" cy="665162"/>
          </a:xfrm>
        </p:spPr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Nuestro nuevo comienzo empieza desde nuestra Visión y necesita involucrar a nuestras </a:t>
            </a:r>
            <a:r>
              <a:rPr lang="es-ES_tradnl" b="1" dirty="0" smtClean="0">
                <a:latin typeface="Arial" charset="0"/>
                <a:cs typeface="Arial" charset="0"/>
              </a:rPr>
              <a:t>personas</a:t>
            </a:r>
            <a:r>
              <a:rPr lang="es-ES_tradnl" dirty="0" smtClean="0">
                <a:latin typeface="Arial" charset="0"/>
                <a:cs typeface="Arial" charset="0"/>
              </a:rPr>
              <a:t> y nuestra </a:t>
            </a:r>
            <a:r>
              <a:rPr lang="es-ES_tradnl" b="1" dirty="0" smtClean="0">
                <a:latin typeface="Arial" charset="0"/>
                <a:cs typeface="Arial" charset="0"/>
              </a:rPr>
              <a:t>Misión</a:t>
            </a:r>
          </a:p>
        </p:txBody>
      </p:sp>
      <p:sp>
        <p:nvSpPr>
          <p:cNvPr id="74" name="Line 6"/>
          <p:cNvSpPr>
            <a:spLocks noChangeShapeType="1"/>
          </p:cNvSpPr>
          <p:nvPr/>
        </p:nvSpPr>
        <p:spPr bwMode="gray">
          <a:xfrm flipH="1" flipV="1">
            <a:off x="4575175" y="2913063"/>
            <a:ext cx="0" cy="2522537"/>
          </a:xfrm>
          <a:prstGeom prst="line">
            <a:avLst/>
          </a:prstGeom>
          <a:noFill/>
          <a:ln w="28575">
            <a:solidFill>
              <a:schemeClr val="accent3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_tradnl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Line 10"/>
          <p:cNvSpPr>
            <a:spLocks noChangeShapeType="1"/>
          </p:cNvSpPr>
          <p:nvPr/>
        </p:nvSpPr>
        <p:spPr bwMode="gray">
          <a:xfrm flipV="1">
            <a:off x="344488" y="2913063"/>
            <a:ext cx="4227512" cy="1011237"/>
          </a:xfrm>
          <a:prstGeom prst="line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_tradnl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11357" name="Group 12"/>
          <p:cNvGrpSpPr>
            <a:grpSpLocks/>
          </p:cNvGrpSpPr>
          <p:nvPr/>
        </p:nvGrpSpPr>
        <p:grpSpPr bwMode="auto">
          <a:xfrm>
            <a:off x="260350" y="2913063"/>
            <a:ext cx="8626475" cy="354012"/>
            <a:chOff x="468" y="1897"/>
            <a:chExt cx="5384" cy="234"/>
          </a:xfrm>
        </p:grpSpPr>
        <p:sp>
          <p:nvSpPr>
            <p:cNvPr id="77" name="Line 13"/>
            <p:cNvSpPr>
              <a:spLocks noChangeShapeType="1"/>
            </p:cNvSpPr>
            <p:nvPr/>
          </p:nvSpPr>
          <p:spPr bwMode="gray">
            <a:xfrm flipV="1">
              <a:off x="468" y="1897"/>
              <a:ext cx="2691" cy="234"/>
            </a:xfrm>
            <a:prstGeom prst="line">
              <a:avLst/>
            </a:prstGeom>
            <a:noFill/>
            <a:ln w="1270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1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8" name="Line 14"/>
            <p:cNvSpPr>
              <a:spLocks noChangeShapeType="1"/>
            </p:cNvSpPr>
            <p:nvPr/>
          </p:nvSpPr>
          <p:spPr bwMode="gray">
            <a:xfrm flipH="1" flipV="1">
              <a:off x="3161" y="1897"/>
              <a:ext cx="2691" cy="234"/>
            </a:xfrm>
            <a:prstGeom prst="line">
              <a:avLst/>
            </a:prstGeom>
            <a:noFill/>
            <a:ln w="1270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1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11358" name="Group 15"/>
          <p:cNvGrpSpPr>
            <a:grpSpLocks/>
          </p:cNvGrpSpPr>
          <p:nvPr/>
        </p:nvGrpSpPr>
        <p:grpSpPr bwMode="auto">
          <a:xfrm>
            <a:off x="260350" y="2913063"/>
            <a:ext cx="8626475" cy="101600"/>
            <a:chOff x="482" y="1897"/>
            <a:chExt cx="5356" cy="63"/>
          </a:xfrm>
        </p:grpSpPr>
        <p:sp>
          <p:nvSpPr>
            <p:cNvPr id="80" name="Line 17"/>
            <p:cNvSpPr>
              <a:spLocks noChangeShapeType="1"/>
            </p:cNvSpPr>
            <p:nvPr/>
          </p:nvSpPr>
          <p:spPr bwMode="gray">
            <a:xfrm flipH="1" flipV="1">
              <a:off x="3161" y="1897"/>
              <a:ext cx="2677" cy="63"/>
            </a:xfrm>
            <a:prstGeom prst="line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1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1" name="Line 16"/>
            <p:cNvSpPr>
              <a:spLocks noChangeShapeType="1"/>
            </p:cNvSpPr>
            <p:nvPr/>
          </p:nvSpPr>
          <p:spPr bwMode="gray">
            <a:xfrm flipV="1">
              <a:off x="482" y="1897"/>
              <a:ext cx="2677" cy="63"/>
            </a:xfrm>
            <a:prstGeom prst="line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algn="ctr"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1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82" name="Line 18"/>
          <p:cNvSpPr>
            <a:spLocks noChangeShapeType="1"/>
          </p:cNvSpPr>
          <p:nvPr/>
        </p:nvSpPr>
        <p:spPr bwMode="gray">
          <a:xfrm>
            <a:off x="260350" y="2906713"/>
            <a:ext cx="8626475" cy="0"/>
          </a:xfrm>
          <a:prstGeom prst="line">
            <a:avLst/>
          </a:prstGeom>
          <a:noFill/>
          <a:ln w="6350">
            <a:solidFill>
              <a:schemeClr val="accent3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_tradnl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3" name="Arc 3"/>
          <p:cNvSpPr>
            <a:spLocks/>
          </p:cNvSpPr>
          <p:nvPr/>
        </p:nvSpPr>
        <p:spPr bwMode="gray">
          <a:xfrm>
            <a:off x="341313" y="3019425"/>
            <a:ext cx="8475662" cy="1073150"/>
          </a:xfrm>
          <a:custGeom>
            <a:avLst/>
            <a:gdLst>
              <a:gd name="G0" fmla="+- 21600 0 0"/>
              <a:gd name="G1" fmla="+- 726 0 0"/>
              <a:gd name="G2" fmla="+- 21600 0 0"/>
              <a:gd name="T0" fmla="*/ 43194 w 43200"/>
              <a:gd name="T1" fmla="*/ 233 h 22326"/>
              <a:gd name="T2" fmla="*/ 12 w 43200"/>
              <a:gd name="T3" fmla="*/ 0 h 22326"/>
              <a:gd name="T4" fmla="*/ 21600 w 43200"/>
              <a:gd name="T5" fmla="*/ 726 h 22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3200" h="22326" fill="none" extrusionOk="0">
                <a:moveTo>
                  <a:pt x="43194" y="232"/>
                </a:moveTo>
                <a:cubicBezTo>
                  <a:pt x="43198" y="397"/>
                  <a:pt x="43200" y="561"/>
                  <a:pt x="43200" y="726"/>
                </a:cubicBezTo>
                <a:cubicBezTo>
                  <a:pt x="43200" y="12655"/>
                  <a:pt x="33529" y="22326"/>
                  <a:pt x="21600" y="22326"/>
                </a:cubicBezTo>
                <a:cubicBezTo>
                  <a:pt x="9670" y="22326"/>
                  <a:pt x="0" y="12655"/>
                  <a:pt x="0" y="726"/>
                </a:cubicBezTo>
                <a:cubicBezTo>
                  <a:pt x="-1" y="483"/>
                  <a:pt x="4" y="241"/>
                  <a:pt x="12" y="0"/>
                </a:cubicBezTo>
              </a:path>
              <a:path w="43200" h="22326" stroke="0" extrusionOk="0">
                <a:moveTo>
                  <a:pt x="43194" y="232"/>
                </a:moveTo>
                <a:cubicBezTo>
                  <a:pt x="43198" y="397"/>
                  <a:pt x="43200" y="561"/>
                  <a:pt x="43200" y="726"/>
                </a:cubicBezTo>
                <a:cubicBezTo>
                  <a:pt x="43200" y="12655"/>
                  <a:pt x="33529" y="22326"/>
                  <a:pt x="21600" y="22326"/>
                </a:cubicBezTo>
                <a:cubicBezTo>
                  <a:pt x="9670" y="22326"/>
                  <a:pt x="0" y="12655"/>
                  <a:pt x="0" y="726"/>
                </a:cubicBezTo>
                <a:cubicBezTo>
                  <a:pt x="-1" y="483"/>
                  <a:pt x="4" y="241"/>
                  <a:pt x="12" y="0"/>
                </a:cubicBezTo>
                <a:lnTo>
                  <a:pt x="21600" y="726"/>
                </a:lnTo>
                <a:close/>
              </a:path>
            </a:pathLst>
          </a:custGeom>
          <a:noFill/>
          <a:ln w="9525">
            <a:solidFill>
              <a:schemeClr val="accent3"/>
            </a:solidFill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Arc 4"/>
          <p:cNvSpPr>
            <a:spLocks/>
          </p:cNvSpPr>
          <p:nvPr/>
        </p:nvSpPr>
        <p:spPr bwMode="gray">
          <a:xfrm>
            <a:off x="2803525" y="3022600"/>
            <a:ext cx="3546475" cy="336550"/>
          </a:xfrm>
          <a:custGeom>
            <a:avLst/>
            <a:gdLst>
              <a:gd name="G0" fmla="+- 21600 0 0"/>
              <a:gd name="G1" fmla="+- 0 0 0"/>
              <a:gd name="G2" fmla="+- 21600 0 0"/>
              <a:gd name="T0" fmla="*/ 43200 w 43200"/>
              <a:gd name="T1" fmla="*/ 0 h 21600"/>
              <a:gd name="T2" fmla="*/ 0 w 43200"/>
              <a:gd name="T3" fmla="*/ 0 h 21600"/>
              <a:gd name="T4" fmla="*/ 21600 w 43200"/>
              <a:gd name="T5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3200" h="21600" fill="none" extrusionOk="0">
                <a:moveTo>
                  <a:pt x="43200" y="0"/>
                </a:moveTo>
                <a:cubicBezTo>
                  <a:pt x="43200" y="11929"/>
                  <a:pt x="33529" y="21600"/>
                  <a:pt x="21600" y="21600"/>
                </a:cubicBezTo>
                <a:cubicBezTo>
                  <a:pt x="9670" y="21600"/>
                  <a:pt x="0" y="11929"/>
                  <a:pt x="0" y="0"/>
                </a:cubicBezTo>
              </a:path>
              <a:path w="43200" h="21600" stroke="0" extrusionOk="0">
                <a:moveTo>
                  <a:pt x="43200" y="0"/>
                </a:moveTo>
                <a:cubicBezTo>
                  <a:pt x="43200" y="11929"/>
                  <a:pt x="33529" y="21600"/>
                  <a:pt x="21600" y="21600"/>
                </a:cubicBezTo>
                <a:cubicBezTo>
                  <a:pt x="9670" y="21600"/>
                  <a:pt x="0" y="11929"/>
                  <a:pt x="0" y="0"/>
                </a:cubicBezTo>
                <a:lnTo>
                  <a:pt x="21600" y="0"/>
                </a:lnTo>
                <a:close/>
              </a:path>
            </a:pathLst>
          </a:custGeom>
          <a:noFill/>
          <a:ln w="6350">
            <a:solidFill>
              <a:schemeClr val="accent3"/>
            </a:solidFill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_tradnl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5" name="Line 10"/>
          <p:cNvSpPr>
            <a:spLocks noChangeShapeType="1"/>
          </p:cNvSpPr>
          <p:nvPr/>
        </p:nvSpPr>
        <p:spPr bwMode="gray">
          <a:xfrm flipH="1" flipV="1">
            <a:off x="4572000" y="2913063"/>
            <a:ext cx="4227513" cy="1011237"/>
          </a:xfrm>
          <a:prstGeom prst="line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ES_tradnl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1363" name="TextBox 30"/>
          <p:cNvSpPr txBox="1">
            <a:spLocks noChangeArrowheads="1"/>
          </p:cNvSpPr>
          <p:nvPr/>
        </p:nvSpPr>
        <p:spPr bwMode="gray">
          <a:xfrm>
            <a:off x="142875" y="4100513"/>
            <a:ext cx="6842125" cy="254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4400">
              <a:lnSpc>
                <a:spcPct val="90000"/>
              </a:lnSpc>
            </a:pPr>
            <a:r>
              <a:rPr lang="es-ES_tradnl" b="1">
                <a:solidFill>
                  <a:srgbClr val="000000"/>
                </a:solidFill>
              </a:rPr>
              <a:t>Un nuevo comienzo</a:t>
            </a:r>
          </a:p>
        </p:txBody>
      </p:sp>
      <p:sp>
        <p:nvSpPr>
          <p:cNvPr id="87" name="Rectangle 4"/>
          <p:cNvSpPr>
            <a:spLocks noChangeArrowheads="1"/>
          </p:cNvSpPr>
          <p:nvPr/>
        </p:nvSpPr>
        <p:spPr bwMode="gray">
          <a:xfrm>
            <a:off x="447675" y="5435600"/>
            <a:ext cx="3763963" cy="12668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6350">
            <a:noFill/>
            <a:miter lim="800000"/>
            <a:headEnd/>
            <a:tailEnd/>
          </a:ln>
          <a:extLst/>
        </p:spPr>
        <p:txBody>
          <a:bodyPr lIns="72000" tIns="72000" rIns="72000" bIns="36000"/>
          <a:lstStyle/>
          <a:p>
            <a:pPr marL="97212" indent="-97212" defTabSz="914400" eaLnBrk="0" fontAlgn="auto" hangingPunct="0">
              <a:lnSpc>
                <a:spcPct val="7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latin typeface="Arial"/>
                <a:cs typeface="Arial"/>
              </a:rPr>
              <a:t>¿Cómo podemos mejorar nuestra respuesta vocacional? </a:t>
            </a:r>
          </a:p>
          <a:p>
            <a:pPr marL="97212" indent="-97212" defTabSz="914400" eaLnBrk="0" fontAlgn="auto" hangingPunct="0">
              <a:lnSpc>
                <a:spcPct val="7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latin typeface="Arial"/>
                <a:cs typeface="Arial"/>
              </a:rPr>
              <a:t>¿Estamos desarrollando adecuadamente a nuestras personas? </a:t>
            </a:r>
          </a:p>
          <a:p>
            <a:pPr marL="97212" indent="-97212" defTabSz="914400" eaLnBrk="0" fontAlgn="auto" hangingPunct="0">
              <a:lnSpc>
                <a:spcPct val="7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latin typeface="Arial"/>
                <a:cs typeface="Arial"/>
              </a:rPr>
              <a:t>¿Cómo pueden nuestros procesos internos facilitar un nuevo comienzo? </a:t>
            </a:r>
          </a:p>
          <a:p>
            <a:pPr marL="97212" indent="-97212" defTabSz="914400" eaLnBrk="0" fontAlgn="auto" hangingPunct="0">
              <a:lnSpc>
                <a:spcPct val="7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latin typeface="Arial"/>
                <a:cs typeface="Arial"/>
              </a:rPr>
              <a:t>¿Cómo podemos incrementar la participación de los laicos?</a:t>
            </a:r>
          </a:p>
        </p:txBody>
      </p:sp>
      <p:sp>
        <p:nvSpPr>
          <p:cNvPr id="611365" name="Text Box 3"/>
          <p:cNvSpPr txBox="1">
            <a:spLocks noChangeArrowheads="1"/>
          </p:cNvSpPr>
          <p:nvPr/>
        </p:nvSpPr>
        <p:spPr bwMode="gray">
          <a:xfrm>
            <a:off x="431800" y="4460875"/>
            <a:ext cx="3779838" cy="996950"/>
          </a:xfrm>
          <a:prstGeom prst="rect">
            <a:avLst/>
          </a:prstGeom>
          <a:solidFill>
            <a:schemeClr val="tx2"/>
          </a:solidFill>
          <a:ln w="6350">
            <a:noFill/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 defTabSz="914400">
              <a:lnSpc>
                <a:spcPct val="90000"/>
              </a:lnSpc>
            </a:pPr>
            <a:r>
              <a:rPr lang="es-ES_tradnl" sz="1600" b="1" dirty="0">
                <a:solidFill>
                  <a:srgbClr val="FFFFFF"/>
                </a:solidFill>
              </a:rPr>
              <a:t>Para nuestras personas</a:t>
            </a:r>
            <a:r>
              <a:rPr lang="es-ES_tradnl" sz="1600" dirty="0">
                <a:solidFill>
                  <a:srgbClr val="FFFFFF"/>
                </a:solidFill>
              </a:rPr>
              <a:t>:</a:t>
            </a:r>
            <a:br>
              <a:rPr lang="es-ES_tradnl" sz="1600" dirty="0">
                <a:solidFill>
                  <a:srgbClr val="FFFFFF"/>
                </a:solidFill>
              </a:rPr>
            </a:br>
            <a:r>
              <a:rPr lang="es-ES_tradnl" sz="1600" dirty="0" smtClean="0">
                <a:solidFill>
                  <a:srgbClr val="FFFFFF"/>
                </a:solidFill>
              </a:rPr>
              <a:t>Animar Hermanos </a:t>
            </a:r>
            <a:r>
              <a:rPr lang="es-ES_tradnl" sz="1600" dirty="0">
                <a:solidFill>
                  <a:srgbClr val="FFFFFF"/>
                </a:solidFill>
              </a:rPr>
              <a:t>y Laicos </a:t>
            </a:r>
            <a:r>
              <a:rPr lang="es-ES_tradnl" sz="1600" dirty="0" smtClean="0">
                <a:solidFill>
                  <a:srgbClr val="FFFFFF"/>
                </a:solidFill>
              </a:rPr>
              <a:t>para ser </a:t>
            </a:r>
          </a:p>
          <a:p>
            <a:pPr algn="ctr" defTabSz="914400">
              <a:lnSpc>
                <a:spcPct val="90000"/>
              </a:lnSpc>
            </a:pPr>
            <a:r>
              <a:rPr lang="es-ES_tradnl" sz="1600" dirty="0" smtClean="0">
                <a:solidFill>
                  <a:srgbClr val="FFFFFF"/>
                </a:solidFill>
              </a:rPr>
              <a:t>personas felices, apasionadas </a:t>
            </a:r>
          </a:p>
          <a:p>
            <a:pPr algn="ctr" defTabSz="914400">
              <a:lnSpc>
                <a:spcPct val="90000"/>
              </a:lnSpc>
            </a:pPr>
            <a:r>
              <a:rPr lang="es-ES_tradnl" sz="1600" dirty="0" smtClean="0">
                <a:solidFill>
                  <a:srgbClr val="FFFFFF"/>
                </a:solidFill>
              </a:rPr>
              <a:t>y comprometidas con </a:t>
            </a:r>
            <a:r>
              <a:rPr lang="es-ES_tradnl" sz="1600" dirty="0">
                <a:solidFill>
                  <a:srgbClr val="FFFFFF"/>
                </a:solidFill>
              </a:rPr>
              <a:t>el carisma marista.</a:t>
            </a:r>
          </a:p>
        </p:txBody>
      </p:sp>
      <p:sp>
        <p:nvSpPr>
          <p:cNvPr id="611366" name="Freeform 17"/>
          <p:cNvSpPr>
            <a:spLocks/>
          </p:cNvSpPr>
          <p:nvPr/>
        </p:nvSpPr>
        <p:spPr bwMode="gray">
          <a:xfrm>
            <a:off x="5522913" y="3435350"/>
            <a:ext cx="1127125" cy="388938"/>
          </a:xfrm>
          <a:custGeom>
            <a:avLst/>
            <a:gdLst>
              <a:gd name="T0" fmla="*/ 654975 w 635"/>
              <a:gd name="T1" fmla="*/ 388938 h 208"/>
              <a:gd name="T2" fmla="*/ 1127125 w 635"/>
              <a:gd name="T3" fmla="*/ 321622 h 208"/>
              <a:gd name="T4" fmla="*/ 482800 w 635"/>
              <a:gd name="T5" fmla="*/ 52357 h 208"/>
              <a:gd name="T6" fmla="*/ 660300 w 635"/>
              <a:gd name="T7" fmla="*/ 18699 h 208"/>
              <a:gd name="T8" fmla="*/ 191700 w 635"/>
              <a:gd name="T9" fmla="*/ 0 h 208"/>
              <a:gd name="T10" fmla="*/ 0 w 635"/>
              <a:gd name="T11" fmla="*/ 108454 h 208"/>
              <a:gd name="T12" fmla="*/ 209450 w 635"/>
              <a:gd name="T13" fmla="*/ 82275 h 208"/>
              <a:gd name="T14" fmla="*/ 654975 w 635"/>
              <a:gd name="T15" fmla="*/ 388938 h 20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35"/>
              <a:gd name="T25" fmla="*/ 0 h 208"/>
              <a:gd name="T26" fmla="*/ 635 w 635"/>
              <a:gd name="T27" fmla="*/ 208 h 20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35" h="208">
                <a:moveTo>
                  <a:pt x="369" y="208"/>
                </a:moveTo>
                <a:lnTo>
                  <a:pt x="635" y="172"/>
                </a:lnTo>
                <a:lnTo>
                  <a:pt x="272" y="28"/>
                </a:lnTo>
                <a:lnTo>
                  <a:pt x="372" y="10"/>
                </a:lnTo>
                <a:lnTo>
                  <a:pt x="108" y="0"/>
                </a:lnTo>
                <a:lnTo>
                  <a:pt x="0" y="58"/>
                </a:lnTo>
                <a:lnTo>
                  <a:pt x="118" y="44"/>
                </a:lnTo>
                <a:lnTo>
                  <a:pt x="369" y="208"/>
                </a:lnTo>
                <a:close/>
              </a:path>
            </a:pathLst>
          </a:custGeom>
          <a:solidFill>
            <a:schemeClr val="accent1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grpSp>
        <p:nvGrpSpPr>
          <p:cNvPr id="611367" name="Group 2"/>
          <p:cNvGrpSpPr>
            <a:grpSpLocks/>
          </p:cNvGrpSpPr>
          <p:nvPr/>
        </p:nvGrpSpPr>
        <p:grpSpPr bwMode="auto">
          <a:xfrm>
            <a:off x="4822825" y="4365625"/>
            <a:ext cx="3846513" cy="2357438"/>
            <a:chOff x="789489" y="4274359"/>
            <a:chExt cx="3626299" cy="2471263"/>
          </a:xfrm>
        </p:grpSpPr>
        <p:sp>
          <p:nvSpPr>
            <p:cNvPr id="91" name="Rectangle 4"/>
            <p:cNvSpPr>
              <a:spLocks noChangeArrowheads="1"/>
            </p:cNvSpPr>
            <p:nvPr/>
          </p:nvSpPr>
          <p:spPr bwMode="gray">
            <a:xfrm>
              <a:off x="796973" y="5317781"/>
              <a:ext cx="3618815" cy="1427841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6350">
              <a:noFill/>
              <a:miter lim="800000"/>
              <a:headEnd/>
              <a:tailEnd/>
            </a:ln>
            <a:extLst/>
          </p:spPr>
          <p:txBody>
            <a:bodyPr lIns="72000" tIns="72000" rIns="72000" bIns="36000"/>
            <a:lstStyle/>
            <a:p>
              <a:pPr marL="97212" indent="-97212" defTabSz="914400" eaLnBrk="0" fontAlgn="auto" hangingPunct="0">
                <a:lnSpc>
                  <a:spcPct val="7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>
                  <a:solidFill>
                    <a:srgbClr val="000000"/>
                  </a:solidFill>
                  <a:latin typeface="Arial"/>
                  <a:cs typeface="Arial"/>
                </a:rPr>
                <a:t>Mejorar nuestra eficacia en la Misión.</a:t>
              </a:r>
            </a:p>
            <a:p>
              <a:pPr marL="97212" indent="-97212" defTabSz="914400" eaLnBrk="0" fontAlgn="auto" hangingPunct="0">
                <a:lnSpc>
                  <a:spcPct val="7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>
                  <a:solidFill>
                    <a:srgbClr val="000000"/>
                  </a:solidFill>
                  <a:latin typeface="Arial"/>
                  <a:cs typeface="Arial"/>
                </a:rPr>
                <a:t>¿Estamos definiendo adecuadamente nuestros objetivos?</a:t>
              </a:r>
            </a:p>
            <a:p>
              <a:pPr marL="97212" indent="-97212" defTabSz="914400" eaLnBrk="0" fontAlgn="auto" hangingPunct="0">
                <a:lnSpc>
                  <a:spcPct val="7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>
                  <a:solidFill>
                    <a:srgbClr val="000000"/>
                  </a:solidFill>
                  <a:latin typeface="Arial"/>
                  <a:cs typeface="Arial"/>
                </a:rPr>
                <a:t>¿Usamos plenamente nuestros bienes?</a:t>
              </a:r>
            </a:p>
            <a:p>
              <a:pPr marL="97212" indent="-97212" defTabSz="914400" eaLnBrk="0" fontAlgn="auto" hangingPunct="0">
                <a:lnSpc>
                  <a:spcPct val="7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>
                  <a:solidFill>
                    <a:srgbClr val="000000"/>
                  </a:solidFill>
                  <a:latin typeface="Arial"/>
                  <a:cs typeface="Arial"/>
                </a:rPr>
                <a:t>¿Estamos organizados adecuadamente?</a:t>
              </a:r>
            </a:p>
            <a:p>
              <a:pPr marL="97212" indent="-97212" defTabSz="914400" eaLnBrk="0" fontAlgn="auto" hangingPunct="0">
                <a:lnSpc>
                  <a:spcPct val="7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>
                  <a:solidFill>
                    <a:srgbClr val="000000"/>
                  </a:solidFill>
                  <a:latin typeface="Arial"/>
                  <a:cs typeface="Arial"/>
                </a:rPr>
                <a:t>Nuestras herramientas, ¿están </a:t>
              </a:r>
              <a:r>
                <a:rPr lang="es-ES_tradnl" sz="1200" dirty="0" smtClean="0">
                  <a:solidFill>
                    <a:srgbClr val="000000"/>
                  </a:solidFill>
                  <a:latin typeface="Arial"/>
                  <a:cs typeface="Arial"/>
                </a:rPr>
                <a:t>en concordancia </a:t>
              </a:r>
              <a:r>
                <a:rPr lang="es-ES_tradnl" sz="1200" dirty="0">
                  <a:solidFill>
                    <a:srgbClr val="000000"/>
                  </a:solidFill>
                  <a:latin typeface="Arial"/>
                  <a:cs typeface="Arial"/>
                </a:rPr>
                <a:t>con la sociedad actual y la iglesia?</a:t>
              </a:r>
            </a:p>
            <a:p>
              <a:pPr marL="97212" indent="-97212" defTabSz="914400" eaLnBrk="0" fontAlgn="auto" hangingPunct="0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endParaRPr lang="es-ES_tradnl" sz="120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611371" name="Text Box 3"/>
            <p:cNvSpPr txBox="1">
              <a:spLocks noChangeArrowheads="1"/>
            </p:cNvSpPr>
            <p:nvPr/>
          </p:nvSpPr>
          <p:spPr bwMode="gray">
            <a:xfrm>
              <a:off x="789489" y="4274359"/>
              <a:ext cx="3619309" cy="996587"/>
            </a:xfrm>
            <a:prstGeom prst="rect">
              <a:avLst/>
            </a:prstGeom>
            <a:solidFill>
              <a:schemeClr val="accent1"/>
            </a:solidFill>
            <a:ln w="6350">
              <a:noFill/>
              <a:miter lim="800000"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defTabSz="914400">
                <a:lnSpc>
                  <a:spcPct val="90000"/>
                </a:lnSpc>
              </a:pPr>
              <a:r>
                <a:rPr lang="es-ES_tradnl" sz="1600" b="1" dirty="0">
                  <a:solidFill>
                    <a:srgbClr val="FFFFFF"/>
                  </a:solidFill>
                </a:rPr>
                <a:t>Para nuestra Misión</a:t>
              </a:r>
              <a:r>
                <a:rPr lang="es-ES_tradnl" sz="1600" dirty="0">
                  <a:solidFill>
                    <a:srgbClr val="FFFFFF"/>
                  </a:solidFill>
                </a:rPr>
                <a:t>:</a:t>
              </a:r>
              <a:br>
                <a:rPr lang="es-ES_tradnl" sz="1600" dirty="0">
                  <a:solidFill>
                    <a:srgbClr val="FFFFFF"/>
                  </a:solidFill>
                </a:rPr>
              </a:br>
              <a:r>
                <a:rPr lang="es-ES_tradnl" sz="1600" dirty="0" smtClean="0">
                  <a:solidFill>
                    <a:srgbClr val="FFFFFF"/>
                  </a:solidFill>
                </a:rPr>
                <a:t>Garantizar la sostenibilidad y la vitalidad</a:t>
              </a:r>
            </a:p>
            <a:p>
              <a:pPr algn="ctr" defTabSz="914400">
                <a:lnSpc>
                  <a:spcPct val="90000"/>
                </a:lnSpc>
              </a:pPr>
              <a:r>
                <a:rPr lang="es-ES_tradnl" sz="1600" dirty="0" smtClean="0">
                  <a:solidFill>
                    <a:srgbClr val="FFFFFF"/>
                  </a:solidFill>
                </a:rPr>
                <a:t>de la Misión Marista.</a:t>
              </a:r>
              <a:endParaRPr lang="es-ES_tradnl" sz="1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611368" name="Freeform 17"/>
          <p:cNvSpPr>
            <a:spLocks/>
          </p:cNvSpPr>
          <p:nvPr/>
        </p:nvSpPr>
        <p:spPr bwMode="gray">
          <a:xfrm flipH="1">
            <a:off x="2533650" y="3435350"/>
            <a:ext cx="1128713" cy="388938"/>
          </a:xfrm>
          <a:custGeom>
            <a:avLst/>
            <a:gdLst>
              <a:gd name="T0" fmla="*/ 655898 w 635"/>
              <a:gd name="T1" fmla="*/ 388938 h 208"/>
              <a:gd name="T2" fmla="*/ 1128713 w 635"/>
              <a:gd name="T3" fmla="*/ 321622 h 208"/>
              <a:gd name="T4" fmla="*/ 483480 w 635"/>
              <a:gd name="T5" fmla="*/ 52357 h 208"/>
              <a:gd name="T6" fmla="*/ 661230 w 635"/>
              <a:gd name="T7" fmla="*/ 18699 h 208"/>
              <a:gd name="T8" fmla="*/ 191970 w 635"/>
              <a:gd name="T9" fmla="*/ 0 h 208"/>
              <a:gd name="T10" fmla="*/ 0 w 635"/>
              <a:gd name="T11" fmla="*/ 108454 h 208"/>
              <a:gd name="T12" fmla="*/ 209745 w 635"/>
              <a:gd name="T13" fmla="*/ 82275 h 208"/>
              <a:gd name="T14" fmla="*/ 655898 w 635"/>
              <a:gd name="T15" fmla="*/ 388938 h 20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35"/>
              <a:gd name="T25" fmla="*/ 0 h 208"/>
              <a:gd name="T26" fmla="*/ 635 w 635"/>
              <a:gd name="T27" fmla="*/ 208 h 20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35" h="208">
                <a:moveTo>
                  <a:pt x="369" y="208"/>
                </a:moveTo>
                <a:lnTo>
                  <a:pt x="635" y="172"/>
                </a:lnTo>
                <a:lnTo>
                  <a:pt x="272" y="28"/>
                </a:lnTo>
                <a:lnTo>
                  <a:pt x="372" y="10"/>
                </a:lnTo>
                <a:lnTo>
                  <a:pt x="108" y="0"/>
                </a:lnTo>
                <a:lnTo>
                  <a:pt x="0" y="58"/>
                </a:lnTo>
                <a:lnTo>
                  <a:pt x="118" y="44"/>
                </a:lnTo>
                <a:lnTo>
                  <a:pt x="369" y="208"/>
                </a:lnTo>
                <a:close/>
              </a:path>
            </a:pathLst>
          </a:custGeom>
          <a:solidFill>
            <a:schemeClr val="tx2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94" name="Rounded Rectangle 26"/>
          <p:cNvSpPr/>
          <p:nvPr/>
        </p:nvSpPr>
        <p:spPr>
          <a:xfrm>
            <a:off x="4653062" y="4312332"/>
            <a:ext cx="4224338" cy="2454275"/>
          </a:xfrm>
          <a:prstGeom prst="roundRect">
            <a:avLst>
              <a:gd name="adj" fmla="val 8001"/>
            </a:avLst>
          </a:prstGeom>
          <a:noFill/>
          <a:ln w="190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40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259843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4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1830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02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1831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71463" y="658813"/>
            <a:ext cx="8640762" cy="665162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Mejorar la efectividad y garantizar a medio-largo plazo la sostenibilidad de nuestra misión</a:t>
            </a:r>
            <a:endParaRPr lang="en-US" dirty="0" smtClean="0">
              <a:latin typeface="Arial" charset="0"/>
              <a:cs typeface="Arial" charset="0"/>
            </a:endParaRPr>
          </a:p>
        </p:txBody>
      </p:sp>
      <p:sp>
        <p:nvSpPr>
          <p:cNvPr id="631832" name="Freeform 5"/>
          <p:cNvSpPr>
            <a:spLocks/>
          </p:cNvSpPr>
          <p:nvPr/>
        </p:nvSpPr>
        <p:spPr bwMode="gray">
          <a:xfrm flipH="1">
            <a:off x="233363" y="4189413"/>
            <a:ext cx="4337050" cy="1966912"/>
          </a:xfrm>
          <a:custGeom>
            <a:avLst/>
            <a:gdLst>
              <a:gd name="T0" fmla="*/ 0 w 10045"/>
              <a:gd name="T1" fmla="*/ 160420393 h 10080"/>
              <a:gd name="T2" fmla="*/ 665262410 w 10045"/>
              <a:gd name="T3" fmla="*/ 383820971 h 10080"/>
              <a:gd name="T4" fmla="*/ 1872389893 w 10045"/>
              <a:gd name="T5" fmla="*/ 134413455 h 10080"/>
              <a:gd name="T6" fmla="*/ 421264584 w 10045"/>
              <a:gd name="T7" fmla="*/ 0 h 10080"/>
              <a:gd name="T8" fmla="*/ 0 w 10045"/>
              <a:gd name="T9" fmla="*/ 160420393 h 1008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045"/>
              <a:gd name="T16" fmla="*/ 0 h 10080"/>
              <a:gd name="T17" fmla="*/ 10045 w 10045"/>
              <a:gd name="T18" fmla="*/ 10080 h 1008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045" h="10080">
                <a:moveTo>
                  <a:pt x="0" y="4213"/>
                </a:moveTo>
                <a:lnTo>
                  <a:pt x="3569" y="10080"/>
                </a:lnTo>
                <a:lnTo>
                  <a:pt x="10045" y="3530"/>
                </a:lnTo>
                <a:lnTo>
                  <a:pt x="2260" y="0"/>
                </a:lnTo>
                <a:lnTo>
                  <a:pt x="0" y="4213"/>
                </a:lnTo>
                <a:close/>
              </a:path>
            </a:pathLst>
          </a:custGeom>
          <a:solidFill>
            <a:schemeClr val="accent2"/>
          </a:solidFill>
          <a:ln w="6350" cap="rnd">
            <a:noFill/>
            <a:round/>
            <a:headEnd/>
            <a:tailEnd/>
          </a:ln>
        </p:spPr>
        <p:txBody>
          <a:bodyPr anchor="ctr" anchorCtr="1"/>
          <a:lstStyle/>
          <a:p>
            <a:endParaRPr lang="it-IT"/>
          </a:p>
        </p:txBody>
      </p:sp>
      <p:sp>
        <p:nvSpPr>
          <p:cNvPr id="631833" name="Freeform 5"/>
          <p:cNvSpPr>
            <a:spLocks/>
          </p:cNvSpPr>
          <p:nvPr/>
        </p:nvSpPr>
        <p:spPr bwMode="gray">
          <a:xfrm>
            <a:off x="4572000" y="4189413"/>
            <a:ext cx="4337050" cy="1966912"/>
          </a:xfrm>
          <a:custGeom>
            <a:avLst/>
            <a:gdLst>
              <a:gd name="T0" fmla="*/ 0 w 10045"/>
              <a:gd name="T1" fmla="*/ 160420393 h 10080"/>
              <a:gd name="T2" fmla="*/ 665262410 w 10045"/>
              <a:gd name="T3" fmla="*/ 383820971 h 10080"/>
              <a:gd name="T4" fmla="*/ 1872389893 w 10045"/>
              <a:gd name="T5" fmla="*/ 134413455 h 10080"/>
              <a:gd name="T6" fmla="*/ 421264584 w 10045"/>
              <a:gd name="T7" fmla="*/ 0 h 10080"/>
              <a:gd name="T8" fmla="*/ 0 w 10045"/>
              <a:gd name="T9" fmla="*/ 160420393 h 1008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045"/>
              <a:gd name="T16" fmla="*/ 0 h 10080"/>
              <a:gd name="T17" fmla="*/ 10045 w 10045"/>
              <a:gd name="T18" fmla="*/ 10080 h 1008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045" h="10080">
                <a:moveTo>
                  <a:pt x="0" y="4213"/>
                </a:moveTo>
                <a:lnTo>
                  <a:pt x="3569" y="10080"/>
                </a:lnTo>
                <a:lnTo>
                  <a:pt x="10045" y="3530"/>
                </a:lnTo>
                <a:lnTo>
                  <a:pt x="2260" y="0"/>
                </a:lnTo>
                <a:lnTo>
                  <a:pt x="0" y="4213"/>
                </a:lnTo>
                <a:close/>
              </a:path>
            </a:pathLst>
          </a:custGeom>
          <a:solidFill>
            <a:schemeClr val="accent2"/>
          </a:solidFill>
          <a:ln w="6350" cap="rnd">
            <a:noFill/>
            <a:round/>
            <a:headEnd/>
            <a:tailEnd/>
          </a:ln>
        </p:spPr>
        <p:txBody>
          <a:bodyPr anchor="ctr" anchorCtr="1"/>
          <a:lstStyle/>
          <a:p>
            <a:endParaRPr lang="it-IT"/>
          </a:p>
        </p:txBody>
      </p:sp>
      <p:sp>
        <p:nvSpPr>
          <p:cNvPr id="631834" name="Freeform 5"/>
          <p:cNvSpPr>
            <a:spLocks/>
          </p:cNvSpPr>
          <p:nvPr/>
        </p:nvSpPr>
        <p:spPr bwMode="gray">
          <a:xfrm flipH="1" flipV="1">
            <a:off x="233363" y="2225675"/>
            <a:ext cx="4337050" cy="1966913"/>
          </a:xfrm>
          <a:custGeom>
            <a:avLst/>
            <a:gdLst>
              <a:gd name="T0" fmla="*/ 0 w 10045"/>
              <a:gd name="T1" fmla="*/ 160420474 h 10080"/>
              <a:gd name="T2" fmla="*/ 665262410 w 10045"/>
              <a:gd name="T3" fmla="*/ 383821166 h 10080"/>
              <a:gd name="T4" fmla="*/ 1872389893 w 10045"/>
              <a:gd name="T5" fmla="*/ 134413524 h 10080"/>
              <a:gd name="T6" fmla="*/ 421264584 w 10045"/>
              <a:gd name="T7" fmla="*/ 0 h 10080"/>
              <a:gd name="T8" fmla="*/ 0 w 10045"/>
              <a:gd name="T9" fmla="*/ 160420474 h 1008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045"/>
              <a:gd name="T16" fmla="*/ 0 h 10080"/>
              <a:gd name="T17" fmla="*/ 10045 w 10045"/>
              <a:gd name="T18" fmla="*/ 10080 h 1008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045" h="10080">
                <a:moveTo>
                  <a:pt x="0" y="4213"/>
                </a:moveTo>
                <a:lnTo>
                  <a:pt x="3569" y="10080"/>
                </a:lnTo>
                <a:lnTo>
                  <a:pt x="10045" y="3530"/>
                </a:lnTo>
                <a:lnTo>
                  <a:pt x="2260" y="0"/>
                </a:lnTo>
                <a:lnTo>
                  <a:pt x="0" y="4213"/>
                </a:lnTo>
                <a:close/>
              </a:path>
            </a:pathLst>
          </a:custGeom>
          <a:solidFill>
            <a:schemeClr val="accent2"/>
          </a:solidFill>
          <a:ln w="6350" cap="rnd">
            <a:noFill/>
            <a:round/>
            <a:headEnd/>
            <a:tailEnd/>
          </a:ln>
        </p:spPr>
        <p:txBody>
          <a:bodyPr anchor="ctr" anchorCtr="1"/>
          <a:lstStyle/>
          <a:p>
            <a:endParaRPr lang="it-IT"/>
          </a:p>
        </p:txBody>
      </p:sp>
      <p:sp>
        <p:nvSpPr>
          <p:cNvPr id="631835" name="Freeform 5"/>
          <p:cNvSpPr>
            <a:spLocks/>
          </p:cNvSpPr>
          <p:nvPr/>
        </p:nvSpPr>
        <p:spPr bwMode="gray">
          <a:xfrm flipV="1">
            <a:off x="4572000" y="2225675"/>
            <a:ext cx="4337050" cy="1966913"/>
          </a:xfrm>
          <a:custGeom>
            <a:avLst/>
            <a:gdLst>
              <a:gd name="T0" fmla="*/ 0 w 10045"/>
              <a:gd name="T1" fmla="*/ 160420474 h 10080"/>
              <a:gd name="T2" fmla="*/ 665262410 w 10045"/>
              <a:gd name="T3" fmla="*/ 383821166 h 10080"/>
              <a:gd name="T4" fmla="*/ 1872389893 w 10045"/>
              <a:gd name="T5" fmla="*/ 134413524 h 10080"/>
              <a:gd name="T6" fmla="*/ 421264584 w 10045"/>
              <a:gd name="T7" fmla="*/ 0 h 10080"/>
              <a:gd name="T8" fmla="*/ 0 w 10045"/>
              <a:gd name="T9" fmla="*/ 160420474 h 1008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045"/>
              <a:gd name="T16" fmla="*/ 0 h 10080"/>
              <a:gd name="T17" fmla="*/ 10045 w 10045"/>
              <a:gd name="T18" fmla="*/ 10080 h 1008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045" h="10080">
                <a:moveTo>
                  <a:pt x="0" y="4213"/>
                </a:moveTo>
                <a:lnTo>
                  <a:pt x="3569" y="10080"/>
                </a:lnTo>
                <a:lnTo>
                  <a:pt x="10045" y="3530"/>
                </a:lnTo>
                <a:lnTo>
                  <a:pt x="2260" y="0"/>
                </a:lnTo>
                <a:lnTo>
                  <a:pt x="0" y="4213"/>
                </a:lnTo>
                <a:close/>
              </a:path>
            </a:pathLst>
          </a:custGeom>
          <a:solidFill>
            <a:schemeClr val="accent2"/>
          </a:solidFill>
          <a:ln w="6350" cap="rnd">
            <a:noFill/>
            <a:round/>
            <a:headEnd/>
            <a:tailEnd/>
          </a:ln>
        </p:spPr>
        <p:txBody>
          <a:bodyPr anchor="ctr" anchorCtr="1"/>
          <a:lstStyle/>
          <a:p>
            <a:endParaRPr lang="it-IT"/>
          </a:p>
        </p:txBody>
      </p:sp>
      <p:sp>
        <p:nvSpPr>
          <p:cNvPr id="3" name="Diamond 2"/>
          <p:cNvSpPr/>
          <p:nvPr/>
        </p:nvSpPr>
        <p:spPr bwMode="gray">
          <a:xfrm>
            <a:off x="3590925" y="3371850"/>
            <a:ext cx="1962150" cy="1646238"/>
          </a:xfrm>
          <a:prstGeom prst="diamond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Aft>
                <a:spcPts val="0"/>
              </a:spcAft>
              <a:defRPr/>
            </a:pPr>
            <a:r>
              <a:rPr lang="es-ES_tradnl" sz="1600" b="1">
                <a:solidFill>
                  <a:srgbClr val="FFFFFF"/>
                </a:solidFill>
              </a:rPr>
              <a:t>Un nuevo </a:t>
            </a:r>
          </a:p>
          <a:p>
            <a:pPr algn="ctr" defTabSz="914400" fontAlgn="auto">
              <a:lnSpc>
                <a:spcPct val="90000"/>
              </a:lnSpc>
              <a:spcAft>
                <a:spcPts val="0"/>
              </a:spcAft>
              <a:defRPr/>
            </a:pPr>
            <a:r>
              <a:rPr lang="es-ES_tradnl" sz="1600" b="1">
                <a:solidFill>
                  <a:srgbClr val="FFFFFF"/>
                </a:solidFill>
              </a:rPr>
              <a:t>comienzo</a:t>
            </a:r>
          </a:p>
        </p:txBody>
      </p:sp>
      <p:sp>
        <p:nvSpPr>
          <p:cNvPr id="631837" name="Rectangle 2"/>
          <p:cNvSpPr txBox="1">
            <a:spLocks noChangeArrowheads="1"/>
          </p:cNvSpPr>
          <p:nvPr/>
        </p:nvSpPr>
        <p:spPr bwMode="gray">
          <a:xfrm>
            <a:off x="247650" y="1412875"/>
            <a:ext cx="7981950" cy="24929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14400">
              <a:lnSpc>
                <a:spcPct val="90000"/>
              </a:lnSpc>
            </a:pPr>
            <a:r>
              <a:rPr lang="es-ES" b="1" dirty="0">
                <a:solidFill>
                  <a:srgbClr val="000000"/>
                </a:solidFill>
              </a:rPr>
              <a:t>La visión inspirada comienza </a:t>
            </a:r>
            <a:r>
              <a:rPr lang="es-ES" b="1" dirty="0" smtClean="0">
                <a:solidFill>
                  <a:srgbClr val="000000"/>
                </a:solidFill>
              </a:rPr>
              <a:t>con </a:t>
            </a:r>
            <a:r>
              <a:rPr lang="es-ES" b="1" dirty="0">
                <a:solidFill>
                  <a:srgbClr val="000000"/>
                </a:solidFill>
              </a:rPr>
              <a:t>la definición de pautas </a:t>
            </a:r>
            <a:r>
              <a:rPr lang="es-ES" b="1" dirty="0" smtClean="0">
                <a:solidFill>
                  <a:srgbClr val="000000"/>
                </a:solidFill>
              </a:rPr>
              <a:t>clave</a:t>
            </a:r>
            <a:endParaRPr lang="es-ES" b="1" dirty="0">
              <a:solidFill>
                <a:srgbClr val="000000"/>
              </a:solidFill>
            </a:endParaRPr>
          </a:p>
        </p:txBody>
      </p:sp>
      <p:sp>
        <p:nvSpPr>
          <p:cNvPr id="631838" name="RunningHead"/>
          <p:cNvSpPr txBox="1">
            <a:spLocks noChangeArrowheads="1"/>
          </p:cNvSpPr>
          <p:nvPr/>
        </p:nvSpPr>
        <p:spPr bwMode="gray">
          <a:xfrm>
            <a:off x="5632450" y="139700"/>
            <a:ext cx="3259138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>
                <a:solidFill>
                  <a:srgbClr val="000000"/>
                </a:solidFill>
              </a:rPr>
              <a:t>Marco de la propuesta de futuro sobre la Misión</a:t>
            </a:r>
          </a:p>
        </p:txBody>
      </p:sp>
      <p:grpSp>
        <p:nvGrpSpPr>
          <p:cNvPr id="631839" name="Group 39"/>
          <p:cNvGrpSpPr>
            <a:grpSpLocks noChangeAspect="1"/>
          </p:cNvGrpSpPr>
          <p:nvPr/>
        </p:nvGrpSpPr>
        <p:grpSpPr bwMode="auto">
          <a:xfrm rot="7624465">
            <a:off x="2037557" y="1537493"/>
            <a:ext cx="5194300" cy="5192713"/>
            <a:chOff x="3165475" y="1136650"/>
            <a:chExt cx="2727325" cy="2727326"/>
          </a:xfrm>
        </p:grpSpPr>
        <p:sp>
          <p:nvSpPr>
            <p:cNvPr id="27" name="Freeform 5"/>
            <p:cNvSpPr>
              <a:spLocks/>
            </p:cNvSpPr>
            <p:nvPr/>
          </p:nvSpPr>
          <p:spPr bwMode="gray">
            <a:xfrm>
              <a:off x="3165340" y="2239616"/>
              <a:ext cx="1265305" cy="1429115"/>
            </a:xfrm>
            <a:custGeom>
              <a:avLst/>
              <a:gdLst>
                <a:gd name="T0" fmla="*/ 797 w 149"/>
                <a:gd name="T1" fmla="*/ 600 h 168"/>
                <a:gd name="T2" fmla="*/ 417 w 149"/>
                <a:gd name="T3" fmla="*/ 161 h 168"/>
                <a:gd name="T4" fmla="*/ 535 w 149"/>
                <a:gd name="T5" fmla="*/ 161 h 168"/>
                <a:gd name="T6" fmla="*/ 278 w 149"/>
                <a:gd name="T7" fmla="*/ 0 h 168"/>
                <a:gd name="T8" fmla="*/ 0 w 149"/>
                <a:gd name="T9" fmla="*/ 161 h 168"/>
                <a:gd name="T10" fmla="*/ 118 w 149"/>
                <a:gd name="T11" fmla="*/ 161 h 168"/>
                <a:gd name="T12" fmla="*/ 792 w 149"/>
                <a:gd name="T13" fmla="*/ 900 h 168"/>
                <a:gd name="T14" fmla="*/ 695 w 149"/>
                <a:gd name="T15" fmla="*/ 734 h 168"/>
                <a:gd name="T16" fmla="*/ 797 w 149"/>
                <a:gd name="T17" fmla="*/ 600 h 16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9"/>
                <a:gd name="T28" fmla="*/ 0 h 168"/>
                <a:gd name="T29" fmla="*/ 149 w 149"/>
                <a:gd name="T30" fmla="*/ 168 h 16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9" h="168">
                  <a:moveTo>
                    <a:pt x="149" y="112"/>
                  </a:moveTo>
                  <a:cubicBezTo>
                    <a:pt x="105" y="104"/>
                    <a:pt x="80" y="71"/>
                    <a:pt x="78" y="30"/>
                  </a:cubicBezTo>
                  <a:lnTo>
                    <a:pt x="100" y="30"/>
                  </a:lnTo>
                  <a:lnTo>
                    <a:pt x="52" y="0"/>
                  </a:lnTo>
                  <a:lnTo>
                    <a:pt x="0" y="30"/>
                  </a:lnTo>
                  <a:lnTo>
                    <a:pt x="22" y="30"/>
                  </a:lnTo>
                  <a:cubicBezTo>
                    <a:pt x="25" y="98"/>
                    <a:pt x="68" y="159"/>
                    <a:pt x="148" y="168"/>
                  </a:cubicBezTo>
                  <a:lnTo>
                    <a:pt x="130" y="137"/>
                  </a:lnTo>
                  <a:lnTo>
                    <a:pt x="149" y="112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4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8" name="Freeform 6"/>
            <p:cNvSpPr>
              <a:spLocks/>
            </p:cNvSpPr>
            <p:nvPr/>
          </p:nvSpPr>
          <p:spPr bwMode="gray">
            <a:xfrm>
              <a:off x="4259128" y="2614780"/>
              <a:ext cx="1437014" cy="1249017"/>
            </a:xfrm>
            <a:custGeom>
              <a:avLst/>
              <a:gdLst>
                <a:gd name="T0" fmla="*/ 605 w 169"/>
                <a:gd name="T1" fmla="*/ 0 h 147"/>
                <a:gd name="T2" fmla="*/ 155 w 169"/>
                <a:gd name="T3" fmla="*/ 369 h 147"/>
                <a:gd name="T4" fmla="*/ 155 w 169"/>
                <a:gd name="T5" fmla="*/ 246 h 147"/>
                <a:gd name="T6" fmla="*/ 0 w 169"/>
                <a:gd name="T7" fmla="*/ 498 h 147"/>
                <a:gd name="T8" fmla="*/ 155 w 169"/>
                <a:gd name="T9" fmla="*/ 787 h 147"/>
                <a:gd name="T10" fmla="*/ 155 w 169"/>
                <a:gd name="T11" fmla="*/ 669 h 147"/>
                <a:gd name="T12" fmla="*/ 905 w 169"/>
                <a:gd name="T13" fmla="*/ 5 h 147"/>
                <a:gd name="T14" fmla="*/ 766 w 169"/>
                <a:gd name="T15" fmla="*/ 91 h 147"/>
                <a:gd name="T16" fmla="*/ 605 w 169"/>
                <a:gd name="T17" fmla="*/ 0 h 14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9"/>
                <a:gd name="T28" fmla="*/ 0 h 147"/>
                <a:gd name="T29" fmla="*/ 169 w 169"/>
                <a:gd name="T30" fmla="*/ 147 h 14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9" h="147">
                  <a:moveTo>
                    <a:pt x="113" y="0"/>
                  </a:moveTo>
                  <a:cubicBezTo>
                    <a:pt x="104" y="48"/>
                    <a:pt x="65" y="68"/>
                    <a:pt x="29" y="69"/>
                  </a:cubicBezTo>
                  <a:lnTo>
                    <a:pt x="29" y="46"/>
                  </a:lnTo>
                  <a:lnTo>
                    <a:pt x="0" y="93"/>
                  </a:lnTo>
                  <a:lnTo>
                    <a:pt x="29" y="147"/>
                  </a:lnTo>
                  <a:lnTo>
                    <a:pt x="29" y="125"/>
                  </a:lnTo>
                  <a:cubicBezTo>
                    <a:pt x="100" y="125"/>
                    <a:pt x="161" y="74"/>
                    <a:pt x="169" y="1"/>
                  </a:cubicBezTo>
                  <a:lnTo>
                    <a:pt x="143" y="17"/>
                  </a:lnTo>
                  <a:lnTo>
                    <a:pt x="113" y="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4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0" name="Freeform 7"/>
            <p:cNvSpPr>
              <a:spLocks/>
            </p:cNvSpPr>
            <p:nvPr/>
          </p:nvSpPr>
          <p:spPr bwMode="gray">
            <a:xfrm>
              <a:off x="4636040" y="1325460"/>
              <a:ext cx="1256970" cy="1436619"/>
            </a:xfrm>
            <a:custGeom>
              <a:avLst/>
              <a:gdLst>
                <a:gd name="T0" fmla="*/ 0 w 148"/>
                <a:gd name="T1" fmla="*/ 305 h 169"/>
                <a:gd name="T2" fmla="*/ 375 w 148"/>
                <a:gd name="T3" fmla="*/ 750 h 169"/>
                <a:gd name="T4" fmla="*/ 252 w 148"/>
                <a:gd name="T5" fmla="*/ 750 h 169"/>
                <a:gd name="T6" fmla="*/ 524 w 148"/>
                <a:gd name="T7" fmla="*/ 905 h 169"/>
                <a:gd name="T8" fmla="*/ 792 w 148"/>
                <a:gd name="T9" fmla="*/ 750 h 169"/>
                <a:gd name="T10" fmla="*/ 674 w 148"/>
                <a:gd name="T11" fmla="*/ 750 h 169"/>
                <a:gd name="T12" fmla="*/ 0 w 148"/>
                <a:gd name="T13" fmla="*/ 0 h 169"/>
                <a:gd name="T14" fmla="*/ 96 w 148"/>
                <a:gd name="T15" fmla="*/ 161 h 169"/>
                <a:gd name="T16" fmla="*/ 0 w 148"/>
                <a:gd name="T17" fmla="*/ 305 h 16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8"/>
                <a:gd name="T28" fmla="*/ 0 h 169"/>
                <a:gd name="T29" fmla="*/ 148 w 148"/>
                <a:gd name="T30" fmla="*/ 169 h 16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8" h="169">
                  <a:moveTo>
                    <a:pt x="0" y="57"/>
                  </a:moveTo>
                  <a:cubicBezTo>
                    <a:pt x="41" y="63"/>
                    <a:pt x="73" y="101"/>
                    <a:pt x="70" y="140"/>
                  </a:cubicBezTo>
                  <a:lnTo>
                    <a:pt x="47" y="140"/>
                  </a:lnTo>
                  <a:lnTo>
                    <a:pt x="98" y="169"/>
                  </a:lnTo>
                  <a:lnTo>
                    <a:pt x="148" y="140"/>
                  </a:lnTo>
                  <a:lnTo>
                    <a:pt x="126" y="140"/>
                  </a:lnTo>
                  <a:cubicBezTo>
                    <a:pt x="124" y="67"/>
                    <a:pt x="75" y="8"/>
                    <a:pt x="0" y="0"/>
                  </a:cubicBezTo>
                  <a:lnTo>
                    <a:pt x="18" y="30"/>
                  </a:lnTo>
                  <a:lnTo>
                    <a:pt x="0" y="57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4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4" name="Freeform 8"/>
            <p:cNvSpPr>
              <a:spLocks/>
            </p:cNvSpPr>
            <p:nvPr/>
          </p:nvSpPr>
          <p:spPr bwMode="gray">
            <a:xfrm>
              <a:off x="3359389" y="1137606"/>
              <a:ext cx="1521200" cy="1250684"/>
            </a:xfrm>
            <a:custGeom>
              <a:avLst/>
              <a:gdLst>
                <a:gd name="T0" fmla="*/ 302 w 942"/>
                <a:gd name="T1" fmla="*/ 786 h 775"/>
                <a:gd name="T2" fmla="*/ 771 w 942"/>
                <a:gd name="T3" fmla="*/ 418 h 775"/>
                <a:gd name="T4" fmla="*/ 771 w 942"/>
                <a:gd name="T5" fmla="*/ 535 h 775"/>
                <a:gd name="T6" fmla="*/ 958 w 942"/>
                <a:gd name="T7" fmla="*/ 279 h 775"/>
                <a:gd name="T8" fmla="*/ 771 w 942"/>
                <a:gd name="T9" fmla="*/ 0 h 775"/>
                <a:gd name="T10" fmla="*/ 771 w 942"/>
                <a:gd name="T11" fmla="*/ 118 h 775"/>
                <a:gd name="T12" fmla="*/ 0 w 942"/>
                <a:gd name="T13" fmla="*/ 786 h 775"/>
                <a:gd name="T14" fmla="*/ 156 w 942"/>
                <a:gd name="T15" fmla="*/ 695 h 775"/>
                <a:gd name="T16" fmla="*/ 302 w 942"/>
                <a:gd name="T17" fmla="*/ 788 h 7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42"/>
                <a:gd name="T28" fmla="*/ 0 h 775"/>
                <a:gd name="T29" fmla="*/ 942 w 942"/>
                <a:gd name="T30" fmla="*/ 775 h 7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42" h="775">
                  <a:moveTo>
                    <a:pt x="297" y="773"/>
                  </a:moveTo>
                  <a:cubicBezTo>
                    <a:pt x="339" y="552"/>
                    <a:pt x="500" y="400"/>
                    <a:pt x="758" y="411"/>
                  </a:cubicBezTo>
                  <a:lnTo>
                    <a:pt x="758" y="526"/>
                  </a:lnTo>
                  <a:lnTo>
                    <a:pt x="942" y="274"/>
                  </a:lnTo>
                  <a:lnTo>
                    <a:pt x="758" y="0"/>
                  </a:lnTo>
                  <a:lnTo>
                    <a:pt x="758" y="116"/>
                  </a:lnTo>
                  <a:cubicBezTo>
                    <a:pt x="358" y="105"/>
                    <a:pt x="42" y="378"/>
                    <a:pt x="0" y="773"/>
                  </a:cubicBezTo>
                  <a:cubicBezTo>
                    <a:pt x="76" y="728"/>
                    <a:pt x="153" y="684"/>
                    <a:pt x="153" y="684"/>
                  </a:cubicBezTo>
                  <a:lnTo>
                    <a:pt x="297" y="775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40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29" name="Rectangle 9"/>
          <p:cNvSpPr>
            <a:spLocks noChangeArrowheads="1"/>
          </p:cNvSpPr>
          <p:nvPr/>
        </p:nvSpPr>
        <p:spPr bwMode="gray">
          <a:xfrm>
            <a:off x="250825" y="2447925"/>
            <a:ext cx="2773363" cy="13589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0" tIns="18000" rIns="0" bIns="18000" anchor="ctr"/>
          <a:lstStyle/>
          <a:p>
            <a:pPr marL="89111" indent="-89111" eaLnBrk="0" fontAlgn="auto" hangingPunct="0">
              <a:lnSpc>
                <a:spcPct val="90000"/>
              </a:lnSpc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5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Planificación estratégica a largo plazo </a:t>
            </a: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con evidencias de los impactos esperados y con una línea </a:t>
            </a:r>
            <a:r>
              <a:rPr lang="es-ES" sz="1150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de </a:t>
            </a: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tiempo.</a:t>
            </a:r>
          </a:p>
          <a:p>
            <a:pPr marL="89111" indent="-89111" eaLnBrk="0" fontAlgn="auto" hangingPunct="0">
              <a:lnSpc>
                <a:spcPct val="90000"/>
              </a:lnSpc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5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La </a:t>
            </a:r>
            <a:r>
              <a:rPr lang="es-ES" sz="1150" b="1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convergencia </a:t>
            </a:r>
            <a:r>
              <a:rPr lang="es-ES" sz="115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con la misión marista </a:t>
            </a: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en todos los niveles (objetivo común).</a:t>
            </a:r>
          </a:p>
          <a:p>
            <a:pPr marL="89111" indent="-89111" eaLnBrk="0" fontAlgn="auto" hangingPunct="0">
              <a:lnSpc>
                <a:spcPct val="90000"/>
              </a:lnSpc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5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Innovación </a:t>
            </a:r>
            <a:r>
              <a:rPr lang="es-ES" sz="1150" b="1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significativa de </a:t>
            </a:r>
            <a:r>
              <a:rPr lang="es-ES" sz="115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la misión</a:t>
            </a: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.</a:t>
            </a:r>
          </a:p>
        </p:txBody>
      </p:sp>
      <p:sp>
        <p:nvSpPr>
          <p:cNvPr id="5" name="Rectangle 4"/>
          <p:cNvSpPr/>
          <p:nvPr/>
        </p:nvSpPr>
        <p:spPr>
          <a:xfrm>
            <a:off x="250825" y="1844675"/>
            <a:ext cx="2771775" cy="595313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lnSpc>
                <a:spcPts val="1300"/>
              </a:lnSpc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400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¿Estamos definiendo adecuadamente nuestros objetivos?</a:t>
            </a:r>
          </a:p>
        </p:txBody>
      </p:sp>
      <p:sp>
        <p:nvSpPr>
          <p:cNvPr id="24" name="Rectangle 9"/>
          <p:cNvSpPr>
            <a:spLocks noChangeArrowheads="1"/>
          </p:cNvSpPr>
          <p:nvPr/>
        </p:nvSpPr>
        <p:spPr bwMode="gray">
          <a:xfrm>
            <a:off x="6121400" y="5103813"/>
            <a:ext cx="2763838" cy="14192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0" tIns="18000" rIns="0" bIns="18000" anchor="ctr"/>
          <a:lstStyle/>
          <a:p>
            <a:pPr marL="89111" indent="-89111" eaLnBrk="0" fontAlgn="auto" hangingPunct="0">
              <a:lnSpc>
                <a:spcPct val="90000"/>
              </a:lnSpc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5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Modelo sostenible</a:t>
            </a: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.</a:t>
            </a:r>
          </a:p>
          <a:p>
            <a:pPr marL="89111" indent="-89111" eaLnBrk="0" fontAlgn="auto" hangingPunct="0">
              <a:lnSpc>
                <a:spcPct val="90000"/>
              </a:lnSpc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Mejorar la </a:t>
            </a:r>
            <a:r>
              <a:rPr lang="es-ES" sz="115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planificación y el control</a:t>
            </a: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.</a:t>
            </a:r>
          </a:p>
          <a:p>
            <a:pPr marL="89111" indent="-89111" eaLnBrk="0" fontAlgn="auto" hangingPunct="0">
              <a:lnSpc>
                <a:spcPct val="90000"/>
              </a:lnSpc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Centrado en </a:t>
            </a:r>
            <a:r>
              <a:rPr lang="es-ES" sz="1150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 la </a:t>
            </a:r>
            <a:r>
              <a:rPr lang="es-ES" sz="1150" b="1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protección de los </a:t>
            </a:r>
            <a:r>
              <a:rPr lang="es-ES" sz="115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bienes </a:t>
            </a:r>
            <a:r>
              <a:rPr lang="es-ES" sz="1150" b="1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inmuebles </a:t>
            </a:r>
            <a:r>
              <a:rPr lang="es-ES" sz="115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y </a:t>
            </a:r>
            <a:r>
              <a:rPr lang="es-ES" sz="1150" b="1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de los </a:t>
            </a:r>
            <a:r>
              <a:rPr lang="es-ES" sz="115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activos financieros </a:t>
            </a: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(</a:t>
            </a:r>
            <a:r>
              <a:rPr lang="es-ES" sz="1150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Pérdidas &amp; Ganancias </a:t>
            </a: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planeado en el flujo y no en la erosión de activos).</a:t>
            </a:r>
          </a:p>
          <a:p>
            <a:pPr marL="89111" indent="-89111" eaLnBrk="0" fontAlgn="auto" hangingPunct="0">
              <a:lnSpc>
                <a:spcPct val="90000"/>
              </a:lnSpc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50" b="1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Captación </a:t>
            </a:r>
            <a:r>
              <a:rPr lang="es-ES" sz="115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profesional de fondos </a:t>
            </a: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para la misión no </a:t>
            </a:r>
            <a:r>
              <a:rPr lang="es-ES" sz="1150" dirty="0" err="1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autosostenible</a:t>
            </a: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.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111875" y="4559300"/>
            <a:ext cx="2773363" cy="533400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lnSpc>
                <a:spcPts val="1300"/>
              </a:lnSpc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40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¿Usamos plenamente nuestros bienes?</a:t>
            </a: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gray">
          <a:xfrm>
            <a:off x="6121400" y="2452688"/>
            <a:ext cx="2773363" cy="11969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0" tIns="18000" rIns="0" bIns="18000" anchor="ctr"/>
          <a:lstStyle/>
          <a:p>
            <a:pPr marL="89111" indent="-89111" eaLnBrk="0" fontAlgn="auto" hangingPunct="0">
              <a:lnSpc>
                <a:spcPct val="90000"/>
              </a:lnSpc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Organización</a:t>
            </a:r>
            <a:r>
              <a:rPr lang="es-ES" sz="115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: la estandarización </a:t>
            </a: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a través de la geografía.</a:t>
            </a:r>
          </a:p>
          <a:p>
            <a:pPr marL="89111" indent="-89111" eaLnBrk="0" fontAlgn="auto" hangingPunct="0">
              <a:lnSpc>
                <a:spcPct val="90000"/>
              </a:lnSpc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Los </a:t>
            </a:r>
            <a:r>
              <a:rPr lang="es-ES" sz="115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servicios compartidos, </a:t>
            </a:r>
            <a:r>
              <a:rPr lang="es-ES" sz="1150" b="1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tercerización </a:t>
            </a:r>
            <a:r>
              <a:rPr lang="es-ES" sz="115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y modelos de </a:t>
            </a:r>
            <a:r>
              <a:rPr lang="es-ES" sz="1150" b="1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colaboración </a:t>
            </a: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(basado en el enfoque </a:t>
            </a:r>
            <a:r>
              <a:rPr lang="es-ES" sz="1150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clave </a:t>
            </a: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y </a:t>
            </a:r>
            <a:r>
              <a:rPr lang="es-ES" sz="1150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competencias).</a:t>
            </a:r>
            <a:endParaRPr lang="es-ES" sz="1150" dirty="0">
              <a:solidFill>
                <a:srgbClr val="000000"/>
              </a:solidFill>
              <a:latin typeface="+mj-lt"/>
              <a:ea typeface="Calibri" charset="0"/>
              <a:cs typeface="Calibri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121400" y="1933575"/>
            <a:ext cx="2773363" cy="511175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lnSpc>
                <a:spcPts val="1300"/>
              </a:lnSpc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400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¿Estamos bien organizados?</a:t>
            </a:r>
          </a:p>
        </p:txBody>
      </p:sp>
      <p:sp>
        <p:nvSpPr>
          <p:cNvPr id="19" name="Rectangle 9"/>
          <p:cNvSpPr>
            <a:spLocks noChangeArrowheads="1"/>
          </p:cNvSpPr>
          <p:nvPr/>
        </p:nvSpPr>
        <p:spPr bwMode="gray">
          <a:xfrm>
            <a:off x="250825" y="5102225"/>
            <a:ext cx="2773363" cy="11969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0" tIns="18000" rIns="0" bIns="18000" anchor="ctr"/>
          <a:lstStyle/>
          <a:p>
            <a:pPr marL="89111" indent="-89111" eaLnBrk="0" fontAlgn="auto" hangingPunc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5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Sistemas y herramientas </a:t>
            </a: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tecnológicas.</a:t>
            </a:r>
          </a:p>
          <a:p>
            <a:pPr marL="89111" indent="-89111" eaLnBrk="0" fontAlgn="auto" hangingPunc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Sistemas </a:t>
            </a:r>
            <a:r>
              <a:rPr lang="es-ES" sz="115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de gestión </a:t>
            </a:r>
            <a:r>
              <a:rPr lang="es-ES" sz="1150" b="1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de los recursos  y del conocimiento</a:t>
            </a:r>
            <a:r>
              <a:rPr lang="es-ES" sz="1150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.</a:t>
            </a:r>
            <a:endParaRPr lang="es-ES" sz="1150" dirty="0">
              <a:solidFill>
                <a:srgbClr val="000000"/>
              </a:solidFill>
              <a:latin typeface="+mj-lt"/>
              <a:ea typeface="Calibri" charset="0"/>
              <a:cs typeface="Calibri" charset="0"/>
            </a:endParaRPr>
          </a:p>
          <a:p>
            <a:pPr marL="89111" indent="-89111" eaLnBrk="0" fontAlgn="auto" hangingPunc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Las </a:t>
            </a:r>
            <a:r>
              <a:rPr lang="es-ES" sz="115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nuevas tecnologías </a:t>
            </a: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en la educación.</a:t>
            </a:r>
          </a:p>
          <a:p>
            <a:pPr marL="89111" indent="-89111" eaLnBrk="0" fontAlgn="auto" hangingPunc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5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Comunicación</a:t>
            </a:r>
            <a:r>
              <a:rPr lang="es-ES" sz="115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.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50825" y="4473575"/>
            <a:ext cx="2771775" cy="622300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400" fontAlgn="auto">
              <a:lnSpc>
                <a:spcPts val="1300"/>
              </a:lnSpc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40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Nuestras herramientas, ¿están en línea con la sociedad actual?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2854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2855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996950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¿Estamos definiendo adecuadamente nuestros objetivos?</a:t>
            </a:r>
            <a:br>
              <a:rPr lang="es-ES" dirty="0" smtClean="0">
                <a:latin typeface="Arial" charset="0"/>
                <a:cs typeface="Arial" charset="0"/>
              </a:rPr>
            </a:br>
            <a:r>
              <a:rPr lang="en-US" dirty="0" smtClean="0">
                <a:latin typeface="Arial" charset="0"/>
                <a:cs typeface="Arial" charset="0"/>
              </a:rPr>
              <a:t>– </a:t>
            </a:r>
            <a:r>
              <a:rPr lang="es-ES" dirty="0">
                <a:latin typeface="Arial" charset="0"/>
                <a:cs typeface="Arial" charset="0"/>
              </a:rPr>
              <a:t>Áreas clave de mejora subrayadas en la fase de evaluación del </a:t>
            </a:r>
            <a:r>
              <a:rPr lang="es-ES" dirty="0" smtClean="0">
                <a:latin typeface="Arial" charset="0"/>
                <a:cs typeface="Arial" charset="0"/>
              </a:rPr>
              <a:t>diagnóstico.</a:t>
            </a:r>
            <a:endParaRPr lang="en-US" dirty="0" smtClean="0">
              <a:latin typeface="Arial" charset="0"/>
              <a:cs typeface="Arial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4267200" y="1864890"/>
            <a:ext cx="4445000" cy="45164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b="1" dirty="0">
                <a:solidFill>
                  <a:srgbClr val="000000"/>
                </a:solidFill>
                <a:cs typeface="Arial" charset="0"/>
              </a:rPr>
              <a:t>Falta de interpretación clara y compartida</a:t>
            </a:r>
            <a:r>
              <a:rPr lang="es-ES_tradnl" sz="1200" dirty="0">
                <a:solidFill>
                  <a:srgbClr val="000000"/>
                </a:solidFill>
                <a:cs typeface="Arial" charset="0"/>
              </a:rPr>
              <a:t> del mandato estratégico y del enfoque.</a:t>
            </a:r>
            <a:endParaRPr lang="it-IT" sz="1200" dirty="0">
              <a:solidFill>
                <a:srgbClr val="000000"/>
              </a:solidFill>
              <a:cs typeface="Arial" charset="0"/>
            </a:endParaRP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>
                <a:solidFill>
                  <a:srgbClr val="000000"/>
                </a:solidFill>
                <a:cs typeface="Arial" charset="0"/>
              </a:rPr>
              <a:t>No hay una </a:t>
            </a:r>
            <a:r>
              <a:rPr lang="es-ES" sz="1200" b="1" dirty="0">
                <a:solidFill>
                  <a:srgbClr val="000000"/>
                </a:solidFill>
                <a:cs typeface="Arial" charset="0"/>
              </a:rPr>
              <a:t>estrategia central comunicada </a:t>
            </a:r>
            <a:r>
              <a:rPr lang="es-ES" sz="1200" dirty="0">
                <a:solidFill>
                  <a:srgbClr val="000000"/>
                </a:solidFill>
                <a:cs typeface="Arial" charset="0"/>
              </a:rPr>
              <a:t>ni formalizada, no hay señales de planificación regional. Solamente algunas provincias la realizan de manera profesional.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>
                <a:solidFill>
                  <a:srgbClr val="000000"/>
                </a:solidFill>
                <a:cs typeface="Arial" charset="0"/>
              </a:rPr>
              <a:t>Las </a:t>
            </a:r>
            <a:r>
              <a:rPr lang="es-ES" sz="1200" b="1" dirty="0">
                <a:solidFill>
                  <a:srgbClr val="000000"/>
                </a:solidFill>
                <a:cs typeface="Arial" charset="0"/>
              </a:rPr>
              <a:t>prioridades se manejan en el nivel más alto para garantizar la consecución de la misión marista </a:t>
            </a:r>
            <a:r>
              <a:rPr lang="es-ES" sz="1200" dirty="0">
                <a:solidFill>
                  <a:srgbClr val="000000"/>
                </a:solidFill>
                <a:cs typeface="Arial" charset="0"/>
              </a:rPr>
              <a:t>(ahora mismo los recursos no se están poniendo al mejor efecto).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>
                <a:solidFill>
                  <a:srgbClr val="000000"/>
                </a:solidFill>
                <a:cs typeface="Arial" charset="0"/>
              </a:rPr>
              <a:t>Algunas </a:t>
            </a:r>
            <a:r>
              <a:rPr lang="es-ES" sz="1200" b="1" dirty="0">
                <a:solidFill>
                  <a:srgbClr val="000000"/>
                </a:solidFill>
                <a:cs typeface="Arial" charset="0"/>
              </a:rPr>
              <a:t>dimensiones clave no están cubiertas adecuadamente</a:t>
            </a:r>
            <a:r>
              <a:rPr lang="es-ES" sz="1200" dirty="0">
                <a:solidFill>
                  <a:srgbClr val="000000"/>
                </a:solidFill>
                <a:cs typeface="Arial" charset="0"/>
              </a:rPr>
              <a:t>: la </a:t>
            </a:r>
            <a:r>
              <a:rPr lang="es-ES" sz="1200" dirty="0" smtClean="0">
                <a:solidFill>
                  <a:srgbClr val="000000"/>
                </a:solidFill>
                <a:cs typeface="Arial" charset="0"/>
              </a:rPr>
              <a:t>presencia </a:t>
            </a:r>
            <a:r>
              <a:rPr lang="es-ES" sz="1200" dirty="0">
                <a:solidFill>
                  <a:srgbClr val="000000"/>
                </a:solidFill>
                <a:cs typeface="Arial" charset="0"/>
              </a:rPr>
              <a:t>geográfica, la gestión de recursos, la planificación y el control.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>
                <a:solidFill>
                  <a:srgbClr val="000000"/>
                </a:solidFill>
                <a:cs typeface="Arial" charset="0"/>
              </a:rPr>
              <a:t>Necesidad de un </a:t>
            </a:r>
            <a:r>
              <a:rPr lang="es-ES" sz="1200" b="1" dirty="0">
                <a:solidFill>
                  <a:srgbClr val="000000"/>
                </a:solidFill>
                <a:cs typeface="Arial" charset="0"/>
              </a:rPr>
              <a:t>procesos de gestión estructurado </a:t>
            </a:r>
            <a:r>
              <a:rPr lang="es-ES" sz="1200" dirty="0">
                <a:solidFill>
                  <a:srgbClr val="000000"/>
                </a:solidFill>
                <a:cs typeface="Arial" charset="0"/>
              </a:rPr>
              <a:t>en aquellas provincias donde la misión está en peligro (incluyendo la estrategia de salida según sea necesario).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>
                <a:solidFill>
                  <a:srgbClr val="000000"/>
                </a:solidFill>
                <a:cs typeface="Arial" charset="0"/>
              </a:rPr>
              <a:t>La atención a las necesidades de otras provincias </a:t>
            </a:r>
            <a:r>
              <a:rPr lang="es-ES" sz="1200" dirty="0" smtClean="0">
                <a:solidFill>
                  <a:srgbClr val="000000"/>
                </a:solidFill>
                <a:cs typeface="Arial" charset="0"/>
              </a:rPr>
              <a:t>se lleva a cabo más por un </a:t>
            </a:r>
            <a:r>
              <a:rPr lang="es-ES" sz="1200" dirty="0">
                <a:solidFill>
                  <a:srgbClr val="000000"/>
                </a:solidFill>
                <a:cs typeface="Arial" charset="0"/>
              </a:rPr>
              <a:t>principio de solidaridad espontánea </a:t>
            </a:r>
            <a:r>
              <a:rPr lang="es-ES" sz="1200" dirty="0" smtClean="0">
                <a:solidFill>
                  <a:srgbClr val="000000"/>
                </a:solidFill>
                <a:cs typeface="Arial" charset="0"/>
              </a:rPr>
              <a:t>que por una </a:t>
            </a:r>
            <a:r>
              <a:rPr lang="es-ES" sz="1200" dirty="0">
                <a:solidFill>
                  <a:srgbClr val="000000"/>
                </a:solidFill>
                <a:cs typeface="Arial" charset="0"/>
              </a:rPr>
              <a:t>solidaridad estratégicamente coordinada.</a:t>
            </a: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>
                <a:solidFill>
                  <a:srgbClr val="000000"/>
                </a:solidFill>
                <a:cs typeface="Arial" charset="0"/>
              </a:rPr>
              <a:t>Oportunidad para </a:t>
            </a:r>
            <a:r>
              <a:rPr lang="es-ES" sz="1200" b="1" dirty="0">
                <a:solidFill>
                  <a:srgbClr val="000000"/>
                </a:solidFill>
                <a:cs typeface="Arial" charset="0"/>
              </a:rPr>
              <a:t>vincular la estrategia a medio y largo plazo </a:t>
            </a:r>
            <a:r>
              <a:rPr lang="es-ES" sz="1200" dirty="0">
                <a:solidFill>
                  <a:srgbClr val="000000"/>
                </a:solidFill>
                <a:cs typeface="Arial" charset="0"/>
              </a:rPr>
              <a:t>de algunos procesos clave (presupuesto, control de la planificación financiera</a:t>
            </a:r>
            <a:r>
              <a:rPr lang="es-ES" sz="1200" dirty="0" smtClean="0">
                <a:solidFill>
                  <a:srgbClr val="000000"/>
                </a:solidFill>
                <a:cs typeface="Arial" charset="0"/>
              </a:rPr>
              <a:t>).</a:t>
            </a:r>
            <a:endParaRPr lang="it-IT" sz="1200" dirty="0">
              <a:solidFill>
                <a:srgbClr val="000000"/>
              </a:solidFill>
              <a:cs typeface="Arial" charset="0"/>
            </a:endParaRPr>
          </a:p>
          <a:p>
            <a:pPr marL="97212" indent="-97212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cs typeface="Arial" charset="0"/>
              </a:rPr>
              <a:t>Otras congregaciones </a:t>
            </a:r>
            <a:r>
              <a:rPr lang="es-ES_tradnl" sz="1200" b="1" dirty="0">
                <a:solidFill>
                  <a:srgbClr val="000000"/>
                </a:solidFill>
                <a:cs typeface="Arial" charset="0"/>
              </a:rPr>
              <a:t>se están moviendo hacia un modelo centralizado de gobernanza.</a:t>
            </a:r>
            <a:endParaRPr lang="it-IT" sz="1200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 flipV="1">
            <a:off x="2936875" y="1864891"/>
            <a:ext cx="1350963" cy="1262856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2916238" y="5118472"/>
            <a:ext cx="1350962" cy="1262856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2860" name="RunningHead"/>
          <p:cNvSpPr txBox="1">
            <a:spLocks noChangeArrowheads="1"/>
          </p:cNvSpPr>
          <p:nvPr/>
        </p:nvSpPr>
        <p:spPr bwMode="gray">
          <a:xfrm>
            <a:off x="5078413" y="136525"/>
            <a:ext cx="4065587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" sz="1200">
                <a:solidFill>
                  <a:srgbClr val="000000"/>
                </a:solidFill>
                <a:ea typeface="Arial" charset="0"/>
                <a:cs typeface="Times New Roman" pitchFamily="18" charset="0"/>
              </a:rPr>
              <a:t>¿Estamos definiendo adecuadamente nuestros objetivos</a:t>
            </a:r>
            <a:r>
              <a:rPr lang="en-US" sz="1200">
                <a:solidFill>
                  <a:srgbClr val="000000"/>
                </a:solidFill>
                <a:ea typeface="Arial" charset="0"/>
                <a:cs typeface="Times New Roman" pitchFamily="18" charset="0"/>
              </a:rPr>
              <a:t>? 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65100" y="3127747"/>
            <a:ext cx="2771775" cy="1990725"/>
            <a:chOff x="165100" y="3207627"/>
            <a:chExt cx="2771775" cy="1990725"/>
          </a:xfrm>
        </p:grpSpPr>
        <p:sp>
          <p:nvSpPr>
            <p:cNvPr id="14" name="Rectangle 13"/>
            <p:cNvSpPr/>
            <p:nvPr/>
          </p:nvSpPr>
          <p:spPr>
            <a:xfrm>
              <a:off x="165100" y="3207627"/>
              <a:ext cx="2771775" cy="639762"/>
            </a:xfrm>
            <a:prstGeom prst="rect">
              <a:avLst/>
            </a:prstGeom>
            <a:solidFill>
              <a:schemeClr val="accent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0" rIns="73152" bIns="0" anchor="ctr"/>
            <a:lstStyle/>
            <a:p>
              <a:pPr algn="ctr" fontAlgn="auto">
                <a:lnSpc>
                  <a:spcPts val="1300"/>
                </a:lnSpc>
                <a:spcBef>
                  <a:spcPts val="0"/>
                </a:spcBef>
                <a:spcAft>
                  <a:spcPts val="1300"/>
                </a:spcAft>
                <a:defRPr/>
              </a:pPr>
              <a:r>
                <a:rPr lang="es-ES" sz="1600" dirty="0">
                  <a:solidFill>
                    <a:srgbClr val="FFFFFF"/>
                  </a:solidFill>
                  <a:ea typeface="Arial" panose="020B0604020202020204" pitchFamily="34" charset="0"/>
                  <a:cs typeface="Times New Roman" panose="02020603050405020304" pitchFamily="18" charset="0"/>
                </a:rPr>
                <a:t>¿Estamos definiendo adecuadamente nuestros objetivos?</a:t>
              </a: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gray">
            <a:xfrm>
              <a:off x="165100" y="3839452"/>
              <a:ext cx="2771775" cy="13589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>
              <a:noFill/>
              <a:miter lim="800000"/>
              <a:headEnd/>
              <a:tailEnd/>
            </a:ln>
          </p:spPr>
          <p:txBody>
            <a:bodyPr lIns="0" tIns="18000" rIns="0" bIns="18000" anchor="ctr"/>
            <a:lstStyle/>
            <a:p>
              <a:pPr marL="113414" indent="-113414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200" b="1" dirty="0">
                  <a:solidFill>
                    <a:srgbClr val="000000"/>
                  </a:solidFill>
                  <a:latin typeface="+mj-lt"/>
                  <a:ea typeface="Calibri" charset="0"/>
                  <a:cs typeface="Calibri" charset="0"/>
                </a:rPr>
                <a:t>Planificación estratégica a largo plazo </a:t>
              </a:r>
              <a:r>
                <a:rPr lang="es-ES" sz="1200" dirty="0">
                  <a:solidFill>
                    <a:srgbClr val="000000"/>
                  </a:solidFill>
                  <a:latin typeface="+mj-lt"/>
                  <a:ea typeface="Calibri" charset="0"/>
                  <a:cs typeface="Calibri" charset="0"/>
                </a:rPr>
                <a:t>con evidencias de los impactos esperados y con una línea de tiempo.</a:t>
              </a:r>
            </a:p>
            <a:p>
              <a:pPr marL="113414" indent="-113414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200" b="1" dirty="0">
                  <a:solidFill>
                    <a:srgbClr val="000000"/>
                  </a:solidFill>
                  <a:latin typeface="+mj-lt"/>
                  <a:ea typeface="Calibri" charset="0"/>
                  <a:cs typeface="Calibri" charset="0"/>
                </a:rPr>
                <a:t>La convergencia con la misión marista </a:t>
              </a:r>
              <a:r>
                <a:rPr lang="es-ES" sz="1200" dirty="0">
                  <a:solidFill>
                    <a:srgbClr val="000000"/>
                  </a:solidFill>
                  <a:latin typeface="+mj-lt"/>
                  <a:ea typeface="Calibri" charset="0"/>
                  <a:cs typeface="Calibri" charset="0"/>
                </a:rPr>
                <a:t>en todos los niveles (objetivo común).</a:t>
              </a:r>
            </a:p>
            <a:p>
              <a:pPr marL="113414" indent="-113414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200" b="1" dirty="0">
                  <a:solidFill>
                    <a:srgbClr val="000000"/>
                  </a:solidFill>
                  <a:latin typeface="+mj-lt"/>
                  <a:ea typeface="Calibri" charset="0"/>
                  <a:cs typeface="Calibri" charset="0"/>
                </a:rPr>
                <a:t>Innovación significativa de la misión</a:t>
              </a:r>
              <a:r>
                <a:rPr lang="es-ES" sz="1200" dirty="0">
                  <a:solidFill>
                    <a:srgbClr val="000000"/>
                  </a:solidFill>
                  <a:latin typeface="+mj-lt"/>
                  <a:ea typeface="Calibri" charset="0"/>
                  <a:cs typeface="Calibri" charset="0"/>
                </a:rPr>
                <a:t>.</a:t>
              </a:r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9153" name="Title 1"/>
          <p:cNvSpPr txBox="1">
            <a:spLocks/>
          </p:cNvSpPr>
          <p:nvPr/>
        </p:nvSpPr>
        <p:spPr bwMode="auto">
          <a:xfrm>
            <a:off x="244475" y="765175"/>
            <a:ext cx="8640763" cy="33813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4400">
              <a:lnSpc>
                <a:spcPct val="90000"/>
              </a:lnSpc>
            </a:pPr>
            <a:r>
              <a:rPr lang="es-ES" sz="2400">
                <a:solidFill>
                  <a:srgbClr val="000000"/>
                </a:solidFill>
              </a:rPr>
              <a:t>Alcance y límites del proyecto</a:t>
            </a:r>
          </a:p>
        </p:txBody>
      </p:sp>
      <p:pic>
        <p:nvPicPr>
          <p:cNvPr id="3249154" name="Imagen 2" descr="Captura de pantalla 2015-06-22 a las 0.05.00.png"/>
          <p:cNvPicPr>
            <a:picLocks noChangeAspect="1"/>
          </p:cNvPicPr>
          <p:nvPr/>
        </p:nvPicPr>
        <p:blipFill>
          <a:blip r:embed="rId2"/>
          <a:srcRect l="33498" t="12590" r="45705" b="62750"/>
          <a:stretch>
            <a:fillRect/>
          </a:stretch>
        </p:blipFill>
        <p:spPr bwMode="auto">
          <a:xfrm>
            <a:off x="7131050" y="1844675"/>
            <a:ext cx="1766888" cy="154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9"/>
          <p:cNvSpPr/>
          <p:nvPr/>
        </p:nvSpPr>
        <p:spPr>
          <a:xfrm>
            <a:off x="142875" y="1773238"/>
            <a:ext cx="2089150" cy="3311525"/>
          </a:xfrm>
          <a:prstGeom prst="rect">
            <a:avLst/>
          </a:prstGeom>
          <a:solidFill>
            <a:srgbClr val="2B5B99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" sz="2000" b="1" dirty="0">
                <a:solidFill>
                  <a:srgbClr val="FFFFFF"/>
                </a:solidFill>
                <a:cs typeface="Arial" pitchFamily="34" charset="0"/>
              </a:rPr>
              <a:t>Alcance</a:t>
            </a:r>
          </a:p>
        </p:txBody>
      </p:sp>
      <p:sp>
        <p:nvSpPr>
          <p:cNvPr id="3249156" name="Espaço Reservado para Conteúdo 2"/>
          <p:cNvSpPr txBox="1">
            <a:spLocks/>
          </p:cNvSpPr>
          <p:nvPr/>
        </p:nvSpPr>
        <p:spPr bwMode="auto">
          <a:xfrm>
            <a:off x="2306638" y="1728788"/>
            <a:ext cx="4787900" cy="362426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28588" indent="-128588" defTabSz="914400">
              <a:lnSpc>
                <a:spcPct val="11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sz="1400" dirty="0">
                <a:solidFill>
                  <a:srgbClr val="000000"/>
                </a:solidFill>
              </a:rPr>
              <a:t>Asegurar el desarrollo y la sostenibilidad de la </a:t>
            </a:r>
            <a:r>
              <a:rPr lang="es-ES" sz="1400" dirty="0" err="1">
                <a:solidFill>
                  <a:srgbClr val="000000"/>
                </a:solidFill>
              </a:rPr>
              <a:t>Misi</a:t>
            </a:r>
            <a:r>
              <a:rPr lang="es-ES_tradnl" sz="1400" dirty="0" err="1">
                <a:solidFill>
                  <a:srgbClr val="000000"/>
                </a:solidFill>
              </a:rPr>
              <a:t>ó</a:t>
            </a:r>
            <a:r>
              <a:rPr lang="es-ES" sz="1400" dirty="0">
                <a:solidFill>
                  <a:srgbClr val="000000"/>
                </a:solidFill>
              </a:rPr>
              <a:t>n Marista proponiendo e implementando principios, directrices y posibles modelos de animación, gobernanza y gestión para la Administración General y para las Unidades </a:t>
            </a:r>
            <a:r>
              <a:rPr lang="es-ES" sz="1400" dirty="0" smtClean="0">
                <a:solidFill>
                  <a:srgbClr val="000000"/>
                </a:solidFill>
              </a:rPr>
              <a:t>Administrativas, </a:t>
            </a:r>
            <a:r>
              <a:rPr lang="es-ES" sz="1400" dirty="0">
                <a:solidFill>
                  <a:srgbClr val="000000"/>
                </a:solidFill>
              </a:rPr>
              <a:t>para que sean capaces de hacer frente a los desafíos que surgen del análisis DAFO en cuatro dimensiones generales:</a:t>
            </a:r>
          </a:p>
          <a:p>
            <a:pPr marL="309563" lvl="1" indent="-12700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 typeface="Arial" charset="0"/>
              <a:buChar char="•"/>
            </a:pPr>
            <a:r>
              <a:rPr lang="es-ES" sz="1400" b="1" dirty="0">
                <a:solidFill>
                  <a:srgbClr val="000000"/>
                </a:solidFill>
              </a:rPr>
              <a:t>Internacionalidad</a:t>
            </a:r>
            <a:r>
              <a:rPr lang="es-ES" sz="1400" dirty="0">
                <a:solidFill>
                  <a:srgbClr val="000000"/>
                </a:solidFill>
              </a:rPr>
              <a:t>: ¿Podríamos funcionar mejor como un Instituto internacional?</a:t>
            </a:r>
          </a:p>
          <a:p>
            <a:pPr marL="309563" lvl="1" indent="-12700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 typeface="Arial" charset="0"/>
              <a:buChar char="•"/>
            </a:pPr>
            <a:r>
              <a:rPr lang="es-ES" sz="1400" b="1" dirty="0">
                <a:solidFill>
                  <a:srgbClr val="000000"/>
                </a:solidFill>
              </a:rPr>
              <a:t>La corresponsabilidad y complementariedad de los laicos y religiosos para la </a:t>
            </a:r>
            <a:r>
              <a:rPr lang="es-ES" sz="1400" b="1" dirty="0" smtClean="0">
                <a:solidFill>
                  <a:srgbClr val="000000"/>
                </a:solidFill>
              </a:rPr>
              <a:t>Misión</a:t>
            </a:r>
            <a:r>
              <a:rPr lang="es-ES" sz="1400" dirty="0">
                <a:solidFill>
                  <a:srgbClr val="000000"/>
                </a:solidFill>
              </a:rPr>
              <a:t>;</a:t>
            </a:r>
          </a:p>
          <a:p>
            <a:pPr marL="309563" lvl="1" indent="-12700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 typeface="Arial" charset="0"/>
              <a:buChar char="•"/>
            </a:pPr>
            <a:r>
              <a:rPr lang="es-ES" sz="1400" b="1" dirty="0">
                <a:solidFill>
                  <a:srgbClr val="000000"/>
                </a:solidFill>
              </a:rPr>
              <a:t>Gobierno y gestión en el ámbito de las Unidades </a:t>
            </a:r>
            <a:r>
              <a:rPr lang="es-ES" sz="1400" b="1" dirty="0" smtClean="0">
                <a:solidFill>
                  <a:srgbClr val="000000"/>
                </a:solidFill>
              </a:rPr>
              <a:t>Administrativas</a:t>
            </a:r>
            <a:r>
              <a:rPr lang="es-ES" sz="1400" dirty="0">
                <a:solidFill>
                  <a:srgbClr val="000000"/>
                </a:solidFill>
              </a:rPr>
              <a:t>;</a:t>
            </a:r>
          </a:p>
          <a:p>
            <a:pPr marL="309563" lvl="1" indent="-12700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 typeface="Arial" charset="0"/>
              <a:buChar char="•"/>
            </a:pPr>
            <a:r>
              <a:rPr lang="es-ES" sz="1400" b="1" dirty="0">
                <a:solidFill>
                  <a:srgbClr val="000000"/>
                </a:solidFill>
              </a:rPr>
              <a:t>Gobierno y gestión de la Administración General</a:t>
            </a:r>
            <a:r>
              <a:rPr lang="es-ES" sz="1400" dirty="0">
                <a:solidFill>
                  <a:srgbClr val="000000"/>
                </a:solidFill>
              </a:rPr>
              <a:t>.</a:t>
            </a:r>
            <a:r>
              <a:rPr lang="es-ES" sz="1400" b="1" dirty="0">
                <a:solidFill>
                  <a:srgbClr val="000000"/>
                </a:solidFill>
              </a:rPr>
              <a:t> </a:t>
            </a:r>
            <a:endParaRPr lang="es-ES" sz="1400" dirty="0">
              <a:solidFill>
                <a:srgbClr val="000000"/>
              </a:solidFill>
            </a:endParaRPr>
          </a:p>
        </p:txBody>
      </p:sp>
      <p:pic>
        <p:nvPicPr>
          <p:cNvPr id="3249157" name="Imagen 2" descr="Captura de pantalla 2015-06-22 a las 0.05.00.png"/>
          <p:cNvPicPr>
            <a:picLocks noChangeAspect="1"/>
          </p:cNvPicPr>
          <p:nvPr/>
        </p:nvPicPr>
        <p:blipFill>
          <a:blip r:embed="rId2"/>
          <a:srcRect l="17039" t="13074" r="66486" b="63116"/>
          <a:stretch>
            <a:fillRect/>
          </a:stretch>
        </p:blipFill>
        <p:spPr bwMode="auto">
          <a:xfrm>
            <a:off x="7127875" y="3608388"/>
            <a:ext cx="1757363" cy="147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/>
          <p:nvPr/>
        </p:nvSpPr>
        <p:spPr>
          <a:xfrm>
            <a:off x="142875" y="5753100"/>
            <a:ext cx="2089150" cy="603250"/>
          </a:xfrm>
          <a:prstGeom prst="rect">
            <a:avLst/>
          </a:prstGeom>
          <a:solidFill>
            <a:srgbClr val="2B5B99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" b="1" dirty="0" smtClean="0">
                <a:solidFill>
                  <a:srgbClr val="FFFFFF"/>
                </a:solidFill>
                <a:cs typeface="Arial" pitchFamily="34" charset="0"/>
              </a:rPr>
              <a:t>Límites</a:t>
            </a:r>
            <a:endParaRPr lang="es-ES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249159" name="Espaço Reservado para Conteúdo 2"/>
          <p:cNvSpPr txBox="1">
            <a:spLocks/>
          </p:cNvSpPr>
          <p:nvPr/>
        </p:nvSpPr>
        <p:spPr bwMode="auto">
          <a:xfrm>
            <a:off x="2306638" y="5713413"/>
            <a:ext cx="6484937" cy="68421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28588" indent="-128588" defTabSz="914400">
              <a:lnSpc>
                <a:spcPct val="11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sz="1400" dirty="0">
                <a:solidFill>
                  <a:srgbClr val="000000"/>
                </a:solidFill>
              </a:rPr>
              <a:t>El alcance del proyecto </a:t>
            </a:r>
            <a:r>
              <a:rPr lang="es-ES" sz="1400" dirty="0" smtClean="0">
                <a:solidFill>
                  <a:srgbClr val="000000"/>
                </a:solidFill>
              </a:rPr>
              <a:t>debería limitarse </a:t>
            </a:r>
            <a:r>
              <a:rPr lang="es-ES" sz="1400" dirty="0">
                <a:solidFill>
                  <a:srgbClr val="000000"/>
                </a:solidFill>
              </a:rPr>
              <a:t>a los cambios en los modelos de animación</a:t>
            </a:r>
            <a:r>
              <a:rPr lang="es-ES_tradnl" sz="1400" dirty="0">
                <a:solidFill>
                  <a:srgbClr val="000000"/>
                </a:solidFill>
              </a:rPr>
              <a:t>, </a:t>
            </a:r>
            <a:r>
              <a:rPr lang="es-ES" sz="1400" dirty="0">
                <a:solidFill>
                  <a:srgbClr val="000000"/>
                </a:solidFill>
              </a:rPr>
              <a:t>gobernanza y gestión que sean necesarios para hacer frente a los retos del Instituto.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249160" name="Rectangle 5"/>
          <p:cNvSpPr txBox="1">
            <a:spLocks noChangeArrowheads="1"/>
          </p:cNvSpPr>
          <p:nvPr/>
        </p:nvSpPr>
        <p:spPr bwMode="auto">
          <a:xfrm>
            <a:off x="7213600" y="139700"/>
            <a:ext cx="1679575" cy="16668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" sz="1200">
                <a:solidFill>
                  <a:srgbClr val="000000"/>
                </a:solidFill>
              </a:rPr>
              <a:t>Descripción del proyecto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3878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07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3879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5162"/>
          </a:xfrm>
        </p:spPr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¿Estamos definiendo adecuadamente nuestros objetivos?– Propuestas clave</a:t>
            </a:r>
          </a:p>
        </p:txBody>
      </p:sp>
      <p:sp>
        <p:nvSpPr>
          <p:cNvPr id="57" name="Rectangle 56"/>
          <p:cNvSpPr/>
          <p:nvPr/>
        </p:nvSpPr>
        <p:spPr>
          <a:xfrm>
            <a:off x="2519363" y="2814777"/>
            <a:ext cx="6408737" cy="228216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89111" indent="-89111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00" b="1" dirty="0">
                <a:solidFill>
                  <a:srgbClr val="000000"/>
                </a:solidFill>
                <a:cs typeface="Arial" charset="0"/>
              </a:rPr>
              <a:t>La Asamblea de Misión / el Capítulo general / la AG  </a:t>
            </a:r>
            <a:r>
              <a:rPr lang="es-ES" sz="1100" dirty="0">
                <a:solidFill>
                  <a:srgbClr val="000000"/>
                </a:solidFill>
                <a:cs typeface="Arial" charset="0"/>
              </a:rPr>
              <a:t>son responsables de definir la visión la estratégica a medio y largo plazo (prioridades de la Misión, las directrices para la solidaridad, los nuevos modelos de Misión...) con claras </a:t>
            </a:r>
            <a:r>
              <a:rPr lang="es-ES" sz="1100" b="1" dirty="0">
                <a:solidFill>
                  <a:srgbClr val="000000"/>
                </a:solidFill>
                <a:cs typeface="Arial" charset="0"/>
              </a:rPr>
              <a:t>evidencias de los impactos </a:t>
            </a:r>
            <a:r>
              <a:rPr lang="es-ES" sz="1100" dirty="0">
                <a:solidFill>
                  <a:srgbClr val="000000"/>
                </a:solidFill>
                <a:cs typeface="Arial" charset="0"/>
              </a:rPr>
              <a:t>esperados (tanto de la Misión como en la economía) y los objetivos (por ejemplo, % de aumento de los estudiantes </a:t>
            </a:r>
            <a:r>
              <a:rPr lang="es-ES" sz="1100" dirty="0" smtClean="0">
                <a:solidFill>
                  <a:srgbClr val="000000"/>
                </a:solidFill>
                <a:cs typeface="Arial" charset="0"/>
              </a:rPr>
              <a:t>en los </a:t>
            </a:r>
            <a:r>
              <a:rPr lang="es-ES" sz="1100" dirty="0">
                <a:solidFill>
                  <a:srgbClr val="000000"/>
                </a:solidFill>
                <a:cs typeface="Arial" charset="0"/>
              </a:rPr>
              <a:t>próximos años).</a:t>
            </a:r>
          </a:p>
          <a:p>
            <a:pPr marL="212877" lvl="1" indent="-123765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" sz="1100" dirty="0">
                <a:solidFill>
                  <a:srgbClr val="000000"/>
                </a:solidFill>
                <a:cs typeface="Arial" charset="0"/>
              </a:rPr>
              <a:t>El acceso al nivel adecuado de información es fundamental para apoyar la toma de decisiones de manera oportuna y eficaz.</a:t>
            </a:r>
          </a:p>
          <a:p>
            <a:pPr marL="212877" lvl="1" indent="-123765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" sz="1100" b="1" dirty="0" smtClean="0">
                <a:solidFill>
                  <a:srgbClr val="000000"/>
                </a:solidFill>
                <a:cs typeface="Arial" charset="0"/>
              </a:rPr>
              <a:t>Pautas detalladas versus meras orientaciones.</a:t>
            </a:r>
            <a:endParaRPr lang="es-ES" sz="1100" b="1" dirty="0">
              <a:solidFill>
                <a:srgbClr val="000000"/>
              </a:solidFill>
              <a:cs typeface="Arial" charset="0"/>
            </a:endParaRPr>
          </a:p>
          <a:p>
            <a:pPr marL="89111" indent="-89111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00" b="1" dirty="0">
                <a:solidFill>
                  <a:srgbClr val="000000"/>
                </a:solidFill>
                <a:cs typeface="Arial" charset="0"/>
              </a:rPr>
              <a:t>La regiones </a:t>
            </a:r>
            <a:r>
              <a:rPr lang="es-ES" sz="1100" dirty="0">
                <a:solidFill>
                  <a:srgbClr val="000000"/>
                </a:solidFill>
                <a:cs typeface="Arial" charset="0"/>
              </a:rPr>
              <a:t>son responsables de detallar la Visión de la AG </a:t>
            </a:r>
            <a:r>
              <a:rPr lang="es-ES" sz="1100" dirty="0" smtClean="0">
                <a:solidFill>
                  <a:srgbClr val="000000"/>
                </a:solidFill>
                <a:cs typeface="Arial" charset="0"/>
              </a:rPr>
              <a:t>operativamente, </a:t>
            </a:r>
            <a:r>
              <a:rPr lang="es-ES" sz="1100" dirty="0">
                <a:solidFill>
                  <a:srgbClr val="000000"/>
                </a:solidFill>
                <a:cs typeface="Arial" charset="0"/>
              </a:rPr>
              <a:t>definiendo en cascada los impactos y plazos esperados, y garantizando la alineación con la Misión Marista a todos los niveles.</a:t>
            </a:r>
          </a:p>
          <a:p>
            <a:pPr marL="89111" indent="-89111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00" b="1" dirty="0">
                <a:solidFill>
                  <a:srgbClr val="000000"/>
                </a:solidFill>
                <a:cs typeface="Arial" charset="0"/>
              </a:rPr>
              <a:t>Las Provincias/Distritos </a:t>
            </a:r>
            <a:r>
              <a:rPr lang="es-ES" sz="1100" dirty="0">
                <a:solidFill>
                  <a:srgbClr val="000000"/>
                </a:solidFill>
                <a:cs typeface="Arial" charset="0"/>
              </a:rPr>
              <a:t>garantizan la ejecución y aplicación (los pasos previos están cubiertos por sus representantes en los Capítulos Generales, en la AG y en las Regiones).</a:t>
            </a:r>
          </a:p>
        </p:txBody>
      </p:sp>
      <p:sp>
        <p:nvSpPr>
          <p:cNvPr id="5" name="Rectangle 4"/>
          <p:cNvSpPr/>
          <p:nvPr/>
        </p:nvSpPr>
        <p:spPr>
          <a:xfrm>
            <a:off x="141288" y="2814777"/>
            <a:ext cx="2235200" cy="2295525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>
              <a:spcAft>
                <a:spcPts val="1300"/>
              </a:spcAft>
              <a:defRPr/>
            </a:pPr>
            <a:r>
              <a:rPr lang="es-ES" sz="1600" b="1">
                <a:solidFill>
                  <a:srgbClr val="FFFFFF"/>
                </a:solidFill>
                <a:ea typeface="Arial" charset="0"/>
                <a:cs typeface="Times New Roman" pitchFamily="18" charset="0"/>
              </a:rPr>
              <a:t>Planificación estratégica de la Misión a largo plazo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519363" y="1784997"/>
            <a:ext cx="6408737" cy="1021049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7212" indent="-97212" algn="just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50" b="1" dirty="0">
                <a:solidFill>
                  <a:srgbClr val="000000"/>
                </a:solidFill>
                <a:cs typeface="Arial" pitchFamily="34" charset="0"/>
              </a:rPr>
              <a:t>Proceso estándar </a:t>
            </a:r>
            <a:r>
              <a:rPr lang="es-ES" sz="1150" dirty="0">
                <a:solidFill>
                  <a:srgbClr val="000000"/>
                </a:solidFill>
                <a:cs typeface="Arial" pitchFamily="34" charset="0"/>
              </a:rPr>
              <a:t>para la recogida de necesidades locales (comunidades, provincias...).</a:t>
            </a:r>
          </a:p>
          <a:p>
            <a:pPr marL="97212" indent="-97212" algn="just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50" dirty="0">
                <a:solidFill>
                  <a:srgbClr val="000000"/>
                </a:solidFill>
                <a:cs typeface="Arial" pitchFamily="34" charset="0"/>
              </a:rPr>
              <a:t>Definición de </a:t>
            </a:r>
            <a:r>
              <a:rPr lang="es-ES" sz="1150" b="1" dirty="0">
                <a:solidFill>
                  <a:srgbClr val="000000"/>
                </a:solidFill>
                <a:cs typeface="Arial" pitchFamily="34" charset="0"/>
              </a:rPr>
              <a:t>criterios de priorización comúnmente acordados en base a nuestra Misión.</a:t>
            </a:r>
          </a:p>
          <a:p>
            <a:pPr marL="97212" indent="-97212" algn="just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50" b="1" dirty="0">
                <a:solidFill>
                  <a:srgbClr val="000000"/>
                </a:solidFill>
                <a:cs typeface="Arial" pitchFamily="34" charset="0"/>
              </a:rPr>
              <a:t>Evaluación continua </a:t>
            </a:r>
            <a:r>
              <a:rPr lang="es-ES" sz="1150" b="1" dirty="0" smtClean="0">
                <a:solidFill>
                  <a:srgbClr val="000000"/>
                </a:solidFill>
                <a:cs typeface="Arial" pitchFamily="34" charset="0"/>
              </a:rPr>
              <a:t>de la presencia </a:t>
            </a:r>
            <a:r>
              <a:rPr lang="es-ES" sz="1150" b="1" dirty="0">
                <a:solidFill>
                  <a:srgbClr val="000000"/>
                </a:solidFill>
                <a:cs typeface="Arial" pitchFamily="34" charset="0"/>
              </a:rPr>
              <a:t>geográfica: </a:t>
            </a:r>
            <a:r>
              <a:rPr lang="es-ES" sz="1150" dirty="0">
                <a:solidFill>
                  <a:srgbClr val="000000"/>
                </a:solidFill>
                <a:cs typeface="Arial" pitchFamily="34" charset="0"/>
              </a:rPr>
              <a:t>análisis de </a:t>
            </a:r>
            <a:r>
              <a:rPr lang="es-ES" sz="1150" dirty="0" smtClean="0">
                <a:solidFill>
                  <a:srgbClr val="000000"/>
                </a:solidFill>
                <a:cs typeface="Arial" pitchFamily="34" charset="0"/>
              </a:rPr>
              <a:t>presencia </a:t>
            </a:r>
            <a:r>
              <a:rPr lang="es-ES" sz="1150" dirty="0">
                <a:solidFill>
                  <a:srgbClr val="000000"/>
                </a:solidFill>
                <a:cs typeface="Arial" pitchFamily="34" charset="0"/>
              </a:rPr>
              <a:t>geográfica actual, evaluación de nuevos espacios para la Misión y decisión sobre la presencia a largo plazo en las zonas donde la Misión es operacionalmente insostenible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41288" y="1784997"/>
            <a:ext cx="2235200" cy="946150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_tradnl" sz="1600" b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Definición de prioridad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525713" y="5110163"/>
            <a:ext cx="6546850" cy="962025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113414" indent="-113414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00" b="1" dirty="0">
                <a:solidFill>
                  <a:srgbClr val="000000"/>
                </a:solidFill>
                <a:cs typeface="Arial" pitchFamily="34" charset="0"/>
              </a:rPr>
              <a:t>Comité interno de innovación global </a:t>
            </a:r>
            <a:r>
              <a:rPr lang="es-ES" sz="1100" dirty="0">
                <a:solidFill>
                  <a:srgbClr val="000000"/>
                </a:solidFill>
                <a:cs typeface="Arial" pitchFamily="34" charset="0"/>
              </a:rPr>
              <a:t>para el desarrollo y la </a:t>
            </a:r>
            <a:r>
              <a:rPr lang="es-ES" sz="1100" dirty="0" smtClean="0">
                <a:solidFill>
                  <a:srgbClr val="000000"/>
                </a:solidFill>
                <a:cs typeface="Arial" pitchFamily="34" charset="0"/>
              </a:rPr>
              <a:t>evaluación</a:t>
            </a:r>
            <a:r>
              <a:rPr lang="es-ES_tradnl" sz="110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s-ES_tradnl" sz="1100" dirty="0">
                <a:solidFill>
                  <a:srgbClr val="000000"/>
                </a:solidFill>
                <a:cs typeface="Arial" pitchFamily="34" charset="0"/>
              </a:rPr>
              <a:t>de</a:t>
            </a:r>
            <a:r>
              <a:rPr lang="es-ES" sz="1100" dirty="0">
                <a:solidFill>
                  <a:srgbClr val="000000"/>
                </a:solidFill>
                <a:cs typeface="Arial" pitchFamily="34" charset="0"/>
              </a:rPr>
              <a:t> las evoluciones discontinuas (nuevos </a:t>
            </a:r>
            <a:r>
              <a:rPr lang="es-ES" sz="1100" dirty="0" smtClean="0">
                <a:solidFill>
                  <a:srgbClr val="000000"/>
                </a:solidFill>
                <a:cs typeface="Arial" pitchFamily="34" charset="0"/>
              </a:rPr>
              <a:t>enfoques...).</a:t>
            </a:r>
            <a:endParaRPr lang="es-ES" sz="1100" dirty="0">
              <a:solidFill>
                <a:srgbClr val="000000"/>
              </a:solidFill>
              <a:cs typeface="Arial" pitchFamily="34" charset="0"/>
            </a:endParaRPr>
          </a:p>
          <a:p>
            <a:pPr marL="113414" indent="-113414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00" dirty="0">
                <a:solidFill>
                  <a:srgbClr val="000000"/>
                </a:solidFill>
                <a:cs typeface="Arial" pitchFamily="34" charset="0"/>
              </a:rPr>
              <a:t>Conexión con </a:t>
            </a:r>
            <a:r>
              <a:rPr lang="es-ES" sz="1100" b="1" dirty="0">
                <a:solidFill>
                  <a:srgbClr val="000000"/>
                </a:solidFill>
                <a:cs typeface="Arial" pitchFamily="34" charset="0"/>
              </a:rPr>
              <a:t>comunidades de innovación </a:t>
            </a:r>
            <a:r>
              <a:rPr lang="es-ES" sz="1100" b="1" dirty="0" smtClean="0">
                <a:solidFill>
                  <a:srgbClr val="000000"/>
                </a:solidFill>
                <a:cs typeface="Arial" pitchFamily="34" charset="0"/>
              </a:rPr>
              <a:t>externas </a:t>
            </a:r>
            <a:r>
              <a:rPr lang="es-ES" sz="1100" dirty="0">
                <a:solidFill>
                  <a:srgbClr val="000000"/>
                </a:solidFill>
                <a:cs typeface="Arial" pitchFamily="34" charset="0"/>
              </a:rPr>
              <a:t>al Instituto (ej. c</a:t>
            </a:r>
            <a:r>
              <a:rPr lang="es-ES" sz="1100" dirty="0" smtClean="0">
                <a:solidFill>
                  <a:srgbClr val="000000"/>
                </a:solidFill>
                <a:cs typeface="Arial" pitchFamily="34" charset="0"/>
              </a:rPr>
              <a:t>omunidades “versión 2.0”).</a:t>
            </a:r>
            <a:endParaRPr lang="es-ES" sz="1100" dirty="0">
              <a:solidFill>
                <a:srgbClr val="000000"/>
              </a:solidFill>
              <a:cs typeface="Arial" pitchFamily="34" charset="0"/>
            </a:endParaRPr>
          </a:p>
          <a:p>
            <a:pPr marL="113414" indent="-113414" fontAlgn="auto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100" dirty="0">
                <a:solidFill>
                  <a:srgbClr val="000000"/>
                </a:solidFill>
                <a:cs typeface="Arial" pitchFamily="34" charset="0"/>
              </a:rPr>
              <a:t>Innovación para mantener </a:t>
            </a:r>
            <a:r>
              <a:rPr lang="es-ES" sz="1100" b="1" dirty="0">
                <a:solidFill>
                  <a:srgbClr val="000000"/>
                </a:solidFill>
                <a:cs typeface="Arial" pitchFamily="34" charset="0"/>
              </a:rPr>
              <a:t>nuevos horizontes </a:t>
            </a:r>
            <a:r>
              <a:rPr lang="es-ES" sz="1100" dirty="0">
                <a:solidFill>
                  <a:srgbClr val="000000"/>
                </a:solidFill>
                <a:cs typeface="Arial" pitchFamily="34" charset="0"/>
              </a:rPr>
              <a:t>(actualmente sin cubrir, por ejemplo, las comunidades internacionales).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41288" y="5184775"/>
            <a:ext cx="2235200" cy="838200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MX" sz="1600" b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Innovación </a:t>
            </a:r>
            <a:r>
              <a:rPr lang="es-MX" sz="1600" b="1" dirty="0" smtClean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significativa</a:t>
            </a:r>
            <a:endParaRPr lang="es-MX" sz="1600" b="1" dirty="0">
              <a:solidFill>
                <a:srgbClr val="FFFFFF"/>
              </a:solidFill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33886" name="RunningHead"/>
          <p:cNvSpPr txBox="1">
            <a:spLocks noChangeArrowheads="1"/>
          </p:cNvSpPr>
          <p:nvPr/>
        </p:nvSpPr>
        <p:spPr bwMode="gray">
          <a:xfrm>
            <a:off x="5078413" y="136525"/>
            <a:ext cx="4065587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" sz="1200" dirty="0">
                <a:solidFill>
                  <a:srgbClr val="000000"/>
                </a:solidFill>
                <a:ea typeface="Arial" charset="0"/>
                <a:cs typeface="Times New Roman" pitchFamily="18" charset="0"/>
              </a:rPr>
              <a:t>¿Estamos definiendo adecuadamente nuestros objetivos</a:t>
            </a:r>
            <a:r>
              <a:rPr lang="en-US" sz="1200" dirty="0">
                <a:solidFill>
                  <a:srgbClr val="000000"/>
                </a:solidFill>
                <a:ea typeface="Arial" charset="0"/>
                <a:cs typeface="Times New Roman" pitchFamily="18" charset="0"/>
              </a:rPr>
              <a:t>? </a:t>
            </a:r>
          </a:p>
        </p:txBody>
      </p:sp>
      <p:sp>
        <p:nvSpPr>
          <p:cNvPr id="633887" name="TextBox 2"/>
          <p:cNvSpPr txBox="1">
            <a:spLocks noChangeArrowheads="1"/>
          </p:cNvSpPr>
          <p:nvPr/>
        </p:nvSpPr>
        <p:spPr bwMode="auto">
          <a:xfrm>
            <a:off x="0" y="6137275"/>
            <a:ext cx="9144000" cy="466725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252476" tIns="76200" rIns="252476" bIns="76200" anchor="ctr"/>
          <a:lstStyle/>
          <a:p>
            <a:pPr>
              <a:lnSpc>
                <a:spcPct val="90000"/>
              </a:lnSpc>
              <a:buClr>
                <a:srgbClr val="9B1717"/>
              </a:buClr>
            </a:pPr>
            <a:r>
              <a:rPr lang="es-ES_tradnl" dirty="0">
                <a:solidFill>
                  <a:srgbClr val="FFFFFF"/>
                </a:solidFill>
              </a:rPr>
              <a:t>Las </a:t>
            </a:r>
            <a:r>
              <a:rPr lang="es-ES_tradnl" dirty="0" smtClean="0">
                <a:solidFill>
                  <a:srgbClr val="FFFFFF"/>
                </a:solidFill>
              </a:rPr>
              <a:t>pautas se amplían en </a:t>
            </a:r>
            <a:r>
              <a:rPr lang="es-ES_tradnl" dirty="0">
                <a:solidFill>
                  <a:srgbClr val="FFFFFF"/>
                </a:solidFill>
              </a:rPr>
              <a:t>el párrafo siguiente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8545" name="Rectangle 5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>
          <a:xfrm>
            <a:off x="244475" y="804863"/>
            <a:ext cx="8640763" cy="665162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¿Estamos definiendo adecuadamente nuestros objetivos? – Responsabilidades, competencias necesarias y proceso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36525" y="2153462"/>
            <a:ext cx="4075113" cy="165735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>
            <a:noFill/>
            <a:miter lim="800000"/>
          </a:ln>
        </p:spPr>
        <p:txBody>
          <a:bodyPr lIns="72000" tIns="36000" rIns="36000" bIns="36000"/>
          <a:lstStyle/>
          <a:p>
            <a:pPr marL="112713" indent="-112713" defTabSz="914400" eaLnBrk="0" hangingPunct="0">
              <a:lnSpc>
                <a:spcPct val="90000"/>
              </a:lnSpc>
              <a:spcBef>
                <a:spcPts val="5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300" b="1" dirty="0">
                <a:solidFill>
                  <a:srgbClr val="000000"/>
                </a:solidFill>
              </a:rPr>
              <a:t>Roles internos y responsabilidades </a:t>
            </a:r>
            <a:r>
              <a:rPr lang="es-ES" sz="1300" dirty="0">
                <a:solidFill>
                  <a:srgbClr val="000000"/>
                </a:solidFill>
              </a:rPr>
              <a:t>distribuidas entre el Consejo Provincial, la Comisión de asuntos económicos y el Ecónomo provincial.</a:t>
            </a:r>
            <a:endParaRPr lang="es-ES" sz="1300" b="1" dirty="0">
              <a:solidFill>
                <a:srgbClr val="000000"/>
              </a:solidFill>
            </a:endParaRPr>
          </a:p>
          <a:p>
            <a:pPr marL="112713" indent="-112713" defTabSz="914400" eaLnBrk="0" hangingPunct="0">
              <a:lnSpc>
                <a:spcPct val="90000"/>
              </a:lnSpc>
              <a:spcBef>
                <a:spcPts val="5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300" dirty="0">
                <a:solidFill>
                  <a:srgbClr val="000000"/>
                </a:solidFill>
              </a:rPr>
              <a:t>Creación de </a:t>
            </a:r>
            <a:r>
              <a:rPr lang="es-ES" sz="1300" b="1" dirty="0">
                <a:solidFill>
                  <a:srgbClr val="000000"/>
                </a:solidFill>
              </a:rPr>
              <a:t>centros compartidos de competencia</a:t>
            </a:r>
            <a:r>
              <a:rPr lang="es-ES" sz="1300" dirty="0">
                <a:solidFill>
                  <a:srgbClr val="000000"/>
                </a:solidFill>
              </a:rPr>
              <a:t> para la gestión de activos y planificación y control.</a:t>
            </a:r>
          </a:p>
          <a:p>
            <a:pPr marL="112713" indent="-112713" defTabSz="914400" eaLnBrk="0" hangingPunct="0">
              <a:lnSpc>
                <a:spcPct val="90000"/>
              </a:lnSpc>
              <a:spcBef>
                <a:spcPts val="5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300" dirty="0">
                <a:solidFill>
                  <a:srgbClr val="000000"/>
                </a:solidFill>
              </a:rPr>
              <a:t>La </a:t>
            </a:r>
            <a:r>
              <a:rPr lang="es-ES" sz="1300" b="1" dirty="0">
                <a:solidFill>
                  <a:srgbClr val="000000"/>
                </a:solidFill>
              </a:rPr>
              <a:t>delegación de responsabilidades </a:t>
            </a:r>
            <a:r>
              <a:rPr lang="es-ES" sz="1300" dirty="0">
                <a:solidFill>
                  <a:srgbClr val="000000"/>
                </a:solidFill>
              </a:rPr>
              <a:t>se transferirá a las </a:t>
            </a:r>
            <a:r>
              <a:rPr lang="es-ES" sz="1300" b="1" dirty="0">
                <a:solidFill>
                  <a:srgbClr val="000000"/>
                </a:solidFill>
              </a:rPr>
              <a:t>comunidades</a:t>
            </a:r>
            <a:r>
              <a:rPr lang="es-ES" sz="13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36525" y="4272005"/>
            <a:ext cx="4075113" cy="182548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>
            <a:noFill/>
            <a:miter lim="800000"/>
          </a:ln>
        </p:spPr>
        <p:txBody>
          <a:bodyPr lIns="72000" tIns="36000" rIns="36000" bIns="36000"/>
          <a:lstStyle>
            <a:defPPr>
              <a:defRPr lang="de-DE"/>
            </a:defPPr>
            <a:lvl1pPr marL="113414" lvl="0" indent="-113414" eaLnBrk="0" fontAlgn="base" hangingPunct="0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SzPct val="100000"/>
              <a:buFont typeface="Arial"/>
              <a:buChar char="•"/>
              <a:defRPr sz="1400">
                <a:cs typeface="Arial" charset="0"/>
              </a:defRPr>
            </a:lvl1pPr>
          </a:lstStyle>
          <a:p>
            <a:pPr defTabSz="914400">
              <a:spcAft>
                <a:spcPts val="0"/>
              </a:spcAft>
              <a:buClr>
                <a:srgbClr val="9B1717"/>
              </a:buClr>
              <a:defRPr/>
            </a:pPr>
            <a:r>
              <a:rPr lang="es-ES" sz="1300" b="1" dirty="0" smtClean="0">
                <a:solidFill>
                  <a:srgbClr val="000000"/>
                </a:solidFill>
                <a:latin typeface="Arial"/>
              </a:rPr>
              <a:t>Los siguientes procesos deben ser diseñados e implementados para:</a:t>
            </a:r>
            <a:endParaRPr lang="es-ES" sz="1300" dirty="0" smtClean="0">
              <a:solidFill>
                <a:srgbClr val="000000"/>
              </a:solidFill>
              <a:latin typeface="Arial"/>
            </a:endParaRPr>
          </a:p>
          <a:p>
            <a:pPr marL="270934" indent="-157520" defTabSz="914400"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Font typeface="Arial"/>
              <a:buChar char="–"/>
              <a:defRPr/>
            </a:pPr>
            <a:r>
              <a:rPr lang="es-ES" sz="1300" dirty="0" smtClean="0">
                <a:solidFill>
                  <a:srgbClr val="000000"/>
                </a:solidFill>
                <a:latin typeface="Arial"/>
              </a:rPr>
              <a:t>Análisis continuo de costes.</a:t>
            </a:r>
          </a:p>
          <a:p>
            <a:pPr marL="270934" indent="-157520" defTabSz="914400"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Font typeface="Arial"/>
              <a:buChar char="–"/>
              <a:defRPr/>
            </a:pPr>
            <a:r>
              <a:rPr lang="es-ES" sz="1300" dirty="0" smtClean="0">
                <a:solidFill>
                  <a:srgbClr val="000000"/>
                </a:solidFill>
                <a:latin typeface="Arial"/>
              </a:rPr>
              <a:t>Selección de socios inversores.</a:t>
            </a:r>
          </a:p>
          <a:p>
            <a:pPr marL="270934" indent="-157520" defTabSz="914400"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Font typeface="Arial"/>
              <a:buChar char="–"/>
              <a:defRPr/>
            </a:pPr>
            <a:r>
              <a:rPr lang="es-ES" sz="1300" dirty="0" smtClean="0">
                <a:solidFill>
                  <a:srgbClr val="000000"/>
                </a:solidFill>
                <a:latin typeface="Arial"/>
              </a:rPr>
              <a:t>Definición de las políticas de inversión (corto, medio y largo plazo).</a:t>
            </a:r>
          </a:p>
          <a:p>
            <a:pPr marL="270934" indent="-157520" defTabSz="914400"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Font typeface="Arial"/>
              <a:buChar char="–"/>
              <a:defRPr/>
            </a:pPr>
            <a:r>
              <a:rPr lang="es-ES" sz="1300" dirty="0" smtClean="0">
                <a:solidFill>
                  <a:srgbClr val="000000"/>
                </a:solidFill>
                <a:latin typeface="Arial"/>
              </a:rPr>
              <a:t>Informe y control sobre el rendimiento de las inversiones.</a:t>
            </a:r>
          </a:p>
          <a:p>
            <a:pPr marL="270934" indent="-157520" defTabSz="914400">
              <a:spcBef>
                <a:spcPts val="200"/>
              </a:spcBef>
              <a:spcAft>
                <a:spcPts val="0"/>
              </a:spcAft>
              <a:buClr>
                <a:srgbClr val="9B1717"/>
              </a:buClr>
              <a:buFont typeface="Arial"/>
              <a:buChar char="–"/>
              <a:defRPr/>
            </a:pPr>
            <a:r>
              <a:rPr lang="es-ES" sz="1300" dirty="0" smtClean="0">
                <a:solidFill>
                  <a:srgbClr val="000000"/>
                </a:solidFill>
                <a:latin typeface="Arial"/>
              </a:rPr>
              <a:t>Gestión de riesgos.</a:t>
            </a:r>
          </a:p>
        </p:txBody>
      </p:sp>
      <p:sp>
        <p:nvSpPr>
          <p:cNvPr id="3308548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36525" y="3932280"/>
            <a:ext cx="4075113" cy="338137"/>
          </a:xfrm>
          <a:prstGeom prst="homePlate">
            <a:avLst>
              <a:gd name="adj" fmla="val 0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wrap="none" lIns="71120" tIns="71120" rIns="71120" bIns="7112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>
                <a:solidFill>
                  <a:srgbClr val="FFFFFF"/>
                </a:solidFill>
              </a:rPr>
              <a:t>Procesos</a:t>
            </a:r>
          </a:p>
        </p:txBody>
      </p:sp>
      <p:sp>
        <p:nvSpPr>
          <p:cNvPr id="3308549" name="AutoShap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36525" y="1772462"/>
            <a:ext cx="4075113" cy="355600"/>
          </a:xfrm>
          <a:prstGeom prst="homePlate">
            <a:avLst>
              <a:gd name="adj" fmla="val 0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wrap="none" lIns="71120" tIns="71120" rIns="71120" bIns="7112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>
                <a:solidFill>
                  <a:srgbClr val="FFFFFF"/>
                </a:solidFill>
              </a:rPr>
              <a:t>Roles y responsabilidad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818063" y="2153462"/>
            <a:ext cx="4065587" cy="165735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>
            <a:noFill/>
            <a:miter lim="800000"/>
          </a:ln>
        </p:spPr>
        <p:txBody>
          <a:bodyPr lIns="72000" tIns="36000" rIns="36000" bIns="36000"/>
          <a:lstStyle>
            <a:defPPr>
              <a:defRPr lang="de-DE"/>
            </a:defPPr>
            <a:lvl1pPr marL="113414" lvl="0" indent="-113414" eaLnBrk="0" fontAlgn="base" hangingPunct="0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SzPct val="100000"/>
              <a:buFont typeface="Arial"/>
              <a:buChar char="•"/>
              <a:defRPr sz="1400">
                <a:cs typeface="Arial" charset="0"/>
              </a:defRPr>
            </a:lvl1pPr>
          </a:lstStyle>
          <a:p>
            <a:pPr defTabSz="914400">
              <a:spcAft>
                <a:spcPts val="0"/>
              </a:spcAft>
              <a:buClr>
                <a:srgbClr val="9B1717"/>
              </a:buClr>
              <a:defRPr/>
            </a:pPr>
            <a:r>
              <a:rPr lang="es-ES" sz="1300" dirty="0" smtClean="0">
                <a:solidFill>
                  <a:srgbClr val="000000"/>
                </a:solidFill>
                <a:latin typeface="Arial"/>
              </a:rPr>
              <a:t>Mejorar las </a:t>
            </a:r>
            <a:r>
              <a:rPr lang="es-ES" sz="1300" b="1" dirty="0" smtClean="0">
                <a:solidFill>
                  <a:srgbClr val="000000"/>
                </a:solidFill>
                <a:latin typeface="Arial"/>
              </a:rPr>
              <a:t>competencias internas </a:t>
            </a:r>
            <a:r>
              <a:rPr lang="es-ES" sz="1300" dirty="0" smtClean="0">
                <a:solidFill>
                  <a:srgbClr val="000000"/>
                </a:solidFill>
                <a:latin typeface="Arial"/>
              </a:rPr>
              <a:t>a medio plazo garantizando una cobertura adecuada de todas las necesidades a nivel Regional.</a:t>
            </a:r>
          </a:p>
          <a:p>
            <a:pPr defTabSz="914400">
              <a:spcAft>
                <a:spcPts val="0"/>
              </a:spcAft>
              <a:buClr>
                <a:srgbClr val="9B1717"/>
              </a:buClr>
              <a:defRPr/>
            </a:pPr>
            <a:r>
              <a:rPr lang="es-ES" sz="1300" b="1" dirty="0" smtClean="0">
                <a:solidFill>
                  <a:srgbClr val="000000"/>
                </a:solidFill>
                <a:latin typeface="Arial"/>
              </a:rPr>
              <a:t>Las competencias externas </a:t>
            </a:r>
            <a:r>
              <a:rPr lang="es-ES" sz="1300" dirty="0" smtClean="0">
                <a:solidFill>
                  <a:srgbClr val="000000"/>
                </a:solidFill>
                <a:latin typeface="Arial"/>
              </a:rPr>
              <a:t>deben ser plenamente explotadas para los procesos de gestión y en relación con los proveedores</a:t>
            </a:r>
            <a:r>
              <a:rPr lang="es-ES" sz="1300" b="1" dirty="0" smtClean="0">
                <a:solidFill>
                  <a:srgbClr val="000000"/>
                </a:solidFill>
                <a:latin typeface="Arial"/>
              </a:rPr>
              <a:t> (seleccionar proveedores y monitorizar su trabajo).</a:t>
            </a:r>
            <a:endParaRPr lang="es-ES" sz="13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08551" name="AutoShap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818063" y="1772462"/>
            <a:ext cx="4065587" cy="355600"/>
          </a:xfrm>
          <a:prstGeom prst="homePlate">
            <a:avLst>
              <a:gd name="adj" fmla="val 0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wrap="none" lIns="71120" tIns="71120" rIns="71120" bIns="7112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>
                <a:solidFill>
                  <a:srgbClr val="FFFFFF"/>
                </a:solidFill>
              </a:rPr>
              <a:t>Competencia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818063" y="4272005"/>
            <a:ext cx="4075112" cy="182403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>
            <a:noFill/>
            <a:miter lim="800000"/>
          </a:ln>
        </p:spPr>
        <p:txBody>
          <a:bodyPr lIns="72000" tIns="36000" rIns="36000" bIns="36000"/>
          <a:lstStyle>
            <a:defPPr>
              <a:defRPr lang="de-DE"/>
            </a:defPPr>
            <a:lvl1pPr marL="113414" lvl="0" indent="-113414" eaLnBrk="0" fontAlgn="base" hangingPunct="0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SzPct val="100000"/>
              <a:buFont typeface="Arial"/>
              <a:buChar char="•"/>
              <a:defRPr sz="1400">
                <a:cs typeface="Arial" charset="0"/>
              </a:defRPr>
            </a:lvl1pPr>
          </a:lstStyle>
          <a:p>
            <a:pPr defTabSz="914400">
              <a:spcAft>
                <a:spcPts val="0"/>
              </a:spcAft>
              <a:buClr>
                <a:srgbClr val="9B1717"/>
              </a:buClr>
              <a:defRPr/>
            </a:pPr>
            <a:r>
              <a:rPr lang="es-ES" sz="1300" dirty="0" smtClean="0">
                <a:solidFill>
                  <a:srgbClr val="000000"/>
                </a:solidFill>
                <a:latin typeface="Arial"/>
              </a:rPr>
              <a:t>Potencial solapamiento con las Regiones en algunos temas.</a:t>
            </a:r>
          </a:p>
          <a:p>
            <a:pPr defTabSz="914400">
              <a:spcAft>
                <a:spcPts val="0"/>
              </a:spcAft>
              <a:buClr>
                <a:srgbClr val="9B1717"/>
              </a:buClr>
              <a:defRPr/>
            </a:pPr>
            <a:r>
              <a:rPr lang="es-ES" sz="1300" dirty="0" smtClean="0">
                <a:solidFill>
                  <a:srgbClr val="000000"/>
                </a:solidFill>
                <a:latin typeface="Arial"/>
              </a:rPr>
              <a:t>Convergencia entre las diferentes Regiones (papel de la AG).</a:t>
            </a:r>
          </a:p>
          <a:p>
            <a:pPr defTabSz="914400">
              <a:spcAft>
                <a:spcPts val="0"/>
              </a:spcAft>
              <a:buClr>
                <a:srgbClr val="9B1717"/>
              </a:buClr>
              <a:defRPr/>
            </a:pPr>
            <a:r>
              <a:rPr lang="es-ES" sz="1300" dirty="0" smtClean="0">
                <a:solidFill>
                  <a:srgbClr val="000000"/>
                </a:solidFill>
                <a:latin typeface="Arial"/>
              </a:rPr>
              <a:t>Necesidad de integrar y combinar los objetivos locales y los del Instituto.</a:t>
            </a:r>
          </a:p>
        </p:txBody>
      </p:sp>
      <p:sp>
        <p:nvSpPr>
          <p:cNvPr id="3308553" name="AutoShape 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818063" y="3932280"/>
            <a:ext cx="4075112" cy="338137"/>
          </a:xfrm>
          <a:prstGeom prst="homePlate">
            <a:avLst>
              <a:gd name="adj" fmla="val 0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wrap="none" lIns="71120" tIns="71120" rIns="71120" bIns="7112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>
                <a:solidFill>
                  <a:srgbClr val="FFFFFF"/>
                </a:solidFill>
              </a:rPr>
              <a:t>Riesgos</a:t>
            </a:r>
          </a:p>
        </p:txBody>
      </p:sp>
      <p:sp>
        <p:nvSpPr>
          <p:cNvPr id="3308554" name="RunningHead"/>
          <p:cNvSpPr txBox="1">
            <a:spLocks noChangeArrowheads="1"/>
          </p:cNvSpPr>
          <p:nvPr/>
        </p:nvSpPr>
        <p:spPr bwMode="gray">
          <a:xfrm>
            <a:off x="4901713" y="139700"/>
            <a:ext cx="3989875" cy="1661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" sz="1200" dirty="0">
                <a:solidFill>
                  <a:srgbClr val="000000"/>
                </a:solidFill>
                <a:ea typeface="Arial" charset="0"/>
                <a:cs typeface="Times New Roman" pitchFamily="18" charset="0"/>
              </a:rPr>
              <a:t>¿Estamos definiendo adecuadamente nuestros objetivos</a:t>
            </a:r>
            <a:r>
              <a:rPr lang="en-US" sz="1200" dirty="0">
                <a:solidFill>
                  <a:srgbClr val="000000"/>
                </a:solidFill>
                <a:ea typeface="Arial" charset="0"/>
                <a:cs typeface="Times New Roman" pitchFamily="18" charset="0"/>
              </a:rPr>
              <a:t>? </a:t>
            </a:r>
          </a:p>
        </p:txBody>
      </p:sp>
      <p:sp>
        <p:nvSpPr>
          <p:cNvPr id="3308555" name="TextBox 13"/>
          <p:cNvSpPr txBox="1">
            <a:spLocks noChangeArrowheads="1"/>
          </p:cNvSpPr>
          <p:nvPr/>
        </p:nvSpPr>
        <p:spPr bwMode="auto">
          <a:xfrm>
            <a:off x="0" y="6137275"/>
            <a:ext cx="9144000" cy="466725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252476" tIns="76200" rIns="252476" bIns="76200" anchor="ctr"/>
          <a:lstStyle/>
          <a:p>
            <a:pPr defTabSz="914400">
              <a:lnSpc>
                <a:spcPct val="90000"/>
              </a:lnSpc>
              <a:buClr>
                <a:srgbClr val="9B1717"/>
              </a:buClr>
            </a:pPr>
            <a:r>
              <a:rPr lang="es-ES_tradnl" sz="1600" dirty="0" smtClean="0">
                <a:solidFill>
                  <a:srgbClr val="FFFFFF"/>
                </a:solidFill>
              </a:rPr>
              <a:t>Las pautas sobre roles, responsabilidades y riesgos </a:t>
            </a:r>
            <a:r>
              <a:rPr lang="es-ES_tradnl" sz="1600" dirty="0">
                <a:solidFill>
                  <a:srgbClr val="FFFFFF"/>
                </a:solidFill>
              </a:rPr>
              <a:t>se amplían en el párrafo </a:t>
            </a:r>
            <a:r>
              <a:rPr lang="es-ES_tradnl" sz="1600" dirty="0" smtClean="0">
                <a:solidFill>
                  <a:srgbClr val="FFFFFF"/>
                </a:solidFill>
              </a:rPr>
              <a:t>siguiente</a:t>
            </a:r>
            <a:endParaRPr lang="es-ES_tradnl" sz="16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3094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29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3095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5162"/>
          </a:xfrm>
        </p:spPr>
        <p:txBody>
          <a:bodyPr/>
          <a:lstStyle/>
          <a:p>
            <a:pPr eaLnBrk="1" hangingPunct="1"/>
            <a:r>
              <a:rPr lang="es-MX" dirty="0" smtClean="0">
                <a:latin typeface="Arial" charset="0"/>
                <a:cs typeface="Arial" charset="0"/>
              </a:rPr>
              <a:t>¿Estamos bien organizados? – </a:t>
            </a:r>
            <a:r>
              <a:rPr lang="es-ES" dirty="0">
                <a:latin typeface="Arial" charset="0"/>
                <a:cs typeface="Arial" charset="0"/>
              </a:rPr>
              <a:t>Áreas clave de mejora subrayadas en la fase de evaluación del diagnóstico.</a:t>
            </a:r>
            <a:endParaRPr lang="es-MX" dirty="0" smtClean="0">
              <a:latin typeface="Arial" charset="0"/>
              <a:cs typeface="Arial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3671901" y="1773238"/>
            <a:ext cx="5256200" cy="496813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7212" indent="-97212" defTabSz="914400"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b="1" dirty="0">
                <a:solidFill>
                  <a:srgbClr val="000000"/>
                </a:solidFill>
                <a:latin typeface="+mj-lt"/>
                <a:cs typeface="Arial" charset="0"/>
              </a:rPr>
              <a:t>Reconocimiento limitado del papel de los más altos </a:t>
            </a:r>
            <a:r>
              <a:rPr lang="es-ES" sz="1200" b="1" dirty="0">
                <a:solidFill>
                  <a:srgbClr val="000000"/>
                </a:solidFill>
                <a:latin typeface="+mj-lt"/>
                <a:cs typeface="Arial" charset="0"/>
              </a:rPr>
              <a:t>órganos de gobierno</a:t>
            </a: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 (a todos los niveles).</a:t>
            </a:r>
          </a:p>
          <a:p>
            <a:pPr marL="97212" indent="-97212" defTabSz="914400"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El</a:t>
            </a:r>
            <a:r>
              <a:rPr lang="es-ES" sz="1200" b="1" dirty="0">
                <a:solidFill>
                  <a:srgbClr val="000000"/>
                </a:solidFill>
                <a:latin typeface="+mj-lt"/>
                <a:cs typeface="Arial" charset="0"/>
              </a:rPr>
              <a:t> rol de la Administración General se percibe </a:t>
            </a:r>
            <a:r>
              <a:rPr lang="es-ES" sz="1200" b="1" dirty="0" smtClean="0">
                <a:solidFill>
                  <a:srgbClr val="000000"/>
                </a:solidFill>
                <a:latin typeface="+mj-lt"/>
                <a:cs typeface="Arial" charset="0"/>
              </a:rPr>
              <a:t>como ligero</a:t>
            </a:r>
            <a:r>
              <a:rPr lang="es-ES" sz="1200" dirty="0" smtClean="0">
                <a:solidFill>
                  <a:srgbClr val="000000"/>
                </a:solidFill>
                <a:latin typeface="+mj-lt"/>
                <a:cs typeface="Arial" charset="0"/>
              </a:rPr>
              <a:t> </a:t>
            </a: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y está centrado principalmente en la</a:t>
            </a:r>
            <a:r>
              <a:rPr lang="es-ES" sz="1200" b="1" dirty="0">
                <a:solidFill>
                  <a:srgbClr val="000000"/>
                </a:solidFill>
                <a:latin typeface="+mj-lt"/>
                <a:cs typeface="Arial" charset="0"/>
              </a:rPr>
              <a:t> animación</a:t>
            </a: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.</a:t>
            </a:r>
          </a:p>
          <a:p>
            <a:pPr marL="97212" indent="-97212" defTabSz="91440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 smtClean="0">
                <a:solidFill>
                  <a:srgbClr val="000000"/>
                </a:solidFill>
                <a:latin typeface="+mj-lt"/>
                <a:cs typeface="Arial" charset="0"/>
              </a:rPr>
              <a:t>El </a:t>
            </a: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trabajo de los </a:t>
            </a:r>
            <a:r>
              <a:rPr lang="es-ES" sz="1200" dirty="0" smtClean="0">
                <a:solidFill>
                  <a:srgbClr val="000000"/>
                </a:solidFill>
                <a:latin typeface="+mj-lt"/>
                <a:cs typeface="Arial" charset="0"/>
              </a:rPr>
              <a:t>Secretariados, que generalmente </a:t>
            </a:r>
            <a:r>
              <a:rPr lang="es-ES" sz="1200" b="1" dirty="0" smtClean="0">
                <a:solidFill>
                  <a:srgbClr val="000000"/>
                </a:solidFill>
                <a:latin typeface="+mj-lt"/>
                <a:cs typeface="Arial" charset="0"/>
              </a:rPr>
              <a:t>se ven sin suficiente personal, </a:t>
            </a:r>
            <a:r>
              <a:rPr lang="es-ES" sz="1200" dirty="0" smtClean="0">
                <a:solidFill>
                  <a:srgbClr val="000000"/>
                </a:solidFill>
                <a:latin typeface="+mj-lt"/>
                <a:cs typeface="Arial" charset="0"/>
              </a:rPr>
              <a:t>es </a:t>
            </a: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percibido </a:t>
            </a:r>
            <a:r>
              <a:rPr lang="es-ES" sz="1200" dirty="0" smtClean="0">
                <a:solidFill>
                  <a:srgbClr val="000000"/>
                </a:solidFill>
                <a:latin typeface="+mj-lt"/>
                <a:cs typeface="Arial" charset="0"/>
              </a:rPr>
              <a:t>como débil </a:t>
            </a: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por las Provincias. Su organización se basa en el trabajo por proyectos.</a:t>
            </a:r>
          </a:p>
          <a:p>
            <a:pPr marL="97212" indent="-97212" defTabSz="91440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Es </a:t>
            </a:r>
            <a:r>
              <a:rPr lang="es-ES" sz="1200" b="1" dirty="0">
                <a:solidFill>
                  <a:srgbClr val="000000"/>
                </a:solidFill>
                <a:latin typeface="+mj-lt"/>
                <a:cs typeface="Arial" charset="0"/>
              </a:rPr>
              <a:t>necesario consolidar la organización regional</a:t>
            </a: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 y las estructuras orientadas a la animación.</a:t>
            </a:r>
          </a:p>
          <a:p>
            <a:pPr marL="97212" indent="-97212" defTabSz="91440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 smtClean="0">
                <a:solidFill>
                  <a:srgbClr val="000000"/>
                </a:solidFill>
                <a:latin typeface="+mj-lt"/>
                <a:cs typeface="Arial" charset="0"/>
              </a:rPr>
              <a:t>Hay algunas </a:t>
            </a:r>
            <a:r>
              <a:rPr lang="es-ES" sz="1200" b="1" dirty="0">
                <a:solidFill>
                  <a:srgbClr val="000000"/>
                </a:solidFill>
                <a:latin typeface="+mj-lt"/>
                <a:cs typeface="Arial" charset="0"/>
              </a:rPr>
              <a:t>áreas de optimización en las uniones de las </a:t>
            </a:r>
            <a:r>
              <a:rPr lang="es-ES" sz="1200" b="1" dirty="0" smtClean="0">
                <a:solidFill>
                  <a:srgbClr val="000000"/>
                </a:solidFill>
                <a:latin typeface="+mj-lt"/>
                <a:cs typeface="Arial" charset="0"/>
              </a:rPr>
              <a:t>UA</a:t>
            </a:r>
            <a:r>
              <a:rPr lang="es-ES" sz="1200" dirty="0" smtClean="0">
                <a:solidFill>
                  <a:srgbClr val="000000"/>
                </a:solidFill>
                <a:latin typeface="+mj-lt"/>
                <a:cs typeface="Arial" charset="0"/>
              </a:rPr>
              <a:t> </a:t>
            </a: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(lo mismo para las regiones “informales” existentes).</a:t>
            </a:r>
          </a:p>
          <a:p>
            <a:pPr marL="97212" indent="-97212" defTabSz="91440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Los casos de </a:t>
            </a:r>
            <a:r>
              <a:rPr lang="es-ES" sz="1200" b="1" dirty="0">
                <a:solidFill>
                  <a:srgbClr val="000000"/>
                </a:solidFill>
                <a:latin typeface="+mj-lt"/>
                <a:cs typeface="Arial" charset="0"/>
              </a:rPr>
              <a:t>cooperación regional</a:t>
            </a: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 han </a:t>
            </a:r>
            <a:r>
              <a:rPr lang="es-ES" sz="1200" dirty="0" smtClean="0">
                <a:solidFill>
                  <a:srgbClr val="000000"/>
                </a:solidFill>
                <a:latin typeface="+mj-lt"/>
                <a:cs typeface="Arial" charset="0"/>
              </a:rPr>
              <a:t>demostrado </a:t>
            </a: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un buen potencial de </a:t>
            </a:r>
            <a:r>
              <a:rPr lang="es-ES" sz="1200" dirty="0" smtClean="0">
                <a:solidFill>
                  <a:srgbClr val="000000"/>
                </a:solidFill>
                <a:latin typeface="+mj-lt"/>
                <a:cs typeface="Arial" charset="0"/>
              </a:rPr>
              <a:t>gobernanza supraprovincial y mejores resultados </a:t>
            </a: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en </a:t>
            </a:r>
            <a:r>
              <a:rPr lang="es-ES" sz="1200" dirty="0" smtClean="0">
                <a:solidFill>
                  <a:srgbClr val="000000"/>
                </a:solidFill>
                <a:latin typeface="+mj-lt"/>
                <a:cs typeface="Arial" charset="0"/>
              </a:rPr>
              <a:t>la definición de prioridades, </a:t>
            </a: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en el uso eficiente y eficaz de los recursos.</a:t>
            </a:r>
          </a:p>
          <a:p>
            <a:pPr marL="97212" indent="-97212" defTabSz="91440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b="1" dirty="0">
                <a:solidFill>
                  <a:srgbClr val="000000"/>
                </a:solidFill>
                <a:latin typeface="+mj-lt"/>
                <a:cs typeface="Arial" charset="0"/>
              </a:rPr>
              <a:t>Falta de claridad</a:t>
            </a: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 sobre quién hace qué y en qué nivel, con delegación total a nivel de Provincia.</a:t>
            </a:r>
          </a:p>
          <a:p>
            <a:pPr marL="97212" indent="-97212" defTabSz="91440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La</a:t>
            </a:r>
            <a:r>
              <a:rPr lang="es-ES" sz="1200" b="1" dirty="0">
                <a:solidFill>
                  <a:srgbClr val="000000"/>
                </a:solidFill>
                <a:latin typeface="+mj-lt"/>
                <a:cs typeface="Arial" charset="0"/>
              </a:rPr>
              <a:t> </a:t>
            </a:r>
            <a:r>
              <a:rPr lang="es-ES" sz="1200" b="1" dirty="0" smtClean="0">
                <a:solidFill>
                  <a:srgbClr val="000000"/>
                </a:solidFill>
                <a:latin typeface="+mj-lt"/>
                <a:cs typeface="Arial" charset="0"/>
              </a:rPr>
              <a:t>falta de convergencia de las estructuras de </a:t>
            </a:r>
            <a:r>
              <a:rPr lang="es-ES" sz="1200" b="1" dirty="0">
                <a:solidFill>
                  <a:srgbClr val="000000"/>
                </a:solidFill>
                <a:latin typeface="+mj-lt"/>
                <a:cs typeface="Arial" charset="0"/>
              </a:rPr>
              <a:t>las </a:t>
            </a:r>
            <a:r>
              <a:rPr lang="es-ES" sz="1200" b="1" dirty="0" smtClean="0">
                <a:solidFill>
                  <a:srgbClr val="000000"/>
                </a:solidFill>
                <a:latin typeface="+mj-lt"/>
                <a:cs typeface="Arial" charset="0"/>
              </a:rPr>
              <a:t>diferentes UA</a:t>
            </a:r>
            <a:r>
              <a:rPr lang="es-ES" sz="1200" dirty="0" smtClean="0">
                <a:solidFill>
                  <a:srgbClr val="000000"/>
                </a:solidFill>
                <a:latin typeface="+mj-lt"/>
                <a:cs typeface="Arial" charset="0"/>
              </a:rPr>
              <a:t> </a:t>
            </a: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no facilita la cooperación ni la comunicación.</a:t>
            </a:r>
          </a:p>
          <a:p>
            <a:pPr marL="97212" indent="-97212" defTabSz="91440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La</a:t>
            </a:r>
            <a:r>
              <a:rPr lang="es-ES" sz="1200" b="1" dirty="0">
                <a:solidFill>
                  <a:srgbClr val="000000"/>
                </a:solidFill>
                <a:latin typeface="+mj-lt"/>
                <a:cs typeface="Arial" charset="0"/>
              </a:rPr>
              <a:t> gobernanza horizontal</a:t>
            </a: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 </a:t>
            </a:r>
            <a:r>
              <a:rPr lang="es-ES" sz="1200" b="1" dirty="0">
                <a:solidFill>
                  <a:srgbClr val="000000"/>
                </a:solidFill>
                <a:latin typeface="+mj-lt"/>
                <a:cs typeface="Arial" charset="0"/>
              </a:rPr>
              <a:t>está limitada </a:t>
            </a: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en su alcance, en la profundidad y en el compartir actividades.</a:t>
            </a:r>
          </a:p>
          <a:p>
            <a:pPr marL="97212" indent="-97212" defTabSz="91440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Limitado aprovechamiento de la </a:t>
            </a:r>
            <a:r>
              <a:rPr lang="es-ES" sz="1200" b="1" dirty="0">
                <a:solidFill>
                  <a:srgbClr val="000000"/>
                </a:solidFill>
                <a:latin typeface="+mj-lt"/>
                <a:cs typeface="Arial" charset="0"/>
              </a:rPr>
              <a:t>economía de escala.</a:t>
            </a:r>
            <a:endParaRPr lang="es-ES" sz="1200" dirty="0">
              <a:solidFill>
                <a:srgbClr val="000000"/>
              </a:solidFill>
              <a:latin typeface="+mj-lt"/>
              <a:cs typeface="Arial" charset="0"/>
            </a:endParaRPr>
          </a:p>
          <a:p>
            <a:pPr marL="97212" indent="-97212" defTabSz="91440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Algunos casos de </a:t>
            </a:r>
            <a:r>
              <a:rPr lang="es-ES" sz="1200" b="1" dirty="0">
                <a:solidFill>
                  <a:srgbClr val="000000"/>
                </a:solidFill>
                <a:latin typeface="+mj-lt"/>
                <a:cs typeface="Arial" charset="0"/>
              </a:rPr>
              <a:t>cooperación interprovincial</a:t>
            </a: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 </a:t>
            </a:r>
            <a:r>
              <a:rPr lang="es-ES" sz="1200" b="1" dirty="0">
                <a:solidFill>
                  <a:srgbClr val="000000"/>
                </a:solidFill>
                <a:latin typeface="+mj-lt"/>
                <a:cs typeface="Arial" charset="0"/>
              </a:rPr>
              <a:t>(formación, comunicación, servicios compartidos).</a:t>
            </a:r>
            <a:endParaRPr lang="es-ES" sz="1200" dirty="0">
              <a:solidFill>
                <a:srgbClr val="000000"/>
              </a:solidFill>
              <a:latin typeface="+mj-lt"/>
              <a:cs typeface="Arial" charset="0"/>
            </a:endParaRPr>
          </a:p>
          <a:p>
            <a:pPr marL="97212" indent="-97212" defTabSz="91440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b="1" dirty="0">
                <a:solidFill>
                  <a:srgbClr val="000000"/>
                </a:solidFill>
                <a:latin typeface="+mj-lt"/>
                <a:cs typeface="Arial" charset="0"/>
              </a:rPr>
              <a:t>Cooperación internacional limitada.</a:t>
            </a:r>
            <a:endParaRPr lang="es-ES" sz="1200" dirty="0">
              <a:solidFill>
                <a:srgbClr val="000000"/>
              </a:solidFill>
              <a:latin typeface="+mj-lt"/>
              <a:cs typeface="Arial" charset="0"/>
            </a:endParaRPr>
          </a:p>
          <a:p>
            <a:pPr marL="97212" indent="-97212" defTabSz="91440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b="1" dirty="0">
                <a:solidFill>
                  <a:srgbClr val="000000"/>
                </a:solidFill>
                <a:latin typeface="+mj-lt"/>
                <a:cs typeface="Arial" charset="0"/>
              </a:rPr>
              <a:t>Falta de pautas claras</a:t>
            </a:r>
            <a:r>
              <a:rPr lang="es-ES" sz="1200" dirty="0">
                <a:solidFill>
                  <a:srgbClr val="000000"/>
                </a:solidFill>
                <a:latin typeface="+mj-lt"/>
                <a:cs typeface="Arial" charset="0"/>
              </a:rPr>
              <a:t> acerca de las oportunidades de hacer o fortalecer la relación con otras instituciones como la Iglesia, los gobiernos, las Escuelas católicas, asociaciones y las otras ramas Maristas</a:t>
            </a:r>
            <a:r>
              <a:rPr lang="es-ES" sz="1200" dirty="0" smtClean="0">
                <a:solidFill>
                  <a:srgbClr val="000000"/>
                </a:solidFill>
                <a:latin typeface="+mj-lt"/>
                <a:cs typeface="Arial" charset="0"/>
              </a:rPr>
              <a:t>.</a:t>
            </a:r>
            <a:endParaRPr lang="es-ES" sz="1200" dirty="0">
              <a:solidFill>
                <a:schemeClr val="bg2"/>
              </a:solidFill>
              <a:latin typeface="+mj-lt"/>
              <a:cs typeface="Arial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 flipV="1">
            <a:off x="2916238" y="1773238"/>
            <a:ext cx="755663" cy="1655763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2933700" y="5120109"/>
            <a:ext cx="738201" cy="1621259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3100" name="RunningHead"/>
          <p:cNvSpPr txBox="1">
            <a:spLocks noChangeArrowheads="1"/>
          </p:cNvSpPr>
          <p:nvPr/>
        </p:nvSpPr>
        <p:spPr bwMode="gray">
          <a:xfrm>
            <a:off x="6891338" y="139700"/>
            <a:ext cx="2000250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 dirty="0">
                <a:solidFill>
                  <a:srgbClr val="000000"/>
                </a:solidFill>
              </a:rPr>
              <a:t>¿Estamos bien organizados?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42875" y="3394497"/>
            <a:ext cx="2790825" cy="1725612"/>
            <a:chOff x="142875" y="3249613"/>
            <a:chExt cx="2790825" cy="1725612"/>
          </a:xfrm>
        </p:grpSpPr>
        <p:sp>
          <p:nvSpPr>
            <p:cNvPr id="13" name="Rectangle 12"/>
            <p:cNvSpPr/>
            <p:nvPr/>
          </p:nvSpPr>
          <p:spPr>
            <a:xfrm>
              <a:off x="142875" y="3249613"/>
              <a:ext cx="2790825" cy="514350"/>
            </a:xfrm>
            <a:prstGeom prst="rect">
              <a:avLst/>
            </a:prstGeom>
            <a:solidFill>
              <a:schemeClr val="accent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0" rIns="73152" bIns="0" anchor="ctr"/>
            <a:lstStyle/>
            <a:p>
              <a:pPr algn="ctr" defTabSz="914400" fontAlgn="auto">
                <a:lnSpc>
                  <a:spcPts val="1300"/>
                </a:lnSpc>
                <a:spcBef>
                  <a:spcPts val="0"/>
                </a:spcBef>
                <a:spcAft>
                  <a:spcPts val="1300"/>
                </a:spcAft>
                <a:defRPr/>
              </a:pPr>
              <a:r>
                <a:rPr lang="es-MX" sz="1600" dirty="0">
                  <a:solidFill>
                    <a:srgbClr val="FFFFFF"/>
                  </a:solidFill>
                  <a:ea typeface="Arial" panose="020B0604020202020204" pitchFamily="34" charset="0"/>
                  <a:cs typeface="Times New Roman" panose="02020603050405020304" pitchFamily="18" charset="0"/>
                </a:rPr>
                <a:t>¿Estamos bien organizados?</a:t>
              </a: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gray">
            <a:xfrm>
              <a:off x="160338" y="3778250"/>
              <a:ext cx="2773362" cy="119697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>
              <a:noFill/>
              <a:miter lim="800000"/>
              <a:headEnd/>
              <a:tailEnd/>
            </a:ln>
          </p:spPr>
          <p:txBody>
            <a:bodyPr lIns="0" tIns="18000" rIns="0" bIns="18000" anchor="ctr"/>
            <a:lstStyle/>
            <a:p>
              <a:pPr marL="113414" indent="-113414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200" dirty="0">
                  <a:solidFill>
                    <a:srgbClr val="000000"/>
                  </a:solidFill>
                  <a:latin typeface="+mj-lt"/>
                  <a:ea typeface="Calibri" charset="0"/>
                  <a:cs typeface="Calibri" charset="0"/>
                </a:rPr>
                <a:t>Organización</a:t>
              </a:r>
              <a:r>
                <a:rPr lang="es-ES" sz="1200" b="1" dirty="0">
                  <a:solidFill>
                    <a:srgbClr val="000000"/>
                  </a:solidFill>
                  <a:latin typeface="+mj-lt"/>
                  <a:ea typeface="Calibri" charset="0"/>
                  <a:cs typeface="Calibri" charset="0"/>
                </a:rPr>
                <a:t>: la estandarización </a:t>
              </a:r>
              <a:r>
                <a:rPr lang="es-ES" sz="1200" dirty="0">
                  <a:solidFill>
                    <a:srgbClr val="000000"/>
                  </a:solidFill>
                  <a:latin typeface="+mj-lt"/>
                  <a:ea typeface="Calibri" charset="0"/>
                  <a:cs typeface="Calibri" charset="0"/>
                </a:rPr>
                <a:t>a través de la geografía.</a:t>
              </a:r>
            </a:p>
            <a:p>
              <a:pPr marL="113414" indent="-113414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200" dirty="0">
                  <a:solidFill>
                    <a:srgbClr val="000000"/>
                  </a:solidFill>
                  <a:latin typeface="+mj-lt"/>
                  <a:ea typeface="Calibri" charset="0"/>
                  <a:cs typeface="Calibri" charset="0"/>
                </a:rPr>
                <a:t>Los </a:t>
              </a:r>
              <a:r>
                <a:rPr lang="es-ES" sz="1200" b="1" dirty="0">
                  <a:solidFill>
                    <a:srgbClr val="000000"/>
                  </a:solidFill>
                  <a:latin typeface="+mj-lt"/>
                  <a:ea typeface="Calibri" charset="0"/>
                  <a:cs typeface="Calibri" charset="0"/>
                </a:rPr>
                <a:t>servicios compartidos, </a:t>
              </a:r>
              <a:r>
                <a:rPr lang="es-ES" sz="1200" b="1" dirty="0" smtClean="0">
                  <a:solidFill>
                    <a:srgbClr val="000000"/>
                  </a:solidFill>
                  <a:latin typeface="+mj-lt"/>
                  <a:ea typeface="Calibri" charset="0"/>
                  <a:cs typeface="Calibri" charset="0"/>
                </a:rPr>
                <a:t>tercerización </a:t>
              </a:r>
              <a:r>
                <a:rPr lang="es-ES" sz="1200" b="1" dirty="0">
                  <a:solidFill>
                    <a:srgbClr val="000000"/>
                  </a:solidFill>
                  <a:latin typeface="+mj-lt"/>
                  <a:ea typeface="Calibri" charset="0"/>
                  <a:cs typeface="Calibri" charset="0"/>
                </a:rPr>
                <a:t>y modelos de colaboración </a:t>
              </a:r>
              <a:r>
                <a:rPr lang="es-ES" sz="1200" dirty="0">
                  <a:solidFill>
                    <a:srgbClr val="000000"/>
                  </a:solidFill>
                  <a:latin typeface="+mj-lt"/>
                  <a:ea typeface="Calibri" charset="0"/>
                  <a:cs typeface="Calibri" charset="0"/>
                </a:rPr>
                <a:t>(basado en el enfoque clave y competencias).</a:t>
              </a:r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8214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4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8215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332399"/>
          </a:xfrm>
        </p:spPr>
        <p:txBody>
          <a:bodyPr/>
          <a:lstStyle/>
          <a:p>
            <a:pPr eaLnBrk="1" hangingPunct="1"/>
            <a:r>
              <a:rPr lang="es-MX" dirty="0" smtClean="0">
                <a:latin typeface="Arial" charset="0"/>
                <a:cs typeface="Arial" charset="0"/>
              </a:rPr>
              <a:t>¿Estamos bien organizados?– Propuestas clave (1 de 3)</a:t>
            </a:r>
          </a:p>
        </p:txBody>
      </p:sp>
      <p:sp>
        <p:nvSpPr>
          <p:cNvPr id="648216" name="RunningHead"/>
          <p:cNvSpPr txBox="1">
            <a:spLocks noChangeArrowheads="1"/>
          </p:cNvSpPr>
          <p:nvPr/>
        </p:nvSpPr>
        <p:spPr bwMode="gray">
          <a:xfrm>
            <a:off x="6891338" y="139700"/>
            <a:ext cx="2000250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_tradnl" sz="1200" dirty="0">
                <a:solidFill>
                  <a:srgbClr val="000000"/>
                </a:solidFill>
              </a:rPr>
              <a:t>¿Estamos bien organizados?</a:t>
            </a:r>
          </a:p>
        </p:txBody>
      </p:sp>
      <p:sp>
        <p:nvSpPr>
          <p:cNvPr id="28" name="Rectangle 27"/>
          <p:cNvSpPr/>
          <p:nvPr/>
        </p:nvSpPr>
        <p:spPr>
          <a:xfrm>
            <a:off x="2559050" y="1579563"/>
            <a:ext cx="6408738" cy="2563812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113414" indent="-113414" defTabSz="91440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cs typeface="Arial" charset="0"/>
              </a:rPr>
              <a:t>Separación en </a:t>
            </a:r>
            <a:r>
              <a:rPr lang="es-MX" sz="1400" b="1" dirty="0">
                <a:solidFill>
                  <a:srgbClr val="000000"/>
                </a:solidFill>
                <a:cs typeface="Arial" charset="0"/>
              </a:rPr>
              <a:t>dos dimensiones </a:t>
            </a:r>
            <a:r>
              <a:rPr lang="es-MX" sz="1400" dirty="0">
                <a:solidFill>
                  <a:srgbClr val="000000"/>
                </a:solidFill>
                <a:cs typeface="Arial" charset="0"/>
              </a:rPr>
              <a:t>bajo una gobernanza compartida:</a:t>
            </a:r>
          </a:p>
          <a:p>
            <a:pPr marL="270934" lvl="1" indent="-157520" defTabSz="91440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MX" sz="1400" b="1" dirty="0">
                <a:solidFill>
                  <a:srgbClr val="000000"/>
                </a:solidFill>
                <a:cs typeface="Arial" charset="0"/>
              </a:rPr>
              <a:t>Familiar</a:t>
            </a:r>
            <a:r>
              <a:rPr lang="es-MX" sz="1400" dirty="0">
                <a:solidFill>
                  <a:srgbClr val="000000"/>
                </a:solidFill>
                <a:cs typeface="Arial" charset="0"/>
              </a:rPr>
              <a:t> (a partir de las Constituciones actuales) administrada totalmente por los hermanos elegidos.</a:t>
            </a:r>
          </a:p>
          <a:p>
            <a:pPr marL="270934" lvl="1" indent="-157520" defTabSz="91440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MX" sz="1400" b="1" dirty="0">
                <a:solidFill>
                  <a:srgbClr val="000000"/>
                </a:solidFill>
                <a:cs typeface="Arial" charset="0"/>
              </a:rPr>
              <a:t>De Misión </a:t>
            </a:r>
            <a:r>
              <a:rPr lang="es-MX" sz="1400" dirty="0">
                <a:solidFill>
                  <a:srgbClr val="000000"/>
                </a:solidFill>
                <a:cs typeface="Arial" charset="0"/>
              </a:rPr>
              <a:t>(para la gestión de las obras, servicios compartidos, sociedad...) gestionada por equipos nombrados por sus competencias y compuestos por hermanos y laicos.</a:t>
            </a:r>
          </a:p>
          <a:p>
            <a:pPr marL="113414" indent="-113414" defTabSz="91440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cs typeface="Arial" charset="0"/>
              </a:rPr>
              <a:t>Redefinición de la </a:t>
            </a:r>
            <a:r>
              <a:rPr lang="es-MX" sz="1400" b="1" dirty="0">
                <a:solidFill>
                  <a:srgbClr val="000000"/>
                </a:solidFill>
                <a:cs typeface="Arial" charset="0"/>
              </a:rPr>
              <a:t>estructura de apoyo </a:t>
            </a:r>
            <a:r>
              <a:rPr lang="es-MX" sz="1400" dirty="0">
                <a:solidFill>
                  <a:srgbClr val="000000"/>
                </a:solidFill>
                <a:cs typeface="Arial" charset="0"/>
              </a:rPr>
              <a:t>y la misión de los Secretariados para cubrir las siguientes áreas: definición de estrategia / misión, asignación y gestión de recursos, formación de personas.</a:t>
            </a:r>
          </a:p>
          <a:p>
            <a:pPr marL="113414" indent="-113414" defTabSz="91440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cs typeface="Arial" charset="0"/>
              </a:rPr>
              <a:t>Corresponsabilidad </a:t>
            </a:r>
            <a:r>
              <a:rPr lang="es-MX" sz="1400" b="1" dirty="0">
                <a:solidFill>
                  <a:srgbClr val="000000"/>
                </a:solidFill>
                <a:cs typeface="Arial" charset="0"/>
              </a:rPr>
              <a:t>de los laicos en la gobernanza y gestión </a:t>
            </a:r>
            <a:r>
              <a:rPr lang="es-MX" sz="1400" dirty="0">
                <a:solidFill>
                  <a:srgbClr val="000000"/>
                </a:solidFill>
                <a:cs typeface="Arial" charset="0"/>
              </a:rPr>
              <a:t>para mejorar su compromiso y valorar sus competencias.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77800" y="1670050"/>
            <a:ext cx="2233613" cy="2311400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MX" sz="1600" b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Administración </a:t>
            </a:r>
            <a:r>
              <a:rPr lang="es-MX" sz="1600" b="1" dirty="0" smtClean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General</a:t>
            </a:r>
            <a:endParaRPr lang="es-MX" sz="1600" b="1" dirty="0">
              <a:solidFill>
                <a:srgbClr val="FFFFFF"/>
              </a:solidFill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77800" y="4185084"/>
            <a:ext cx="2233613" cy="2511456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MX" b="1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Regiones</a:t>
            </a:r>
          </a:p>
        </p:txBody>
      </p:sp>
      <p:sp>
        <p:nvSpPr>
          <p:cNvPr id="31" name="Rectangle 30"/>
          <p:cNvSpPr/>
          <p:nvPr/>
        </p:nvSpPr>
        <p:spPr>
          <a:xfrm>
            <a:off x="2559050" y="4185084"/>
            <a:ext cx="6408738" cy="251145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7200" indent="-97212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Criterios para la </a:t>
            </a:r>
            <a:r>
              <a:rPr lang="es-MX" sz="1400" b="1" dirty="0">
                <a:solidFill>
                  <a:srgbClr val="000000"/>
                </a:solidFill>
                <a:cs typeface="Arial" pitchFamily="34" charset="0"/>
              </a:rPr>
              <a:t>identificación de las Regiones.</a:t>
            </a:r>
          </a:p>
          <a:p>
            <a:pPr marL="97200" indent="-97212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Decisión sobre la </a:t>
            </a:r>
            <a:r>
              <a:rPr lang="es-MX" sz="1400" b="1" dirty="0">
                <a:solidFill>
                  <a:srgbClr val="000000"/>
                </a:solidFill>
                <a:cs typeface="Arial" pitchFamily="34" charset="0"/>
              </a:rPr>
              <a:t>asignación de Provincias a Regiones.</a:t>
            </a:r>
          </a:p>
          <a:p>
            <a:pPr marL="97200" indent="-97212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Definir los órganos de gobierno Regional y definir los mecanismos (</a:t>
            </a:r>
            <a:r>
              <a:rPr lang="es-MX" sz="1400" dirty="0" smtClean="0">
                <a:solidFill>
                  <a:srgbClr val="000000"/>
                </a:solidFill>
                <a:cs typeface="Arial" pitchFamily="34" charset="0"/>
              </a:rPr>
              <a:t>elección versus nombramiento </a:t>
            </a: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de </a:t>
            </a:r>
            <a:r>
              <a:rPr lang="es-MX" sz="1400" dirty="0" smtClean="0">
                <a:solidFill>
                  <a:srgbClr val="000000"/>
                </a:solidFill>
                <a:cs typeface="Arial" pitchFamily="34" charset="0"/>
              </a:rPr>
              <a:t>representantes</a:t>
            </a: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).</a:t>
            </a:r>
          </a:p>
          <a:p>
            <a:pPr marL="97200" indent="-97212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Definición de </a:t>
            </a:r>
            <a:r>
              <a:rPr lang="es-MX" sz="1400" dirty="0" smtClean="0">
                <a:solidFill>
                  <a:srgbClr val="000000"/>
                </a:solidFill>
                <a:cs typeface="Arial" pitchFamily="34" charset="0"/>
              </a:rPr>
              <a:t>las </a:t>
            </a:r>
            <a:r>
              <a:rPr lang="es-MX" sz="1400" b="1" dirty="0" smtClean="0">
                <a:solidFill>
                  <a:srgbClr val="000000"/>
                </a:solidFill>
                <a:cs typeface="Arial" pitchFamily="34" charset="0"/>
              </a:rPr>
              <a:t>estructuras </a:t>
            </a:r>
            <a:r>
              <a:rPr lang="es-MX" sz="1400" b="1" dirty="0">
                <a:solidFill>
                  <a:srgbClr val="000000"/>
                </a:solidFill>
                <a:cs typeface="Arial" pitchFamily="34" charset="0"/>
              </a:rPr>
              <a:t>de organización regional y estandarización </a:t>
            </a: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a nivel de modelo operativo.</a:t>
            </a:r>
          </a:p>
          <a:p>
            <a:pPr marL="97200" indent="-97212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La composición de las Regiones no debe necesariamente tener un </a:t>
            </a:r>
            <a:r>
              <a:rPr lang="es-MX" sz="1400" b="1" dirty="0">
                <a:solidFill>
                  <a:srgbClr val="000000"/>
                </a:solidFill>
                <a:cs typeface="Arial" pitchFamily="34" charset="0"/>
              </a:rPr>
              <a:t>componente canónico </a:t>
            </a: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(cobertura a nivel Provincial).</a:t>
            </a:r>
          </a:p>
          <a:p>
            <a:pPr marL="97200" indent="-97212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b="1" dirty="0">
                <a:solidFill>
                  <a:srgbClr val="000000"/>
                </a:solidFill>
                <a:cs typeface="Arial" pitchFamily="34" charset="0"/>
              </a:rPr>
              <a:t>La delegación Regional de la autoridad debe ser evaluada.</a:t>
            </a:r>
          </a:p>
          <a:p>
            <a:pPr marL="97200" indent="-97212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b="1" dirty="0">
                <a:solidFill>
                  <a:srgbClr val="000000"/>
                </a:solidFill>
                <a:cs typeface="Arial" pitchFamily="34" charset="0"/>
              </a:rPr>
              <a:t>Interconectividad de Regiones como requisito clave para evitar la fragmentación del Instituto en federaciones.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9238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4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9239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332399"/>
          </a:xfrm>
        </p:spPr>
        <p:txBody>
          <a:bodyPr/>
          <a:lstStyle/>
          <a:p>
            <a:pPr eaLnBrk="1" hangingPunct="1"/>
            <a:r>
              <a:rPr lang="es-MX" dirty="0" smtClean="0">
                <a:latin typeface="Arial" charset="0"/>
                <a:cs typeface="Arial" charset="0"/>
              </a:rPr>
              <a:t>¿Estamos bien organizados?– </a:t>
            </a:r>
            <a:r>
              <a:rPr lang="es-MX" dirty="0">
                <a:latin typeface="Arial" charset="0"/>
                <a:cs typeface="Arial" charset="0"/>
              </a:rPr>
              <a:t>Propuestas clave (</a:t>
            </a:r>
            <a:r>
              <a:rPr lang="es-MX" dirty="0" smtClean="0">
                <a:latin typeface="Arial" charset="0"/>
                <a:cs typeface="Arial" charset="0"/>
              </a:rPr>
              <a:t>2 de 3)</a:t>
            </a:r>
          </a:p>
        </p:txBody>
      </p:sp>
      <p:sp>
        <p:nvSpPr>
          <p:cNvPr id="649240" name="RunningHead"/>
          <p:cNvSpPr txBox="1">
            <a:spLocks noChangeArrowheads="1"/>
          </p:cNvSpPr>
          <p:nvPr/>
        </p:nvSpPr>
        <p:spPr bwMode="gray">
          <a:xfrm>
            <a:off x="6891338" y="139700"/>
            <a:ext cx="2000250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_tradnl" sz="1200" dirty="0">
                <a:solidFill>
                  <a:srgbClr val="000000"/>
                </a:solidFill>
              </a:rPr>
              <a:t>¿Estamos bien organizados?</a:t>
            </a:r>
          </a:p>
        </p:txBody>
      </p:sp>
      <p:sp>
        <p:nvSpPr>
          <p:cNvPr id="32" name="Rectangle 31"/>
          <p:cNvSpPr/>
          <p:nvPr/>
        </p:nvSpPr>
        <p:spPr>
          <a:xfrm>
            <a:off x="2568575" y="1788219"/>
            <a:ext cx="6407150" cy="181434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7212" indent="-97212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Estandarización de las </a:t>
            </a:r>
            <a:r>
              <a:rPr lang="es-MX" sz="1400" b="1" dirty="0">
                <a:solidFill>
                  <a:srgbClr val="000000"/>
                </a:solidFill>
                <a:cs typeface="Arial" pitchFamily="34" charset="0"/>
              </a:rPr>
              <a:t>estructuras de organización </a:t>
            </a: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y funciones en todo el mundo para facilitar la cooperación funcional.</a:t>
            </a:r>
          </a:p>
          <a:p>
            <a:pPr marL="97212" indent="-97212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b="1" dirty="0">
                <a:solidFill>
                  <a:srgbClr val="000000"/>
                </a:solidFill>
                <a:cs typeface="Arial" pitchFamily="34" charset="0"/>
              </a:rPr>
              <a:t>Eliminar las duplicidades </a:t>
            </a: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donde se hayan aplicado modelos de servicios compartidos a nivel regional.</a:t>
            </a:r>
          </a:p>
          <a:p>
            <a:pPr marL="97212" indent="-97212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Promover una </a:t>
            </a:r>
            <a:r>
              <a:rPr lang="es-MX" sz="1400" b="1" dirty="0">
                <a:solidFill>
                  <a:srgbClr val="000000"/>
                </a:solidFill>
                <a:cs typeface="Arial" pitchFamily="34" charset="0"/>
              </a:rPr>
              <a:t>auténtica participación y corresponsabilidad</a:t>
            </a: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 en la toma de decisiones.</a:t>
            </a:r>
          </a:p>
          <a:p>
            <a:pPr marL="97212" indent="-97212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b="1" dirty="0">
                <a:solidFill>
                  <a:srgbClr val="000000"/>
                </a:solidFill>
                <a:cs typeface="Arial" pitchFamily="34" charset="0"/>
              </a:rPr>
              <a:t>Redefinición del concepto de Distrito y Provincia</a:t>
            </a: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 (por ejemplo. considerando un Distrito como un sector dentro de una Provincia).</a:t>
            </a:r>
          </a:p>
        </p:txBody>
      </p:sp>
      <p:sp>
        <p:nvSpPr>
          <p:cNvPr id="33" name="Rectangle 32"/>
          <p:cNvSpPr/>
          <p:nvPr/>
        </p:nvSpPr>
        <p:spPr>
          <a:xfrm>
            <a:off x="190500" y="1788219"/>
            <a:ext cx="2233613" cy="1739900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MX" sz="1600" b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Unidades administrativas</a:t>
            </a:r>
          </a:p>
        </p:txBody>
      </p:sp>
      <p:sp>
        <p:nvSpPr>
          <p:cNvPr id="14" name="Rectangle 4"/>
          <p:cNvSpPr/>
          <p:nvPr/>
        </p:nvSpPr>
        <p:spPr>
          <a:xfrm>
            <a:off x="2557463" y="3688755"/>
            <a:ext cx="6365875" cy="146843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7200" indent="-972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Definir servicios compartidos y centros de competencias con el fin de aprovechar, en su caso, la </a:t>
            </a:r>
            <a:r>
              <a:rPr lang="es-MX" sz="1400" b="1" dirty="0">
                <a:solidFill>
                  <a:srgbClr val="000000"/>
                </a:solidFill>
                <a:cs typeface="Arial" pitchFamily="34" charset="0"/>
              </a:rPr>
              <a:t>economía de </a:t>
            </a:r>
            <a:r>
              <a:rPr lang="es-MX" sz="1400" b="1" dirty="0" smtClean="0">
                <a:solidFill>
                  <a:srgbClr val="000000"/>
                </a:solidFill>
                <a:cs typeface="Arial" pitchFamily="34" charset="0"/>
              </a:rPr>
              <a:t>escala, </a:t>
            </a:r>
            <a:r>
              <a:rPr lang="es-MX" sz="1400" dirty="0" smtClean="0">
                <a:solidFill>
                  <a:srgbClr val="000000"/>
                </a:solidFill>
                <a:cs typeface="Arial" pitchFamily="34" charset="0"/>
              </a:rPr>
              <a:t>allí donde sea posible</a:t>
            </a:r>
            <a:r>
              <a:rPr lang="es-MX" sz="1400" b="1" dirty="0" smtClean="0">
                <a:solidFill>
                  <a:srgbClr val="000000"/>
                </a:solidFill>
                <a:cs typeface="Arial" pitchFamily="34" charset="0"/>
              </a:rPr>
              <a:t>.</a:t>
            </a:r>
            <a:endParaRPr lang="es-MX" sz="1400" dirty="0">
              <a:solidFill>
                <a:srgbClr val="000000"/>
              </a:solidFill>
              <a:cs typeface="Arial" pitchFamily="34" charset="0"/>
            </a:endParaRPr>
          </a:p>
          <a:p>
            <a:pPr marL="97200" indent="-972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Promover la </a:t>
            </a:r>
            <a:r>
              <a:rPr lang="es-MX" sz="1400" b="1" dirty="0">
                <a:solidFill>
                  <a:srgbClr val="000000"/>
                </a:solidFill>
                <a:cs typeface="Arial" pitchFamily="34" charset="0"/>
              </a:rPr>
              <a:t>gobernanza horizontal</a:t>
            </a: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 en determinados temas clave (economía y finanzas, editorial...).</a:t>
            </a:r>
          </a:p>
          <a:p>
            <a:pPr marL="97200" indent="-972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Cubrir la </a:t>
            </a:r>
            <a:r>
              <a:rPr lang="es-MX" sz="1400" b="1" dirty="0">
                <a:solidFill>
                  <a:srgbClr val="000000"/>
                </a:solidFill>
                <a:cs typeface="Arial" pitchFamily="34" charset="0"/>
              </a:rPr>
              <a:t>falta de competencias </a:t>
            </a: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donde sea necesario, aprovechando plenamente las oportunidades internas.</a:t>
            </a:r>
          </a:p>
        </p:txBody>
      </p:sp>
      <p:sp>
        <p:nvSpPr>
          <p:cNvPr id="15" name="Rectangle 5"/>
          <p:cNvSpPr/>
          <p:nvPr/>
        </p:nvSpPr>
        <p:spPr>
          <a:xfrm>
            <a:off x="179388" y="3688755"/>
            <a:ext cx="2235200" cy="1274762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MX" sz="1600" b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Servicios compartido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524125" y="5195143"/>
            <a:ext cx="6657975" cy="1546225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113414" indent="-113414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cs typeface="Arial" charset="0"/>
              </a:rPr>
              <a:t>Promover una </a:t>
            </a:r>
            <a:r>
              <a:rPr lang="es-MX" sz="1400" b="1" dirty="0">
                <a:solidFill>
                  <a:srgbClr val="000000"/>
                </a:solidFill>
                <a:cs typeface="Arial" charset="0"/>
              </a:rPr>
              <a:t>red interna</a:t>
            </a:r>
            <a:r>
              <a:rPr lang="es-MX" sz="1400" dirty="0">
                <a:solidFill>
                  <a:srgbClr val="000000"/>
                </a:solidFill>
                <a:cs typeface="Arial" charset="0"/>
              </a:rPr>
              <a:t> que abarque:</a:t>
            </a:r>
          </a:p>
          <a:p>
            <a:pPr marL="270934" indent="-15752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MX" sz="1400" dirty="0">
                <a:solidFill>
                  <a:srgbClr val="000000"/>
                </a:solidFill>
                <a:cs typeface="Arial" charset="0"/>
              </a:rPr>
              <a:t>Obras (ej. escuelas, universidades, centros sociales…).</a:t>
            </a:r>
          </a:p>
          <a:p>
            <a:pPr marL="270934" indent="-15752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MX" sz="1400" dirty="0">
                <a:solidFill>
                  <a:srgbClr val="000000"/>
                </a:solidFill>
                <a:cs typeface="Arial" charset="0"/>
              </a:rPr>
              <a:t>Temas clave (ej. coordinación regional de la pedagogía marista, los derechos de los niños).</a:t>
            </a:r>
          </a:p>
          <a:p>
            <a:pPr marL="270934" indent="-15752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MX" sz="1400" dirty="0">
                <a:solidFill>
                  <a:srgbClr val="000000"/>
                </a:solidFill>
                <a:cs typeface="Arial" charset="0"/>
              </a:rPr>
              <a:t>Personas (ej. ex-alumnos, laicos maristas, pastoral juvenil marista, escuelas maristas que ya no están bajo nuestro control directo).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77800" y="5195143"/>
            <a:ext cx="2233613" cy="1376362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MX" sz="1600" b="1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Redes internas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3665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332399"/>
          </a:xfrm>
        </p:spPr>
        <p:txBody>
          <a:bodyPr/>
          <a:lstStyle/>
          <a:p>
            <a:pPr eaLnBrk="1" hangingPunct="1"/>
            <a:r>
              <a:rPr lang="es-MX" dirty="0" smtClean="0">
                <a:latin typeface="Arial" charset="0"/>
                <a:cs typeface="Arial" charset="0"/>
              </a:rPr>
              <a:t>¿Estamos bien organizados?– </a:t>
            </a:r>
            <a:r>
              <a:rPr lang="es-MX" dirty="0">
                <a:latin typeface="Arial" charset="0"/>
                <a:cs typeface="Arial" charset="0"/>
              </a:rPr>
              <a:t>Propuestas clave (</a:t>
            </a:r>
            <a:r>
              <a:rPr lang="es-MX" dirty="0" smtClean="0">
                <a:latin typeface="Arial" charset="0"/>
                <a:cs typeface="Arial" charset="0"/>
              </a:rPr>
              <a:t>3 de 3)</a:t>
            </a:r>
          </a:p>
        </p:txBody>
      </p:sp>
      <p:sp>
        <p:nvSpPr>
          <p:cNvPr id="3" name="Rectangle 2"/>
          <p:cNvSpPr/>
          <p:nvPr/>
        </p:nvSpPr>
        <p:spPr>
          <a:xfrm>
            <a:off x="2565400" y="3933056"/>
            <a:ext cx="6408738" cy="1658916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6838" indent="-96838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MX" sz="1400" b="1" dirty="0" smtClean="0">
                <a:solidFill>
                  <a:srgbClr val="000000"/>
                </a:solidFill>
                <a:cs typeface="Arial" charset="0"/>
              </a:rPr>
              <a:t>Nuevos modelos de colaboración en el seno de la Iglesia </a:t>
            </a:r>
            <a:r>
              <a:rPr lang="es-MX" sz="1400" dirty="0">
                <a:solidFill>
                  <a:srgbClr val="000000"/>
                </a:solidFill>
                <a:cs typeface="Arial" charset="0"/>
              </a:rPr>
              <a:t>(ej., Obispos, otras congregaciones) y oportunidades de colaboración en proyectos específicos, también con otras ramas </a:t>
            </a:r>
            <a:r>
              <a:rPr lang="es-MX" sz="1400" dirty="0" smtClean="0">
                <a:solidFill>
                  <a:srgbClr val="000000"/>
                </a:solidFill>
                <a:cs typeface="Arial" charset="0"/>
              </a:rPr>
              <a:t>maristas.</a:t>
            </a:r>
            <a:endParaRPr lang="es-MX" sz="1400" dirty="0">
              <a:solidFill>
                <a:srgbClr val="000000"/>
              </a:solidFill>
              <a:cs typeface="Arial" charset="0"/>
            </a:endParaRPr>
          </a:p>
          <a:p>
            <a:pPr marL="96838" indent="-96838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MX" sz="1400" b="1" dirty="0">
                <a:solidFill>
                  <a:srgbClr val="000000"/>
                </a:solidFill>
                <a:cs typeface="Arial" charset="0"/>
              </a:rPr>
              <a:t>Nuevos modelos de </a:t>
            </a:r>
            <a:r>
              <a:rPr lang="es-MX" sz="1400" b="1" dirty="0" smtClean="0">
                <a:solidFill>
                  <a:srgbClr val="000000"/>
                </a:solidFill>
                <a:cs typeface="Arial" charset="0"/>
              </a:rPr>
              <a:t>colaboración </a:t>
            </a:r>
            <a:r>
              <a:rPr lang="es-MX" sz="1400" b="1" dirty="0">
                <a:solidFill>
                  <a:srgbClr val="000000"/>
                </a:solidFill>
                <a:cs typeface="Arial" charset="0"/>
              </a:rPr>
              <a:t>fuera de la Iglesia </a:t>
            </a:r>
            <a:r>
              <a:rPr lang="es-MX" sz="1400" dirty="0">
                <a:solidFill>
                  <a:srgbClr val="000000"/>
                </a:solidFill>
                <a:cs typeface="Arial" charset="0"/>
              </a:rPr>
              <a:t>(ej. universidades, gobiernos, instituciones sin ánimo de lucro, empresas, </a:t>
            </a:r>
            <a:r>
              <a:rPr lang="es-MX" sz="1400" dirty="0" smtClean="0">
                <a:solidFill>
                  <a:srgbClr val="000000"/>
                </a:solidFill>
                <a:cs typeface="Arial" charset="0"/>
              </a:rPr>
              <a:t>proveedores...).</a:t>
            </a:r>
            <a:endParaRPr lang="es-MX" sz="1400" dirty="0">
              <a:solidFill>
                <a:srgbClr val="000000"/>
              </a:solidFill>
              <a:cs typeface="Arial" charset="0"/>
            </a:endParaRPr>
          </a:p>
          <a:p>
            <a:pPr marL="96838" indent="-96838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MX" sz="1400" b="1" dirty="0" smtClean="0">
                <a:solidFill>
                  <a:srgbClr val="000000"/>
                </a:solidFill>
                <a:cs typeface="Arial" charset="0"/>
              </a:rPr>
              <a:t>Nuevas formas </a:t>
            </a:r>
            <a:r>
              <a:rPr lang="es-MX" sz="1400" b="1" dirty="0">
                <a:solidFill>
                  <a:srgbClr val="000000"/>
                </a:solidFill>
                <a:cs typeface="Arial" charset="0"/>
              </a:rPr>
              <a:t>de </a:t>
            </a:r>
            <a:r>
              <a:rPr lang="es-MX" sz="1400" b="1" dirty="0" smtClean="0">
                <a:solidFill>
                  <a:srgbClr val="000000"/>
                </a:solidFill>
                <a:cs typeface="Arial" charset="0"/>
              </a:rPr>
              <a:t>conexión </a:t>
            </a:r>
            <a:r>
              <a:rPr lang="es-MX" sz="1400" b="1" dirty="0">
                <a:solidFill>
                  <a:srgbClr val="000000"/>
                </a:solidFill>
                <a:cs typeface="Arial" charset="0"/>
              </a:rPr>
              <a:t>con las personas </a:t>
            </a:r>
            <a:r>
              <a:rPr lang="es-MX" sz="1400" dirty="0">
                <a:solidFill>
                  <a:srgbClr val="000000"/>
                </a:solidFill>
                <a:cs typeface="Arial" charset="0"/>
              </a:rPr>
              <a:t>(niños, familias, maestros, empleados, </a:t>
            </a:r>
            <a:r>
              <a:rPr lang="es-MX" sz="1400" dirty="0" smtClean="0">
                <a:solidFill>
                  <a:srgbClr val="000000"/>
                </a:solidFill>
                <a:cs typeface="Arial" charset="0"/>
              </a:rPr>
              <a:t>alumnos): </a:t>
            </a:r>
            <a:r>
              <a:rPr lang="es-MX" sz="1400" dirty="0">
                <a:solidFill>
                  <a:srgbClr val="000000"/>
                </a:solidFill>
                <a:cs typeface="Arial" charset="0"/>
              </a:rPr>
              <a:t>E</a:t>
            </a:r>
            <a:r>
              <a:rPr lang="es-MX" sz="1400" dirty="0" smtClean="0">
                <a:solidFill>
                  <a:srgbClr val="000000"/>
                </a:solidFill>
                <a:cs typeface="Arial" charset="0"/>
              </a:rPr>
              <a:t>j</a:t>
            </a:r>
            <a:r>
              <a:rPr lang="es-MX" sz="1400" dirty="0">
                <a:solidFill>
                  <a:srgbClr val="000000"/>
                </a:solidFill>
                <a:cs typeface="Arial" charset="0"/>
              </a:rPr>
              <a:t>. redes </a:t>
            </a:r>
            <a:r>
              <a:rPr lang="es-MX" sz="1400" dirty="0" smtClean="0">
                <a:solidFill>
                  <a:srgbClr val="000000"/>
                </a:solidFill>
                <a:cs typeface="Arial" charset="0"/>
              </a:rPr>
              <a:t>sociales.</a:t>
            </a:r>
            <a:endParaRPr lang="es-MX" sz="1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0975" y="3933057"/>
            <a:ext cx="2235200" cy="1658916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MX" sz="1600" b="1" dirty="0" smtClean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Relaciones institucionales</a:t>
            </a:r>
            <a:endParaRPr lang="es-MX" sz="1600" b="1" dirty="0">
              <a:solidFill>
                <a:srgbClr val="FFFFFF"/>
              </a:solidFill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554288" y="1799208"/>
            <a:ext cx="6408737" cy="159428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6838" indent="-96838"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Desarrollar la colaboración en aquellas </a:t>
            </a: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áreas donde las competencias internas nunca estarán disponibles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(ej. actividades no centrales de misión tales como la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hostelería)</a:t>
            </a:r>
            <a:endParaRPr lang="es-ES" sz="1400" dirty="0">
              <a:solidFill>
                <a:srgbClr val="000000"/>
              </a:solidFill>
              <a:cs typeface="Arial" charset="0"/>
            </a:endParaRPr>
          </a:p>
          <a:p>
            <a:pPr marL="96838" indent="-96838"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 … o no están disponibles temporalmente (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ej. central de compras).</a:t>
            </a:r>
            <a:endParaRPr lang="es-ES" sz="1400" dirty="0">
              <a:solidFill>
                <a:srgbClr val="000000"/>
              </a:solidFill>
              <a:cs typeface="Arial" charset="0"/>
            </a:endParaRPr>
          </a:p>
          <a:p>
            <a:pPr marL="96838" indent="-96838"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Centrarse en las actividades básicas y externalizar otras cosas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(ej. gestión de nóminas, procesos y transacciones de alto volumen y poco valor).</a:t>
            </a:r>
          </a:p>
        </p:txBody>
      </p:sp>
      <p:sp>
        <p:nvSpPr>
          <p:cNvPr id="10" name="Rectangle 9"/>
          <p:cNvSpPr/>
          <p:nvPr/>
        </p:nvSpPr>
        <p:spPr>
          <a:xfrm>
            <a:off x="177800" y="1799208"/>
            <a:ext cx="2233613" cy="1701800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MX" sz="1600" b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Modelo </a:t>
            </a:r>
            <a:r>
              <a:rPr lang="es-MX" sz="1600" b="1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de colaboración</a:t>
            </a:r>
            <a:endParaRPr lang="es-MX" sz="1600" b="1" dirty="0">
              <a:solidFill>
                <a:srgbClr val="FFFFFF"/>
              </a:solidFill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313670" name="RunningHead"/>
          <p:cNvSpPr txBox="1">
            <a:spLocks noChangeArrowheads="1"/>
          </p:cNvSpPr>
          <p:nvPr/>
        </p:nvSpPr>
        <p:spPr bwMode="gray">
          <a:xfrm>
            <a:off x="6891338" y="139700"/>
            <a:ext cx="2000250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MX" sz="1200" dirty="0">
                <a:solidFill>
                  <a:srgbClr val="000000"/>
                </a:solidFill>
              </a:rPr>
              <a:t>¿Estamos bien organizados?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4358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5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5162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s-ES" dirty="0" smtClean="0">
                <a:latin typeface="+mj-lt"/>
              </a:rPr>
              <a:t>La organización del Instituto Marista incluye las dimensiones típicas de una “organización familiar”</a:t>
            </a:r>
            <a:endParaRPr lang="es-ES" dirty="0">
              <a:latin typeface="+mj-lt"/>
            </a:endParaRPr>
          </a:p>
        </p:txBody>
      </p:sp>
      <p:sp>
        <p:nvSpPr>
          <p:cNvPr id="24" name="Down Arrow 23"/>
          <p:cNvSpPr/>
          <p:nvPr/>
        </p:nvSpPr>
        <p:spPr>
          <a:xfrm rot="16200000">
            <a:off x="1783556" y="1333489"/>
            <a:ext cx="1895475" cy="5103812"/>
          </a:xfrm>
          <a:prstGeom prst="downArrow">
            <a:avLst>
              <a:gd name="adj1" fmla="val 50000"/>
              <a:gd name="adj2" fmla="val 41530"/>
            </a:avLst>
          </a:prstGeom>
          <a:solidFill>
            <a:schemeClr val="tx2">
              <a:alpha val="39000"/>
            </a:schemeClr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" sz="14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19088" y="2024844"/>
            <a:ext cx="3713162" cy="3313113"/>
          </a:xfrm>
          <a:prstGeom prst="rect">
            <a:avLst/>
          </a:prstGeom>
          <a:solidFill>
            <a:schemeClr val="accent5"/>
          </a:solidFill>
          <a:ln w="6350" cap="flat">
            <a:noFill/>
            <a:miter lim="800000"/>
          </a:ln>
        </p:spPr>
        <p:txBody>
          <a:bodyPr lIns="72000" tIns="180000" rIns="72000" bIns="0"/>
          <a:lstStyle/>
          <a:p>
            <a:pPr algn="ctr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es-ES" b="1" dirty="0">
                <a:solidFill>
                  <a:srgbClr val="000000"/>
                </a:solidFill>
                <a:latin typeface="Arial "/>
                <a:cs typeface="+mn-cs"/>
              </a:rPr>
              <a:t>Instituto Marista</a:t>
            </a:r>
          </a:p>
        </p:txBody>
      </p:sp>
      <p:sp>
        <p:nvSpPr>
          <p:cNvPr id="654362" name="TextBox 32"/>
          <p:cNvSpPr txBox="1">
            <a:spLocks noChangeArrowheads="1"/>
          </p:cNvSpPr>
          <p:nvPr/>
        </p:nvSpPr>
        <p:spPr bwMode="auto">
          <a:xfrm>
            <a:off x="4198938" y="3788557"/>
            <a:ext cx="617537" cy="1936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" sz="1400" i="1">
                <a:solidFill>
                  <a:srgbClr val="000000"/>
                </a:solidFill>
                <a:latin typeface="Arial "/>
              </a:rPr>
              <a:t>Gestión</a:t>
            </a:r>
          </a:p>
        </p:txBody>
      </p:sp>
      <p:sp>
        <p:nvSpPr>
          <p:cNvPr id="18" name="Rectangle 17"/>
          <p:cNvSpPr/>
          <p:nvPr/>
        </p:nvSpPr>
        <p:spPr>
          <a:xfrm>
            <a:off x="5414963" y="2315357"/>
            <a:ext cx="3476625" cy="314007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/>
          <a:lstStyle/>
          <a:p>
            <a:pPr marL="107950" indent="-107950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Una </a:t>
            </a: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organización familiar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es una organización en la que la toma de decisiones está influenciada por las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diferentes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generaciones de la propia familia.</a:t>
            </a:r>
          </a:p>
          <a:p>
            <a:pPr marL="107950" indent="-107950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El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modelo ha evolucionado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a través del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tiempo. Hoy día,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en muchos casos, la familia mantiene la propiedad de las empresas y la toma de las decisiones clave, mientras que la gestión se delega a alguien nombrado por la familia que tiene las competencias adecuadas.</a:t>
            </a:r>
          </a:p>
          <a:p>
            <a:pPr marL="107950" indent="-107950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Hoy en día, algunas de las mayores empresas mundiales son empresas familiares.</a:t>
            </a:r>
          </a:p>
        </p:txBody>
      </p:sp>
      <p:sp>
        <p:nvSpPr>
          <p:cNvPr id="16" name="Rectángulo 4"/>
          <p:cNvSpPr/>
          <p:nvPr/>
        </p:nvSpPr>
        <p:spPr>
          <a:xfrm>
            <a:off x="422275" y="2557969"/>
            <a:ext cx="1160462" cy="1081087"/>
          </a:xfrm>
          <a:prstGeom prst="rect">
            <a:avLst/>
          </a:prstGeom>
          <a:solidFill>
            <a:schemeClr val="tx2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400" dirty="0">
                <a:solidFill>
                  <a:srgbClr val="FFFFFF"/>
                </a:solidFill>
              </a:rPr>
              <a:t>Vocación Marista</a:t>
            </a:r>
          </a:p>
        </p:txBody>
      </p:sp>
      <p:sp>
        <p:nvSpPr>
          <p:cNvPr id="17" name="Rectángulo 5"/>
          <p:cNvSpPr/>
          <p:nvPr/>
        </p:nvSpPr>
        <p:spPr>
          <a:xfrm>
            <a:off x="2770188" y="3982232"/>
            <a:ext cx="1158875" cy="742950"/>
          </a:xfrm>
          <a:prstGeom prst="rect">
            <a:avLst/>
          </a:prstGeom>
          <a:solidFill>
            <a:schemeClr val="bg1">
              <a:lumMod val="50000"/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400" dirty="0">
                <a:solidFill>
                  <a:srgbClr val="FFFFFF"/>
                </a:solidFill>
              </a:rPr>
              <a:t>Economía</a:t>
            </a:r>
          </a:p>
        </p:txBody>
      </p:sp>
      <p:sp>
        <p:nvSpPr>
          <p:cNvPr id="19" name="Rectángulo 3"/>
          <p:cNvSpPr/>
          <p:nvPr/>
        </p:nvSpPr>
        <p:spPr>
          <a:xfrm>
            <a:off x="1457325" y="2874912"/>
            <a:ext cx="1436688" cy="1648789"/>
          </a:xfrm>
          <a:prstGeom prst="rect">
            <a:avLst/>
          </a:prstGeom>
          <a:solidFill>
            <a:schemeClr val="accent1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2000" dirty="0">
                <a:solidFill>
                  <a:srgbClr val="FFFFFF"/>
                </a:solidFill>
              </a:rPr>
              <a:t>Misión</a:t>
            </a:r>
          </a:p>
        </p:txBody>
      </p:sp>
      <p:sp>
        <p:nvSpPr>
          <p:cNvPr id="654367" name="TextBox 20"/>
          <p:cNvSpPr txBox="1">
            <a:spLocks noChangeArrowheads="1"/>
          </p:cNvSpPr>
          <p:nvPr/>
        </p:nvSpPr>
        <p:spPr bwMode="auto">
          <a:xfrm>
            <a:off x="1195388" y="4966482"/>
            <a:ext cx="1970087" cy="1936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" sz="1400" i="1">
                <a:solidFill>
                  <a:srgbClr val="000000"/>
                </a:solidFill>
                <a:latin typeface="Arial "/>
              </a:rPr>
              <a:t>Animación y gobernanza</a:t>
            </a:r>
          </a:p>
        </p:txBody>
      </p:sp>
      <p:sp>
        <p:nvSpPr>
          <p:cNvPr id="654368" name="RunningHead"/>
          <p:cNvSpPr txBox="1">
            <a:spLocks noChangeArrowheads="1"/>
          </p:cNvSpPr>
          <p:nvPr/>
        </p:nvSpPr>
        <p:spPr bwMode="gray">
          <a:xfrm>
            <a:off x="6891338" y="139700"/>
            <a:ext cx="2000250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MX" sz="1200" dirty="0">
                <a:solidFill>
                  <a:srgbClr val="000000"/>
                </a:solidFill>
              </a:rPr>
              <a:t>¿Estamos bien organizados?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9478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67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9479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4797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Maristas es un mundo complejo que requiere un conjunto diversificado de enfoques y de competencias adecuadas …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142875" y="1557338"/>
            <a:ext cx="8785225" cy="5184775"/>
          </a:xfrm>
          <a:prstGeom prst="roundRect">
            <a:avLst>
              <a:gd name="adj" fmla="val 8376"/>
            </a:avLst>
          </a:prstGeom>
          <a:noFill/>
          <a:ln w="6350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31800" y="2728913"/>
            <a:ext cx="2303463" cy="611187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>
              <a:lnSpc>
                <a:spcPct val="90000"/>
              </a:lnSpc>
              <a:spcBef>
                <a:spcPts val="900"/>
              </a:spcBef>
              <a:defRPr/>
            </a:pPr>
            <a:r>
              <a:rPr lang="es-ES" sz="1600">
                <a:solidFill>
                  <a:srgbClr val="FFFFFF"/>
                </a:solidFill>
                <a:ea typeface="Calibri" pitchFamily="34" charset="0"/>
                <a:cs typeface="Times New Roman" pitchFamily="18" charset="0"/>
              </a:rPr>
              <a:t>Vida consagrada y laicos</a:t>
            </a:r>
          </a:p>
        </p:txBody>
      </p:sp>
      <p:sp>
        <p:nvSpPr>
          <p:cNvPr id="5" name="Rectangle 4"/>
          <p:cNvSpPr/>
          <p:nvPr/>
        </p:nvSpPr>
        <p:spPr>
          <a:xfrm>
            <a:off x="3402013" y="3332163"/>
            <a:ext cx="2303462" cy="2332037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/>
          <a:lstStyle/>
          <a:p>
            <a:pPr marL="107950" indent="-10795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Planificación estratégica.</a:t>
            </a:r>
          </a:p>
          <a:p>
            <a:pPr marL="107950" indent="-10795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Economía y finanzas de la Misión.</a:t>
            </a:r>
          </a:p>
          <a:p>
            <a:pPr marL="107950" indent="-10795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Gestión de personas y desarrollo de competencias.</a:t>
            </a:r>
          </a:p>
          <a:p>
            <a:pPr marL="107950" indent="-10795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  <a:defRPr/>
            </a:pP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Herramientas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(tecnología, comunicación…).</a:t>
            </a:r>
          </a:p>
          <a:p>
            <a:pPr marL="107950" indent="-10795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Animación.</a:t>
            </a:r>
          </a:p>
          <a:p>
            <a:pPr marL="107950" indent="-10795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…</a:t>
            </a:r>
          </a:p>
        </p:txBody>
      </p:sp>
      <p:sp>
        <p:nvSpPr>
          <p:cNvPr id="8" name="Rectangle 7"/>
          <p:cNvSpPr/>
          <p:nvPr/>
        </p:nvSpPr>
        <p:spPr>
          <a:xfrm>
            <a:off x="431800" y="3332163"/>
            <a:ext cx="2303463" cy="2332037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/>
          <a:lstStyle/>
          <a:p>
            <a:pPr marL="109220" indent="-109220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Hermanos y laicos.</a:t>
            </a:r>
          </a:p>
          <a:p>
            <a:pPr marL="109220" indent="-109220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Formación de hermanos y laicos</a:t>
            </a:r>
          </a:p>
          <a:p>
            <a:pPr marL="109220" indent="-109220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Vocaciones maristas; animación espiritual y apostólica</a:t>
            </a:r>
          </a:p>
          <a:p>
            <a:pPr marL="109220" indent="-109220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…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400425" y="2728913"/>
            <a:ext cx="2305050" cy="611187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>
              <a:lnSpc>
                <a:spcPct val="90000"/>
              </a:lnSpc>
              <a:spcBef>
                <a:spcPts val="900"/>
              </a:spcBef>
              <a:defRPr/>
            </a:pPr>
            <a:r>
              <a:rPr lang="es-ES" sz="1600">
                <a:solidFill>
                  <a:srgbClr val="FFFFFF"/>
                </a:solidFill>
                <a:ea typeface="Calibri" pitchFamily="34" charset="0"/>
                <a:cs typeface="Times New Roman" pitchFamily="18" charset="0"/>
              </a:rPr>
              <a:t>Misión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300788" y="3324225"/>
            <a:ext cx="2303462" cy="23320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/>
          <a:lstStyle/>
          <a:p>
            <a:pPr marL="107950" indent="-10795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Gestión de los activos de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la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familia</a:t>
            </a:r>
          </a:p>
          <a:p>
            <a:pPr marL="107950" indent="-10795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Auditoría de la Misión.</a:t>
            </a:r>
          </a:p>
          <a:p>
            <a:pPr marL="107950" indent="-10795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Finanzas internacionales y Administración. </a:t>
            </a:r>
          </a:p>
          <a:p>
            <a:pPr marL="107950" indent="-10795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Gestión de la Casa General.</a:t>
            </a:r>
          </a:p>
          <a:p>
            <a:pPr marL="107950" indent="-10795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…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00788" y="2719388"/>
            <a:ext cx="2303462" cy="612775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>
              <a:lnSpc>
                <a:spcPct val="90000"/>
              </a:lnSpc>
              <a:spcBef>
                <a:spcPts val="900"/>
              </a:spcBef>
              <a:defRPr/>
            </a:pPr>
            <a:r>
              <a:rPr lang="es-ES" sz="1600" i="1">
                <a:solidFill>
                  <a:srgbClr val="FFFFFF"/>
                </a:solidFill>
                <a:ea typeface="Calibri" pitchFamily="34" charset="0"/>
                <a:cs typeface="Times New Roman" pitchFamily="18" charset="0"/>
              </a:rPr>
              <a:t>Economato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31800" y="1677988"/>
            <a:ext cx="8172450" cy="944562"/>
          </a:xfrm>
          <a:prstGeom prst="rect">
            <a:avLst/>
          </a:prstGeom>
          <a:solidFill>
            <a:schemeClr val="accent5"/>
          </a:solidFill>
          <a:ln w="6350" cap="flat">
            <a:noFill/>
            <a:miter lim="800000"/>
          </a:ln>
        </p:spPr>
        <p:txBody>
          <a:bodyPr lIns="72000" tIns="0" rIns="72000" bIns="0" anchor="ctr"/>
          <a:lstStyle/>
          <a:p>
            <a:pPr algn="ctr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es-ES" sz="1400" b="1" dirty="0">
                <a:solidFill>
                  <a:srgbClr val="FFFFFF"/>
                </a:solidFill>
                <a:latin typeface="Arial "/>
                <a:cs typeface="+mn-cs"/>
              </a:rPr>
              <a:t>Visión común, estrategia, objetivos… del Carisma Marista</a:t>
            </a:r>
          </a:p>
          <a:p>
            <a:pPr algn="ctr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es-ES" sz="1400" b="1" dirty="0">
                <a:solidFill>
                  <a:srgbClr val="FFFFFF"/>
                </a:solidFill>
                <a:latin typeface="Arial "/>
                <a:cs typeface="+mn-cs"/>
              </a:rPr>
              <a:t>Necesidad de coordinación</a:t>
            </a:r>
          </a:p>
        </p:txBody>
      </p:sp>
      <p:sp>
        <p:nvSpPr>
          <p:cNvPr id="17" name="Isosceles Triangle 16"/>
          <p:cNvSpPr/>
          <p:nvPr/>
        </p:nvSpPr>
        <p:spPr>
          <a:xfrm rot="10800000">
            <a:off x="3962400" y="5716588"/>
            <a:ext cx="1371600" cy="254000"/>
          </a:xfrm>
          <a:prstGeom prst="triangl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6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Isosceles Triangle 17"/>
          <p:cNvSpPr/>
          <p:nvPr/>
        </p:nvSpPr>
        <p:spPr>
          <a:xfrm rot="10800000">
            <a:off x="6816725" y="5707063"/>
            <a:ext cx="1371600" cy="255587"/>
          </a:xfrm>
          <a:prstGeom prst="triangl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6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431800" y="6056313"/>
            <a:ext cx="2303463" cy="504825"/>
          </a:xfrm>
          <a:prstGeom prst="round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" sz="1400" i="1" dirty="0">
                <a:solidFill>
                  <a:srgbClr val="FFFFFF"/>
                </a:solidFill>
                <a:cs typeface="Arial" pitchFamily="34" charset="0"/>
              </a:rPr>
              <a:t>Liderazgo transformador</a:t>
            </a:r>
          </a:p>
        </p:txBody>
      </p:sp>
      <p:sp>
        <p:nvSpPr>
          <p:cNvPr id="659491" name="TextBox 19"/>
          <p:cNvSpPr txBox="1">
            <a:spLocks noChangeArrowheads="1"/>
          </p:cNvSpPr>
          <p:nvPr/>
        </p:nvSpPr>
        <p:spPr bwMode="auto">
          <a:xfrm>
            <a:off x="7173913" y="1416050"/>
            <a:ext cx="1014412" cy="249238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" i="1">
                <a:solidFill>
                  <a:srgbClr val="000000"/>
                </a:solidFill>
                <a:latin typeface="Arial "/>
              </a:rPr>
              <a:t>Maristas</a:t>
            </a:r>
          </a:p>
        </p:txBody>
      </p:sp>
      <p:sp>
        <p:nvSpPr>
          <p:cNvPr id="16" name="Isosceles Triangle 15"/>
          <p:cNvSpPr/>
          <p:nvPr/>
        </p:nvSpPr>
        <p:spPr>
          <a:xfrm rot="10800000">
            <a:off x="898525" y="5759450"/>
            <a:ext cx="1370013" cy="255588"/>
          </a:xfrm>
          <a:prstGeom prst="triangl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6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3402013" y="6056313"/>
            <a:ext cx="2303462" cy="504825"/>
          </a:xfrm>
          <a:prstGeom prst="round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>
              <a:lnSpc>
                <a:spcPct val="90000"/>
              </a:lnSpc>
              <a:spcBef>
                <a:spcPts val="900"/>
              </a:spcBef>
              <a:defRPr/>
            </a:pPr>
            <a:r>
              <a:rPr lang="es-ES" sz="1400" i="1">
                <a:solidFill>
                  <a:srgbClr val="FFFFFF"/>
                </a:solidFill>
                <a:cs typeface="Arial" charset="0"/>
              </a:rPr>
              <a:t>Animación, gestión y competencias técnicas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6350000" y="6056313"/>
            <a:ext cx="2305050" cy="504825"/>
          </a:xfrm>
          <a:prstGeom prst="round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>
              <a:lnSpc>
                <a:spcPct val="90000"/>
              </a:lnSpc>
              <a:spcBef>
                <a:spcPts val="900"/>
              </a:spcBef>
              <a:defRPr/>
            </a:pPr>
            <a:r>
              <a:rPr lang="es-ES" sz="1400" i="1">
                <a:solidFill>
                  <a:srgbClr val="FFFFFF"/>
                </a:solidFill>
                <a:cs typeface="Arial" charset="0"/>
              </a:rPr>
              <a:t>Asuntos económicos</a:t>
            </a:r>
          </a:p>
        </p:txBody>
      </p:sp>
      <p:sp>
        <p:nvSpPr>
          <p:cNvPr id="659495" name="RunningHead"/>
          <p:cNvSpPr txBox="1">
            <a:spLocks noChangeArrowheads="1"/>
          </p:cNvSpPr>
          <p:nvPr/>
        </p:nvSpPr>
        <p:spPr bwMode="gray">
          <a:xfrm>
            <a:off x="6891338" y="139700"/>
            <a:ext cx="2000250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MX" sz="1200" dirty="0">
                <a:solidFill>
                  <a:srgbClr val="000000"/>
                </a:solidFill>
              </a:rPr>
              <a:t>¿Estamos bien organizados?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9478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727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9479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332399"/>
          </a:xfrm>
        </p:spPr>
        <p:txBody>
          <a:bodyPr/>
          <a:lstStyle/>
          <a:p>
            <a:pPr eaLnBrk="1" hangingPunct="1"/>
            <a:r>
              <a:rPr lang="es-ES" dirty="0">
                <a:latin typeface="Arial" charset="0"/>
                <a:cs typeface="Arial" charset="0"/>
              </a:rPr>
              <a:t>…que se destinarán a diferentes estructuras…</a:t>
            </a:r>
            <a:endParaRPr lang="es-ES" dirty="0" smtClean="0">
              <a:latin typeface="Arial" charset="0"/>
              <a:cs typeface="Arial" charset="0"/>
            </a:endParaRPr>
          </a:p>
        </p:txBody>
      </p:sp>
      <p:sp>
        <p:nvSpPr>
          <p:cNvPr id="659495" name="RunningHead"/>
          <p:cNvSpPr txBox="1">
            <a:spLocks noChangeArrowheads="1"/>
          </p:cNvSpPr>
          <p:nvPr/>
        </p:nvSpPr>
        <p:spPr bwMode="gray">
          <a:xfrm>
            <a:off x="6891338" y="139700"/>
            <a:ext cx="2000250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MX" sz="1200" dirty="0">
                <a:solidFill>
                  <a:srgbClr val="000000"/>
                </a:solidFill>
              </a:rPr>
              <a:t>¿Estamos bien organizados?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142875" y="1484313"/>
            <a:ext cx="8785225" cy="5113337"/>
          </a:xfrm>
          <a:prstGeom prst="roundRect">
            <a:avLst>
              <a:gd name="adj" fmla="val 8376"/>
            </a:avLst>
          </a:prstGeom>
          <a:noFill/>
          <a:ln w="6350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22275" y="1768475"/>
            <a:ext cx="8174038" cy="944563"/>
          </a:xfrm>
          <a:prstGeom prst="rect">
            <a:avLst/>
          </a:prstGeom>
          <a:solidFill>
            <a:schemeClr val="accent5"/>
          </a:solidFill>
          <a:ln w="6350" cap="flat">
            <a:noFill/>
            <a:miter lim="800000"/>
          </a:ln>
        </p:spPr>
        <p:txBody>
          <a:bodyPr lIns="72000" tIns="0" rIns="72000" bIns="0" anchor="ctr"/>
          <a:lstStyle/>
          <a:p>
            <a:pPr algn="ctr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" sz="1400" dirty="0">
              <a:solidFill>
                <a:srgbClr val="FFFFFF">
                  <a:lumMod val="75000"/>
                </a:srgbClr>
              </a:solidFill>
              <a:latin typeface="Arial "/>
              <a:cs typeface="+mn-cs"/>
            </a:endParaRPr>
          </a:p>
        </p:txBody>
      </p:sp>
      <p:sp>
        <p:nvSpPr>
          <p:cNvPr id="24" name="TextBox 45"/>
          <p:cNvSpPr txBox="1">
            <a:spLocks noChangeArrowheads="1"/>
          </p:cNvSpPr>
          <p:nvPr/>
        </p:nvSpPr>
        <p:spPr bwMode="auto">
          <a:xfrm>
            <a:off x="7265988" y="1376363"/>
            <a:ext cx="1014412" cy="249237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" i="1">
                <a:solidFill>
                  <a:srgbClr val="000000"/>
                </a:solidFill>
                <a:latin typeface="Arial "/>
              </a:rPr>
              <a:t>Marista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2727325" y="2638425"/>
            <a:ext cx="5876925" cy="498475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6" name="TextBox 25"/>
          <p:cNvSpPr txBox="1">
            <a:spLocks noChangeArrowheads="1"/>
          </p:cNvSpPr>
          <p:nvPr/>
        </p:nvSpPr>
        <p:spPr bwMode="auto">
          <a:xfrm>
            <a:off x="2843213" y="2789238"/>
            <a:ext cx="2616200" cy="1936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" sz="1400" b="1">
                <a:solidFill>
                  <a:srgbClr val="FFFFFF"/>
                </a:solidFill>
                <a:latin typeface="Arial "/>
              </a:rPr>
              <a:t> Gobierno General y Provincial</a:t>
            </a:r>
          </a:p>
        </p:txBody>
      </p:sp>
      <p:grpSp>
        <p:nvGrpSpPr>
          <p:cNvPr id="27" name="Agrupar 5"/>
          <p:cNvGrpSpPr>
            <a:grpSpLocks/>
          </p:cNvGrpSpPr>
          <p:nvPr/>
        </p:nvGrpSpPr>
        <p:grpSpPr bwMode="auto">
          <a:xfrm>
            <a:off x="2771775" y="4092575"/>
            <a:ext cx="3500438" cy="1857375"/>
            <a:chOff x="2771801" y="4093190"/>
            <a:chExt cx="3500085" cy="1856091"/>
          </a:xfrm>
        </p:grpSpPr>
        <p:sp>
          <p:nvSpPr>
            <p:cNvPr id="28" name="Isosceles Triangle 27"/>
            <p:cNvSpPr/>
            <p:nvPr/>
          </p:nvSpPr>
          <p:spPr>
            <a:xfrm rot="5400000">
              <a:off x="2255670" y="4893455"/>
              <a:ext cx="1856091" cy="255561"/>
            </a:xfrm>
            <a:prstGeom prst="triangle">
              <a:avLst/>
            </a:prstGeom>
            <a:solidFill>
              <a:schemeClr val="bg2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defRPr/>
              </a:pPr>
              <a:endParaRPr lang="es-ES" sz="1600" dirty="0">
                <a:solidFill>
                  <a:srgbClr val="FFFFFF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Isosceles Triangle 28"/>
            <p:cNvSpPr/>
            <p:nvPr/>
          </p:nvSpPr>
          <p:spPr>
            <a:xfrm rot="16200000" flipH="1">
              <a:off x="1971536" y="4893455"/>
              <a:ext cx="1856091" cy="255562"/>
            </a:xfrm>
            <a:prstGeom prst="triangle">
              <a:avLst/>
            </a:prstGeom>
            <a:solidFill>
              <a:schemeClr val="bg2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defRPr/>
              </a:pPr>
              <a:endParaRPr lang="es-ES" sz="1600" dirty="0">
                <a:solidFill>
                  <a:srgbClr val="FFFFFF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30" name="Group 73"/>
            <p:cNvGrpSpPr>
              <a:grpSpLocks/>
            </p:cNvGrpSpPr>
            <p:nvPr/>
          </p:nvGrpSpPr>
          <p:grpSpPr bwMode="auto">
            <a:xfrm>
              <a:off x="5755613" y="4093190"/>
              <a:ext cx="516273" cy="1856091"/>
              <a:chOff x="2771801" y="3248982"/>
              <a:chExt cx="516273" cy="1856091"/>
            </a:xfrm>
          </p:grpSpPr>
          <p:sp>
            <p:nvSpPr>
              <p:cNvPr id="31" name="Isosceles Triangle 30"/>
              <p:cNvSpPr/>
              <p:nvPr/>
            </p:nvSpPr>
            <p:spPr>
              <a:xfrm rot="5400000">
                <a:off x="2232247" y="4049247"/>
                <a:ext cx="1856091" cy="255562"/>
              </a:xfrm>
              <a:prstGeom prst="triangle">
                <a:avLst/>
              </a:prstGeom>
              <a:solidFill>
                <a:schemeClr val="bg2"/>
              </a:solidFill>
              <a:ln w="6350" cap="flat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anchor="ctr"/>
              <a:lstStyle/>
              <a:p>
                <a:pPr algn="ctr" defTabSz="914400" fontAlgn="auto">
                  <a:lnSpc>
                    <a:spcPct val="90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s-ES" sz="1600" dirty="0">
                  <a:solidFill>
                    <a:srgbClr val="FFFFFF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2" name="Isosceles Triangle 31"/>
              <p:cNvSpPr/>
              <p:nvPr/>
            </p:nvSpPr>
            <p:spPr>
              <a:xfrm rot="16200000" flipH="1">
                <a:off x="1971923" y="4049247"/>
                <a:ext cx="1856091" cy="255562"/>
              </a:xfrm>
              <a:prstGeom prst="triangle">
                <a:avLst/>
              </a:prstGeom>
              <a:solidFill>
                <a:schemeClr val="bg2"/>
              </a:solidFill>
              <a:ln w="6350" cap="flat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anchor="ctr"/>
              <a:lstStyle/>
              <a:p>
                <a:pPr algn="ctr" defTabSz="914400" fontAlgn="auto">
                  <a:lnSpc>
                    <a:spcPct val="90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s-ES" sz="1600" dirty="0">
                  <a:solidFill>
                    <a:srgbClr val="FFFFFF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grpSp>
        <p:nvGrpSpPr>
          <p:cNvPr id="33" name="Group 32"/>
          <p:cNvGrpSpPr>
            <a:grpSpLocks/>
          </p:cNvGrpSpPr>
          <p:nvPr/>
        </p:nvGrpSpPr>
        <p:grpSpPr bwMode="auto">
          <a:xfrm flipV="1">
            <a:off x="3814763" y="3006725"/>
            <a:ext cx="4214812" cy="255588"/>
            <a:chOff x="3815414" y="3280243"/>
            <a:chExt cx="4214331" cy="255490"/>
          </a:xfrm>
        </p:grpSpPr>
        <p:sp>
          <p:nvSpPr>
            <p:cNvPr id="34" name="Isosceles Triangle 33"/>
            <p:cNvSpPr/>
            <p:nvPr/>
          </p:nvSpPr>
          <p:spPr>
            <a:xfrm rot="10800000">
              <a:off x="3815414" y="3280243"/>
              <a:ext cx="1369856" cy="255490"/>
            </a:xfrm>
            <a:prstGeom prst="triangle">
              <a:avLst/>
            </a:prstGeom>
            <a:solidFill>
              <a:schemeClr val="bg2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defRPr/>
              </a:pPr>
              <a:endParaRPr lang="es-ES" sz="1600" dirty="0">
                <a:solidFill>
                  <a:srgbClr val="FFFFFF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5" name="Isosceles Triangle 34"/>
            <p:cNvSpPr/>
            <p:nvPr/>
          </p:nvSpPr>
          <p:spPr>
            <a:xfrm rot="10800000">
              <a:off x="6659889" y="3280243"/>
              <a:ext cx="1369856" cy="255490"/>
            </a:xfrm>
            <a:prstGeom prst="triangle">
              <a:avLst/>
            </a:prstGeom>
            <a:solidFill>
              <a:schemeClr val="bg2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defRPr/>
              </a:pPr>
              <a:endParaRPr lang="es-ES" sz="1600" dirty="0">
                <a:solidFill>
                  <a:srgbClr val="FFFFFF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36" name="Group 35"/>
          <p:cNvGrpSpPr>
            <a:grpSpLocks/>
          </p:cNvGrpSpPr>
          <p:nvPr/>
        </p:nvGrpSpPr>
        <p:grpSpPr bwMode="auto">
          <a:xfrm>
            <a:off x="3814763" y="3279775"/>
            <a:ext cx="4214812" cy="255588"/>
            <a:chOff x="3815414" y="3280243"/>
            <a:chExt cx="4214331" cy="255490"/>
          </a:xfrm>
        </p:grpSpPr>
        <p:sp>
          <p:nvSpPr>
            <p:cNvPr id="37" name="Isosceles Triangle 36"/>
            <p:cNvSpPr/>
            <p:nvPr/>
          </p:nvSpPr>
          <p:spPr>
            <a:xfrm rot="10800000">
              <a:off x="3815414" y="3280243"/>
              <a:ext cx="1369856" cy="255490"/>
            </a:xfrm>
            <a:prstGeom prst="triangle">
              <a:avLst/>
            </a:prstGeom>
            <a:solidFill>
              <a:schemeClr val="bg2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defRPr/>
              </a:pPr>
              <a:endParaRPr lang="es-ES" sz="1600" dirty="0">
                <a:solidFill>
                  <a:srgbClr val="FFFFFF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8" name="Isosceles Triangle 37"/>
            <p:cNvSpPr/>
            <p:nvPr/>
          </p:nvSpPr>
          <p:spPr>
            <a:xfrm rot="10800000">
              <a:off x="6659889" y="3280243"/>
              <a:ext cx="1369856" cy="255490"/>
            </a:xfrm>
            <a:prstGeom prst="triangle">
              <a:avLst/>
            </a:prstGeom>
            <a:solidFill>
              <a:schemeClr val="bg2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defRPr/>
              </a:pPr>
              <a:endParaRPr lang="es-ES" sz="1600" dirty="0">
                <a:solidFill>
                  <a:srgbClr val="FFFFFF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39" name="Rectángulo 2"/>
          <p:cNvSpPr>
            <a:spLocks noChangeArrowheads="1"/>
          </p:cNvSpPr>
          <p:nvPr/>
        </p:nvSpPr>
        <p:spPr bwMode="auto">
          <a:xfrm>
            <a:off x="596900" y="2097088"/>
            <a:ext cx="7720013" cy="34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" b="1">
                <a:solidFill>
                  <a:srgbClr val="FFFFFF"/>
                </a:solidFill>
                <a:latin typeface="Arial "/>
              </a:rPr>
              <a:t>Visión común, estrategia, objetivos… del Carisma Marista</a:t>
            </a:r>
          </a:p>
        </p:txBody>
      </p:sp>
      <p:sp>
        <p:nvSpPr>
          <p:cNvPr id="40" name="Rectangle 39"/>
          <p:cNvSpPr/>
          <p:nvPr/>
        </p:nvSpPr>
        <p:spPr>
          <a:xfrm>
            <a:off x="422275" y="1770063"/>
            <a:ext cx="8181975" cy="757237"/>
          </a:xfrm>
          <a:prstGeom prst="rect">
            <a:avLst/>
          </a:prstGeom>
          <a:solidFill>
            <a:schemeClr val="accent5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" sz="1600" b="1" dirty="0">
                <a:solidFill>
                  <a:srgbClr val="FFFFFF"/>
                </a:solidFill>
                <a:cs typeface="Arial" pitchFamily="34" charset="0"/>
              </a:rPr>
              <a:t>Asamblea de Misión / Capítulo General y Provincial</a:t>
            </a:r>
          </a:p>
        </p:txBody>
      </p:sp>
      <p:grpSp>
        <p:nvGrpSpPr>
          <p:cNvPr id="41" name="Agrupar 4"/>
          <p:cNvGrpSpPr>
            <a:grpSpLocks/>
          </p:cNvGrpSpPr>
          <p:nvPr/>
        </p:nvGrpSpPr>
        <p:grpSpPr bwMode="auto">
          <a:xfrm>
            <a:off x="898525" y="2457450"/>
            <a:ext cx="7058025" cy="255588"/>
            <a:chOff x="898350" y="2456892"/>
            <a:chExt cx="7058026" cy="255490"/>
          </a:xfrm>
        </p:grpSpPr>
        <p:sp>
          <p:nvSpPr>
            <p:cNvPr id="42" name="Isosceles Triangle 41"/>
            <p:cNvSpPr/>
            <p:nvPr/>
          </p:nvSpPr>
          <p:spPr>
            <a:xfrm rot="10800000">
              <a:off x="898350" y="2456892"/>
              <a:ext cx="1370013" cy="255490"/>
            </a:xfrm>
            <a:prstGeom prst="triangle">
              <a:avLst/>
            </a:prstGeom>
            <a:solidFill>
              <a:schemeClr val="bg2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defRPr/>
              </a:pPr>
              <a:endParaRPr lang="es-ES" sz="1600" dirty="0">
                <a:solidFill>
                  <a:srgbClr val="FFFFFF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Isosceles Triangle 42"/>
            <p:cNvSpPr/>
            <p:nvPr/>
          </p:nvSpPr>
          <p:spPr>
            <a:xfrm rot="10800000">
              <a:off x="3741563" y="2456892"/>
              <a:ext cx="1371600" cy="255490"/>
            </a:xfrm>
            <a:prstGeom prst="triangle">
              <a:avLst/>
            </a:prstGeom>
            <a:solidFill>
              <a:schemeClr val="bg2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defRPr/>
              </a:pPr>
              <a:endParaRPr lang="es-ES" sz="1600" dirty="0">
                <a:solidFill>
                  <a:srgbClr val="FFFFFF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Isosceles Triangle 43"/>
            <p:cNvSpPr/>
            <p:nvPr/>
          </p:nvSpPr>
          <p:spPr>
            <a:xfrm rot="10800000">
              <a:off x="6586364" y="2456892"/>
              <a:ext cx="1370012" cy="255490"/>
            </a:xfrm>
            <a:prstGeom prst="triangle">
              <a:avLst/>
            </a:prstGeom>
            <a:solidFill>
              <a:schemeClr val="bg2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defRPr/>
              </a:pPr>
              <a:endParaRPr lang="es-ES" sz="1600" dirty="0">
                <a:solidFill>
                  <a:srgbClr val="FFFFFF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45" name="Rectangle 3"/>
          <p:cNvSpPr/>
          <p:nvPr/>
        </p:nvSpPr>
        <p:spPr>
          <a:xfrm>
            <a:off x="431800" y="3579813"/>
            <a:ext cx="2303463" cy="612775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>
              <a:lnSpc>
                <a:spcPct val="90000"/>
              </a:lnSpc>
              <a:spcBef>
                <a:spcPts val="900"/>
              </a:spcBef>
              <a:defRPr/>
            </a:pPr>
            <a:r>
              <a:rPr lang="es-ES" sz="1600">
                <a:solidFill>
                  <a:srgbClr val="FFFFFF"/>
                </a:solidFill>
                <a:ea typeface="Calibri" pitchFamily="34" charset="0"/>
                <a:cs typeface="Times New Roman" pitchFamily="18" charset="0"/>
              </a:rPr>
              <a:t>Vida consagrada y laicos</a:t>
            </a:r>
          </a:p>
        </p:txBody>
      </p:sp>
      <p:sp>
        <p:nvSpPr>
          <p:cNvPr id="46" name="Rectangle 4"/>
          <p:cNvSpPr/>
          <p:nvPr/>
        </p:nvSpPr>
        <p:spPr>
          <a:xfrm>
            <a:off x="3402013" y="4175125"/>
            <a:ext cx="2303462" cy="216356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/>
          <a:lstStyle/>
          <a:p>
            <a:pPr marL="109220" indent="-109220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200" dirty="0">
                <a:solidFill>
                  <a:srgbClr val="000000"/>
                </a:solidFill>
                <a:cs typeface="Arial" pitchFamily="34" charset="0"/>
              </a:rPr>
              <a:t>Planificación estratégica.</a:t>
            </a:r>
          </a:p>
          <a:p>
            <a:pPr marL="109220" indent="-109220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200" dirty="0">
                <a:solidFill>
                  <a:srgbClr val="000000"/>
                </a:solidFill>
                <a:cs typeface="Arial" pitchFamily="34" charset="0"/>
              </a:rPr>
              <a:t>Economía y finanzas de la Misión.</a:t>
            </a:r>
          </a:p>
          <a:p>
            <a:pPr marL="109220" indent="-109220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200" dirty="0">
                <a:solidFill>
                  <a:srgbClr val="000000"/>
                </a:solidFill>
                <a:cs typeface="Arial" pitchFamily="34" charset="0"/>
              </a:rPr>
              <a:t>Gestión de personas y desarrollo de competencias.</a:t>
            </a:r>
          </a:p>
          <a:p>
            <a:pPr marL="109220" indent="-109220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200" dirty="0">
                <a:solidFill>
                  <a:srgbClr val="000000"/>
                </a:solidFill>
                <a:cs typeface="Arial" pitchFamily="34" charset="0"/>
              </a:rPr>
              <a:t>Facilitadores(tecnología, comunicación…).</a:t>
            </a:r>
          </a:p>
          <a:p>
            <a:pPr marL="109220" indent="-109220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200" dirty="0">
                <a:solidFill>
                  <a:srgbClr val="000000"/>
                </a:solidFill>
                <a:cs typeface="Arial" pitchFamily="34" charset="0"/>
              </a:rPr>
              <a:t>Animación.</a:t>
            </a:r>
          </a:p>
          <a:p>
            <a:pPr marL="109220" indent="-109220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200" dirty="0" smtClean="0">
                <a:solidFill>
                  <a:srgbClr val="000000"/>
                </a:solidFill>
                <a:cs typeface="Arial" pitchFamily="34" charset="0"/>
              </a:rPr>
              <a:t>…</a:t>
            </a:r>
            <a:endParaRPr lang="es-ES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7" name="Rectangle 7"/>
          <p:cNvSpPr/>
          <p:nvPr/>
        </p:nvSpPr>
        <p:spPr>
          <a:xfrm>
            <a:off x="431800" y="4183063"/>
            <a:ext cx="2303463" cy="23336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/>
          <a:lstStyle/>
          <a:p>
            <a:pPr marL="109220" indent="-109220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Hermanos y laicos.</a:t>
            </a:r>
          </a:p>
          <a:p>
            <a:pPr marL="109220" indent="-109220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Formación de hermanos y laicos</a:t>
            </a:r>
          </a:p>
          <a:p>
            <a:pPr marL="109220" indent="-109220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Vocaciones maristas; animación espiritual y apostólica</a:t>
            </a:r>
          </a:p>
          <a:p>
            <a:pPr marL="109220" indent="-109220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…</a:t>
            </a:r>
          </a:p>
        </p:txBody>
      </p:sp>
      <p:sp>
        <p:nvSpPr>
          <p:cNvPr id="48" name="Rectangle 11"/>
          <p:cNvSpPr/>
          <p:nvPr/>
        </p:nvSpPr>
        <p:spPr>
          <a:xfrm>
            <a:off x="3400425" y="3579813"/>
            <a:ext cx="2305050" cy="612775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>
              <a:lnSpc>
                <a:spcPct val="90000"/>
              </a:lnSpc>
              <a:spcBef>
                <a:spcPts val="900"/>
              </a:spcBef>
              <a:defRPr/>
            </a:pPr>
            <a:r>
              <a:rPr lang="es-ES" sz="1600">
                <a:solidFill>
                  <a:srgbClr val="FFFFFF"/>
                </a:solidFill>
                <a:ea typeface="Calibri" pitchFamily="34" charset="0"/>
                <a:cs typeface="Times New Roman" pitchFamily="18" charset="0"/>
              </a:rPr>
              <a:t>Misión</a:t>
            </a:r>
          </a:p>
        </p:txBody>
      </p:sp>
      <p:sp>
        <p:nvSpPr>
          <p:cNvPr id="49" name="Rectangle 12"/>
          <p:cNvSpPr/>
          <p:nvPr/>
        </p:nvSpPr>
        <p:spPr>
          <a:xfrm>
            <a:off x="6300788" y="4175125"/>
            <a:ext cx="2303462" cy="23320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120" tIns="71120" rIns="71120" bIns="71120"/>
          <a:lstStyle/>
          <a:p>
            <a:pPr marL="109220" indent="-109220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Gestión de los activos de a familia</a:t>
            </a:r>
          </a:p>
          <a:p>
            <a:pPr marL="109220" indent="-109220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Auditoría de la Misión.</a:t>
            </a:r>
          </a:p>
          <a:p>
            <a:pPr marL="109220" indent="-109220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Finanzas internacionales y Administración. </a:t>
            </a:r>
          </a:p>
          <a:p>
            <a:pPr marL="109220" indent="-109220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Gestión de la Casa General.</a:t>
            </a:r>
          </a:p>
          <a:p>
            <a:pPr marL="109220" indent="-109220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FontTx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…</a:t>
            </a:r>
          </a:p>
        </p:txBody>
      </p:sp>
      <p:sp>
        <p:nvSpPr>
          <p:cNvPr id="50" name="Rectangle 13"/>
          <p:cNvSpPr/>
          <p:nvPr/>
        </p:nvSpPr>
        <p:spPr>
          <a:xfrm>
            <a:off x="6300788" y="3571875"/>
            <a:ext cx="2303462" cy="611188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>
              <a:lnSpc>
                <a:spcPct val="90000"/>
              </a:lnSpc>
              <a:spcBef>
                <a:spcPts val="900"/>
              </a:spcBef>
              <a:defRPr/>
            </a:pPr>
            <a:r>
              <a:rPr lang="es-ES" sz="1600" i="1">
                <a:solidFill>
                  <a:srgbClr val="FFFFFF"/>
                </a:solidFill>
                <a:ea typeface="Calibri" pitchFamily="34" charset="0"/>
                <a:cs typeface="Times New Roman" pitchFamily="18" charset="0"/>
              </a:rPr>
              <a:t>Economato</a:t>
            </a:r>
          </a:p>
        </p:txBody>
      </p:sp>
      <p:sp>
        <p:nvSpPr>
          <p:cNvPr id="51" name="Rectangle 49"/>
          <p:cNvSpPr/>
          <p:nvPr/>
        </p:nvSpPr>
        <p:spPr>
          <a:xfrm>
            <a:off x="431800" y="2638425"/>
            <a:ext cx="2303463" cy="3851275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2" name="Rectangle 55"/>
          <p:cNvSpPr/>
          <p:nvPr/>
        </p:nvSpPr>
        <p:spPr>
          <a:xfrm>
            <a:off x="6296025" y="3594100"/>
            <a:ext cx="2305050" cy="2933700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>
              <a:lnSpc>
                <a:spcPct val="90000"/>
              </a:lnSpc>
              <a:spcBef>
                <a:spcPts val="900"/>
              </a:spcBef>
              <a:defRPr/>
            </a:pPr>
            <a:r>
              <a:rPr lang="es-ES" sz="1600" i="1">
                <a:solidFill>
                  <a:srgbClr val="FFFFFF"/>
                </a:solidFill>
                <a:ea typeface="Calibri" pitchFamily="34" charset="0"/>
                <a:cs typeface="Times New Roman" pitchFamily="18" charset="0"/>
              </a:rPr>
              <a:t>Economato</a:t>
            </a:r>
            <a:r>
              <a:rPr lang="es-ES" sz="1600">
                <a:solidFill>
                  <a:srgbClr val="FFFFFF"/>
                </a:solidFill>
                <a:ea typeface="Calibri" pitchFamily="34" charset="0"/>
                <a:cs typeface="Times New Roman" pitchFamily="18" charset="0"/>
              </a:rPr>
              <a:t> </a:t>
            </a:r>
          </a:p>
        </p:txBody>
      </p:sp>
      <p:sp>
        <p:nvSpPr>
          <p:cNvPr id="53" name="Rectangle 54"/>
          <p:cNvSpPr/>
          <p:nvPr/>
        </p:nvSpPr>
        <p:spPr>
          <a:xfrm>
            <a:off x="3400425" y="3579813"/>
            <a:ext cx="2305050" cy="2933700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>
              <a:lnSpc>
                <a:spcPct val="90000"/>
              </a:lnSpc>
              <a:spcBef>
                <a:spcPts val="900"/>
              </a:spcBef>
              <a:defRPr/>
            </a:pPr>
            <a:r>
              <a:rPr lang="es-ES" sz="1600">
                <a:solidFill>
                  <a:srgbClr val="FFFFFF"/>
                </a:solidFill>
                <a:ea typeface="Calibri" pitchFamily="34" charset="0"/>
                <a:cs typeface="Times New Roman" pitchFamily="18" charset="0"/>
              </a:rPr>
              <a:t>Consejo de Misión</a:t>
            </a:r>
          </a:p>
        </p:txBody>
      </p:sp>
    </p:spTree>
    <p:extLst>
      <p:ext uri="{BB962C8B-B14F-4D97-AF65-F5344CB8AC3E}">
        <p14:creationId xmlns:p14="http://schemas.microsoft.com/office/powerpoint/2010/main" val="86947966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4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9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/>
      <p:bldP spid="40" grpId="0" animBg="1"/>
      <p:bldP spid="51" grpId="0" animBg="1"/>
      <p:bldP spid="52" grpId="0" animBg="1"/>
      <p:bldP spid="53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Rectangle 129"/>
          <p:cNvSpPr/>
          <p:nvPr/>
        </p:nvSpPr>
        <p:spPr>
          <a:xfrm>
            <a:off x="142875" y="1737233"/>
            <a:ext cx="8857617" cy="134588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3152" tIns="73152" rIns="73152" bIns="73152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" sz="1400" dirty="0">
                <a:solidFill>
                  <a:srgbClr val="FFFFFF"/>
                </a:solidFill>
                <a:cs typeface="Arial" pitchFamily="34" charset="0"/>
              </a:rPr>
              <a:t>Administración General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142875" y="3337612"/>
            <a:ext cx="8857617" cy="1345884"/>
          </a:xfrm>
          <a:prstGeom prst="rect">
            <a:avLst/>
          </a:prstGeom>
          <a:solidFill>
            <a:schemeClr val="bg2">
              <a:lumMod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3152" tIns="73152" rIns="73152" bIns="73152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" sz="1400" dirty="0">
                <a:solidFill>
                  <a:srgbClr val="FFFFFF"/>
                </a:solidFill>
                <a:cs typeface="Arial" pitchFamily="34" charset="0"/>
              </a:rPr>
              <a:t>Administración </a:t>
            </a:r>
            <a:r>
              <a:rPr lang="es-ES" sz="1400" dirty="0" smtClean="0">
                <a:solidFill>
                  <a:srgbClr val="FFFFFF"/>
                </a:solidFill>
                <a:cs typeface="Arial" pitchFamily="34" charset="0"/>
              </a:rPr>
              <a:t>Regional</a:t>
            </a:r>
            <a:endParaRPr lang="es-ES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131667" y="4929410"/>
            <a:ext cx="8868825" cy="1572418"/>
          </a:xfrm>
          <a:prstGeom prst="rect">
            <a:avLst/>
          </a:prstGeom>
          <a:solidFill>
            <a:srgbClr val="008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3152" tIns="73152" rIns="73152" bIns="73152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" sz="1400" dirty="0">
                <a:solidFill>
                  <a:srgbClr val="FFFFFF"/>
                </a:solidFill>
                <a:cs typeface="Arial" pitchFamily="34" charset="0"/>
              </a:rPr>
              <a:t>Administración local</a:t>
            </a:r>
          </a:p>
        </p:txBody>
      </p:sp>
      <p:graphicFrame>
        <p:nvGraphicFramePr>
          <p:cNvPr id="661526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72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5162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s-ES" dirty="0" smtClean="0">
                <a:latin typeface="+mj-lt"/>
              </a:rPr>
              <a:t>… replicadas coherentemente a todos los niveles del Instituto para garantizar una organización global muy bien conectada.</a:t>
            </a:r>
            <a:endParaRPr lang="es-ES" dirty="0">
              <a:latin typeface="+mj-lt"/>
            </a:endParaRPr>
          </a:p>
        </p:txBody>
      </p:sp>
      <p:sp>
        <p:nvSpPr>
          <p:cNvPr id="44" name="Rectangle 9"/>
          <p:cNvSpPr>
            <a:spLocks noChangeArrowheads="1"/>
          </p:cNvSpPr>
          <p:nvPr/>
        </p:nvSpPr>
        <p:spPr bwMode="gray">
          <a:xfrm>
            <a:off x="1274763" y="2138363"/>
            <a:ext cx="1973262" cy="539750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defTabSz="914400" eaLnBrk="0" hangingPunct="0">
              <a:lnSpc>
                <a:spcPct val="90000"/>
              </a:lnSpc>
            </a:pPr>
            <a:r>
              <a:rPr lang="es-ES" sz="1400" b="1">
                <a:solidFill>
                  <a:srgbClr val="FFFFFF"/>
                </a:solidFill>
              </a:rPr>
              <a:t>Superior General y Consejo General</a:t>
            </a:r>
            <a:endParaRPr lang="es-ES" sz="1400">
              <a:solidFill>
                <a:srgbClr val="FFFFFF"/>
              </a:solidFill>
            </a:endParaRPr>
          </a:p>
        </p:txBody>
      </p:sp>
      <p:sp>
        <p:nvSpPr>
          <p:cNvPr id="96" name="Rectangle 9"/>
          <p:cNvSpPr>
            <a:spLocks noChangeArrowheads="1"/>
          </p:cNvSpPr>
          <p:nvPr/>
        </p:nvSpPr>
        <p:spPr bwMode="gray">
          <a:xfrm>
            <a:off x="1274763" y="3730625"/>
            <a:ext cx="1973262" cy="539750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defTabSz="914400" eaLnBrk="0" hangingPunct="0">
              <a:lnSpc>
                <a:spcPct val="90000"/>
              </a:lnSpc>
            </a:pPr>
            <a:r>
              <a:rPr lang="es-ES" sz="1400" b="1">
                <a:solidFill>
                  <a:srgbClr val="FFFFFF"/>
                </a:solidFill>
              </a:rPr>
              <a:t>Consejo Regional</a:t>
            </a:r>
            <a:endParaRPr lang="es-ES" sz="1400">
              <a:solidFill>
                <a:srgbClr val="FFFFFF"/>
              </a:solidFill>
            </a:endParaRPr>
          </a:p>
        </p:txBody>
      </p:sp>
      <p:sp>
        <p:nvSpPr>
          <p:cNvPr id="104" name="Rectangle 9"/>
          <p:cNvSpPr>
            <a:spLocks noChangeArrowheads="1"/>
          </p:cNvSpPr>
          <p:nvPr/>
        </p:nvSpPr>
        <p:spPr bwMode="gray">
          <a:xfrm>
            <a:off x="1308100" y="5337175"/>
            <a:ext cx="1971675" cy="539750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defTabSz="914400" eaLnBrk="0" hangingPunct="0">
              <a:lnSpc>
                <a:spcPct val="90000"/>
              </a:lnSpc>
            </a:pPr>
            <a:r>
              <a:rPr lang="es-ES" sz="1400" b="1">
                <a:solidFill>
                  <a:srgbClr val="FFFFFF"/>
                </a:solidFill>
              </a:rPr>
              <a:t>Gobierno Provincial</a:t>
            </a:r>
            <a:r>
              <a:rPr lang="es-ES" sz="1400" b="1" baseline="30000">
                <a:solidFill>
                  <a:srgbClr val="FFFFFF"/>
                </a:solidFill>
              </a:rPr>
              <a:t>1</a:t>
            </a:r>
            <a:endParaRPr lang="es-ES" sz="1400" baseline="30000">
              <a:solidFill>
                <a:srgbClr val="FFFFFF"/>
              </a:solidFill>
            </a:endParaRPr>
          </a:p>
        </p:txBody>
      </p:sp>
      <p:sp>
        <p:nvSpPr>
          <p:cNvPr id="661534" name="TextBox 2"/>
          <p:cNvSpPr txBox="1">
            <a:spLocks noChangeArrowheads="1"/>
          </p:cNvSpPr>
          <p:nvPr/>
        </p:nvSpPr>
        <p:spPr bwMode="auto">
          <a:xfrm>
            <a:off x="244475" y="6369050"/>
            <a:ext cx="6399213" cy="3683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136525" indent="-136525" defTabSz="914400">
              <a:lnSpc>
                <a:spcPct val="90000"/>
              </a:lnSpc>
              <a:buFontTx/>
              <a:buAutoNum type="arabicPeriod"/>
            </a:pPr>
            <a:r>
              <a:rPr lang="es-ES" sz="800" dirty="0">
                <a:solidFill>
                  <a:srgbClr val="000000"/>
                </a:solidFill>
              </a:rPr>
              <a:t>‘El Gobierno puede incluir tanto el Consejo Provincial como Asociaciones locales.</a:t>
            </a:r>
          </a:p>
        </p:txBody>
      </p:sp>
      <p:grpSp>
        <p:nvGrpSpPr>
          <p:cNvPr id="30" name="Agrupar 29"/>
          <p:cNvGrpSpPr>
            <a:grpSpLocks/>
          </p:cNvGrpSpPr>
          <p:nvPr/>
        </p:nvGrpSpPr>
        <p:grpSpPr bwMode="auto">
          <a:xfrm>
            <a:off x="3597275" y="1736725"/>
            <a:ext cx="5295900" cy="1350963"/>
            <a:chOff x="3597581" y="1737233"/>
            <a:chExt cx="5294899" cy="1350442"/>
          </a:xfrm>
        </p:grpSpPr>
        <p:sp>
          <p:nvSpPr>
            <p:cNvPr id="661545" name="Rectangle 9"/>
            <p:cNvSpPr>
              <a:spLocks noChangeArrowheads="1"/>
            </p:cNvSpPr>
            <p:nvPr/>
          </p:nvSpPr>
          <p:spPr bwMode="gray">
            <a:xfrm>
              <a:off x="3597581" y="1737234"/>
              <a:ext cx="1545561" cy="1345884"/>
            </a:xfrm>
            <a:prstGeom prst="rect">
              <a:avLst/>
            </a:prstGeom>
            <a:solidFill>
              <a:schemeClr val="tx2"/>
            </a:solidFill>
            <a:ln w="6350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defTabSz="914400" eaLnBrk="0" hangingPunct="0">
                <a:lnSpc>
                  <a:spcPct val="90000"/>
                </a:lnSpc>
              </a:pPr>
              <a:r>
                <a:rPr lang="es-ES" sz="1400" b="1">
                  <a:solidFill>
                    <a:srgbClr val="FFFFFF"/>
                  </a:solidFill>
                </a:rPr>
                <a:t>Vocación Marista</a:t>
              </a:r>
              <a:endParaRPr lang="es-ES" sz="1400">
                <a:solidFill>
                  <a:srgbClr val="FFFFFF"/>
                </a:solidFill>
              </a:endParaRPr>
            </a:p>
          </p:txBody>
        </p:sp>
        <p:sp>
          <p:nvSpPr>
            <p:cNvPr id="661546" name="Rectangle 9"/>
            <p:cNvSpPr>
              <a:spLocks noChangeArrowheads="1"/>
            </p:cNvSpPr>
            <p:nvPr/>
          </p:nvSpPr>
          <p:spPr bwMode="gray">
            <a:xfrm>
              <a:off x="5472250" y="1737233"/>
              <a:ext cx="1545561" cy="1338859"/>
            </a:xfrm>
            <a:prstGeom prst="rect">
              <a:avLst/>
            </a:prstGeom>
            <a:solidFill>
              <a:schemeClr val="accent1"/>
            </a:solidFill>
            <a:ln w="6350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defTabSz="914400" eaLnBrk="0" hangingPunct="0">
                <a:lnSpc>
                  <a:spcPct val="90000"/>
                </a:lnSpc>
              </a:pPr>
              <a:r>
                <a:rPr lang="es-ES" sz="1400" b="1">
                  <a:solidFill>
                    <a:srgbClr val="FFFFFF"/>
                  </a:solidFill>
                </a:rPr>
                <a:t>Consejo de Misión</a:t>
              </a:r>
              <a:endParaRPr lang="es-ES" sz="1400">
                <a:solidFill>
                  <a:srgbClr val="FFFFFF"/>
                </a:solidFill>
              </a:endParaRPr>
            </a:p>
          </p:txBody>
        </p:sp>
        <p:sp>
          <p:nvSpPr>
            <p:cNvPr id="54" name="Rectangle 9"/>
            <p:cNvSpPr>
              <a:spLocks noChangeArrowheads="1"/>
            </p:cNvSpPr>
            <p:nvPr/>
          </p:nvSpPr>
          <p:spPr bwMode="gray">
            <a:xfrm>
              <a:off x="7346547" y="1743581"/>
              <a:ext cx="1545933" cy="1344094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 w="6350" cap="flat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defTabSz="914400" eaLnBrk="0" fontAlgn="auto" hangingPunct="0">
                <a:lnSpc>
                  <a:spcPct val="90000"/>
                </a:lnSpc>
                <a:spcAft>
                  <a:spcPts val="0"/>
                </a:spcAft>
                <a:defRPr/>
              </a:pPr>
              <a:r>
                <a:rPr lang="es-ES" sz="1400" b="1" i="1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Economato</a:t>
              </a:r>
              <a:endParaRPr lang="es-ES" sz="1400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" name="Agrupar 4"/>
          <p:cNvGrpSpPr>
            <a:grpSpLocks/>
          </p:cNvGrpSpPr>
          <p:nvPr/>
        </p:nvGrpSpPr>
        <p:grpSpPr bwMode="auto">
          <a:xfrm>
            <a:off x="3597275" y="3346450"/>
            <a:ext cx="5295900" cy="1344613"/>
            <a:chOff x="3597581" y="3347166"/>
            <a:chExt cx="5294899" cy="1343424"/>
          </a:xfrm>
        </p:grpSpPr>
        <p:sp>
          <p:nvSpPr>
            <p:cNvPr id="661542" name="Rectangle 9"/>
            <p:cNvSpPr>
              <a:spLocks noChangeArrowheads="1"/>
            </p:cNvSpPr>
            <p:nvPr/>
          </p:nvSpPr>
          <p:spPr bwMode="gray">
            <a:xfrm>
              <a:off x="3597581" y="3347166"/>
              <a:ext cx="1545561" cy="1338858"/>
            </a:xfrm>
            <a:prstGeom prst="rect">
              <a:avLst/>
            </a:prstGeom>
            <a:solidFill>
              <a:schemeClr val="tx2"/>
            </a:solidFill>
            <a:ln w="6350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defTabSz="914400" eaLnBrk="0" hangingPunct="0">
                <a:lnSpc>
                  <a:spcPct val="90000"/>
                </a:lnSpc>
              </a:pPr>
              <a:r>
                <a:rPr lang="es-ES" sz="1400" b="1">
                  <a:solidFill>
                    <a:srgbClr val="FFFFFF"/>
                  </a:solidFill>
                </a:rPr>
                <a:t>Vocación Marista</a:t>
              </a:r>
              <a:endParaRPr lang="es-ES" sz="1400">
                <a:solidFill>
                  <a:srgbClr val="FFFFFF"/>
                </a:solidFill>
              </a:endParaRPr>
            </a:p>
          </p:txBody>
        </p:sp>
        <p:sp>
          <p:nvSpPr>
            <p:cNvPr id="661543" name="Rectangle 9"/>
            <p:cNvSpPr>
              <a:spLocks noChangeArrowheads="1"/>
            </p:cNvSpPr>
            <p:nvPr/>
          </p:nvSpPr>
          <p:spPr bwMode="gray">
            <a:xfrm>
              <a:off x="5472250" y="3347166"/>
              <a:ext cx="1545561" cy="1331870"/>
            </a:xfrm>
            <a:prstGeom prst="rect">
              <a:avLst/>
            </a:prstGeom>
            <a:solidFill>
              <a:schemeClr val="accent1"/>
            </a:solidFill>
            <a:ln w="6350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defTabSz="914400" eaLnBrk="0" hangingPunct="0">
                <a:lnSpc>
                  <a:spcPct val="90000"/>
                </a:lnSpc>
              </a:pPr>
              <a:r>
                <a:rPr lang="es-ES" sz="1400" b="1">
                  <a:solidFill>
                    <a:srgbClr val="FFFFFF"/>
                  </a:solidFill>
                </a:rPr>
                <a:t>Consejo de Misión</a:t>
              </a:r>
              <a:endParaRPr lang="es-ES" sz="1400">
                <a:solidFill>
                  <a:srgbClr val="FFFFFF"/>
                </a:solidFill>
              </a:endParaRPr>
            </a:p>
          </p:txBody>
        </p:sp>
        <p:sp>
          <p:nvSpPr>
            <p:cNvPr id="77" name="Rectangle 9"/>
            <p:cNvSpPr>
              <a:spLocks noChangeArrowheads="1"/>
            </p:cNvSpPr>
            <p:nvPr/>
          </p:nvSpPr>
          <p:spPr bwMode="gray">
            <a:xfrm>
              <a:off x="7346547" y="3353510"/>
              <a:ext cx="1545933" cy="1337080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 w="6350" cap="flat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defTabSz="914400" eaLnBrk="0" fontAlgn="auto" hangingPunct="0">
                <a:lnSpc>
                  <a:spcPct val="90000"/>
                </a:lnSpc>
                <a:spcAft>
                  <a:spcPts val="0"/>
                </a:spcAft>
                <a:defRPr/>
              </a:pPr>
              <a:r>
                <a:rPr lang="es-ES" sz="1400" b="1" i="1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Economato</a:t>
              </a:r>
              <a:endParaRPr lang="es-ES" sz="1400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7" name="Agrupar 6"/>
          <p:cNvGrpSpPr>
            <a:grpSpLocks/>
          </p:cNvGrpSpPr>
          <p:nvPr/>
        </p:nvGrpSpPr>
        <p:grpSpPr bwMode="auto">
          <a:xfrm>
            <a:off x="3578225" y="4929188"/>
            <a:ext cx="5294313" cy="1547812"/>
            <a:chOff x="3577535" y="4929409"/>
            <a:chExt cx="5294899" cy="1548142"/>
          </a:xfrm>
        </p:grpSpPr>
        <p:sp>
          <p:nvSpPr>
            <p:cNvPr id="661539" name="Rectangle 9"/>
            <p:cNvSpPr>
              <a:spLocks noChangeArrowheads="1"/>
            </p:cNvSpPr>
            <p:nvPr/>
          </p:nvSpPr>
          <p:spPr bwMode="gray">
            <a:xfrm>
              <a:off x="3577535" y="4929409"/>
              <a:ext cx="1545561" cy="1543849"/>
            </a:xfrm>
            <a:prstGeom prst="rect">
              <a:avLst/>
            </a:prstGeom>
            <a:solidFill>
              <a:schemeClr val="tx2"/>
            </a:solidFill>
            <a:ln w="6350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defTabSz="914400" eaLnBrk="0" hangingPunct="0">
                <a:lnSpc>
                  <a:spcPct val="90000"/>
                </a:lnSpc>
              </a:pPr>
              <a:r>
                <a:rPr lang="es-ES" sz="1400" b="1">
                  <a:solidFill>
                    <a:srgbClr val="FFFFFF"/>
                  </a:solidFill>
                </a:rPr>
                <a:t>Vocación Marista</a:t>
              </a:r>
              <a:endParaRPr lang="es-ES" sz="1400">
                <a:solidFill>
                  <a:srgbClr val="FFFFFF"/>
                </a:solidFill>
              </a:endParaRPr>
            </a:p>
          </p:txBody>
        </p:sp>
        <p:sp>
          <p:nvSpPr>
            <p:cNvPr id="661540" name="Rectangle 9"/>
            <p:cNvSpPr>
              <a:spLocks noChangeArrowheads="1"/>
            </p:cNvSpPr>
            <p:nvPr/>
          </p:nvSpPr>
          <p:spPr bwMode="gray">
            <a:xfrm>
              <a:off x="5452204" y="4929409"/>
              <a:ext cx="1545561" cy="1535791"/>
            </a:xfrm>
            <a:prstGeom prst="rect">
              <a:avLst/>
            </a:prstGeom>
            <a:solidFill>
              <a:schemeClr val="accent1"/>
            </a:solidFill>
            <a:ln w="6350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defTabSz="914400" eaLnBrk="0" hangingPunct="0">
                <a:lnSpc>
                  <a:spcPct val="90000"/>
                </a:lnSpc>
              </a:pPr>
              <a:r>
                <a:rPr lang="es-ES" sz="1400" b="1">
                  <a:solidFill>
                    <a:srgbClr val="FFFFFF"/>
                  </a:solidFill>
                </a:rPr>
                <a:t>Consejo de Misión</a:t>
              </a:r>
              <a:endParaRPr lang="es-ES" sz="1400">
                <a:solidFill>
                  <a:srgbClr val="FFFFFF"/>
                </a:solidFill>
              </a:endParaRP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gray">
            <a:xfrm>
              <a:off x="7327625" y="4935760"/>
              <a:ext cx="1544809" cy="1541791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 w="6350" cap="flat" algn="ctr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ctr" defTabSz="914400" eaLnBrk="0" fontAlgn="auto" hangingPunct="0">
                <a:lnSpc>
                  <a:spcPct val="90000"/>
                </a:lnSpc>
                <a:spcAft>
                  <a:spcPts val="0"/>
                </a:spcAft>
                <a:defRPr/>
              </a:pPr>
              <a:r>
                <a:rPr lang="es-ES" sz="1400" b="1" i="1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Economato</a:t>
              </a:r>
              <a:endParaRPr lang="es-ES" sz="1400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661538" name="RunningHead"/>
          <p:cNvSpPr txBox="1">
            <a:spLocks noChangeArrowheads="1"/>
          </p:cNvSpPr>
          <p:nvPr/>
        </p:nvSpPr>
        <p:spPr bwMode="gray">
          <a:xfrm>
            <a:off x="6891338" y="139700"/>
            <a:ext cx="2000250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MX" sz="1200" dirty="0">
                <a:solidFill>
                  <a:srgbClr val="000000"/>
                </a:solidFill>
              </a:rPr>
              <a:t>¿Estamos bien organizados?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4" grpId="1" animBg="1"/>
      <p:bldP spid="96" grpId="0" animBg="1"/>
      <p:bldP spid="96" grpId="1" animBg="1"/>
      <p:bldP spid="104" grpId="0" animBg="1"/>
      <p:bldP spid="104" grpId="1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0177" name="Espaço Reservado para Conteúdo 2"/>
          <p:cNvSpPr>
            <a:spLocks noGrp="1"/>
          </p:cNvSpPr>
          <p:nvPr>
            <p:ph idx="1"/>
          </p:nvPr>
        </p:nvSpPr>
        <p:spPr>
          <a:xfrm>
            <a:off x="142875" y="1384228"/>
            <a:ext cx="5221288" cy="1975926"/>
          </a:xfrm>
        </p:spPr>
        <p:txBody>
          <a:bodyPr/>
          <a:lstStyle/>
          <a:p>
            <a:pPr marL="128588" indent="-128588" eaLnBrk="1" hangingPunct="1">
              <a:spcBef>
                <a:spcPts val="600"/>
              </a:spcBef>
              <a:buFont typeface="Arial" charset="0"/>
              <a:buChar char="•"/>
            </a:pPr>
            <a:r>
              <a:rPr lang="es-ES_tradnl" sz="1400" dirty="0" smtClean="0">
                <a:latin typeface="Arial" charset="0"/>
                <a:cs typeface="Arial" charset="0"/>
              </a:rPr>
              <a:t>Modelos para alcanzar una </a:t>
            </a:r>
            <a:r>
              <a:rPr lang="es-ES_tradnl" sz="1400" b="1" dirty="0" smtClean="0">
                <a:latin typeface="Arial" charset="0"/>
                <a:cs typeface="Arial" charset="0"/>
              </a:rPr>
              <a:t>mayor sinergia </a:t>
            </a:r>
            <a:r>
              <a:rPr lang="es-ES_tradnl" sz="1400" dirty="0" smtClean="0">
                <a:latin typeface="Arial" charset="0"/>
                <a:cs typeface="Arial" charset="0"/>
              </a:rPr>
              <a:t>e igualdad de recursos entre las UA.</a:t>
            </a:r>
          </a:p>
          <a:p>
            <a:pPr marL="128588" indent="-128588" eaLnBrk="1" hangingPunct="1">
              <a:spcBef>
                <a:spcPts val="600"/>
              </a:spcBef>
              <a:buFont typeface="Arial" charset="0"/>
              <a:buChar char="•"/>
            </a:pPr>
            <a:r>
              <a:rPr lang="es-ES_tradnl" sz="1400" dirty="0" smtClean="0">
                <a:latin typeface="Arial" charset="0"/>
                <a:cs typeface="Arial" charset="0"/>
              </a:rPr>
              <a:t>Modelos que permitan alcanzar una </a:t>
            </a:r>
            <a:r>
              <a:rPr lang="es-ES_tradnl" sz="1400" b="1" dirty="0" smtClean="0">
                <a:latin typeface="Arial" charset="0"/>
                <a:cs typeface="Arial" charset="0"/>
              </a:rPr>
              <a:t>mayor corresponsabilidad </a:t>
            </a:r>
            <a:r>
              <a:rPr lang="es-ES_tradnl" sz="1400" dirty="0" smtClean="0">
                <a:latin typeface="Arial" charset="0"/>
                <a:cs typeface="Arial" charset="0"/>
              </a:rPr>
              <a:t>y comunión entre laicos y hermanos.</a:t>
            </a:r>
          </a:p>
          <a:p>
            <a:pPr marL="128588" indent="-128588" eaLnBrk="1" hangingPunct="1">
              <a:spcBef>
                <a:spcPts val="600"/>
              </a:spcBef>
              <a:buFont typeface="Arial" charset="0"/>
              <a:buChar char="•"/>
            </a:pPr>
            <a:r>
              <a:rPr lang="es-ES_tradnl" sz="1400" dirty="0" smtClean="0">
                <a:latin typeface="Arial" charset="0"/>
                <a:cs typeface="Arial" charset="0"/>
              </a:rPr>
              <a:t>Sugerencias para </a:t>
            </a:r>
            <a:r>
              <a:rPr lang="es-ES_tradnl" sz="1400" b="1" dirty="0" smtClean="0">
                <a:latin typeface="Arial" charset="0"/>
                <a:cs typeface="Arial" charset="0"/>
              </a:rPr>
              <a:t>efectuar cambios en las Constituciones</a:t>
            </a:r>
            <a:r>
              <a:rPr lang="es-ES_tradnl" sz="1400" dirty="0" smtClean="0">
                <a:latin typeface="Arial" charset="0"/>
                <a:cs typeface="Arial" charset="0"/>
              </a:rPr>
              <a:t> (si es necesario).</a:t>
            </a:r>
          </a:p>
          <a:p>
            <a:pPr marL="128588" indent="-128588" eaLnBrk="1" hangingPunct="1">
              <a:spcBef>
                <a:spcPts val="600"/>
              </a:spcBef>
              <a:buFont typeface="Arial" charset="0"/>
              <a:buChar char="•"/>
            </a:pPr>
            <a:r>
              <a:rPr lang="es-ES_tradnl" sz="1400" b="1" dirty="0" smtClean="0">
                <a:latin typeface="Arial" charset="0"/>
                <a:cs typeface="Arial" charset="0"/>
              </a:rPr>
              <a:t>Roles y responsabilidades </a:t>
            </a:r>
            <a:r>
              <a:rPr lang="es-ES_tradnl" sz="1400" dirty="0" smtClean="0">
                <a:latin typeface="Arial" charset="0"/>
                <a:cs typeface="Arial" charset="0"/>
              </a:rPr>
              <a:t>de los líderes clave de la gobernanza (Consejo General, Ecónomo General, Consejos Provinciales, etc.).</a:t>
            </a:r>
          </a:p>
        </p:txBody>
      </p:sp>
      <p:sp>
        <p:nvSpPr>
          <p:cNvPr id="3250178" name="Title 1"/>
          <p:cNvSpPr txBox="1">
            <a:spLocks/>
          </p:cNvSpPr>
          <p:nvPr/>
        </p:nvSpPr>
        <p:spPr bwMode="auto">
          <a:xfrm>
            <a:off x="244475" y="765175"/>
            <a:ext cx="8640763" cy="33813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4400">
              <a:lnSpc>
                <a:spcPct val="90000"/>
              </a:lnSpc>
            </a:pPr>
            <a:r>
              <a:rPr lang="es-ES_tradnl" sz="2400" dirty="0">
                <a:solidFill>
                  <a:srgbClr val="000000"/>
                </a:solidFill>
              </a:rPr>
              <a:t>Resultados esperados</a:t>
            </a:r>
          </a:p>
        </p:txBody>
      </p:sp>
      <p:pic>
        <p:nvPicPr>
          <p:cNvPr id="3250179" name="Imagen 2" descr="Captura de pantalla 2015-06-22 a las 0.05.00.png"/>
          <p:cNvPicPr>
            <a:picLocks noChangeAspect="1"/>
          </p:cNvPicPr>
          <p:nvPr/>
        </p:nvPicPr>
        <p:blipFill>
          <a:blip r:embed="rId2"/>
          <a:srcRect l="16158" t="62254" r="45705" b="6390"/>
          <a:stretch>
            <a:fillRect/>
          </a:stretch>
        </p:blipFill>
        <p:spPr bwMode="auto">
          <a:xfrm>
            <a:off x="5486400" y="1538288"/>
            <a:ext cx="3476625" cy="178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50180" name="Espaço Reservado para Conteúdo 2"/>
          <p:cNvSpPr txBox="1">
            <a:spLocks/>
          </p:cNvSpPr>
          <p:nvPr/>
        </p:nvSpPr>
        <p:spPr bwMode="auto">
          <a:xfrm>
            <a:off x="149225" y="3446463"/>
            <a:ext cx="8743950" cy="212883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28588" indent="-128588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b="1" dirty="0">
                <a:solidFill>
                  <a:srgbClr val="000000"/>
                </a:solidFill>
              </a:rPr>
              <a:t>Decisiones críticas </a:t>
            </a:r>
            <a:r>
              <a:rPr lang="es-ES_tradnl" sz="1400" b="1" dirty="0" smtClean="0">
                <a:solidFill>
                  <a:srgbClr val="000000"/>
                </a:solidFill>
              </a:rPr>
              <a:t>en </a:t>
            </a:r>
            <a:r>
              <a:rPr lang="es-ES_tradnl" sz="1400" b="1" dirty="0" err="1">
                <a:solidFill>
                  <a:srgbClr val="000000"/>
                </a:solidFill>
              </a:rPr>
              <a:t>macroprocesos</a:t>
            </a:r>
            <a:r>
              <a:rPr lang="es-ES_tradnl" sz="1400" b="1" dirty="0">
                <a:solidFill>
                  <a:srgbClr val="000000"/>
                </a:solidFill>
              </a:rPr>
              <a:t> </a:t>
            </a:r>
            <a:r>
              <a:rPr lang="es-ES_tradnl" sz="1400" dirty="0">
                <a:solidFill>
                  <a:srgbClr val="000000"/>
                </a:solidFill>
              </a:rPr>
              <a:t>(por ejemplo, en la planificación estratégica, en la planificación de sucesión para la propiedad de bienes </a:t>
            </a:r>
            <a:r>
              <a:rPr lang="es-ES_tradnl" sz="1400" dirty="0" smtClean="0">
                <a:solidFill>
                  <a:srgbClr val="000000"/>
                </a:solidFill>
              </a:rPr>
              <a:t>inmuebles </a:t>
            </a:r>
            <a:r>
              <a:rPr lang="es-ES_tradnl" sz="1400" dirty="0">
                <a:solidFill>
                  <a:srgbClr val="000000"/>
                </a:solidFill>
              </a:rPr>
              <a:t>y otros activos, en la financiación de proyectos estratégicos del Instituto, en políticas de gestión de riesgos, en orientaciones para la evangelización), </a:t>
            </a:r>
            <a:r>
              <a:rPr lang="es-ES_tradnl" sz="1400" b="1" dirty="0">
                <a:solidFill>
                  <a:srgbClr val="000000"/>
                </a:solidFill>
              </a:rPr>
              <a:t>que involucren a la AG y a las </a:t>
            </a:r>
            <a:r>
              <a:rPr lang="es-ES_tradnl" sz="1400" b="1" dirty="0" smtClean="0">
                <a:solidFill>
                  <a:srgbClr val="000000"/>
                </a:solidFill>
              </a:rPr>
              <a:t>UA</a:t>
            </a:r>
            <a:r>
              <a:rPr lang="es-ES_tradnl" sz="1400" dirty="0" smtClean="0">
                <a:solidFill>
                  <a:srgbClr val="000000"/>
                </a:solidFill>
              </a:rPr>
              <a:t>.</a:t>
            </a:r>
            <a:endParaRPr lang="es-ES_tradnl" sz="1400" dirty="0">
              <a:solidFill>
                <a:srgbClr val="000000"/>
              </a:solidFill>
            </a:endParaRPr>
          </a:p>
          <a:p>
            <a:pPr marL="128588" indent="-128588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b="1" dirty="0">
                <a:solidFill>
                  <a:srgbClr val="000000"/>
                </a:solidFill>
              </a:rPr>
              <a:t>Modelos de animación, gobernanza y gestión de la AG </a:t>
            </a:r>
            <a:r>
              <a:rPr lang="es-ES_tradnl" sz="1400" dirty="0">
                <a:solidFill>
                  <a:srgbClr val="000000"/>
                </a:solidFill>
              </a:rPr>
              <a:t>(principios, estructura y recursos). </a:t>
            </a:r>
          </a:p>
          <a:p>
            <a:pPr marL="128588" indent="-128588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b="1" dirty="0">
                <a:solidFill>
                  <a:srgbClr val="000000"/>
                </a:solidFill>
              </a:rPr>
              <a:t>Principios</a:t>
            </a:r>
            <a:r>
              <a:rPr lang="es-ES_tradnl" sz="1400" dirty="0">
                <a:solidFill>
                  <a:srgbClr val="000000"/>
                </a:solidFill>
              </a:rPr>
              <a:t> (incluyendo los principios de animación), orientaciones, “</a:t>
            </a:r>
            <a:r>
              <a:rPr lang="es-ES_tradnl" sz="1400" dirty="0" err="1">
                <a:solidFill>
                  <a:srgbClr val="000000"/>
                </a:solidFill>
              </a:rPr>
              <a:t>minimums</a:t>
            </a:r>
            <a:r>
              <a:rPr lang="es-ES_tradnl" sz="1400" dirty="0">
                <a:solidFill>
                  <a:srgbClr val="000000"/>
                </a:solidFill>
              </a:rPr>
              <a:t>” y posibles modelos de animación, gobernanza y gestión para las </a:t>
            </a:r>
            <a:r>
              <a:rPr lang="es-ES_tradnl" sz="1400" dirty="0" smtClean="0">
                <a:solidFill>
                  <a:srgbClr val="000000"/>
                </a:solidFill>
              </a:rPr>
              <a:t>UA.</a:t>
            </a:r>
            <a:endParaRPr lang="es-ES_tradnl" sz="1400" dirty="0">
              <a:solidFill>
                <a:srgbClr val="000000"/>
              </a:solidFill>
            </a:endParaRPr>
          </a:p>
          <a:p>
            <a:pPr marL="128588" indent="-128588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dirty="0">
                <a:solidFill>
                  <a:srgbClr val="000000"/>
                </a:solidFill>
              </a:rPr>
              <a:t>Implementar una </a:t>
            </a:r>
            <a:r>
              <a:rPr lang="es-ES_tradnl" sz="1400" b="1" dirty="0">
                <a:solidFill>
                  <a:srgbClr val="000000"/>
                </a:solidFill>
              </a:rPr>
              <a:t>hoja de </a:t>
            </a:r>
            <a:r>
              <a:rPr lang="es-ES_tradnl" sz="1400" b="1" dirty="0" smtClean="0">
                <a:solidFill>
                  <a:srgbClr val="000000"/>
                </a:solidFill>
              </a:rPr>
              <a:t>ruta </a:t>
            </a:r>
            <a:r>
              <a:rPr lang="es-ES_tradnl" sz="1400" dirty="0" smtClean="0">
                <a:solidFill>
                  <a:srgbClr val="000000"/>
                </a:solidFill>
              </a:rPr>
              <a:t>(que </a:t>
            </a:r>
            <a:r>
              <a:rPr lang="es-ES_tradnl" sz="1400" dirty="0">
                <a:solidFill>
                  <a:srgbClr val="000000"/>
                </a:solidFill>
              </a:rPr>
              <a:t>incluya un enfoque de gestión del cambio).</a:t>
            </a:r>
          </a:p>
          <a:p>
            <a:pPr marL="128588" indent="-128588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 b="1" dirty="0">
                <a:solidFill>
                  <a:srgbClr val="000000"/>
                </a:solidFill>
              </a:rPr>
              <a:t>Nueva vitalidad de la vida y misión marista.</a:t>
            </a:r>
          </a:p>
        </p:txBody>
      </p:sp>
      <p:sp>
        <p:nvSpPr>
          <p:cNvPr id="3250181" name="Espaço Reservado para Conteúdo 2"/>
          <p:cNvSpPr txBox="1">
            <a:spLocks/>
          </p:cNvSpPr>
          <p:nvPr/>
        </p:nvSpPr>
        <p:spPr bwMode="auto">
          <a:xfrm>
            <a:off x="1900238" y="5746750"/>
            <a:ext cx="6992937" cy="92233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28588" indent="-128588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>
                <a:solidFill>
                  <a:srgbClr val="000000"/>
                </a:solidFill>
              </a:rPr>
              <a:t>PS 1: Algunos principios deben ser presentados en todos los modelos y procesos de toma de decisiones.</a:t>
            </a:r>
          </a:p>
          <a:p>
            <a:pPr marL="128588" indent="-128588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_tradnl" sz="1400">
                <a:solidFill>
                  <a:srgbClr val="000000"/>
                </a:solidFill>
              </a:rPr>
              <a:t>PS 2: Todos los resultados deben asegurar la vitalidad y la continuidad de la Misión Marista.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42875" y="5746750"/>
            <a:ext cx="1584325" cy="814598"/>
          </a:xfrm>
          <a:prstGeom prst="rect">
            <a:avLst/>
          </a:prstGeom>
          <a:solidFill>
            <a:srgbClr val="2B5B99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rgbClr val="FFFFFF"/>
                </a:solidFill>
                <a:cs typeface="Arial" pitchFamily="34" charset="0"/>
              </a:rPr>
              <a:t>PS</a:t>
            </a:r>
          </a:p>
        </p:txBody>
      </p:sp>
      <p:sp>
        <p:nvSpPr>
          <p:cNvPr id="3250183" name="Rectangle 5"/>
          <p:cNvSpPr txBox="1">
            <a:spLocks noChangeArrowheads="1"/>
          </p:cNvSpPr>
          <p:nvPr/>
        </p:nvSpPr>
        <p:spPr bwMode="auto">
          <a:xfrm>
            <a:off x="5667375" y="139700"/>
            <a:ext cx="3225800" cy="1698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>
                <a:solidFill>
                  <a:srgbClr val="000000"/>
                </a:solidFill>
              </a:rPr>
              <a:t>Información general y principios fundamentales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Rectangle 129"/>
          <p:cNvSpPr/>
          <p:nvPr/>
        </p:nvSpPr>
        <p:spPr>
          <a:xfrm>
            <a:off x="142875" y="1737233"/>
            <a:ext cx="8857617" cy="134588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3152" tIns="73152" rIns="73152" bIns="73152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" sz="1400" dirty="0">
                <a:solidFill>
                  <a:srgbClr val="FFFFFF"/>
                </a:solidFill>
                <a:cs typeface="Arial" pitchFamily="34" charset="0"/>
              </a:rPr>
              <a:t>Administración General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142875" y="3337612"/>
            <a:ext cx="8857617" cy="1345884"/>
          </a:xfrm>
          <a:prstGeom prst="rect">
            <a:avLst/>
          </a:prstGeom>
          <a:solidFill>
            <a:schemeClr val="bg2">
              <a:lumMod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3152" tIns="73152" rIns="73152" bIns="73152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" sz="1400" dirty="0">
                <a:solidFill>
                  <a:srgbClr val="FFFFFF"/>
                </a:solidFill>
                <a:cs typeface="Arial" pitchFamily="34" charset="0"/>
              </a:rPr>
              <a:t>Administración Regional</a:t>
            </a:r>
          </a:p>
        </p:txBody>
      </p:sp>
      <p:sp>
        <p:nvSpPr>
          <p:cNvPr id="139" name="Rectangle 138"/>
          <p:cNvSpPr/>
          <p:nvPr/>
        </p:nvSpPr>
        <p:spPr>
          <a:xfrm>
            <a:off x="131667" y="4929410"/>
            <a:ext cx="8868825" cy="1572418"/>
          </a:xfrm>
          <a:prstGeom prst="rect">
            <a:avLst/>
          </a:prstGeom>
          <a:solidFill>
            <a:srgbClr val="0080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3152" tIns="73152" rIns="73152" bIns="73152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" sz="1400" dirty="0">
                <a:solidFill>
                  <a:srgbClr val="FFFFFF"/>
                </a:solidFill>
                <a:cs typeface="Arial" pitchFamily="34" charset="0"/>
              </a:rPr>
              <a:t>Administración local</a:t>
            </a:r>
          </a:p>
        </p:txBody>
      </p:sp>
      <p:graphicFrame>
        <p:nvGraphicFramePr>
          <p:cNvPr id="662550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74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5162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s-ES" dirty="0"/>
              <a:t>… replicadas coherentemente a todos los niveles del Instituto para garantizar una organización global </a:t>
            </a:r>
            <a:r>
              <a:rPr lang="es-ES" dirty="0" smtClean="0"/>
              <a:t>muy bien </a:t>
            </a:r>
            <a:r>
              <a:rPr lang="es-ES" dirty="0"/>
              <a:t>conectada.</a:t>
            </a:r>
            <a:endParaRPr lang="en-US" dirty="0">
              <a:latin typeface="+mj-lt"/>
            </a:endParaRPr>
          </a:p>
        </p:txBody>
      </p:sp>
      <p:sp>
        <p:nvSpPr>
          <p:cNvPr id="662555" name="Rectangle 9"/>
          <p:cNvSpPr>
            <a:spLocks noChangeArrowheads="1"/>
          </p:cNvSpPr>
          <p:nvPr/>
        </p:nvSpPr>
        <p:spPr bwMode="gray">
          <a:xfrm>
            <a:off x="1274763" y="3730625"/>
            <a:ext cx="1973262" cy="539750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defTabSz="914400" eaLnBrk="0" hangingPunct="0">
              <a:lnSpc>
                <a:spcPct val="90000"/>
              </a:lnSpc>
            </a:pPr>
            <a:r>
              <a:rPr lang="es-ES" sz="1400" b="1">
                <a:solidFill>
                  <a:srgbClr val="FFFFFF"/>
                </a:solidFill>
              </a:rPr>
              <a:t>Consejo Regional</a:t>
            </a:r>
            <a:endParaRPr lang="es-ES" sz="1400">
              <a:solidFill>
                <a:srgbClr val="FFFFFF"/>
              </a:solidFill>
            </a:endParaRPr>
          </a:p>
        </p:txBody>
      </p:sp>
      <p:sp>
        <p:nvSpPr>
          <p:cNvPr id="662556" name="Rectangle 9"/>
          <p:cNvSpPr>
            <a:spLocks noChangeArrowheads="1"/>
          </p:cNvSpPr>
          <p:nvPr/>
        </p:nvSpPr>
        <p:spPr bwMode="gray">
          <a:xfrm>
            <a:off x="1317625" y="5337175"/>
            <a:ext cx="1973263" cy="539750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defTabSz="914400" eaLnBrk="0" hangingPunct="0">
              <a:lnSpc>
                <a:spcPct val="90000"/>
              </a:lnSpc>
            </a:pPr>
            <a:r>
              <a:rPr lang="es-ES" sz="1400" b="1">
                <a:solidFill>
                  <a:srgbClr val="FFFFFF"/>
                </a:solidFill>
              </a:rPr>
              <a:t>Gobierno Provincial</a:t>
            </a:r>
            <a:r>
              <a:rPr lang="es-ES" sz="1400" b="1" baseline="30000">
                <a:solidFill>
                  <a:srgbClr val="FFFFFF"/>
                </a:solidFill>
              </a:rPr>
              <a:t>1 </a:t>
            </a:r>
            <a:endParaRPr lang="es-ES" sz="1400" baseline="30000">
              <a:solidFill>
                <a:srgbClr val="FFFFFF"/>
              </a:solidFill>
            </a:endParaRPr>
          </a:p>
        </p:txBody>
      </p:sp>
      <p:sp>
        <p:nvSpPr>
          <p:cNvPr id="662558" name="Rectangle 9"/>
          <p:cNvSpPr>
            <a:spLocks noChangeArrowheads="1"/>
          </p:cNvSpPr>
          <p:nvPr/>
        </p:nvSpPr>
        <p:spPr bwMode="gray">
          <a:xfrm>
            <a:off x="3597275" y="1728788"/>
            <a:ext cx="1546225" cy="4789487"/>
          </a:xfrm>
          <a:prstGeom prst="rect">
            <a:avLst/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defTabSz="914400" eaLnBrk="0" hangingPunct="0">
              <a:lnSpc>
                <a:spcPct val="90000"/>
              </a:lnSpc>
            </a:pPr>
            <a:r>
              <a:rPr lang="es-ES" sz="1400" b="1">
                <a:solidFill>
                  <a:srgbClr val="FFFFFF"/>
                </a:solidFill>
              </a:rPr>
              <a:t>Vocación Marista</a:t>
            </a:r>
            <a:endParaRPr lang="es-ES" sz="1400">
              <a:solidFill>
                <a:srgbClr val="FFFFFF"/>
              </a:solidFill>
            </a:endParaRPr>
          </a:p>
        </p:txBody>
      </p:sp>
      <p:sp>
        <p:nvSpPr>
          <p:cNvPr id="662559" name="Rectangle 9"/>
          <p:cNvSpPr>
            <a:spLocks noChangeArrowheads="1"/>
          </p:cNvSpPr>
          <p:nvPr/>
        </p:nvSpPr>
        <p:spPr bwMode="gray">
          <a:xfrm>
            <a:off x="5472113" y="1736725"/>
            <a:ext cx="1546225" cy="4765675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defTabSz="914400" eaLnBrk="0" hangingPunct="0">
              <a:lnSpc>
                <a:spcPct val="90000"/>
              </a:lnSpc>
            </a:pPr>
            <a:r>
              <a:rPr lang="es-ES" sz="1400" b="1">
                <a:solidFill>
                  <a:srgbClr val="FFFFFF"/>
                </a:solidFill>
              </a:rPr>
              <a:t>Consejo de Misión</a:t>
            </a:r>
            <a:endParaRPr lang="es-ES" sz="1400">
              <a:solidFill>
                <a:srgbClr val="FFFFFF"/>
              </a:solidFill>
            </a:endParaRPr>
          </a:p>
        </p:txBody>
      </p:sp>
      <p:sp>
        <p:nvSpPr>
          <p:cNvPr id="77" name="Rectangle 9"/>
          <p:cNvSpPr>
            <a:spLocks noChangeArrowheads="1"/>
          </p:cNvSpPr>
          <p:nvPr/>
        </p:nvSpPr>
        <p:spPr bwMode="gray">
          <a:xfrm>
            <a:off x="7346950" y="1736725"/>
            <a:ext cx="1546225" cy="4783138"/>
          </a:xfrm>
          <a:prstGeom prst="rect">
            <a:avLst/>
          </a:prstGeom>
          <a:solidFill>
            <a:schemeClr val="accent3">
              <a:lumMod val="50000"/>
            </a:schemeClr>
          </a:solidFill>
          <a:ln w="6350" cap="flat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defTabSz="914400"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" sz="1400" b="1" i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conomato</a:t>
            </a:r>
            <a:endParaRPr lang="es-ES" sz="1400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2561" name="Rectangle 9"/>
          <p:cNvSpPr>
            <a:spLocks noChangeArrowheads="1"/>
          </p:cNvSpPr>
          <p:nvPr/>
        </p:nvSpPr>
        <p:spPr bwMode="gray">
          <a:xfrm>
            <a:off x="1274763" y="2138363"/>
            <a:ext cx="1973262" cy="539750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defTabSz="914400" eaLnBrk="0" hangingPunct="0">
              <a:lnSpc>
                <a:spcPct val="90000"/>
              </a:lnSpc>
            </a:pPr>
            <a:r>
              <a:rPr lang="es-ES" sz="1400" b="1">
                <a:solidFill>
                  <a:srgbClr val="FFFFFF"/>
                </a:solidFill>
              </a:rPr>
              <a:t>Superior General y Consejo General</a:t>
            </a:r>
            <a:endParaRPr lang="es-ES" sz="1400">
              <a:solidFill>
                <a:srgbClr val="FFFFFF"/>
              </a:solidFill>
            </a:endParaRPr>
          </a:p>
        </p:txBody>
      </p:sp>
      <p:sp>
        <p:nvSpPr>
          <p:cNvPr id="72" name="Rectangle 129"/>
          <p:cNvSpPr/>
          <p:nvPr/>
        </p:nvSpPr>
        <p:spPr>
          <a:xfrm>
            <a:off x="747713" y="1736725"/>
            <a:ext cx="8288337" cy="1346200"/>
          </a:xfrm>
          <a:prstGeom prst="rect">
            <a:avLst/>
          </a:prstGeom>
          <a:solidFill>
            <a:schemeClr val="accent5">
              <a:lumMod val="40000"/>
              <a:lumOff val="60000"/>
              <a:alpha val="2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3152" tIns="73152" rIns="73152" bIns="73152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3" name="Rectangle 129"/>
          <p:cNvSpPr/>
          <p:nvPr/>
        </p:nvSpPr>
        <p:spPr>
          <a:xfrm>
            <a:off x="731838" y="3343275"/>
            <a:ext cx="8289925" cy="1346200"/>
          </a:xfrm>
          <a:prstGeom prst="rect">
            <a:avLst/>
          </a:prstGeom>
          <a:solidFill>
            <a:schemeClr val="bg2">
              <a:lumMod val="40000"/>
              <a:lumOff val="60000"/>
              <a:alpha val="2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3152" tIns="73152" rIns="73152" bIns="73152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4" name="Rectangle 129"/>
          <p:cNvSpPr/>
          <p:nvPr/>
        </p:nvSpPr>
        <p:spPr>
          <a:xfrm>
            <a:off x="647700" y="4929188"/>
            <a:ext cx="8289925" cy="1536700"/>
          </a:xfrm>
          <a:prstGeom prst="rect">
            <a:avLst/>
          </a:prstGeom>
          <a:solidFill>
            <a:schemeClr val="accent6">
              <a:lumMod val="40000"/>
              <a:lumOff val="60000"/>
              <a:alpha val="2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3152" tIns="73152" rIns="73152" bIns="73152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62565" name="RunningHead"/>
          <p:cNvSpPr txBox="1">
            <a:spLocks noChangeArrowheads="1"/>
          </p:cNvSpPr>
          <p:nvPr/>
        </p:nvSpPr>
        <p:spPr bwMode="gray">
          <a:xfrm>
            <a:off x="6891338" y="139700"/>
            <a:ext cx="2000250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MX" sz="1200" dirty="0">
                <a:solidFill>
                  <a:srgbClr val="000000"/>
                </a:solidFill>
              </a:rPr>
              <a:t>¿Estamos bien organizados?</a:t>
            </a:r>
          </a:p>
        </p:txBody>
      </p:sp>
      <p:sp>
        <p:nvSpPr>
          <p:cNvPr id="18" name="TextBox 2"/>
          <p:cNvSpPr txBox="1">
            <a:spLocks noChangeArrowheads="1"/>
          </p:cNvSpPr>
          <p:nvPr/>
        </p:nvSpPr>
        <p:spPr bwMode="auto">
          <a:xfrm>
            <a:off x="244475" y="6369050"/>
            <a:ext cx="6399213" cy="3683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136525" indent="-136525" defTabSz="914400">
              <a:lnSpc>
                <a:spcPct val="90000"/>
              </a:lnSpc>
              <a:buFontTx/>
              <a:buAutoNum type="arabicPeriod"/>
            </a:pPr>
            <a:r>
              <a:rPr lang="es-ES" sz="800" dirty="0">
                <a:solidFill>
                  <a:srgbClr val="000000"/>
                </a:solidFill>
              </a:rPr>
              <a:t>‘El Gobierno puede incluir tanto el Consejo Provincial como Asociaciones locales.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2550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52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5162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s-ES" dirty="0"/>
              <a:t>La nueva estructura propuesta para la AG definirá la distribución de responsabilidades en las diferentes áreas</a:t>
            </a:r>
            <a:endParaRPr lang="en-US" dirty="0">
              <a:latin typeface="+mj-lt"/>
            </a:endParaRPr>
          </a:p>
        </p:txBody>
      </p:sp>
      <p:sp>
        <p:nvSpPr>
          <p:cNvPr id="662565" name="RunningHead"/>
          <p:cNvSpPr txBox="1">
            <a:spLocks noChangeArrowheads="1"/>
          </p:cNvSpPr>
          <p:nvPr/>
        </p:nvSpPr>
        <p:spPr bwMode="gray">
          <a:xfrm>
            <a:off x="6891338" y="139700"/>
            <a:ext cx="2000250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MX" sz="1200" dirty="0">
                <a:solidFill>
                  <a:srgbClr val="000000"/>
                </a:solidFill>
              </a:rPr>
              <a:t>¿Estamos bien organizados?</a:t>
            </a:r>
          </a:p>
        </p:txBody>
      </p:sp>
      <p:sp>
        <p:nvSpPr>
          <p:cNvPr id="19" name="Rectángulo 49"/>
          <p:cNvSpPr/>
          <p:nvPr/>
        </p:nvSpPr>
        <p:spPr>
          <a:xfrm>
            <a:off x="233770" y="2906495"/>
            <a:ext cx="8646160" cy="3547202"/>
          </a:xfrm>
          <a:prstGeom prst="rect">
            <a:avLst/>
          </a:prstGeom>
          <a:solidFill>
            <a:schemeClr val="accent6">
              <a:lumMod val="40000"/>
              <a:lumOff val="60000"/>
              <a:alpha val="68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s-ES" sz="1400" dirty="0" err="1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/>
          <p:cNvSpPr>
            <a:spLocks noChangeArrowheads="1"/>
          </p:cNvSpPr>
          <p:nvPr/>
        </p:nvSpPr>
        <p:spPr bwMode="gray">
          <a:xfrm>
            <a:off x="1717122" y="1538855"/>
            <a:ext cx="2160000" cy="539750"/>
          </a:xfrm>
          <a:prstGeom prst="rect">
            <a:avLst/>
          </a:prstGeom>
          <a:solidFill>
            <a:schemeClr val="bg2"/>
          </a:solidFill>
          <a:ln w="6350" cap="flat" algn="ctr">
            <a:noFill/>
            <a:miter lim="800000"/>
            <a:headEnd/>
            <a:tailEnd/>
          </a:ln>
        </p:spPr>
        <p:txBody>
          <a:bodyPr wrap="square"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s-ES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perior General y Consejo General</a:t>
            </a:r>
            <a:endParaRPr lang="es-ES" sz="14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14"/>
          <p:cNvSpPr>
            <a:spLocks noChangeArrowheads="1"/>
          </p:cNvSpPr>
          <p:nvPr/>
        </p:nvSpPr>
        <p:spPr bwMode="gray">
          <a:xfrm>
            <a:off x="803361" y="4447805"/>
            <a:ext cx="1882656" cy="514745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ntabilidad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2" name="AutoShape 38"/>
          <p:cNvCxnSpPr>
            <a:cxnSpLocks noChangeShapeType="1"/>
            <a:endCxn id="21" idx="3"/>
          </p:cNvCxnSpPr>
          <p:nvPr/>
        </p:nvCxnSpPr>
        <p:spPr bwMode="gray">
          <a:xfrm rot="16200000" flipH="1">
            <a:off x="287985" y="4189802"/>
            <a:ext cx="538384" cy="492367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23" name="Rectangle 14"/>
          <p:cNvSpPr>
            <a:spLocks noChangeArrowheads="1"/>
          </p:cNvSpPr>
          <p:nvPr/>
        </p:nvSpPr>
        <p:spPr bwMode="gray">
          <a:xfrm>
            <a:off x="803479" y="5025013"/>
            <a:ext cx="1882656" cy="297577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Gestión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ctivos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14"/>
          <p:cNvSpPr>
            <a:spLocks noChangeArrowheads="1"/>
          </p:cNvSpPr>
          <p:nvPr/>
        </p:nvSpPr>
        <p:spPr bwMode="gray">
          <a:xfrm>
            <a:off x="803479" y="5379032"/>
            <a:ext cx="1882656" cy="447614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lanificación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, control y </a:t>
            </a: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uditoría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ectangle 14"/>
          <p:cNvSpPr>
            <a:spLocks noChangeArrowheads="1"/>
          </p:cNvSpPr>
          <p:nvPr/>
        </p:nvSpPr>
        <p:spPr bwMode="gray">
          <a:xfrm>
            <a:off x="803479" y="5878966"/>
            <a:ext cx="1882656" cy="466786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Gestión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de la Casa general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6" name="AutoShape 38"/>
          <p:cNvCxnSpPr>
            <a:cxnSpLocks noChangeShapeType="1"/>
            <a:endCxn id="23" idx="3"/>
          </p:cNvCxnSpPr>
          <p:nvPr/>
        </p:nvCxnSpPr>
        <p:spPr bwMode="gray">
          <a:xfrm rot="16200000" flipH="1">
            <a:off x="-6052" y="4364271"/>
            <a:ext cx="1126576" cy="492485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27" name="AutoShape 38"/>
          <p:cNvCxnSpPr>
            <a:cxnSpLocks noChangeShapeType="1"/>
            <a:endCxn id="24" idx="3"/>
          </p:cNvCxnSpPr>
          <p:nvPr/>
        </p:nvCxnSpPr>
        <p:spPr bwMode="gray">
          <a:xfrm rot="16200000" flipH="1">
            <a:off x="-379061" y="4420298"/>
            <a:ext cx="1872595" cy="492486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28" name="AutoShape 38"/>
          <p:cNvCxnSpPr>
            <a:cxnSpLocks noChangeShapeType="1"/>
            <a:stCxn id="34" idx="4"/>
            <a:endCxn id="25" idx="3"/>
          </p:cNvCxnSpPr>
          <p:nvPr/>
        </p:nvCxnSpPr>
        <p:spPr bwMode="gray">
          <a:xfrm rot="16200000" flipH="1">
            <a:off x="-683742" y="4625137"/>
            <a:ext cx="2481957" cy="492486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29" name="TextBox 28"/>
          <p:cNvSpPr txBox="1"/>
          <p:nvPr/>
        </p:nvSpPr>
        <p:spPr>
          <a:xfrm>
            <a:off x="245110" y="6369685"/>
            <a:ext cx="7243214" cy="36830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lvl="1">
              <a:lnSpc>
                <a:spcPct val="90000"/>
              </a:lnSpc>
              <a:spcBef>
                <a:spcPct val="0"/>
              </a:spcBef>
            </a:pPr>
            <a:r>
              <a:rPr lang="en-US" sz="10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Participación</a:t>
            </a:r>
            <a:r>
              <a:rPr lang="en-US" sz="1000" dirty="0" smtClean="0">
                <a:solidFill>
                  <a:srgbClr val="000000"/>
                </a:solidFill>
                <a:latin typeface="Arial" panose="020B0604020202020204" pitchFamily="34" charset="0"/>
              </a:rPr>
              <a:t> de </a:t>
            </a:r>
            <a:r>
              <a:rPr lang="en-US" sz="10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laicos</a:t>
            </a:r>
            <a:r>
              <a:rPr lang="en-US" sz="1000" dirty="0" smtClean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en</a:t>
            </a:r>
            <a:r>
              <a:rPr lang="en-US" sz="1000" dirty="0" smtClean="0">
                <a:solidFill>
                  <a:srgbClr val="000000"/>
                </a:solidFill>
                <a:latin typeface="Arial" panose="020B0604020202020204" pitchFamily="34" charset="0"/>
              </a:rPr>
              <a:t> la </a:t>
            </a:r>
            <a:r>
              <a:rPr lang="en-US" sz="10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gobernanza</a:t>
            </a:r>
            <a:r>
              <a:rPr lang="en-US" sz="1000" dirty="0" smtClean="0">
                <a:solidFill>
                  <a:srgbClr val="000000"/>
                </a:solidFill>
                <a:latin typeface="Arial" panose="020B0604020202020204" pitchFamily="34" charset="0"/>
              </a:rPr>
              <a:t>                </a:t>
            </a:r>
            <a:r>
              <a:rPr lang="en-US" sz="10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Participación</a:t>
            </a:r>
            <a:r>
              <a:rPr lang="en-US" sz="1000" dirty="0" smtClean="0">
                <a:solidFill>
                  <a:srgbClr val="000000"/>
                </a:solidFill>
                <a:latin typeface="Arial" panose="020B0604020202020204" pitchFamily="34" charset="0"/>
              </a:rPr>
              <a:t> de </a:t>
            </a:r>
            <a:r>
              <a:rPr lang="en-US" sz="10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laicos</a:t>
            </a:r>
            <a:r>
              <a:rPr lang="en-US" sz="1000" dirty="0" smtClean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en</a:t>
            </a:r>
            <a:r>
              <a:rPr lang="en-US" sz="1000" dirty="0" smtClean="0">
                <a:solidFill>
                  <a:srgbClr val="000000"/>
                </a:solidFill>
                <a:latin typeface="Arial" panose="020B0604020202020204" pitchFamily="34" charset="0"/>
              </a:rPr>
              <a:t> la </a:t>
            </a:r>
            <a:r>
              <a:rPr lang="en-US" sz="10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gestión</a:t>
            </a:r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0" name="Rectangle 14"/>
          <p:cNvSpPr>
            <a:spLocks noChangeArrowheads="1"/>
          </p:cNvSpPr>
          <p:nvPr/>
        </p:nvSpPr>
        <p:spPr bwMode="gray">
          <a:xfrm>
            <a:off x="756857" y="3666406"/>
            <a:ext cx="1882656" cy="291383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2">
              <a:lumMod val="60000"/>
              <a:lumOff val="4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1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nsejo </a:t>
            </a:r>
            <a:r>
              <a:rPr lang="en-US" sz="11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ternacional</a:t>
            </a:r>
            <a:r>
              <a:rPr lang="en-US" sz="11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para </a:t>
            </a:r>
            <a:r>
              <a:rPr lang="en-US" sz="11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suntos</a:t>
            </a:r>
            <a:r>
              <a:rPr lang="en-US" sz="11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conómicos</a:t>
            </a:r>
            <a:endParaRPr lang="en-US" sz="11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1" name="AutoShape 38"/>
          <p:cNvCxnSpPr>
            <a:cxnSpLocks noChangeShapeType="1"/>
            <a:endCxn id="30" idx="3"/>
          </p:cNvCxnSpPr>
          <p:nvPr/>
        </p:nvCxnSpPr>
        <p:spPr bwMode="gray">
          <a:xfrm rot="16200000" flipH="1">
            <a:off x="417492" y="3472732"/>
            <a:ext cx="426703" cy="252028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32" name="Rectangle 14"/>
          <p:cNvSpPr>
            <a:spLocks noChangeArrowheads="1"/>
          </p:cNvSpPr>
          <p:nvPr/>
        </p:nvSpPr>
        <p:spPr bwMode="gray">
          <a:xfrm>
            <a:off x="756857" y="4014389"/>
            <a:ext cx="1882656" cy="384023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2">
              <a:lumMod val="60000"/>
              <a:lumOff val="4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mité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inanzas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3" name="AutoShape 38"/>
          <p:cNvCxnSpPr>
            <a:cxnSpLocks noChangeShapeType="1"/>
          </p:cNvCxnSpPr>
          <p:nvPr/>
        </p:nvCxnSpPr>
        <p:spPr bwMode="gray">
          <a:xfrm rot="16200000" flipH="1">
            <a:off x="417493" y="3774795"/>
            <a:ext cx="426703" cy="252028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34" name="Rectangle 7"/>
          <p:cNvSpPr>
            <a:spLocks noChangeArrowheads="1"/>
          </p:cNvSpPr>
          <p:nvPr/>
        </p:nvSpPr>
        <p:spPr bwMode="gray">
          <a:xfrm>
            <a:off x="310993" y="3054402"/>
            <a:ext cx="2375024" cy="576000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>
              <a:lumMod val="5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400" b="1" i="1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conomato</a:t>
            </a:r>
            <a:endParaRPr lang="en-US" sz="14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2420864" y="2932838"/>
            <a:ext cx="432048" cy="18038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gray">
          <a:xfrm>
            <a:off x="3256051" y="3730224"/>
            <a:ext cx="1683732" cy="446636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Hermanos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7" name="AutoShape 34"/>
          <p:cNvCxnSpPr>
            <a:cxnSpLocks noChangeShapeType="1"/>
            <a:stCxn id="66" idx="4"/>
            <a:endCxn id="36" idx="3"/>
          </p:cNvCxnSpPr>
          <p:nvPr/>
        </p:nvCxnSpPr>
        <p:spPr bwMode="gray">
          <a:xfrm rot="16200000" flipH="1">
            <a:off x="2888179" y="3585670"/>
            <a:ext cx="321024" cy="414720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38" name="AutoShape 35"/>
          <p:cNvCxnSpPr>
            <a:cxnSpLocks noChangeShapeType="1"/>
            <a:stCxn id="66" idx="4"/>
            <a:endCxn id="40" idx="3"/>
          </p:cNvCxnSpPr>
          <p:nvPr/>
        </p:nvCxnSpPr>
        <p:spPr bwMode="gray">
          <a:xfrm rot="16200000" flipH="1">
            <a:off x="2576832" y="3897017"/>
            <a:ext cx="943718" cy="414720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39" name="AutoShape 36"/>
          <p:cNvCxnSpPr>
            <a:cxnSpLocks noChangeShapeType="1"/>
            <a:stCxn id="66" idx="4"/>
            <a:endCxn id="41" idx="3"/>
          </p:cNvCxnSpPr>
          <p:nvPr/>
        </p:nvCxnSpPr>
        <p:spPr bwMode="gray">
          <a:xfrm rot="16200000" flipH="1">
            <a:off x="1915869" y="4557979"/>
            <a:ext cx="2270022" cy="419099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40" name="Rectangle 14"/>
          <p:cNvSpPr>
            <a:spLocks noChangeArrowheads="1"/>
          </p:cNvSpPr>
          <p:nvPr/>
        </p:nvSpPr>
        <p:spPr bwMode="gray">
          <a:xfrm>
            <a:off x="3256051" y="4352918"/>
            <a:ext cx="1683732" cy="446636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Laicos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aristas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gray">
          <a:xfrm>
            <a:off x="3260430" y="5679222"/>
            <a:ext cx="1683732" cy="446636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astoral </a:t>
            </a: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vocacional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14"/>
          <p:cNvSpPr>
            <a:spLocks noChangeArrowheads="1"/>
          </p:cNvSpPr>
          <p:nvPr/>
        </p:nvSpPr>
        <p:spPr bwMode="gray">
          <a:xfrm>
            <a:off x="3260430" y="4990151"/>
            <a:ext cx="1683731" cy="513011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spiritualidad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y Formación marista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3" name="AutoShape 35"/>
          <p:cNvCxnSpPr>
            <a:cxnSpLocks noChangeShapeType="1"/>
            <a:stCxn id="66" idx="4"/>
            <a:endCxn id="42" idx="3"/>
          </p:cNvCxnSpPr>
          <p:nvPr/>
        </p:nvCxnSpPr>
        <p:spPr bwMode="gray">
          <a:xfrm rot="16200000" flipH="1">
            <a:off x="2243811" y="4230037"/>
            <a:ext cx="1614139" cy="419099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44" name="CuadroTexto 56"/>
          <p:cNvSpPr txBox="1"/>
          <p:nvPr/>
        </p:nvSpPr>
        <p:spPr>
          <a:xfrm rot="16200000">
            <a:off x="1711588" y="4790345"/>
            <a:ext cx="2449427" cy="221599"/>
          </a:xfrm>
          <a:prstGeom prst="rect">
            <a:avLst/>
          </a:prstGeom>
          <a:solidFill>
            <a:schemeClr val="accent5"/>
          </a:solidFill>
          <a:ln w="6350" cap="flat">
            <a:solidFill>
              <a:schemeClr val="tx1"/>
            </a:solidFill>
            <a:prstDash val="dot"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n-US" sz="2400" kern="1700" baseline="2000" dirty="0" err="1" smtClean="0">
                <a:solidFill>
                  <a:srgbClr val="FFFFFF"/>
                </a:solidFill>
                <a:latin typeface="Arial "/>
              </a:rPr>
              <a:t>Comité</a:t>
            </a:r>
            <a:r>
              <a:rPr lang="en-US" sz="2400" kern="1700" baseline="2000" dirty="0" smtClean="0">
                <a:solidFill>
                  <a:srgbClr val="FFFFFF"/>
                </a:solidFill>
                <a:latin typeface="Arial "/>
              </a:rPr>
              <a:t> de </a:t>
            </a:r>
            <a:r>
              <a:rPr lang="en-US" sz="2400" kern="1700" baseline="2000" dirty="0" err="1" smtClean="0">
                <a:solidFill>
                  <a:srgbClr val="FFFFFF"/>
                </a:solidFill>
                <a:latin typeface="Arial "/>
              </a:rPr>
              <a:t>integración</a:t>
            </a:r>
            <a:endParaRPr lang="en-US" sz="2400" kern="1700" baseline="2000" dirty="0">
              <a:solidFill>
                <a:srgbClr val="FFFFFF"/>
              </a:solidFill>
              <a:latin typeface="Arial "/>
            </a:endParaRPr>
          </a:p>
        </p:txBody>
      </p:sp>
      <p:cxnSp>
        <p:nvCxnSpPr>
          <p:cNvPr id="45" name="AutoShape 26"/>
          <p:cNvCxnSpPr>
            <a:cxnSpLocks noChangeShapeType="1"/>
            <a:stCxn id="46" idx="6"/>
            <a:endCxn id="48" idx="7"/>
          </p:cNvCxnSpPr>
          <p:nvPr/>
        </p:nvCxnSpPr>
        <p:spPr bwMode="gray">
          <a:xfrm rot="16200000" flipH="1">
            <a:off x="5092426" y="4705705"/>
            <a:ext cx="1083001" cy="126998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46" name="Rectangle 12"/>
          <p:cNvSpPr>
            <a:spLocks noChangeArrowheads="1"/>
          </p:cNvSpPr>
          <p:nvPr/>
        </p:nvSpPr>
        <p:spPr bwMode="gray">
          <a:xfrm flipH="1">
            <a:off x="5570427" y="3740341"/>
            <a:ext cx="1340152" cy="487363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entro de </a:t>
            </a: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nimación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Rectangle 13"/>
          <p:cNvSpPr>
            <a:spLocks noChangeArrowheads="1"/>
          </p:cNvSpPr>
          <p:nvPr/>
        </p:nvSpPr>
        <p:spPr bwMode="gray">
          <a:xfrm flipH="1">
            <a:off x="7010587" y="3740341"/>
            <a:ext cx="1784192" cy="487363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ervicios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Rectangle 8"/>
          <p:cNvSpPr>
            <a:spLocks noChangeArrowheads="1"/>
          </p:cNvSpPr>
          <p:nvPr/>
        </p:nvSpPr>
        <p:spPr bwMode="gray">
          <a:xfrm flipH="1">
            <a:off x="5697425" y="5049841"/>
            <a:ext cx="1156065" cy="521727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ras</a:t>
            </a:r>
            <a:r>
              <a:rPr lang="en-US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social y Derechos del </a:t>
            </a: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niño</a:t>
            </a:r>
            <a:endParaRPr lang="en-US" sz="10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9" name="AutoShape 21"/>
          <p:cNvCxnSpPr>
            <a:cxnSpLocks noChangeShapeType="1"/>
            <a:stCxn id="47" idx="6"/>
          </p:cNvCxnSpPr>
          <p:nvPr/>
        </p:nvCxnSpPr>
        <p:spPr bwMode="gray">
          <a:xfrm rot="16200000" flipH="1">
            <a:off x="6964283" y="4274008"/>
            <a:ext cx="251358" cy="158750"/>
          </a:xfrm>
          <a:prstGeom prst="bentConnector3">
            <a:avLst>
              <a:gd name="adj1" fmla="val 50000"/>
            </a:avLst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50" name="AutoShape 21"/>
          <p:cNvCxnSpPr>
            <a:cxnSpLocks noChangeShapeType="1"/>
            <a:stCxn id="47" idx="6"/>
          </p:cNvCxnSpPr>
          <p:nvPr/>
        </p:nvCxnSpPr>
        <p:spPr bwMode="gray">
          <a:xfrm rot="16200000" flipH="1">
            <a:off x="6728809" y="4509482"/>
            <a:ext cx="722306" cy="158750"/>
          </a:xfrm>
          <a:prstGeom prst="bentConnector3">
            <a:avLst>
              <a:gd name="adj1" fmla="val 50000"/>
            </a:avLst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51" name="AutoShape 26"/>
          <p:cNvCxnSpPr>
            <a:cxnSpLocks noChangeShapeType="1"/>
            <a:stCxn id="46" idx="6"/>
          </p:cNvCxnSpPr>
          <p:nvPr/>
        </p:nvCxnSpPr>
        <p:spPr bwMode="gray">
          <a:xfrm rot="16200000" flipH="1">
            <a:off x="4961995" y="4836136"/>
            <a:ext cx="1343864" cy="127000"/>
          </a:xfrm>
          <a:prstGeom prst="bentConnector3">
            <a:avLst>
              <a:gd name="adj1" fmla="val 50000"/>
            </a:avLst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52" name="Rectangle 10"/>
          <p:cNvSpPr>
            <a:spLocks noChangeArrowheads="1"/>
          </p:cNvSpPr>
          <p:nvPr/>
        </p:nvSpPr>
        <p:spPr bwMode="gray">
          <a:xfrm flipH="1">
            <a:off x="5697425" y="4665667"/>
            <a:ext cx="1156065" cy="275104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ducación</a:t>
            </a:r>
            <a:endParaRPr lang="en-US" sz="10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3" name="AutoShape 26"/>
          <p:cNvCxnSpPr>
            <a:cxnSpLocks noChangeShapeType="1"/>
            <a:stCxn id="46" idx="6"/>
            <a:endCxn id="52" idx="7"/>
          </p:cNvCxnSpPr>
          <p:nvPr/>
        </p:nvCxnSpPr>
        <p:spPr bwMode="gray">
          <a:xfrm rot="16200000" flipH="1">
            <a:off x="5346169" y="4451962"/>
            <a:ext cx="575515" cy="126998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54" name="AutoShape 21"/>
          <p:cNvCxnSpPr>
            <a:cxnSpLocks noChangeShapeType="1"/>
            <a:stCxn id="47" idx="6"/>
            <a:endCxn id="61" idx="3"/>
          </p:cNvCxnSpPr>
          <p:nvPr/>
        </p:nvCxnSpPr>
        <p:spPr bwMode="gray">
          <a:xfrm rot="16200000" flipH="1">
            <a:off x="6408158" y="4830132"/>
            <a:ext cx="1358784" cy="153927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55" name="AutoShape 21"/>
          <p:cNvCxnSpPr>
            <a:cxnSpLocks noChangeShapeType="1"/>
            <a:stCxn id="47" idx="6"/>
            <a:endCxn id="62" idx="3"/>
          </p:cNvCxnSpPr>
          <p:nvPr/>
        </p:nvCxnSpPr>
        <p:spPr bwMode="gray">
          <a:xfrm rot="16200000" flipH="1">
            <a:off x="6142271" y="5096019"/>
            <a:ext cx="1890558" cy="153927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56" name="Rectangle 10"/>
          <p:cNvSpPr>
            <a:spLocks noChangeArrowheads="1"/>
          </p:cNvSpPr>
          <p:nvPr/>
        </p:nvSpPr>
        <p:spPr bwMode="gray">
          <a:xfrm flipH="1">
            <a:off x="5697425" y="4281492"/>
            <a:ext cx="1156065" cy="275104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vangelización</a:t>
            </a:r>
            <a:endParaRPr lang="en-US" sz="10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7" name="AutoShape 26"/>
          <p:cNvCxnSpPr>
            <a:cxnSpLocks noChangeShapeType="1"/>
            <a:stCxn id="46" idx="6"/>
            <a:endCxn id="56" idx="7"/>
          </p:cNvCxnSpPr>
          <p:nvPr/>
        </p:nvCxnSpPr>
        <p:spPr bwMode="gray">
          <a:xfrm rot="16200000" flipH="1">
            <a:off x="5538256" y="4259875"/>
            <a:ext cx="191340" cy="126998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58" name="CuadroTexto 56"/>
          <p:cNvSpPr txBox="1"/>
          <p:nvPr/>
        </p:nvSpPr>
        <p:spPr>
          <a:xfrm rot="16200000">
            <a:off x="4847631" y="4830440"/>
            <a:ext cx="1296000" cy="22159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6350" cap="flat">
            <a:solidFill>
              <a:schemeClr val="tx1"/>
            </a:solidFill>
            <a:prstDash val="dot"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" sz="2400" kern="1700" baseline="2000" dirty="0" smtClean="0">
                <a:solidFill>
                  <a:srgbClr val="FFFFFF"/>
                </a:solidFill>
                <a:latin typeface="Arial "/>
              </a:rPr>
              <a:t>Redes</a:t>
            </a:r>
            <a:endParaRPr lang="es-ES" sz="2400" kern="1700" baseline="2000" dirty="0">
              <a:solidFill>
                <a:srgbClr val="FFFFFF"/>
              </a:solidFill>
              <a:latin typeface="Arial "/>
            </a:endParaRPr>
          </a:p>
        </p:txBody>
      </p:sp>
      <p:sp>
        <p:nvSpPr>
          <p:cNvPr id="59" name="Rectangle 14"/>
          <p:cNvSpPr>
            <a:spLocks noChangeArrowheads="1"/>
          </p:cNvSpPr>
          <p:nvPr/>
        </p:nvSpPr>
        <p:spPr bwMode="gray">
          <a:xfrm>
            <a:off x="7164514" y="4293691"/>
            <a:ext cx="1630265" cy="467457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>
              <a:lumMod val="65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0" tIns="72000" rIns="0" bIns="72000" anchor="ctr"/>
          <a:lstStyle/>
          <a:p>
            <a:pPr algn="ctr" eaLnBrk="0" hangingPunct="0">
              <a:lnSpc>
                <a:spcPct val="70000"/>
              </a:lnSpc>
              <a:spcBef>
                <a:spcPct val="0"/>
              </a:spcBef>
            </a:pP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strategia</a:t>
            </a:r>
            <a:r>
              <a:rPr lang="en-US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, innovación y </a:t>
            </a: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royectos</a:t>
            </a:r>
            <a:r>
              <a:rPr lang="en-US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peciales</a:t>
            </a:r>
            <a:r>
              <a:rPr lang="en-US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lanificación</a:t>
            </a:r>
            <a:r>
              <a:rPr lang="en-US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stratégica</a:t>
            </a:r>
            <a:r>
              <a:rPr lang="en-US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laboraciones</a:t>
            </a:r>
            <a:r>
              <a:rPr lang="en-US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)</a:t>
            </a:r>
            <a:endParaRPr lang="en-US" sz="10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Rectangle 14"/>
          <p:cNvSpPr>
            <a:spLocks noChangeArrowheads="1"/>
          </p:cNvSpPr>
          <p:nvPr/>
        </p:nvSpPr>
        <p:spPr bwMode="gray">
          <a:xfrm>
            <a:off x="7164514" y="4826488"/>
            <a:ext cx="1630265" cy="461273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>
              <a:lumMod val="65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conomía</a:t>
            </a:r>
            <a:r>
              <a:rPr lang="en-US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gestión</a:t>
            </a:r>
            <a:r>
              <a:rPr lang="en-US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ctivos</a:t>
            </a:r>
            <a:r>
              <a:rPr lang="en-US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, control, </a:t>
            </a: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aptación</a:t>
            </a:r>
            <a:r>
              <a:rPr lang="en-US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ondos</a:t>
            </a:r>
            <a:r>
              <a:rPr lang="en-US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)</a:t>
            </a:r>
            <a:endParaRPr lang="en-US" sz="10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Rectangle 14"/>
          <p:cNvSpPr>
            <a:spLocks noChangeArrowheads="1"/>
          </p:cNvSpPr>
          <p:nvPr/>
        </p:nvSpPr>
        <p:spPr bwMode="gray">
          <a:xfrm>
            <a:off x="7164514" y="5373216"/>
            <a:ext cx="1630265" cy="426543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>
              <a:lumMod val="65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9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Gestión</a:t>
            </a:r>
            <a:r>
              <a:rPr lang="en-US" sz="9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de las personas, </a:t>
            </a:r>
            <a:r>
              <a:rPr lang="en-US" sz="9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esarrollo</a:t>
            </a:r>
            <a:r>
              <a:rPr lang="en-US" sz="9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9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mpetencias</a:t>
            </a:r>
            <a:r>
              <a:rPr lang="en-US" sz="9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y </a:t>
            </a:r>
            <a:r>
              <a:rPr lang="en-US" sz="9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voluntariado</a:t>
            </a:r>
            <a:endParaRPr lang="en-US" sz="9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Rectangle 14"/>
          <p:cNvSpPr>
            <a:spLocks noChangeArrowheads="1"/>
          </p:cNvSpPr>
          <p:nvPr/>
        </p:nvSpPr>
        <p:spPr bwMode="gray">
          <a:xfrm>
            <a:off x="7164514" y="5855196"/>
            <a:ext cx="1630265" cy="526132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>
              <a:lumMod val="65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Herramientas</a:t>
            </a:r>
            <a:r>
              <a:rPr lang="en-US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(TIC, Comunicación , </a:t>
            </a: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árketing</a:t>
            </a:r>
            <a:r>
              <a:rPr lang="en-US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y </a:t>
            </a: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gestión</a:t>
            </a:r>
            <a:r>
              <a:rPr lang="en-US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del </a:t>
            </a: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nocimiento</a:t>
            </a:r>
            <a:r>
              <a:rPr lang="en-US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).</a:t>
            </a:r>
            <a:endParaRPr lang="en-US" sz="10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3" name="Conector recto 27"/>
          <p:cNvCxnSpPr/>
          <p:nvPr/>
        </p:nvCxnSpPr>
        <p:spPr>
          <a:xfrm>
            <a:off x="2780142" y="2278257"/>
            <a:ext cx="2696903" cy="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5-Point Star 122"/>
          <p:cNvSpPr/>
          <p:nvPr/>
        </p:nvSpPr>
        <p:spPr>
          <a:xfrm>
            <a:off x="200174" y="6453696"/>
            <a:ext cx="396044" cy="324036"/>
          </a:xfrm>
          <a:prstGeom prst="star5">
            <a:avLst/>
          </a:prstGeom>
          <a:solidFill>
            <a:srgbClr val="FFFF00"/>
          </a:solidFill>
          <a:ln w="63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Oval 123"/>
          <p:cNvSpPr/>
          <p:nvPr/>
        </p:nvSpPr>
        <p:spPr>
          <a:xfrm>
            <a:off x="3023828" y="6596992"/>
            <a:ext cx="432048" cy="18038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Rectangle 6"/>
          <p:cNvSpPr>
            <a:spLocks noChangeArrowheads="1"/>
          </p:cNvSpPr>
          <p:nvPr/>
        </p:nvSpPr>
        <p:spPr bwMode="gray">
          <a:xfrm>
            <a:off x="2841331" y="3056518"/>
            <a:ext cx="2098452" cy="576000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tx2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s-ES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Vocación marista</a:t>
            </a:r>
            <a:endParaRPr lang="es-ES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7" name="Conector angular 45"/>
          <p:cNvCxnSpPr>
            <a:stCxn id="20" idx="2"/>
            <a:endCxn id="34" idx="1"/>
          </p:cNvCxnSpPr>
          <p:nvPr/>
        </p:nvCxnSpPr>
        <p:spPr>
          <a:xfrm rot="5400000">
            <a:off x="1659916" y="1917195"/>
            <a:ext cx="975797" cy="1298617"/>
          </a:xfrm>
          <a:prstGeom prst="bentConnector3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angular 47"/>
          <p:cNvCxnSpPr>
            <a:stCxn id="20" idx="2"/>
            <a:endCxn id="66" idx="1"/>
          </p:cNvCxnSpPr>
          <p:nvPr/>
        </p:nvCxnSpPr>
        <p:spPr>
          <a:xfrm rot="16200000" flipH="1">
            <a:off x="2854883" y="2020843"/>
            <a:ext cx="977913" cy="1093435"/>
          </a:xfrm>
          <a:prstGeom prst="bentConnector3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tangle 7"/>
          <p:cNvSpPr>
            <a:spLocks noChangeArrowheads="1"/>
          </p:cNvSpPr>
          <p:nvPr/>
        </p:nvSpPr>
        <p:spPr bwMode="gray">
          <a:xfrm>
            <a:off x="5580112" y="1928031"/>
            <a:ext cx="2998174" cy="576000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s-ES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nsejo de Misión</a:t>
            </a:r>
          </a:p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(Entidades canónicas y civiles)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Oval 124"/>
          <p:cNvSpPr/>
          <p:nvPr/>
        </p:nvSpPr>
        <p:spPr>
          <a:xfrm>
            <a:off x="8316416" y="1855706"/>
            <a:ext cx="432048" cy="18038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1" name="5-Point Star 127"/>
          <p:cNvSpPr/>
          <p:nvPr/>
        </p:nvSpPr>
        <p:spPr>
          <a:xfrm>
            <a:off x="8030831" y="1754569"/>
            <a:ext cx="396044" cy="324036"/>
          </a:xfrm>
          <a:prstGeom prst="star5">
            <a:avLst/>
          </a:prstGeom>
          <a:solidFill>
            <a:srgbClr val="FFFF00"/>
          </a:solidFill>
          <a:ln w="63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Oval 125"/>
          <p:cNvSpPr/>
          <p:nvPr/>
        </p:nvSpPr>
        <p:spPr>
          <a:xfrm>
            <a:off x="4858830" y="3006882"/>
            <a:ext cx="432048" cy="18038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5-Point Star 126"/>
          <p:cNvSpPr/>
          <p:nvPr/>
        </p:nvSpPr>
        <p:spPr>
          <a:xfrm>
            <a:off x="4573245" y="2905745"/>
            <a:ext cx="396044" cy="324036"/>
          </a:xfrm>
          <a:prstGeom prst="star5">
            <a:avLst/>
          </a:prstGeom>
          <a:solidFill>
            <a:srgbClr val="FFFF00"/>
          </a:solidFill>
          <a:ln w="63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Rectangle 6"/>
          <p:cNvSpPr>
            <a:spLocks noChangeArrowheads="1"/>
          </p:cNvSpPr>
          <p:nvPr/>
        </p:nvSpPr>
        <p:spPr bwMode="gray">
          <a:xfrm>
            <a:off x="5384831" y="3068960"/>
            <a:ext cx="3409948" cy="576000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isión</a:t>
            </a:r>
            <a:endParaRPr lang="en-US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9" name="Straight Connector 78"/>
          <p:cNvCxnSpPr>
            <a:stCxn id="69" idx="5"/>
            <a:endCxn id="78" idx="1"/>
          </p:cNvCxnSpPr>
          <p:nvPr/>
        </p:nvCxnSpPr>
        <p:spPr>
          <a:xfrm>
            <a:off x="7079199" y="2504031"/>
            <a:ext cx="10606" cy="564929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val 125"/>
          <p:cNvSpPr/>
          <p:nvPr/>
        </p:nvSpPr>
        <p:spPr>
          <a:xfrm>
            <a:off x="8604448" y="2990077"/>
            <a:ext cx="432048" cy="18038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1" name="5-Point Star 126"/>
          <p:cNvSpPr/>
          <p:nvPr/>
        </p:nvSpPr>
        <p:spPr>
          <a:xfrm>
            <a:off x="8318863" y="2888940"/>
            <a:ext cx="396044" cy="324036"/>
          </a:xfrm>
          <a:prstGeom prst="star5">
            <a:avLst/>
          </a:prstGeom>
          <a:solidFill>
            <a:srgbClr val="FFFF00"/>
          </a:solidFill>
          <a:ln w="63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32776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201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4797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Diferentes órganos de gobierno desempeñando roles de gestión y de responsabilidad clave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179388" y="1728788"/>
            <a:ext cx="2011362" cy="468312"/>
          </a:xfrm>
          <a:prstGeom prst="rect">
            <a:avLst/>
          </a:prstGeom>
          <a:solidFill>
            <a:schemeClr val="accent5"/>
          </a:solidFill>
          <a:ln w="6350" cap="flat">
            <a:noFill/>
            <a:miter lim="800000"/>
          </a:ln>
        </p:spPr>
        <p:txBody>
          <a:bodyPr lIns="72000" tIns="0" rIns="72000" bIns="0" anchor="ctr"/>
          <a:lstStyle/>
          <a:p>
            <a:pPr algn="ctr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/>
            </a:pPr>
            <a:r>
              <a:rPr lang="es-ES" sz="1400" b="1">
                <a:solidFill>
                  <a:srgbClr val="FFFFFF"/>
                </a:solidFill>
                <a:latin typeface="Arial "/>
              </a:rPr>
              <a:t>Capitulo General</a:t>
            </a:r>
          </a:p>
        </p:txBody>
      </p:sp>
      <p:sp>
        <p:nvSpPr>
          <p:cNvPr id="2871300" name="TextBox 66"/>
          <p:cNvSpPr txBox="1">
            <a:spLocks noChangeArrowheads="1"/>
          </p:cNvSpPr>
          <p:nvPr/>
        </p:nvSpPr>
        <p:spPr bwMode="auto">
          <a:xfrm>
            <a:off x="2339975" y="1773238"/>
            <a:ext cx="6551613" cy="1081087"/>
          </a:xfrm>
          <a:prstGeom prst="rect">
            <a:avLst/>
          </a:prstGeom>
          <a:solidFill>
            <a:srgbClr val="F2F2F2"/>
          </a:solidFill>
          <a:ln w="635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97200" indent="-97200" defTabSz="914400"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200" b="1" dirty="0">
                <a:solidFill>
                  <a:srgbClr val="000000"/>
                </a:solidFill>
                <a:latin typeface="Arial "/>
              </a:rPr>
              <a:t>Capitulo General: </a:t>
            </a:r>
            <a:r>
              <a:rPr lang="es-ES" sz="1200" dirty="0">
                <a:solidFill>
                  <a:srgbClr val="000000"/>
                </a:solidFill>
                <a:latin typeface="Arial "/>
              </a:rPr>
              <a:t>a partir de las Constituciones actuales</a:t>
            </a:r>
          </a:p>
          <a:p>
            <a:pPr marL="97200" indent="-97200" defTabSz="914400"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200" b="1" dirty="0">
                <a:solidFill>
                  <a:srgbClr val="000000"/>
                </a:solidFill>
                <a:latin typeface="Arial "/>
              </a:rPr>
              <a:t>Asamblea de Misión</a:t>
            </a:r>
            <a:r>
              <a:rPr lang="es-ES" sz="1200" dirty="0">
                <a:solidFill>
                  <a:srgbClr val="000000"/>
                </a:solidFill>
                <a:latin typeface="Arial "/>
              </a:rPr>
              <a:t>: </a:t>
            </a:r>
          </a:p>
          <a:p>
            <a:pPr marL="232229" lvl="1" indent="-135017" defTabSz="914400"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" sz="1200" dirty="0">
                <a:solidFill>
                  <a:srgbClr val="000000"/>
                </a:solidFill>
                <a:latin typeface="Arial "/>
              </a:rPr>
              <a:t>Está encargada de establecer directrices estratégicas a </a:t>
            </a:r>
            <a:r>
              <a:rPr lang="es-ES" sz="1200" dirty="0" smtClean="0">
                <a:solidFill>
                  <a:srgbClr val="000000"/>
                </a:solidFill>
                <a:latin typeface="Arial "/>
              </a:rPr>
              <a:t>medio </a:t>
            </a:r>
            <a:r>
              <a:rPr lang="es-ES" sz="1200" dirty="0">
                <a:solidFill>
                  <a:srgbClr val="000000"/>
                </a:solidFill>
                <a:latin typeface="Arial "/>
              </a:rPr>
              <a:t>y largo plazo para la Misión Marista con una identificación detallada de los objetivos y los plazos preliminares esperados.</a:t>
            </a:r>
          </a:p>
          <a:p>
            <a:pPr marL="232229" lvl="1" indent="-135017" defTabSz="914400"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" sz="1200" dirty="0">
                <a:solidFill>
                  <a:srgbClr val="000000"/>
                </a:solidFill>
                <a:latin typeface="Arial "/>
              </a:rPr>
              <a:t>Compuesta de Hermanos y laicos con presencia de mujeres.</a:t>
            </a:r>
          </a:p>
          <a:p>
            <a:pPr marL="97200" indent="-97200" defTabSz="914400"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endParaRPr lang="es-ES" sz="1200" dirty="0">
              <a:solidFill>
                <a:srgbClr val="000000"/>
              </a:solidFill>
              <a:latin typeface="Arial 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179388" y="2986088"/>
            <a:ext cx="2011362" cy="1112837"/>
          </a:xfrm>
          <a:prstGeom prst="rect">
            <a:avLst/>
          </a:prstGeom>
          <a:solidFill>
            <a:schemeClr val="tx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>
              <a:lnSpc>
                <a:spcPct val="90000"/>
              </a:lnSpc>
              <a:spcBef>
                <a:spcPts val="900"/>
              </a:spcBef>
              <a:defRPr/>
            </a:pPr>
            <a:r>
              <a:rPr lang="es-ES" sz="1600">
                <a:solidFill>
                  <a:srgbClr val="FFFFFF"/>
                </a:solidFill>
                <a:ea typeface="Calibri" pitchFamily="34" charset="0"/>
                <a:cs typeface="Times New Roman" pitchFamily="18" charset="0"/>
              </a:rPr>
              <a:t>Superior General y Consejo General</a:t>
            </a:r>
          </a:p>
        </p:txBody>
      </p:sp>
      <p:sp>
        <p:nvSpPr>
          <p:cNvPr id="7475205" name="TextBox 71"/>
          <p:cNvSpPr txBox="1">
            <a:spLocks noChangeArrowheads="1"/>
          </p:cNvSpPr>
          <p:nvPr/>
        </p:nvSpPr>
        <p:spPr bwMode="auto">
          <a:xfrm>
            <a:off x="2339975" y="2986088"/>
            <a:ext cx="6532563" cy="1112837"/>
          </a:xfrm>
          <a:prstGeom prst="rect">
            <a:avLst/>
          </a:prstGeom>
          <a:solidFill>
            <a:srgbClr val="F2F2F2"/>
          </a:solidFill>
          <a:ln w="635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12713" lvl="1" indent="-112713" defTabSz="914400">
              <a:lnSpc>
                <a:spcPct val="90000"/>
              </a:lnSpc>
              <a:spcBef>
                <a:spcPts val="2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sz="1200" dirty="0">
                <a:solidFill>
                  <a:srgbClr val="000000"/>
                </a:solidFill>
                <a:latin typeface="Arial "/>
              </a:rPr>
              <a:t>Proporciona la </a:t>
            </a:r>
            <a:r>
              <a:rPr lang="es-ES" sz="1200" b="1" dirty="0">
                <a:solidFill>
                  <a:srgbClr val="000000"/>
                </a:solidFill>
                <a:latin typeface="Arial "/>
              </a:rPr>
              <a:t>dirección estratégica para la Vida Marista </a:t>
            </a:r>
            <a:r>
              <a:rPr lang="es-ES" sz="1200" dirty="0">
                <a:solidFill>
                  <a:srgbClr val="000000"/>
                </a:solidFill>
                <a:latin typeface="Arial "/>
              </a:rPr>
              <a:t>mientras delega la responsabilidad ejecutiva al Consejo de Misión. </a:t>
            </a:r>
          </a:p>
          <a:p>
            <a:pPr marL="112713" lvl="1" indent="-112713" defTabSz="914400">
              <a:lnSpc>
                <a:spcPct val="90000"/>
              </a:lnSpc>
              <a:spcBef>
                <a:spcPts val="2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sz="1200" dirty="0">
                <a:solidFill>
                  <a:srgbClr val="000000"/>
                </a:solidFill>
                <a:latin typeface="Arial "/>
              </a:rPr>
              <a:t>Proporciona </a:t>
            </a:r>
            <a:r>
              <a:rPr lang="es-ES" sz="1200" b="1" dirty="0">
                <a:solidFill>
                  <a:srgbClr val="000000"/>
                </a:solidFill>
                <a:latin typeface="Arial "/>
              </a:rPr>
              <a:t>Acompañamiento y Animación</a:t>
            </a:r>
            <a:r>
              <a:rPr lang="es-ES" sz="1200" dirty="0">
                <a:solidFill>
                  <a:srgbClr val="000000"/>
                </a:solidFill>
                <a:latin typeface="Arial "/>
              </a:rPr>
              <a:t> de las Regiones </a:t>
            </a:r>
            <a:r>
              <a:rPr lang="es-ES" sz="1200" dirty="0" smtClean="0">
                <a:solidFill>
                  <a:srgbClr val="000000"/>
                </a:solidFill>
                <a:latin typeface="Arial "/>
              </a:rPr>
              <a:t>y </a:t>
            </a:r>
            <a:r>
              <a:rPr lang="es-ES" sz="1200" dirty="0">
                <a:solidFill>
                  <a:srgbClr val="000000"/>
                </a:solidFill>
                <a:latin typeface="Arial "/>
              </a:rPr>
              <a:t>UA..</a:t>
            </a:r>
          </a:p>
          <a:p>
            <a:pPr marL="112713" lvl="1" indent="-112713" defTabSz="914400">
              <a:lnSpc>
                <a:spcPct val="90000"/>
              </a:lnSpc>
              <a:spcBef>
                <a:spcPts val="2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sz="1200" dirty="0">
                <a:solidFill>
                  <a:srgbClr val="000000"/>
                </a:solidFill>
                <a:latin typeface="Arial "/>
              </a:rPr>
              <a:t>Los miembros se elijen </a:t>
            </a:r>
            <a:r>
              <a:rPr lang="es-ES" sz="1200" dirty="0" smtClean="0">
                <a:solidFill>
                  <a:srgbClr val="000000"/>
                </a:solidFill>
                <a:latin typeface="Arial "/>
              </a:rPr>
              <a:t>igual </a:t>
            </a:r>
            <a:r>
              <a:rPr lang="es-ES" sz="1200" dirty="0">
                <a:solidFill>
                  <a:srgbClr val="000000"/>
                </a:solidFill>
                <a:latin typeface="Arial "/>
              </a:rPr>
              <a:t>que ahora.</a:t>
            </a:r>
          </a:p>
          <a:p>
            <a:pPr marL="112713" lvl="1" indent="-112713" defTabSz="914400">
              <a:lnSpc>
                <a:spcPct val="90000"/>
              </a:lnSpc>
              <a:spcBef>
                <a:spcPts val="2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sz="1200" dirty="0">
                <a:solidFill>
                  <a:srgbClr val="000000"/>
                </a:solidFill>
                <a:latin typeface="Arial "/>
              </a:rPr>
              <a:t>Los miembros representantes de cada Consejo Regional son invitados a participar a </a:t>
            </a:r>
            <a:r>
              <a:rPr lang="es-ES" sz="1200" dirty="0" smtClean="0">
                <a:solidFill>
                  <a:srgbClr val="000000"/>
                </a:solidFill>
                <a:latin typeface="Arial "/>
              </a:rPr>
              <a:t>una parte </a:t>
            </a:r>
            <a:r>
              <a:rPr lang="es-ES" sz="1200" dirty="0">
                <a:solidFill>
                  <a:srgbClr val="000000"/>
                </a:solidFill>
                <a:latin typeface="Arial "/>
              </a:rPr>
              <a:t>del encuentro.</a:t>
            </a:r>
          </a:p>
        </p:txBody>
      </p:sp>
      <p:sp>
        <p:nvSpPr>
          <p:cNvPr id="75" name="Rectangle 74"/>
          <p:cNvSpPr/>
          <p:nvPr/>
        </p:nvSpPr>
        <p:spPr>
          <a:xfrm>
            <a:off x="179388" y="4208463"/>
            <a:ext cx="2011362" cy="1474787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>
              <a:lnSpc>
                <a:spcPct val="90000"/>
              </a:lnSpc>
              <a:spcBef>
                <a:spcPts val="900"/>
              </a:spcBef>
              <a:defRPr/>
            </a:pPr>
            <a:r>
              <a:rPr lang="es-ES" sz="1600">
                <a:solidFill>
                  <a:srgbClr val="FFFFFF"/>
                </a:solidFill>
                <a:ea typeface="Calibri" pitchFamily="34" charset="0"/>
                <a:cs typeface="Times New Roman" pitchFamily="18" charset="0"/>
              </a:rPr>
              <a:t>Misión</a:t>
            </a:r>
          </a:p>
        </p:txBody>
      </p:sp>
      <p:sp>
        <p:nvSpPr>
          <p:cNvPr id="7475207" name="TextBox 75"/>
          <p:cNvSpPr txBox="1">
            <a:spLocks noChangeArrowheads="1"/>
          </p:cNvSpPr>
          <p:nvPr/>
        </p:nvSpPr>
        <p:spPr bwMode="auto">
          <a:xfrm>
            <a:off x="2339975" y="4208463"/>
            <a:ext cx="6532563" cy="1474787"/>
          </a:xfrm>
          <a:prstGeom prst="rect">
            <a:avLst/>
          </a:prstGeom>
          <a:solidFill>
            <a:srgbClr val="F2F2F2"/>
          </a:solidFill>
          <a:ln w="635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12713" lvl="1" indent="-112713" defTabSz="914400">
              <a:lnSpc>
                <a:spcPct val="90000"/>
              </a:lnSpc>
              <a:spcBef>
                <a:spcPts val="2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sz="1200" b="1" dirty="0">
                <a:solidFill>
                  <a:srgbClr val="000000"/>
                </a:solidFill>
                <a:latin typeface="Arial "/>
              </a:rPr>
              <a:t>Órgano </a:t>
            </a:r>
            <a:r>
              <a:rPr lang="es-ES" sz="1200" b="1" dirty="0" smtClean="0">
                <a:solidFill>
                  <a:srgbClr val="000000"/>
                </a:solidFill>
                <a:latin typeface="Arial "/>
              </a:rPr>
              <a:t>responsable de la </a:t>
            </a:r>
            <a:r>
              <a:rPr lang="es-ES" sz="1200" b="1" dirty="0">
                <a:solidFill>
                  <a:srgbClr val="000000"/>
                </a:solidFill>
                <a:latin typeface="Arial "/>
              </a:rPr>
              <a:t>toma de decisiones </a:t>
            </a:r>
            <a:r>
              <a:rPr lang="es-ES" sz="1200" b="1" dirty="0" smtClean="0">
                <a:solidFill>
                  <a:srgbClr val="000000"/>
                </a:solidFill>
                <a:latin typeface="Arial "/>
              </a:rPr>
              <a:t>para </a:t>
            </a:r>
            <a:r>
              <a:rPr lang="es-ES" sz="1200" b="1" dirty="0">
                <a:solidFill>
                  <a:srgbClr val="000000"/>
                </a:solidFill>
                <a:latin typeface="Arial "/>
              </a:rPr>
              <a:t>la gestión de la Misión y </a:t>
            </a:r>
            <a:r>
              <a:rPr lang="es-ES" sz="1200" dirty="0">
                <a:solidFill>
                  <a:srgbClr val="000000"/>
                </a:solidFill>
                <a:latin typeface="Arial "/>
              </a:rPr>
              <a:t>de asesoramiento al Consejo general</a:t>
            </a:r>
            <a:r>
              <a:rPr lang="es-ES" sz="1200" b="1" dirty="0">
                <a:solidFill>
                  <a:srgbClr val="000000"/>
                </a:solidFill>
                <a:latin typeface="Arial "/>
              </a:rPr>
              <a:t>.</a:t>
            </a:r>
            <a:endParaRPr lang="es-ES" sz="1200" dirty="0">
              <a:solidFill>
                <a:srgbClr val="000000"/>
              </a:solidFill>
              <a:latin typeface="Arial "/>
            </a:endParaRPr>
          </a:p>
          <a:p>
            <a:pPr marL="112713" lvl="1" indent="-112713" defTabSz="914400">
              <a:lnSpc>
                <a:spcPct val="90000"/>
              </a:lnSpc>
              <a:spcBef>
                <a:spcPts val="2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sz="1200" dirty="0">
                <a:solidFill>
                  <a:srgbClr val="000000"/>
                </a:solidFill>
                <a:latin typeface="Arial "/>
              </a:rPr>
              <a:t>A cargo de la </a:t>
            </a:r>
            <a:r>
              <a:rPr lang="es-ES" sz="1200" b="1" dirty="0">
                <a:solidFill>
                  <a:srgbClr val="000000"/>
                </a:solidFill>
                <a:latin typeface="Arial "/>
              </a:rPr>
              <a:t>planificación estratégica</a:t>
            </a:r>
            <a:r>
              <a:rPr lang="es-ES" sz="1200" dirty="0">
                <a:solidFill>
                  <a:srgbClr val="000000"/>
                </a:solidFill>
                <a:latin typeface="Arial "/>
              </a:rPr>
              <a:t> </a:t>
            </a:r>
            <a:r>
              <a:rPr lang="es-ES" sz="1200" dirty="0" smtClean="0">
                <a:solidFill>
                  <a:srgbClr val="000000"/>
                </a:solidFill>
                <a:latin typeface="Arial "/>
              </a:rPr>
              <a:t>que es </a:t>
            </a:r>
            <a:r>
              <a:rPr lang="es-ES" sz="1200" dirty="0">
                <a:solidFill>
                  <a:srgbClr val="000000"/>
                </a:solidFill>
                <a:latin typeface="Arial "/>
              </a:rPr>
              <a:t>aprobada por el Consejo General </a:t>
            </a:r>
            <a:r>
              <a:rPr lang="es-ES" sz="1200" dirty="0" smtClean="0">
                <a:solidFill>
                  <a:srgbClr val="000000"/>
                </a:solidFill>
                <a:latin typeface="Arial "/>
              </a:rPr>
              <a:t>y que se actualiza periódicamente</a:t>
            </a:r>
            <a:r>
              <a:rPr lang="es-ES" sz="1200" dirty="0">
                <a:solidFill>
                  <a:srgbClr val="000000"/>
                </a:solidFill>
                <a:latin typeface="Arial "/>
              </a:rPr>
              <a:t>.</a:t>
            </a:r>
          </a:p>
          <a:p>
            <a:pPr marL="112713" lvl="1" indent="-112713" defTabSz="914400">
              <a:lnSpc>
                <a:spcPct val="90000"/>
              </a:lnSpc>
              <a:spcBef>
                <a:spcPts val="2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sz="1200" dirty="0">
                <a:solidFill>
                  <a:srgbClr val="000000"/>
                </a:solidFill>
                <a:latin typeface="Arial "/>
              </a:rPr>
              <a:t>Compuesta por </a:t>
            </a:r>
            <a:r>
              <a:rPr lang="es-ES" sz="1200" b="1" dirty="0">
                <a:solidFill>
                  <a:srgbClr val="000000"/>
                </a:solidFill>
                <a:latin typeface="Arial "/>
              </a:rPr>
              <a:t>Hermanos y Laicos </a:t>
            </a:r>
            <a:r>
              <a:rPr lang="es-ES" sz="1200" dirty="0">
                <a:solidFill>
                  <a:srgbClr val="000000"/>
                </a:solidFill>
                <a:latin typeface="Arial "/>
              </a:rPr>
              <a:t>con presencia de mujeres:</a:t>
            </a:r>
          </a:p>
          <a:p>
            <a:pPr marL="232229" lvl="1" indent="-135017" defTabSz="91440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s-ES" sz="1200" dirty="0">
                <a:solidFill>
                  <a:srgbClr val="000000"/>
                </a:solidFill>
                <a:latin typeface="Arial "/>
              </a:rPr>
              <a:t>3 miembros del Instituto nombrados por el Consejo General.</a:t>
            </a:r>
          </a:p>
          <a:p>
            <a:pPr marL="232229" lvl="1" indent="-135017" defTabSz="91440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s-ES" sz="1200" dirty="0">
                <a:solidFill>
                  <a:srgbClr val="000000"/>
                </a:solidFill>
                <a:latin typeface="Arial "/>
              </a:rPr>
              <a:t>2 miembros de otras entidades civiles y canónicas asociadas.</a:t>
            </a:r>
          </a:p>
          <a:p>
            <a:pPr marL="232229" lvl="1" indent="-135017" defTabSz="914400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s-ES" sz="1200" dirty="0" smtClean="0">
                <a:solidFill>
                  <a:srgbClr val="000000"/>
                </a:solidFill>
                <a:latin typeface="Arial "/>
              </a:rPr>
              <a:t>5/6 </a:t>
            </a:r>
            <a:r>
              <a:rPr lang="es-ES" sz="1200" dirty="0">
                <a:solidFill>
                  <a:srgbClr val="000000"/>
                </a:solidFill>
                <a:latin typeface="Arial "/>
              </a:rPr>
              <a:t>miembros representantes de los consejos Regionales de Misión</a:t>
            </a:r>
            <a:r>
              <a:rPr lang="en-US" sz="1200" dirty="0">
                <a:solidFill>
                  <a:srgbClr val="000000"/>
                </a:solidFill>
                <a:latin typeface="Arial "/>
              </a:rPr>
              <a:t>.</a:t>
            </a:r>
          </a:p>
        </p:txBody>
      </p:sp>
      <p:sp>
        <p:nvSpPr>
          <p:cNvPr id="137" name="Rectangle 136"/>
          <p:cNvSpPr/>
          <p:nvPr/>
        </p:nvSpPr>
        <p:spPr>
          <a:xfrm>
            <a:off x="179388" y="5756275"/>
            <a:ext cx="2011362" cy="1001576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>
              <a:lnSpc>
                <a:spcPct val="90000"/>
              </a:lnSpc>
              <a:spcBef>
                <a:spcPts val="900"/>
              </a:spcBef>
              <a:defRPr/>
            </a:pPr>
            <a:r>
              <a:rPr lang="en-US" sz="1600" i="1" dirty="0" err="1">
                <a:solidFill>
                  <a:srgbClr val="FFFFFF"/>
                </a:solidFill>
                <a:ea typeface="Calibri" pitchFamily="34" charset="0"/>
                <a:cs typeface="Times New Roman" pitchFamily="18" charset="0"/>
              </a:rPr>
              <a:t>Economato</a:t>
            </a:r>
            <a:endParaRPr lang="en-US" sz="1600" i="1" dirty="0">
              <a:solidFill>
                <a:srgbClr val="FFFFFF"/>
              </a:solidFill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7475209" name="TextBox 137"/>
          <p:cNvSpPr txBox="1">
            <a:spLocks noChangeArrowheads="1"/>
          </p:cNvSpPr>
          <p:nvPr/>
        </p:nvSpPr>
        <p:spPr bwMode="auto">
          <a:xfrm>
            <a:off x="2339975" y="5756275"/>
            <a:ext cx="6532563" cy="1001576"/>
          </a:xfrm>
          <a:prstGeom prst="rect">
            <a:avLst/>
          </a:prstGeom>
          <a:solidFill>
            <a:srgbClr val="F2F2F2"/>
          </a:solidFill>
          <a:ln w="635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12713" lvl="1" indent="-112713" defTabSz="914400">
              <a:lnSpc>
                <a:spcPct val="90000"/>
              </a:lnSpc>
              <a:spcBef>
                <a:spcPts val="2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sz="1200" dirty="0">
                <a:solidFill>
                  <a:srgbClr val="000000"/>
                </a:solidFill>
                <a:latin typeface="Arial "/>
              </a:rPr>
              <a:t>Responsable de la </a:t>
            </a:r>
            <a:r>
              <a:rPr lang="es-ES" sz="1200" b="1" dirty="0">
                <a:solidFill>
                  <a:srgbClr val="000000"/>
                </a:solidFill>
                <a:latin typeface="Arial "/>
              </a:rPr>
              <a:t>gestión de los “bienes de la familia” </a:t>
            </a:r>
            <a:r>
              <a:rPr lang="es-ES" sz="1200" dirty="0">
                <a:solidFill>
                  <a:srgbClr val="000000"/>
                </a:solidFill>
                <a:latin typeface="Arial "/>
              </a:rPr>
              <a:t> así como de los riesgos económicos y financieros del Instituto, con </a:t>
            </a:r>
            <a:r>
              <a:rPr lang="es-ES" sz="1200" b="1" dirty="0">
                <a:solidFill>
                  <a:srgbClr val="000000"/>
                </a:solidFill>
                <a:latin typeface="Arial "/>
              </a:rPr>
              <a:t>plena transparencia</a:t>
            </a:r>
            <a:r>
              <a:rPr lang="es-ES" sz="1200" dirty="0">
                <a:solidFill>
                  <a:srgbClr val="000000"/>
                </a:solidFill>
                <a:latin typeface="Arial "/>
              </a:rPr>
              <a:t> a través y hacia todas las Provincias del Instituto. </a:t>
            </a:r>
          </a:p>
          <a:p>
            <a:pPr marL="112713" lvl="1" indent="-112713" defTabSz="914400">
              <a:lnSpc>
                <a:spcPct val="90000"/>
              </a:lnSpc>
              <a:spcBef>
                <a:spcPts val="2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sz="1200" dirty="0">
                <a:solidFill>
                  <a:srgbClr val="000000"/>
                </a:solidFill>
                <a:latin typeface="Arial "/>
              </a:rPr>
              <a:t>Brindar apoyo a la Misión y </a:t>
            </a:r>
            <a:r>
              <a:rPr lang="es-ES" sz="1200" dirty="0" smtClean="0">
                <a:solidFill>
                  <a:srgbClr val="000000"/>
                </a:solidFill>
                <a:latin typeface="Arial "/>
              </a:rPr>
              <a:t>al </a:t>
            </a:r>
            <a:r>
              <a:rPr lang="es-ES" sz="1200" dirty="0">
                <a:solidFill>
                  <a:srgbClr val="000000"/>
                </a:solidFill>
                <a:latin typeface="Arial "/>
              </a:rPr>
              <a:t>Consejo General con respecto a la economía.</a:t>
            </a:r>
          </a:p>
          <a:p>
            <a:pPr marL="112713" lvl="1" indent="-112713" defTabSz="914400">
              <a:lnSpc>
                <a:spcPct val="90000"/>
              </a:lnSpc>
              <a:spcBef>
                <a:spcPts val="2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sz="1200" dirty="0">
                <a:solidFill>
                  <a:srgbClr val="000000"/>
                </a:solidFill>
                <a:latin typeface="Arial "/>
              </a:rPr>
              <a:t>Auditoria de la Misión sobre el uso correcto y evangélico de los bienes.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90500" y="2244725"/>
            <a:ext cx="2009775" cy="612775"/>
          </a:xfrm>
          <a:prstGeom prst="rect">
            <a:avLst/>
          </a:prstGeom>
          <a:solidFill>
            <a:schemeClr val="accent5"/>
          </a:solidFill>
          <a:ln w="6350" cap="flat">
            <a:noFill/>
            <a:miter lim="800000"/>
          </a:ln>
        </p:spPr>
        <p:txBody>
          <a:bodyPr lIns="72000" tIns="0" rIns="72000" bIns="0" anchor="ctr"/>
          <a:lstStyle/>
          <a:p>
            <a:pPr algn="ctr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defRPr/>
            </a:pPr>
            <a:r>
              <a:rPr lang="es-ES" sz="1400" b="1" dirty="0">
                <a:solidFill>
                  <a:srgbClr val="FFFFFF"/>
                </a:solidFill>
                <a:latin typeface="Arial "/>
              </a:rPr>
              <a:t>Asamblea de Misión</a:t>
            </a:r>
          </a:p>
        </p:txBody>
      </p:sp>
      <p:sp>
        <p:nvSpPr>
          <p:cNvPr id="7475211" name="RunningHead"/>
          <p:cNvSpPr txBox="1">
            <a:spLocks noChangeArrowheads="1"/>
          </p:cNvSpPr>
          <p:nvPr/>
        </p:nvSpPr>
        <p:spPr bwMode="gray">
          <a:xfrm>
            <a:off x="6891338" y="139700"/>
            <a:ext cx="2000250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MX" sz="1200" dirty="0">
                <a:solidFill>
                  <a:srgbClr val="000000"/>
                </a:solidFill>
              </a:rPr>
              <a:t>¿Estamos bien organizados?</a:t>
            </a:r>
          </a:p>
        </p:txBody>
      </p:sp>
    </p:spTree>
    <p:extLst>
      <p:ext uri="{BB962C8B-B14F-4D97-AF65-F5344CB8AC3E}">
        <p14:creationId xmlns:p14="http://schemas.microsoft.com/office/powerpoint/2010/main" val="137157000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8323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41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8324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899525" cy="664797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La nueva Asamblea de Misión estará a cargo de implicar a diferentes agentes de la Misión para definir directrices…</a:t>
            </a:r>
            <a:r>
              <a:rPr lang="en-US" dirty="0" smtClean="0">
                <a:latin typeface="Arial" charset="0"/>
                <a:cs typeface="Arial" charset="0"/>
              </a:rPr>
              <a:t> 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85738" y="1781857"/>
            <a:ext cx="8742362" cy="1335087"/>
            <a:chOff x="185738" y="1781857"/>
            <a:chExt cx="8742362" cy="1335087"/>
          </a:xfrm>
        </p:grpSpPr>
        <p:sp>
          <p:nvSpPr>
            <p:cNvPr id="3" name="Rectangle 2"/>
            <p:cNvSpPr/>
            <p:nvPr/>
          </p:nvSpPr>
          <p:spPr>
            <a:xfrm>
              <a:off x="2519363" y="1781857"/>
              <a:ext cx="6408737" cy="133508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>
              <a:spAutoFit/>
            </a:bodyPr>
            <a:lstStyle/>
            <a:p>
              <a:pPr marL="112713" indent="-112713" defTabSz="914400">
                <a:lnSpc>
                  <a:spcPct val="90000"/>
                </a:lnSpc>
                <a:spcBef>
                  <a:spcPts val="6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" sz="1400" b="1">
                  <a:solidFill>
                    <a:srgbClr val="000000"/>
                  </a:solidFill>
                  <a:cs typeface="Arial" charset="0"/>
                </a:rPr>
                <a:t>Representantes, Hermanos y Laicos, procedentes de todas las Unidades Administrativas y Regiones: </a:t>
              </a:r>
              <a:endParaRPr lang="es-ES" sz="1400" b="1">
                <a:solidFill>
                  <a:srgbClr val="000000"/>
                </a:solidFill>
                <a:latin typeface="Arial "/>
                <a:cs typeface="Arial" charset="0"/>
              </a:endParaRPr>
            </a:p>
            <a:p>
              <a:pPr marL="231775" lvl="1" indent="-134938" defTabSz="914400">
                <a:lnSpc>
                  <a:spcPct val="90000"/>
                </a:lnSpc>
                <a:spcBef>
                  <a:spcPts val="600"/>
                </a:spcBef>
                <a:buClr>
                  <a:srgbClr val="9B1717"/>
                </a:buClr>
                <a:buSzPct val="100000"/>
                <a:buFont typeface="Arial" charset="0"/>
                <a:buChar char="–"/>
                <a:defRPr/>
              </a:pPr>
              <a:r>
                <a:rPr lang="es-ES" sz="1400">
                  <a:solidFill>
                    <a:srgbClr val="000000"/>
                  </a:solidFill>
                  <a:latin typeface="Arial "/>
                  <a:cs typeface="Arial" charset="0"/>
                </a:rPr>
                <a:t>Consejo General, Consejo de Misión, Vocación Marista y Ecónomo.</a:t>
              </a:r>
            </a:p>
            <a:p>
              <a:pPr marL="231775" lvl="1" indent="-134938" defTabSz="914400">
                <a:lnSpc>
                  <a:spcPct val="90000"/>
                </a:lnSpc>
                <a:spcBef>
                  <a:spcPts val="600"/>
                </a:spcBef>
                <a:buClr>
                  <a:srgbClr val="9B1717"/>
                </a:buClr>
                <a:buSzPct val="100000"/>
                <a:buFont typeface="Arial" charset="0"/>
                <a:buChar char="–"/>
                <a:defRPr/>
              </a:pPr>
              <a:r>
                <a:rPr lang="es-ES" sz="1400">
                  <a:solidFill>
                    <a:srgbClr val="000000"/>
                  </a:solidFill>
                  <a:latin typeface="Arial "/>
                  <a:cs typeface="Arial" charset="0"/>
                </a:rPr>
                <a:t>2 miembros de cada Unidad Administrativa.</a:t>
              </a:r>
            </a:p>
            <a:p>
              <a:pPr marL="231775" lvl="1" indent="-134938" defTabSz="914400">
                <a:lnSpc>
                  <a:spcPct val="90000"/>
                </a:lnSpc>
                <a:spcBef>
                  <a:spcPts val="600"/>
                </a:spcBef>
                <a:buClr>
                  <a:srgbClr val="9B1717"/>
                </a:buClr>
                <a:buSzPct val="100000"/>
                <a:buFont typeface="Arial" charset="0"/>
                <a:buChar char="–"/>
                <a:defRPr/>
              </a:pPr>
              <a:r>
                <a:rPr lang="es-ES" sz="1400">
                  <a:solidFill>
                    <a:srgbClr val="000000"/>
                  </a:solidFill>
                  <a:latin typeface="Arial "/>
                  <a:cs typeface="Arial" charset="0"/>
                </a:rPr>
                <a:t>4 miembros de cada Región.</a:t>
              </a:r>
            </a:p>
          </p:txBody>
        </p:sp>
        <p:sp>
          <p:nvSpPr>
            <p:cNvPr id="738326" name="AutoShape 3"/>
            <p:cNvSpPr>
              <a:spLocks noChangeArrowheads="1"/>
            </p:cNvSpPr>
            <p:nvPr/>
          </p:nvSpPr>
          <p:spPr bwMode="gray">
            <a:xfrm>
              <a:off x="185738" y="1781857"/>
              <a:ext cx="2297112" cy="1312862"/>
            </a:xfrm>
            <a:prstGeom prst="homePlate">
              <a:avLst>
                <a:gd name="adj" fmla="val 0"/>
              </a:avLst>
            </a:prstGeom>
            <a:solidFill>
              <a:schemeClr val="bg2"/>
            </a:solidFill>
            <a:ln w="6350">
              <a:noFill/>
              <a:miter lim="800000"/>
              <a:headEnd/>
              <a:tailEnd/>
            </a:ln>
          </p:spPr>
          <p:txBody>
            <a:bodyPr lIns="71120" tIns="71120" rIns="71120" bIns="71120" anchor="ctr"/>
            <a:lstStyle/>
            <a:p>
              <a:pPr eaLnBrk="0" hangingPunct="0">
                <a:lnSpc>
                  <a:spcPct val="90000"/>
                </a:lnSpc>
              </a:pPr>
              <a:r>
                <a:rPr lang="es-ES" sz="1600" b="1" i="1" dirty="0">
                  <a:solidFill>
                    <a:srgbClr val="FFFFFF"/>
                  </a:solidFill>
                </a:rPr>
                <a:t>Alcance y composición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74625" y="3371093"/>
            <a:ext cx="8747125" cy="1547813"/>
            <a:chOff x="174625" y="3257550"/>
            <a:chExt cx="8747125" cy="1547813"/>
          </a:xfrm>
        </p:grpSpPr>
        <p:sp>
          <p:nvSpPr>
            <p:cNvPr id="5" name="Rectangle 4"/>
            <p:cNvSpPr/>
            <p:nvPr/>
          </p:nvSpPr>
          <p:spPr>
            <a:xfrm>
              <a:off x="2514600" y="3257550"/>
              <a:ext cx="6407150" cy="1547813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/>
            <a:lstStyle/>
            <a:p>
              <a:pPr marL="112713" indent="-112713" defTabSz="914400">
                <a:lnSpc>
                  <a:spcPct val="90000"/>
                </a:lnSpc>
                <a:spcBef>
                  <a:spcPts val="6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" sz="1400" dirty="0" smtClean="0">
                  <a:solidFill>
                    <a:srgbClr val="000000"/>
                  </a:solidFill>
                  <a:cs typeface="Arial" charset="0"/>
                </a:rPr>
                <a:t>Está </a:t>
              </a:r>
              <a:r>
                <a:rPr lang="es-ES" sz="1400" dirty="0">
                  <a:solidFill>
                    <a:srgbClr val="000000"/>
                  </a:solidFill>
                  <a:cs typeface="Arial" charset="0"/>
                </a:rPr>
                <a:t>a cargo de establecer </a:t>
              </a:r>
              <a:r>
                <a:rPr lang="es-ES" sz="1400" b="1" dirty="0">
                  <a:solidFill>
                    <a:srgbClr val="000000"/>
                  </a:solidFill>
                  <a:cs typeface="Arial" charset="0"/>
                </a:rPr>
                <a:t>pautas estratégicas a </a:t>
              </a:r>
              <a:r>
                <a:rPr lang="es-ES" sz="1400" b="1" dirty="0" smtClean="0">
                  <a:solidFill>
                    <a:srgbClr val="000000"/>
                  </a:solidFill>
                  <a:cs typeface="Arial" charset="0"/>
                </a:rPr>
                <a:t>medio </a:t>
              </a:r>
              <a:r>
                <a:rPr lang="es-ES" sz="1400" b="1" dirty="0">
                  <a:solidFill>
                    <a:srgbClr val="000000"/>
                  </a:solidFill>
                  <a:cs typeface="Arial" charset="0"/>
                </a:rPr>
                <a:t>y largo plazo para la Misión Marista</a:t>
              </a:r>
              <a:r>
                <a:rPr lang="es-ES" sz="1400" dirty="0">
                  <a:solidFill>
                    <a:srgbClr val="000000"/>
                  </a:solidFill>
                  <a:cs typeface="Arial" charset="0"/>
                </a:rPr>
                <a:t> con una identificación detallada de los objetivos y plazos preliminares esperados y de llevar a cabo una evaluación periódica.</a:t>
              </a:r>
            </a:p>
            <a:p>
              <a:pPr marL="112713" indent="-112713" defTabSz="914400">
                <a:lnSpc>
                  <a:spcPct val="90000"/>
                </a:lnSpc>
                <a:spcBef>
                  <a:spcPts val="6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" sz="1400" dirty="0" smtClean="0">
                  <a:solidFill>
                    <a:srgbClr val="000000"/>
                  </a:solidFill>
                  <a:cs typeface="Arial" charset="0"/>
                </a:rPr>
                <a:t>Las aportaciones </a:t>
              </a:r>
              <a:r>
                <a:rPr lang="es-ES" sz="1400" dirty="0">
                  <a:solidFill>
                    <a:srgbClr val="000000"/>
                  </a:solidFill>
                  <a:cs typeface="Arial" charset="0"/>
                </a:rPr>
                <a:t>se recogen de la base hacia arriba comenzando por las Asambleas Provinciales y Regionales.</a:t>
              </a:r>
            </a:p>
            <a:p>
              <a:pPr marL="112713" indent="-112713" defTabSz="914400">
                <a:lnSpc>
                  <a:spcPct val="90000"/>
                </a:lnSpc>
                <a:spcBef>
                  <a:spcPts val="6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" sz="1400" dirty="0">
                  <a:solidFill>
                    <a:srgbClr val="000000"/>
                  </a:solidFill>
                  <a:cs typeface="Arial" charset="0"/>
                </a:rPr>
                <a:t>Frecuencia sugerida: cada 4 años.</a:t>
              </a:r>
            </a:p>
          </p:txBody>
        </p:sp>
        <p:sp>
          <p:nvSpPr>
            <p:cNvPr id="738328" name="AutoShape 3"/>
            <p:cNvSpPr>
              <a:spLocks noChangeArrowheads="1"/>
            </p:cNvSpPr>
            <p:nvPr/>
          </p:nvSpPr>
          <p:spPr bwMode="gray">
            <a:xfrm>
              <a:off x="174625" y="3257550"/>
              <a:ext cx="2339975" cy="1547813"/>
            </a:xfrm>
            <a:prstGeom prst="homePlate">
              <a:avLst>
                <a:gd name="adj" fmla="val 0"/>
              </a:avLst>
            </a:prstGeom>
            <a:solidFill>
              <a:schemeClr val="bg2"/>
            </a:solidFill>
            <a:ln w="6350">
              <a:noFill/>
              <a:miter lim="800000"/>
              <a:headEnd/>
              <a:tailEnd/>
            </a:ln>
          </p:spPr>
          <p:txBody>
            <a:bodyPr lIns="71120" tIns="71120" rIns="71120" bIns="71120" anchor="ctr"/>
            <a:lstStyle/>
            <a:p>
              <a:pPr defTabSz="914400" eaLnBrk="0" hangingPunct="0">
                <a:lnSpc>
                  <a:spcPct val="90000"/>
                </a:lnSpc>
              </a:pPr>
              <a:r>
                <a:rPr lang="es-ES" sz="1600" b="1" i="1" dirty="0">
                  <a:solidFill>
                    <a:srgbClr val="FFFFFF"/>
                  </a:solidFill>
                </a:rPr>
                <a:t>Responsabilidades clave y </a:t>
              </a:r>
              <a:r>
                <a:rPr lang="es-ES" sz="1600" b="1" i="1" dirty="0" smtClean="0">
                  <a:solidFill>
                    <a:srgbClr val="FFFFFF"/>
                  </a:solidFill>
                </a:rPr>
                <a:t>gobernanza y mecanismos de gestión</a:t>
              </a:r>
              <a:endParaRPr lang="en-US" sz="1600" b="1" i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179388" y="5173055"/>
            <a:ext cx="8742362" cy="884237"/>
            <a:chOff x="179388" y="5173055"/>
            <a:chExt cx="8742362" cy="884237"/>
          </a:xfrm>
        </p:grpSpPr>
        <p:sp>
          <p:nvSpPr>
            <p:cNvPr id="7" name="Rectangle 6"/>
            <p:cNvSpPr/>
            <p:nvPr/>
          </p:nvSpPr>
          <p:spPr>
            <a:xfrm>
              <a:off x="2514600" y="5173055"/>
              <a:ext cx="6407150" cy="883319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>
              <a:spAutoFit/>
            </a:bodyPr>
            <a:lstStyle/>
            <a:p>
              <a:pPr marL="112713" indent="-112713" defTabSz="914400">
                <a:lnSpc>
                  <a:spcPct val="90000"/>
                </a:lnSpc>
                <a:spcBef>
                  <a:spcPts val="6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" sz="1400" dirty="0">
                  <a:solidFill>
                    <a:srgbClr val="000000"/>
                  </a:solidFill>
                  <a:cs typeface="Arial" charset="0"/>
                </a:rPr>
                <a:t>Consejo General, Vocación Marista y el Economato.</a:t>
              </a:r>
            </a:p>
            <a:p>
              <a:pPr marL="112713" indent="-112713" defTabSz="914400">
                <a:lnSpc>
                  <a:spcPct val="90000"/>
                </a:lnSpc>
                <a:spcBef>
                  <a:spcPts val="6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" sz="1400" dirty="0">
                  <a:solidFill>
                    <a:srgbClr val="000000"/>
                  </a:solidFill>
                  <a:cs typeface="Arial" charset="0"/>
                </a:rPr>
                <a:t>Consejos de Misión a todos niveles.</a:t>
              </a:r>
            </a:p>
            <a:p>
              <a:pPr marL="112713" indent="-112713" defTabSz="914400">
                <a:lnSpc>
                  <a:spcPct val="90000"/>
                </a:lnSpc>
                <a:spcBef>
                  <a:spcPts val="6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" sz="1400" dirty="0" smtClean="0">
                  <a:solidFill>
                    <a:srgbClr val="000000"/>
                  </a:solidFill>
                  <a:cs typeface="Arial" charset="0"/>
                </a:rPr>
                <a:t>Capítulo </a:t>
              </a:r>
              <a:r>
                <a:rPr lang="es-ES" sz="1400" dirty="0">
                  <a:solidFill>
                    <a:srgbClr val="000000"/>
                  </a:solidFill>
                  <a:cs typeface="Arial" charset="0"/>
                </a:rPr>
                <a:t>General.</a:t>
              </a:r>
            </a:p>
          </p:txBody>
        </p:sp>
        <p:sp>
          <p:nvSpPr>
            <p:cNvPr id="738330" name="AutoShape 3"/>
            <p:cNvSpPr>
              <a:spLocks noChangeArrowheads="1"/>
            </p:cNvSpPr>
            <p:nvPr/>
          </p:nvSpPr>
          <p:spPr bwMode="gray">
            <a:xfrm>
              <a:off x="179388" y="5207980"/>
              <a:ext cx="2303462" cy="849312"/>
            </a:xfrm>
            <a:prstGeom prst="homePlate">
              <a:avLst>
                <a:gd name="adj" fmla="val 0"/>
              </a:avLst>
            </a:prstGeom>
            <a:solidFill>
              <a:schemeClr val="bg2"/>
            </a:solidFill>
            <a:ln w="6350">
              <a:noFill/>
              <a:miter lim="800000"/>
              <a:headEnd/>
              <a:tailEnd/>
            </a:ln>
          </p:spPr>
          <p:txBody>
            <a:bodyPr lIns="71120" tIns="71120" rIns="71120" bIns="71120" anchor="ctr"/>
            <a:lstStyle/>
            <a:p>
              <a:pPr defTabSz="914400" eaLnBrk="0" hangingPunct="0">
                <a:lnSpc>
                  <a:spcPct val="90000"/>
                </a:lnSpc>
              </a:pPr>
              <a:r>
                <a:rPr lang="es-ES" sz="1600" b="1" i="1" dirty="0">
                  <a:solidFill>
                    <a:srgbClr val="FFFFFF"/>
                  </a:solidFill>
                </a:rPr>
                <a:t>Coordinación y trabajo en red</a:t>
              </a:r>
            </a:p>
          </p:txBody>
        </p:sp>
      </p:grpSp>
      <p:sp>
        <p:nvSpPr>
          <p:cNvPr id="738331" name="RunningHead"/>
          <p:cNvSpPr txBox="1">
            <a:spLocks noChangeArrowheads="1"/>
          </p:cNvSpPr>
          <p:nvPr/>
        </p:nvSpPr>
        <p:spPr bwMode="gray">
          <a:xfrm>
            <a:off x="6891338" y="139700"/>
            <a:ext cx="2000250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MX" sz="1200" dirty="0">
                <a:solidFill>
                  <a:srgbClr val="000000"/>
                </a:solidFill>
              </a:rPr>
              <a:t>¿Estamos bien organizados?</a:t>
            </a:r>
          </a:p>
        </p:txBody>
      </p:sp>
    </p:spTree>
    <p:extLst>
      <p:ext uri="{BB962C8B-B14F-4D97-AF65-F5344CB8AC3E}">
        <p14:creationId xmlns:p14="http://schemas.microsoft.com/office/powerpoint/2010/main" val="77763532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7249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446679" cy="664797"/>
          </a:xfrm>
        </p:spPr>
        <p:txBody>
          <a:bodyPr/>
          <a:lstStyle/>
          <a:p>
            <a:pPr eaLnBrk="1" hangingPunct="1"/>
            <a:r>
              <a:rPr lang="en-US" dirty="0">
                <a:latin typeface="Arial" charset="0"/>
                <a:cs typeface="Arial" charset="0"/>
              </a:rPr>
              <a:t>… </a:t>
            </a:r>
            <a:r>
              <a:rPr lang="es-ES" dirty="0">
                <a:latin typeface="Arial" charset="0"/>
                <a:cs typeface="Arial" charset="0"/>
              </a:rPr>
              <a:t>el Consejo General mantendrá la toma de decisiones final y se enfocará en el liderazgo de la “Familia”…</a:t>
            </a:r>
          </a:p>
        </p:txBody>
      </p:sp>
      <p:sp>
        <p:nvSpPr>
          <p:cNvPr id="3" name="Rectangle 2"/>
          <p:cNvSpPr/>
          <p:nvPr/>
        </p:nvSpPr>
        <p:spPr>
          <a:xfrm>
            <a:off x="2519363" y="1784081"/>
            <a:ext cx="6408737" cy="1922065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105313" indent="-105313" defTabSz="91440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cs typeface="Arial" charset="0"/>
              </a:rPr>
              <a:t>Proporciona </a:t>
            </a:r>
            <a:r>
              <a:rPr lang="es-ES" sz="1300" b="1" dirty="0">
                <a:solidFill>
                  <a:srgbClr val="000000"/>
                </a:solidFill>
                <a:cs typeface="Arial" charset="0"/>
              </a:rPr>
              <a:t>dirección estratégica para la vida Consagrada y la Misión</a:t>
            </a:r>
            <a:r>
              <a:rPr lang="es-ES" sz="1300" dirty="0">
                <a:solidFill>
                  <a:srgbClr val="000000"/>
                </a:solidFill>
                <a:cs typeface="Arial" charset="0"/>
              </a:rPr>
              <a:t>, mientras delega el gobierno ejecutivo y la gestión al Consejo de Misión.</a:t>
            </a:r>
          </a:p>
          <a:p>
            <a:pPr marL="105313" indent="-105313" defTabSz="91440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b="1" dirty="0">
                <a:solidFill>
                  <a:srgbClr val="000000"/>
                </a:solidFill>
                <a:cs typeface="Arial" charset="0"/>
              </a:rPr>
              <a:t>Órgano </a:t>
            </a:r>
            <a:r>
              <a:rPr lang="es-ES" sz="1300" b="1" dirty="0" smtClean="0">
                <a:solidFill>
                  <a:srgbClr val="000000"/>
                </a:solidFill>
                <a:cs typeface="Arial" charset="0"/>
              </a:rPr>
              <a:t>responsable de la toma </a:t>
            </a:r>
            <a:r>
              <a:rPr lang="es-ES" sz="1300" b="1" dirty="0">
                <a:solidFill>
                  <a:srgbClr val="000000"/>
                </a:solidFill>
                <a:cs typeface="Arial" charset="0"/>
              </a:rPr>
              <a:t>de </a:t>
            </a:r>
            <a:r>
              <a:rPr lang="es-ES" sz="1300" b="1" dirty="0" smtClean="0">
                <a:solidFill>
                  <a:srgbClr val="000000"/>
                </a:solidFill>
                <a:cs typeface="Arial" charset="0"/>
              </a:rPr>
              <a:t>decisiones en relación con </a:t>
            </a:r>
            <a:r>
              <a:rPr lang="es-ES" sz="1300" b="1" dirty="0">
                <a:solidFill>
                  <a:srgbClr val="000000"/>
                </a:solidFill>
                <a:cs typeface="Arial" charset="0"/>
              </a:rPr>
              <a:t>la vida consagrada</a:t>
            </a:r>
            <a:r>
              <a:rPr lang="es-ES" sz="1300" dirty="0">
                <a:solidFill>
                  <a:srgbClr val="000000"/>
                </a:solidFill>
                <a:cs typeface="Arial" charset="0"/>
              </a:rPr>
              <a:t>.</a:t>
            </a:r>
            <a:endParaRPr lang="es-ES" sz="1300" b="1" dirty="0">
              <a:solidFill>
                <a:srgbClr val="000000"/>
              </a:solidFill>
              <a:cs typeface="Arial" charset="0"/>
            </a:endParaRPr>
          </a:p>
          <a:p>
            <a:pPr marL="105313" indent="-105313" defTabSz="91440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 smtClean="0">
                <a:solidFill>
                  <a:srgbClr val="000000"/>
                </a:solidFill>
                <a:cs typeface="Arial" charset="0"/>
              </a:rPr>
              <a:t>Definir los </a:t>
            </a:r>
            <a:r>
              <a:rPr lang="es-ES" sz="1300" b="1" dirty="0">
                <a:solidFill>
                  <a:srgbClr val="000000"/>
                </a:solidFill>
                <a:cs typeface="Arial" charset="0"/>
              </a:rPr>
              <a:t>limites éticos y los medios que el Instituto puede utilizar para alcanzar sus objetivos.</a:t>
            </a:r>
          </a:p>
          <a:p>
            <a:pPr marL="105313" indent="-105313" defTabSz="91440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 smtClean="0">
                <a:solidFill>
                  <a:srgbClr val="000000"/>
                </a:solidFill>
                <a:cs typeface="Arial" charset="0"/>
              </a:rPr>
              <a:t>Está centrado en las </a:t>
            </a:r>
            <a:r>
              <a:rPr lang="es-ES" sz="1300" b="1" dirty="0" smtClean="0">
                <a:solidFill>
                  <a:srgbClr val="000000"/>
                </a:solidFill>
                <a:cs typeface="Arial" charset="0"/>
              </a:rPr>
              <a:t>decisiones relativas al futuro del Instituto</a:t>
            </a:r>
            <a:r>
              <a:rPr lang="es-ES" sz="1300" dirty="0" smtClean="0">
                <a:solidFill>
                  <a:srgbClr val="000000"/>
                </a:solidFill>
                <a:cs typeface="Arial" charset="0"/>
              </a:rPr>
              <a:t>: validación y afinamiento de la estrategia.</a:t>
            </a:r>
            <a:endParaRPr lang="es-ES" sz="1300" b="1" dirty="0">
              <a:solidFill>
                <a:srgbClr val="000000"/>
              </a:solidFill>
              <a:cs typeface="Arial" charset="0"/>
            </a:endParaRPr>
          </a:p>
          <a:p>
            <a:pPr marL="105313" indent="-105313" defTabSz="91440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b="1" dirty="0">
                <a:solidFill>
                  <a:srgbClr val="000000"/>
                </a:solidFill>
                <a:cs typeface="Arial" charset="0"/>
              </a:rPr>
              <a:t>Los Miembros (Hermanos) son elegidos.</a:t>
            </a:r>
            <a:r>
              <a:rPr lang="en-US" sz="1300" b="1" dirty="0">
                <a:solidFill>
                  <a:srgbClr val="000000"/>
                </a:solidFill>
                <a:cs typeface="Arial" charset="0"/>
              </a:rPr>
              <a:t>  </a:t>
            </a:r>
          </a:p>
        </p:txBody>
      </p:sp>
      <p:sp>
        <p:nvSpPr>
          <p:cNvPr id="7477251" name="AutoShape 3"/>
          <p:cNvSpPr>
            <a:spLocks noChangeArrowheads="1"/>
          </p:cNvSpPr>
          <p:nvPr/>
        </p:nvSpPr>
        <p:spPr bwMode="gray">
          <a:xfrm>
            <a:off x="185738" y="1784081"/>
            <a:ext cx="2339975" cy="1785937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71120" tIns="71120" rIns="71120" bIns="71120" anchor="ctr"/>
          <a:lstStyle/>
          <a:p>
            <a:pPr eaLnBrk="0" hangingPunct="0">
              <a:lnSpc>
                <a:spcPct val="90000"/>
              </a:lnSpc>
            </a:pPr>
            <a:r>
              <a:rPr lang="es-ES" sz="1600" b="1" i="1" dirty="0">
                <a:solidFill>
                  <a:srgbClr val="FFFFFF"/>
                </a:solidFill>
              </a:rPr>
              <a:t>Alcance y composición</a:t>
            </a:r>
          </a:p>
        </p:txBody>
      </p:sp>
      <p:sp>
        <p:nvSpPr>
          <p:cNvPr id="5" name="Rectangle 4"/>
          <p:cNvSpPr/>
          <p:nvPr/>
        </p:nvSpPr>
        <p:spPr>
          <a:xfrm>
            <a:off x="2525713" y="4024659"/>
            <a:ext cx="6521450" cy="2500685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105313" indent="-105313" defTabSz="91440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cs typeface="Arial" charset="0"/>
              </a:rPr>
              <a:t>Recibe el apoyo del Economato y del Consejo de Misión.</a:t>
            </a:r>
          </a:p>
          <a:p>
            <a:pPr marL="105313" indent="-105313" defTabSz="91440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cs typeface="Arial" charset="0"/>
              </a:rPr>
              <a:t>Aprueba el </a:t>
            </a:r>
            <a:r>
              <a:rPr lang="es-ES" sz="1300" b="1" dirty="0">
                <a:solidFill>
                  <a:srgbClr val="000000"/>
                </a:solidFill>
                <a:cs typeface="Arial" charset="0"/>
              </a:rPr>
              <a:t>plan estratégico elaborado por el Consejo de Misión</a:t>
            </a:r>
            <a:r>
              <a:rPr lang="es-ES" sz="1300" dirty="0">
                <a:solidFill>
                  <a:srgbClr val="000000"/>
                </a:solidFill>
                <a:cs typeface="Arial" charset="0"/>
              </a:rPr>
              <a:t>. </a:t>
            </a:r>
            <a:endParaRPr lang="es-ES" sz="1300" b="1" dirty="0">
              <a:solidFill>
                <a:srgbClr val="000000"/>
              </a:solidFill>
              <a:cs typeface="Arial" charset="0"/>
            </a:endParaRPr>
          </a:p>
          <a:p>
            <a:pPr marL="105313" indent="-105313" defTabSz="91440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cs typeface="Arial" charset="0"/>
              </a:rPr>
              <a:t>Puede establecer </a:t>
            </a:r>
            <a:r>
              <a:rPr lang="es-ES" sz="1300" b="1" dirty="0">
                <a:solidFill>
                  <a:srgbClr val="000000"/>
                </a:solidFill>
                <a:cs typeface="Arial" charset="0"/>
              </a:rPr>
              <a:t>comités</a:t>
            </a:r>
            <a:r>
              <a:rPr lang="es-ES" sz="1300" dirty="0">
                <a:solidFill>
                  <a:srgbClr val="000000"/>
                </a:solidFill>
                <a:cs typeface="Arial" charset="0"/>
              </a:rPr>
              <a:t> para supervisar cuestiones clave que se han identificado y definir temas cuando se requieren competencias , </a:t>
            </a:r>
            <a:r>
              <a:rPr lang="es-ES" sz="1300" dirty="0" smtClean="0">
                <a:solidFill>
                  <a:srgbClr val="000000"/>
                </a:solidFill>
                <a:cs typeface="Arial" charset="0"/>
              </a:rPr>
              <a:t>conocimientos </a:t>
            </a:r>
            <a:r>
              <a:rPr lang="es-ES" sz="1300" dirty="0">
                <a:solidFill>
                  <a:srgbClr val="000000"/>
                </a:solidFill>
                <a:cs typeface="Arial" charset="0"/>
              </a:rPr>
              <a:t>o dedicación específicos. Los miembros del comité pueden ser Hermanos o Laicos, de acuerdo con las necesidades y disponibilidad.</a:t>
            </a:r>
          </a:p>
          <a:p>
            <a:pPr marL="105313" indent="-105313" defTabSz="91440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cs typeface="Arial" charset="0"/>
              </a:rPr>
              <a:t>Garantiza </a:t>
            </a:r>
            <a:r>
              <a:rPr lang="es-ES" sz="1300" b="1" dirty="0">
                <a:solidFill>
                  <a:srgbClr val="000000"/>
                </a:solidFill>
                <a:cs typeface="Arial" charset="0"/>
              </a:rPr>
              <a:t>el gobierno eficaz de todo el Instituto</a:t>
            </a:r>
            <a:r>
              <a:rPr lang="es-ES" sz="1300" dirty="0">
                <a:solidFill>
                  <a:srgbClr val="000000"/>
                </a:solidFill>
                <a:cs typeface="Arial" charset="0"/>
              </a:rPr>
              <a:t>.</a:t>
            </a:r>
            <a:endParaRPr lang="es-ES" sz="1300" b="1" dirty="0">
              <a:solidFill>
                <a:srgbClr val="000000"/>
              </a:solidFill>
              <a:cs typeface="Arial" charset="0"/>
            </a:endParaRPr>
          </a:p>
          <a:p>
            <a:pPr marL="105313" indent="-105313" defTabSz="91440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 smtClean="0">
                <a:solidFill>
                  <a:srgbClr val="000000"/>
                </a:solidFill>
                <a:cs typeface="Arial" charset="0"/>
              </a:rPr>
              <a:t>Tiene </a:t>
            </a:r>
            <a:r>
              <a:rPr lang="es-ES" sz="1300" b="1" dirty="0">
                <a:solidFill>
                  <a:srgbClr val="000000"/>
                </a:solidFill>
                <a:cs typeface="Arial" charset="0"/>
              </a:rPr>
              <a:t>una visión de conjunto</a:t>
            </a:r>
            <a:r>
              <a:rPr lang="es-ES" sz="1300" dirty="0">
                <a:solidFill>
                  <a:srgbClr val="000000"/>
                </a:solidFill>
                <a:cs typeface="Arial" charset="0"/>
              </a:rPr>
              <a:t> de todos los aspectos de la Misión y de su desarrollo mediante informes de control y seguimiento. Interviene de forma excepcional.</a:t>
            </a:r>
          </a:p>
          <a:p>
            <a:pPr marL="105313" indent="-105313" defTabSz="91440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b="1" dirty="0" smtClean="0">
                <a:solidFill>
                  <a:srgbClr val="000000"/>
                </a:solidFill>
                <a:cs typeface="Arial" charset="0"/>
              </a:rPr>
              <a:t>Toma de decisiones </a:t>
            </a:r>
            <a:r>
              <a:rPr lang="es-ES" sz="1300" b="1" dirty="0">
                <a:solidFill>
                  <a:srgbClr val="000000"/>
                </a:solidFill>
                <a:cs typeface="Arial" charset="0"/>
              </a:rPr>
              <a:t>sobre cuestiones </a:t>
            </a:r>
            <a:r>
              <a:rPr lang="es-ES" sz="1300" b="1" dirty="0" smtClean="0">
                <a:solidFill>
                  <a:srgbClr val="000000"/>
                </a:solidFill>
                <a:cs typeface="Arial" charset="0"/>
              </a:rPr>
              <a:t>que son llevadas a un nivel superior  </a:t>
            </a:r>
            <a:r>
              <a:rPr lang="es-ES" sz="1300" dirty="0">
                <a:solidFill>
                  <a:srgbClr val="000000"/>
                </a:solidFill>
                <a:cs typeface="Arial" charset="0"/>
              </a:rPr>
              <a:t>o cuando se deban tomar decisiones que representen un cambio de dirección de las estrategias convenidas.</a:t>
            </a:r>
          </a:p>
        </p:txBody>
      </p:sp>
      <p:sp>
        <p:nvSpPr>
          <p:cNvPr id="7477253" name="AutoShape 3"/>
          <p:cNvSpPr>
            <a:spLocks noChangeArrowheads="1"/>
          </p:cNvSpPr>
          <p:nvPr/>
        </p:nvSpPr>
        <p:spPr bwMode="gray">
          <a:xfrm>
            <a:off x="179388" y="4057530"/>
            <a:ext cx="2339975" cy="2467814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71120" tIns="71120" rIns="71120" bIns="7112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 i="1" dirty="0">
                <a:solidFill>
                  <a:srgbClr val="FFFFFF"/>
                </a:solidFill>
              </a:rPr>
              <a:t>Responsabilidades </a:t>
            </a:r>
            <a:r>
              <a:rPr lang="es-ES" sz="1600" b="1" i="1" dirty="0" smtClean="0">
                <a:solidFill>
                  <a:srgbClr val="FFFFFF"/>
                </a:solidFill>
              </a:rPr>
              <a:t>clave, gobernanza </a:t>
            </a:r>
            <a:r>
              <a:rPr lang="es-ES" sz="1600" b="1" i="1" dirty="0">
                <a:solidFill>
                  <a:srgbClr val="FFFFFF"/>
                </a:solidFill>
              </a:rPr>
              <a:t>y mecanismos de gestión</a:t>
            </a:r>
            <a:endParaRPr lang="en-US" sz="1600" b="1" i="1" dirty="0">
              <a:solidFill>
                <a:srgbClr val="FFFFFF"/>
              </a:solidFill>
            </a:endParaRPr>
          </a:p>
        </p:txBody>
      </p:sp>
      <p:sp>
        <p:nvSpPr>
          <p:cNvPr id="7" name="Isosceles Triangle 6"/>
          <p:cNvSpPr/>
          <p:nvPr/>
        </p:nvSpPr>
        <p:spPr>
          <a:xfrm rot="10800000">
            <a:off x="3311861" y="3744651"/>
            <a:ext cx="2305050" cy="152400"/>
          </a:xfrm>
          <a:prstGeom prst="triangl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6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77255" name="RunningHead"/>
          <p:cNvSpPr txBox="1">
            <a:spLocks noChangeArrowheads="1"/>
          </p:cNvSpPr>
          <p:nvPr/>
        </p:nvSpPr>
        <p:spPr bwMode="gray">
          <a:xfrm>
            <a:off x="6891338" y="139700"/>
            <a:ext cx="2000250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MX" sz="1200" dirty="0">
                <a:solidFill>
                  <a:srgbClr val="000000"/>
                </a:solidFill>
              </a:rPr>
              <a:t>¿Estamos bien organizados?</a:t>
            </a:r>
          </a:p>
        </p:txBody>
      </p:sp>
    </p:spTree>
    <p:extLst>
      <p:ext uri="{BB962C8B-B14F-4D97-AF65-F5344CB8AC3E}">
        <p14:creationId xmlns:p14="http://schemas.microsoft.com/office/powerpoint/2010/main" val="81697678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9347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516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9348" name="Title 1"/>
          <p:cNvSpPr>
            <a:spLocks noGrp="1"/>
          </p:cNvSpPr>
          <p:nvPr>
            <p:ph type="title"/>
          </p:nvPr>
        </p:nvSpPr>
        <p:spPr>
          <a:xfrm>
            <a:off x="244476" y="804863"/>
            <a:ext cx="8150588" cy="664797"/>
          </a:xfrm>
        </p:spPr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… el Consejo de Misión se centrará en la gestión diaria de la Misión, de acuerdo con su autoridad delegada… </a:t>
            </a:r>
          </a:p>
        </p:txBody>
      </p:sp>
      <p:sp>
        <p:nvSpPr>
          <p:cNvPr id="3" name="Rectangle 2"/>
          <p:cNvSpPr/>
          <p:nvPr/>
        </p:nvSpPr>
        <p:spPr>
          <a:xfrm>
            <a:off x="2519363" y="1788575"/>
            <a:ext cx="6408737" cy="1330621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112713" indent="-112713" defTabSz="914400">
              <a:lnSpc>
                <a:spcPct val="90000"/>
              </a:lnSpc>
              <a:spcBef>
                <a:spcPts val="4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_tradnl" sz="1300" b="1" dirty="0">
                <a:solidFill>
                  <a:srgbClr val="000000"/>
                </a:solidFill>
                <a:cs typeface="Arial" charset="0"/>
              </a:rPr>
              <a:t>Órgano </a:t>
            </a:r>
            <a:r>
              <a:rPr lang="es-ES_tradnl" sz="1300" b="1" dirty="0" smtClean="0">
                <a:solidFill>
                  <a:srgbClr val="000000"/>
                </a:solidFill>
                <a:cs typeface="Arial" charset="0"/>
              </a:rPr>
              <a:t>responsable de la </a:t>
            </a:r>
            <a:r>
              <a:rPr lang="es-ES_tradnl" sz="1300" b="1" dirty="0">
                <a:solidFill>
                  <a:srgbClr val="000000"/>
                </a:solidFill>
                <a:cs typeface="Arial" charset="0"/>
              </a:rPr>
              <a:t>toma de decisiones </a:t>
            </a:r>
            <a:r>
              <a:rPr lang="es-ES_tradnl" sz="1300" b="1" dirty="0" smtClean="0">
                <a:solidFill>
                  <a:srgbClr val="000000"/>
                </a:solidFill>
                <a:cs typeface="Arial" charset="0"/>
              </a:rPr>
              <a:t>para </a:t>
            </a:r>
            <a:r>
              <a:rPr lang="es-ES_tradnl" sz="1300" b="1" dirty="0">
                <a:solidFill>
                  <a:srgbClr val="000000"/>
                </a:solidFill>
                <a:cs typeface="Arial" charset="0"/>
              </a:rPr>
              <a:t>la Misión y </a:t>
            </a:r>
            <a:r>
              <a:rPr lang="es-ES_tradnl" sz="1300" b="1" dirty="0" smtClean="0">
                <a:solidFill>
                  <a:srgbClr val="000000"/>
                </a:solidFill>
                <a:cs typeface="Arial" charset="0"/>
              </a:rPr>
              <a:t>asesor del </a:t>
            </a:r>
            <a:r>
              <a:rPr lang="es-ES_tradnl" sz="1300" b="1" dirty="0">
                <a:solidFill>
                  <a:srgbClr val="000000"/>
                </a:solidFill>
                <a:cs typeface="Arial" charset="0"/>
              </a:rPr>
              <a:t>Consejo General.</a:t>
            </a:r>
          </a:p>
          <a:p>
            <a:pPr marL="112713" indent="-112713" defTabSz="914400">
              <a:lnSpc>
                <a:spcPct val="90000"/>
              </a:lnSpc>
              <a:spcBef>
                <a:spcPts val="4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_tradnl" sz="1300" b="1" dirty="0">
                <a:solidFill>
                  <a:srgbClr val="000000"/>
                </a:solidFill>
                <a:cs typeface="Arial" charset="0"/>
              </a:rPr>
              <a:t>Compuesto de Hermanos y </a:t>
            </a:r>
            <a:r>
              <a:rPr lang="es-ES_tradnl" sz="1300" b="1" dirty="0" smtClean="0">
                <a:solidFill>
                  <a:srgbClr val="000000"/>
                </a:solidFill>
                <a:cs typeface="Arial" charset="0"/>
              </a:rPr>
              <a:t>Laicos (hombres y mujeres): </a:t>
            </a:r>
            <a:endParaRPr lang="es-ES_tradnl" sz="1300" b="1" dirty="0">
              <a:solidFill>
                <a:srgbClr val="000000"/>
              </a:solidFill>
              <a:cs typeface="Arial" charset="0"/>
            </a:endParaRPr>
          </a:p>
          <a:p>
            <a:pPr marL="251581" lvl="1" indent="-146268" defTabSz="914400">
              <a:lnSpc>
                <a:spcPct val="90000"/>
              </a:lnSpc>
              <a:spcBef>
                <a:spcPts val="4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_tradnl" sz="1300" dirty="0">
                <a:solidFill>
                  <a:srgbClr val="000000"/>
                </a:solidFill>
                <a:cs typeface="Arial" charset="0"/>
              </a:rPr>
              <a:t>3 miembros del Instituto Marista nombrados por el Consejo General, 2 miembros de las otras entidades civiles y canónicas asociadas, </a:t>
            </a:r>
            <a:r>
              <a:rPr lang="es-ES_tradnl" sz="1300" dirty="0" smtClean="0">
                <a:solidFill>
                  <a:srgbClr val="000000"/>
                </a:solidFill>
                <a:cs typeface="Arial" charset="0"/>
              </a:rPr>
              <a:t>5/6 </a:t>
            </a:r>
            <a:r>
              <a:rPr lang="es-ES_tradnl" sz="1300" dirty="0">
                <a:solidFill>
                  <a:srgbClr val="000000"/>
                </a:solidFill>
                <a:cs typeface="Arial" charset="0"/>
              </a:rPr>
              <a:t>miembros representantes de los Consejos </a:t>
            </a:r>
            <a:r>
              <a:rPr lang="es-ES_tradnl" sz="1300" dirty="0" smtClean="0">
                <a:solidFill>
                  <a:srgbClr val="000000"/>
                </a:solidFill>
                <a:cs typeface="Arial" charset="0"/>
              </a:rPr>
              <a:t>Regionales de Misión. </a:t>
            </a:r>
            <a:endParaRPr lang="es-ES_tradnl" sz="13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39350" name="AutoShape 3"/>
          <p:cNvSpPr>
            <a:spLocks noChangeArrowheads="1"/>
          </p:cNvSpPr>
          <p:nvPr/>
        </p:nvSpPr>
        <p:spPr bwMode="gray">
          <a:xfrm>
            <a:off x="185738" y="1788575"/>
            <a:ext cx="2297112" cy="1209675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71120" tIns="71120" rIns="71120" bIns="71120" anchor="ctr"/>
          <a:lstStyle/>
          <a:p>
            <a:pPr eaLnBrk="0" hangingPunct="0">
              <a:lnSpc>
                <a:spcPct val="90000"/>
              </a:lnSpc>
            </a:pPr>
            <a:r>
              <a:rPr lang="es-ES" sz="1600" b="1" i="1" dirty="0">
                <a:solidFill>
                  <a:srgbClr val="FFFFFF"/>
                </a:solidFill>
              </a:rPr>
              <a:t>Alcance y composición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79388" y="3144552"/>
            <a:ext cx="8742362" cy="2552700"/>
            <a:chOff x="179388" y="3144552"/>
            <a:chExt cx="8742362" cy="2552700"/>
          </a:xfrm>
        </p:grpSpPr>
        <p:sp>
          <p:nvSpPr>
            <p:cNvPr id="5" name="Rectangle 4"/>
            <p:cNvSpPr/>
            <p:nvPr/>
          </p:nvSpPr>
          <p:spPr>
            <a:xfrm>
              <a:off x="2514600" y="3144552"/>
              <a:ext cx="6407150" cy="255270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>
              <a:spAutoFit/>
            </a:bodyPr>
            <a:lstStyle/>
            <a:p>
              <a:pPr marL="96838" indent="-96838" defTabSz="914400">
                <a:lnSpc>
                  <a:spcPct val="90000"/>
                </a:lnSpc>
                <a:spcBef>
                  <a:spcPts val="4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_tradnl" sz="1300" dirty="0">
                  <a:solidFill>
                    <a:srgbClr val="000000"/>
                  </a:solidFill>
                  <a:cs typeface="Arial" charset="0"/>
                </a:rPr>
                <a:t>A cargo de la </a:t>
              </a:r>
              <a:r>
                <a:rPr lang="es-ES_tradnl" sz="1300" b="1" dirty="0">
                  <a:solidFill>
                    <a:srgbClr val="000000"/>
                  </a:solidFill>
                  <a:cs typeface="Arial" charset="0"/>
                </a:rPr>
                <a:t>planificación estratégica </a:t>
              </a:r>
              <a:r>
                <a:rPr lang="es-ES_tradnl" sz="1300" dirty="0">
                  <a:solidFill>
                    <a:srgbClr val="000000"/>
                  </a:solidFill>
                  <a:cs typeface="Arial" charset="0"/>
                </a:rPr>
                <a:t>que debe ser aprobada por el Consejo General.</a:t>
              </a:r>
            </a:p>
            <a:p>
              <a:pPr marL="96838" indent="-96838" defTabSz="914400">
                <a:lnSpc>
                  <a:spcPct val="90000"/>
                </a:lnSpc>
                <a:spcBef>
                  <a:spcPts val="4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_tradnl" sz="1300" dirty="0">
                  <a:solidFill>
                    <a:srgbClr val="000000"/>
                  </a:solidFill>
                  <a:cs typeface="Arial" charset="0"/>
                </a:rPr>
                <a:t>Preside las </a:t>
              </a:r>
              <a:r>
                <a:rPr lang="es-ES_tradnl" sz="1300" b="1" dirty="0">
                  <a:solidFill>
                    <a:srgbClr val="000000"/>
                  </a:solidFill>
                  <a:cs typeface="Arial" charset="0"/>
                </a:rPr>
                <a:t>operaciones </a:t>
              </a:r>
              <a:r>
                <a:rPr lang="es-ES_tradnl" sz="1300" b="1" dirty="0" smtClean="0">
                  <a:solidFill>
                    <a:srgbClr val="000000"/>
                  </a:solidFill>
                  <a:cs typeface="Arial" charset="0"/>
                </a:rPr>
                <a:t>del día </a:t>
              </a:r>
              <a:r>
                <a:rPr lang="es-ES_tradnl" sz="1300" b="1" dirty="0">
                  <a:solidFill>
                    <a:srgbClr val="000000"/>
                  </a:solidFill>
                  <a:cs typeface="Arial" charset="0"/>
                </a:rPr>
                <a:t>a día de la organización y los proyectos específicos</a:t>
              </a:r>
              <a:r>
                <a:rPr lang="es-ES_tradnl" sz="1300" dirty="0">
                  <a:solidFill>
                    <a:srgbClr val="000000"/>
                  </a:solidFill>
                  <a:cs typeface="Arial" charset="0"/>
                </a:rPr>
                <a:t> (con el mandato del Consejo General).</a:t>
              </a:r>
            </a:p>
            <a:p>
              <a:pPr marL="96838" indent="-96838" defTabSz="914400">
                <a:lnSpc>
                  <a:spcPct val="90000"/>
                </a:lnSpc>
                <a:spcBef>
                  <a:spcPts val="4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_tradnl" sz="1300" dirty="0">
                  <a:solidFill>
                    <a:srgbClr val="000000"/>
                  </a:solidFill>
                  <a:cs typeface="Arial" charset="0"/>
                </a:rPr>
                <a:t>Coordina la </a:t>
              </a:r>
              <a:r>
                <a:rPr lang="es-ES_tradnl" sz="1300" b="1" dirty="0">
                  <a:solidFill>
                    <a:srgbClr val="000000"/>
                  </a:solidFill>
                  <a:cs typeface="Arial" charset="0"/>
                </a:rPr>
                <a:t>colaboración entre Regiones </a:t>
              </a:r>
              <a:r>
                <a:rPr lang="es-ES_tradnl" sz="1300" dirty="0">
                  <a:solidFill>
                    <a:srgbClr val="000000"/>
                  </a:solidFill>
                  <a:cs typeface="Arial" charset="0"/>
                </a:rPr>
                <a:t>y lleva a cabo el gobierno global de la Misión.</a:t>
              </a:r>
            </a:p>
            <a:p>
              <a:pPr marL="96838" indent="-96838" defTabSz="914400">
                <a:lnSpc>
                  <a:spcPct val="90000"/>
                </a:lnSpc>
                <a:spcBef>
                  <a:spcPts val="4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_tradnl" sz="1300" b="1" dirty="0">
                  <a:solidFill>
                    <a:srgbClr val="000000"/>
                  </a:solidFill>
                  <a:cs typeface="Arial" charset="0"/>
                </a:rPr>
                <a:t>Cada miembro / grupo de miembros tiene responsabilidades funcionales específicas con respecto a la Misión </a:t>
              </a:r>
              <a:r>
                <a:rPr lang="es-ES_tradnl" sz="1300" dirty="0" smtClean="0">
                  <a:solidFill>
                    <a:srgbClr val="000000"/>
                  </a:solidFill>
                  <a:cs typeface="Arial" charset="0"/>
                </a:rPr>
                <a:t>(economía</a:t>
              </a:r>
              <a:r>
                <a:rPr lang="es-ES_tradnl" sz="1300" dirty="0">
                  <a:solidFill>
                    <a:srgbClr val="000000"/>
                  </a:solidFill>
                  <a:cs typeface="Arial" charset="0"/>
                </a:rPr>
                <a:t>, </a:t>
              </a:r>
              <a:r>
                <a:rPr lang="es-ES_tradnl" sz="1300" dirty="0" smtClean="0">
                  <a:solidFill>
                    <a:srgbClr val="000000"/>
                  </a:solidFill>
                  <a:cs typeface="Arial" charset="0"/>
                </a:rPr>
                <a:t>personal</a:t>
              </a:r>
              <a:r>
                <a:rPr lang="es-ES_tradnl" sz="1300" dirty="0">
                  <a:solidFill>
                    <a:srgbClr val="000000"/>
                  </a:solidFill>
                  <a:cs typeface="Arial" charset="0"/>
                </a:rPr>
                <a:t>, </a:t>
              </a:r>
              <a:r>
                <a:rPr lang="es-ES_tradnl" sz="1300" dirty="0" smtClean="0">
                  <a:solidFill>
                    <a:srgbClr val="000000"/>
                  </a:solidFill>
                  <a:cs typeface="Arial" charset="0"/>
                </a:rPr>
                <a:t>herramientas,…).</a:t>
              </a:r>
              <a:endParaRPr lang="es-ES_tradnl" sz="1300" dirty="0">
                <a:solidFill>
                  <a:srgbClr val="000000"/>
                </a:solidFill>
                <a:cs typeface="Arial" charset="0"/>
              </a:endParaRPr>
            </a:p>
            <a:p>
              <a:pPr marL="96838" indent="-96838" defTabSz="914400">
                <a:lnSpc>
                  <a:spcPct val="90000"/>
                </a:lnSpc>
                <a:spcBef>
                  <a:spcPts val="4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_tradnl" sz="1300" dirty="0">
                  <a:solidFill>
                    <a:srgbClr val="000000"/>
                  </a:solidFill>
                  <a:cs typeface="Arial" charset="0"/>
                </a:rPr>
                <a:t>Identificar, gestionar y </a:t>
              </a:r>
              <a:r>
                <a:rPr lang="es-ES_tradnl" sz="1300" b="1" dirty="0">
                  <a:solidFill>
                    <a:srgbClr val="000000"/>
                  </a:solidFill>
                  <a:cs typeface="Arial" charset="0"/>
                </a:rPr>
                <a:t>monitorear los riesgos clave en estrecha colaboración con el Economato y el área de Vocación Marista. </a:t>
              </a:r>
            </a:p>
            <a:p>
              <a:pPr marL="96838" indent="-96838" defTabSz="914400">
                <a:lnSpc>
                  <a:spcPct val="90000"/>
                </a:lnSpc>
                <a:spcBef>
                  <a:spcPts val="4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_tradnl" sz="1300" b="1" dirty="0">
                  <a:solidFill>
                    <a:srgbClr val="000000"/>
                  </a:solidFill>
                  <a:cs typeface="Arial" charset="0"/>
                </a:rPr>
                <a:t>Información</a:t>
              </a:r>
              <a:r>
                <a:rPr lang="es-ES_tradnl" sz="1300" dirty="0">
                  <a:solidFill>
                    <a:srgbClr val="000000"/>
                  </a:solidFill>
                  <a:cs typeface="Arial" charset="0"/>
                </a:rPr>
                <a:t> periódica a un órgano de gobierno mixto compuesto </a:t>
              </a:r>
              <a:r>
                <a:rPr lang="es-ES_tradnl" sz="1300" dirty="0" smtClean="0">
                  <a:solidFill>
                    <a:srgbClr val="000000"/>
                  </a:solidFill>
                  <a:cs typeface="Arial" charset="0"/>
                </a:rPr>
                <a:t>por representantes </a:t>
              </a:r>
              <a:r>
                <a:rPr lang="es-ES_tradnl" sz="1300" dirty="0">
                  <a:solidFill>
                    <a:srgbClr val="000000"/>
                  </a:solidFill>
                  <a:cs typeface="Arial" charset="0"/>
                </a:rPr>
                <a:t>del Consejo General y representantes de Regiones.</a:t>
              </a:r>
            </a:p>
          </p:txBody>
        </p:sp>
        <p:sp>
          <p:nvSpPr>
            <p:cNvPr id="739352" name="AutoShape 3"/>
            <p:cNvSpPr>
              <a:spLocks noChangeArrowheads="1"/>
            </p:cNvSpPr>
            <p:nvPr/>
          </p:nvSpPr>
          <p:spPr bwMode="gray">
            <a:xfrm>
              <a:off x="179388" y="3144552"/>
              <a:ext cx="2303462" cy="2332038"/>
            </a:xfrm>
            <a:prstGeom prst="homePlate">
              <a:avLst>
                <a:gd name="adj" fmla="val 0"/>
              </a:avLst>
            </a:prstGeom>
            <a:solidFill>
              <a:schemeClr val="bg2"/>
            </a:solidFill>
            <a:ln w="6350">
              <a:noFill/>
              <a:miter lim="800000"/>
              <a:headEnd/>
              <a:tailEnd/>
            </a:ln>
          </p:spPr>
          <p:txBody>
            <a:bodyPr lIns="71120" tIns="71120" rIns="71120" bIns="71120" anchor="ctr"/>
            <a:lstStyle/>
            <a:p>
              <a:pPr defTabSz="914400" eaLnBrk="0" hangingPunct="0">
                <a:lnSpc>
                  <a:spcPct val="90000"/>
                </a:lnSpc>
              </a:pPr>
              <a:r>
                <a:rPr lang="es-ES" sz="1600" b="1" i="1" dirty="0">
                  <a:solidFill>
                    <a:srgbClr val="FFFFFF"/>
                  </a:solidFill>
                </a:rPr>
                <a:t>Responsabilidades clave y gobernanza y mecanismos de gestión</a:t>
              </a:r>
              <a:endParaRPr lang="en-US" sz="1600" b="1" i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179388" y="5662834"/>
            <a:ext cx="8742362" cy="970522"/>
            <a:chOff x="179388" y="5662834"/>
            <a:chExt cx="8742362" cy="970522"/>
          </a:xfrm>
        </p:grpSpPr>
        <p:sp>
          <p:nvSpPr>
            <p:cNvPr id="7" name="Rectangle 6"/>
            <p:cNvSpPr/>
            <p:nvPr/>
          </p:nvSpPr>
          <p:spPr>
            <a:xfrm>
              <a:off x="2514600" y="5662834"/>
              <a:ext cx="6407150" cy="97052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>
              <a:spAutoFit/>
            </a:bodyPr>
            <a:lstStyle/>
            <a:p>
              <a:pPr marL="97200" indent="-97200" defTabSz="914400">
                <a:lnSpc>
                  <a:spcPct val="90000"/>
                </a:lnSpc>
                <a:spcBef>
                  <a:spcPts val="4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_tradnl" sz="1300" dirty="0">
                  <a:solidFill>
                    <a:srgbClr val="000000"/>
                  </a:solidFill>
                  <a:cs typeface="Arial" charset="0"/>
                </a:rPr>
                <a:t>Consejo General, vocación Marista y el Economato.</a:t>
              </a:r>
            </a:p>
            <a:p>
              <a:pPr marL="97200" indent="-97200" defTabSz="914400">
                <a:lnSpc>
                  <a:spcPct val="90000"/>
                </a:lnSpc>
                <a:spcBef>
                  <a:spcPts val="4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_tradnl" sz="1300" b="1" dirty="0">
                  <a:solidFill>
                    <a:srgbClr val="000000"/>
                  </a:solidFill>
                  <a:cs typeface="Arial" charset="0"/>
                </a:rPr>
                <a:t>Regiones</a:t>
              </a:r>
              <a:r>
                <a:rPr lang="es-ES_tradnl" sz="1300" dirty="0">
                  <a:solidFill>
                    <a:srgbClr val="000000"/>
                  </a:solidFill>
                  <a:cs typeface="Arial" charset="0"/>
                </a:rPr>
                <a:t> (también para enriquecimiento mutuo).</a:t>
              </a:r>
            </a:p>
            <a:p>
              <a:pPr marL="97200" indent="-97200" defTabSz="914400">
                <a:lnSpc>
                  <a:spcPct val="90000"/>
                </a:lnSpc>
                <a:spcBef>
                  <a:spcPts val="4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_tradnl" sz="1300" dirty="0" smtClean="0">
                  <a:solidFill>
                    <a:srgbClr val="000000"/>
                  </a:solidFill>
                  <a:cs typeface="Arial" charset="0"/>
                </a:rPr>
                <a:t>Otras </a:t>
              </a:r>
              <a:r>
                <a:rPr lang="es-ES_tradnl" sz="1300" dirty="0">
                  <a:solidFill>
                    <a:srgbClr val="000000"/>
                  </a:solidFill>
                  <a:cs typeface="Arial" charset="0"/>
                </a:rPr>
                <a:t>Instituciones similares externas (iniciativas de colaboración a ser planeadas y monitoreadas, evitar duplicaciones…) y otras entidades legales</a:t>
              </a:r>
              <a:r>
                <a:rPr lang="es-ES_tradnl" sz="1300" dirty="0" smtClean="0">
                  <a:solidFill>
                    <a:srgbClr val="000000"/>
                  </a:solidFill>
                  <a:cs typeface="Arial" charset="0"/>
                </a:rPr>
                <a:t>.</a:t>
              </a:r>
              <a:endParaRPr lang="es-ES_tradnl" sz="13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739354" name="AutoShape 3"/>
            <p:cNvSpPr>
              <a:spLocks noChangeArrowheads="1"/>
            </p:cNvSpPr>
            <p:nvPr/>
          </p:nvSpPr>
          <p:spPr bwMode="gray">
            <a:xfrm>
              <a:off x="179388" y="5662834"/>
              <a:ext cx="2303462" cy="936625"/>
            </a:xfrm>
            <a:prstGeom prst="homePlate">
              <a:avLst>
                <a:gd name="adj" fmla="val 0"/>
              </a:avLst>
            </a:prstGeom>
            <a:solidFill>
              <a:schemeClr val="bg2"/>
            </a:solidFill>
            <a:ln w="6350">
              <a:noFill/>
              <a:miter lim="800000"/>
              <a:headEnd/>
              <a:tailEnd/>
            </a:ln>
          </p:spPr>
          <p:txBody>
            <a:bodyPr lIns="71120" tIns="71120" rIns="71120" bIns="71120" anchor="ctr"/>
            <a:lstStyle/>
            <a:p>
              <a:pPr defTabSz="914400" eaLnBrk="0" hangingPunct="0">
                <a:lnSpc>
                  <a:spcPct val="90000"/>
                </a:lnSpc>
              </a:pPr>
              <a:r>
                <a:rPr lang="es-ES_tradnl" sz="1600" b="1" i="1">
                  <a:solidFill>
                    <a:srgbClr val="FFFFFF"/>
                  </a:solidFill>
                </a:rPr>
                <a:t>Coordinación y trabajo en red</a:t>
              </a:r>
            </a:p>
          </p:txBody>
        </p:sp>
      </p:grpSp>
      <p:sp>
        <p:nvSpPr>
          <p:cNvPr id="739355" name="RunningHead"/>
          <p:cNvSpPr txBox="1">
            <a:spLocks noChangeArrowheads="1"/>
          </p:cNvSpPr>
          <p:nvPr/>
        </p:nvSpPr>
        <p:spPr bwMode="gray">
          <a:xfrm>
            <a:off x="6891338" y="139700"/>
            <a:ext cx="2000250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MX" sz="1200" dirty="0">
                <a:solidFill>
                  <a:srgbClr val="000000"/>
                </a:solidFill>
              </a:rPr>
              <a:t>¿Estamos bien organizados?</a:t>
            </a:r>
          </a:p>
        </p:txBody>
      </p:sp>
    </p:spTree>
    <p:extLst>
      <p:ext uri="{BB962C8B-B14F-4D97-AF65-F5344CB8AC3E}">
        <p14:creationId xmlns:p14="http://schemas.microsoft.com/office/powerpoint/2010/main" val="159156442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0371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4393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618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0372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899525" cy="997196"/>
          </a:xfrm>
        </p:spPr>
        <p:txBody>
          <a:bodyPr/>
          <a:lstStyle/>
          <a:p>
            <a:pPr eaLnBrk="1" hangingPunct="1"/>
            <a:r>
              <a:rPr lang="en-US" dirty="0" smtClean="0">
                <a:latin typeface="Arial" charset="0"/>
                <a:cs typeface="Arial" charset="0"/>
              </a:rPr>
              <a:t>… </a:t>
            </a:r>
            <a:r>
              <a:rPr lang="es-ES" dirty="0" smtClean="0">
                <a:latin typeface="Arial" charset="0"/>
                <a:cs typeface="Arial" charset="0"/>
              </a:rPr>
              <a:t>y el Economato estará a cargo de controlar la asignación adecuada de recursos y de preservar la sostenibilidad del Instituto a largo plazo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79388" y="3771941"/>
            <a:ext cx="8786812" cy="1984524"/>
            <a:chOff x="179388" y="3771941"/>
            <a:chExt cx="8786812" cy="1984524"/>
          </a:xfrm>
        </p:grpSpPr>
        <p:sp>
          <p:nvSpPr>
            <p:cNvPr id="740374" name="AutoShape 3"/>
            <p:cNvSpPr>
              <a:spLocks noChangeArrowheads="1"/>
            </p:cNvSpPr>
            <p:nvPr/>
          </p:nvSpPr>
          <p:spPr bwMode="gray">
            <a:xfrm>
              <a:off x="179388" y="3771941"/>
              <a:ext cx="2339975" cy="1984524"/>
            </a:xfrm>
            <a:prstGeom prst="homePlate">
              <a:avLst>
                <a:gd name="adj" fmla="val 0"/>
              </a:avLst>
            </a:prstGeom>
            <a:solidFill>
              <a:schemeClr val="bg2"/>
            </a:solidFill>
            <a:ln w="6350">
              <a:noFill/>
              <a:miter lim="800000"/>
              <a:headEnd/>
              <a:tailEnd/>
            </a:ln>
          </p:spPr>
          <p:txBody>
            <a:bodyPr lIns="71120" tIns="71120" rIns="71120" bIns="71120" anchor="ctr"/>
            <a:lstStyle/>
            <a:p>
              <a:pPr defTabSz="914400" eaLnBrk="0" hangingPunct="0">
                <a:lnSpc>
                  <a:spcPct val="90000"/>
                </a:lnSpc>
              </a:pPr>
              <a:r>
                <a:rPr lang="es-ES" sz="1600" b="1" i="1" dirty="0">
                  <a:solidFill>
                    <a:srgbClr val="FFFFFF"/>
                  </a:solidFill>
                </a:rPr>
                <a:t>Responsabilidades </a:t>
              </a:r>
              <a:r>
                <a:rPr lang="es-ES" sz="1600" b="1" i="1" dirty="0" smtClean="0">
                  <a:solidFill>
                    <a:srgbClr val="FFFFFF"/>
                  </a:solidFill>
                </a:rPr>
                <a:t>clave, gobernanza </a:t>
              </a:r>
              <a:r>
                <a:rPr lang="es-ES" sz="1600" b="1" i="1" dirty="0">
                  <a:solidFill>
                    <a:srgbClr val="FFFFFF"/>
                  </a:solidFill>
                </a:rPr>
                <a:t>y mecanismos de gestión</a:t>
              </a:r>
              <a:endParaRPr lang="en-US" sz="1600" b="1" i="1" dirty="0">
                <a:solidFill>
                  <a:srgbClr val="FFFFFF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2559050" y="3771941"/>
              <a:ext cx="6407150" cy="1984524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>
              <a:spAutoFit/>
            </a:bodyPr>
            <a:lstStyle/>
            <a:p>
              <a:pPr marL="97200" indent="-97200" defTabSz="914400">
                <a:lnSpc>
                  <a:spcPct val="90000"/>
                </a:lnSpc>
                <a:spcBef>
                  <a:spcPts val="4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" sz="1300" dirty="0">
                  <a:solidFill>
                    <a:srgbClr val="000000"/>
                  </a:solidFill>
                  <a:cs typeface="Arial" charset="0"/>
                </a:rPr>
                <a:t>El Economato también está </a:t>
              </a:r>
              <a:r>
                <a:rPr lang="es-ES" sz="1300" b="1" dirty="0">
                  <a:solidFill>
                    <a:srgbClr val="000000"/>
                  </a:solidFill>
                  <a:cs typeface="Arial" charset="0"/>
                </a:rPr>
                <a:t>a cargo de la planificación financiera así como de la información financiera al Consejo General, trabajando en colaboración con el Consejo de Misión</a:t>
              </a:r>
              <a:r>
                <a:rPr lang="es-ES" sz="1300" dirty="0">
                  <a:solidFill>
                    <a:srgbClr val="000000"/>
                  </a:solidFill>
                  <a:cs typeface="Arial" charset="0"/>
                </a:rPr>
                <a:t>.</a:t>
              </a:r>
              <a:endParaRPr lang="es-ES" sz="1300" b="1" dirty="0">
                <a:solidFill>
                  <a:srgbClr val="000000"/>
                </a:solidFill>
                <a:cs typeface="Arial" charset="0"/>
              </a:endParaRPr>
            </a:p>
            <a:p>
              <a:pPr marL="97200" indent="-97200" defTabSz="914400">
                <a:lnSpc>
                  <a:spcPct val="90000"/>
                </a:lnSpc>
                <a:spcBef>
                  <a:spcPts val="4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" sz="1300" dirty="0">
                  <a:solidFill>
                    <a:srgbClr val="000000"/>
                  </a:solidFill>
                  <a:cs typeface="Arial" charset="0"/>
                </a:rPr>
                <a:t>El Economato es responsable de la </a:t>
              </a:r>
              <a:r>
                <a:rPr lang="es-ES" sz="1300" b="1" dirty="0">
                  <a:solidFill>
                    <a:srgbClr val="000000"/>
                  </a:solidFill>
                  <a:cs typeface="Arial" charset="0"/>
                </a:rPr>
                <a:t>protección de los bienes </a:t>
              </a:r>
              <a:r>
                <a:rPr lang="es-ES" sz="1300" dirty="0">
                  <a:solidFill>
                    <a:srgbClr val="000000"/>
                  </a:solidFill>
                  <a:cs typeface="Arial" charset="0"/>
                </a:rPr>
                <a:t>y optimización de la productividad a largo plazo.</a:t>
              </a:r>
            </a:p>
            <a:p>
              <a:pPr marL="97200" indent="-97200" defTabSz="914400">
                <a:lnSpc>
                  <a:spcPct val="90000"/>
                </a:lnSpc>
                <a:spcBef>
                  <a:spcPts val="4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" sz="1300" dirty="0">
                  <a:solidFill>
                    <a:srgbClr val="000000"/>
                  </a:solidFill>
                  <a:cs typeface="Arial" charset="0"/>
                </a:rPr>
                <a:t>El Ecónomo General es un </a:t>
              </a:r>
              <a:r>
                <a:rPr lang="es-ES" sz="1300" b="1" dirty="0">
                  <a:solidFill>
                    <a:srgbClr val="000000"/>
                  </a:solidFill>
                  <a:cs typeface="Arial" charset="0"/>
                </a:rPr>
                <a:t>asesor del Consejo General</a:t>
              </a:r>
              <a:r>
                <a:rPr lang="es-ES" sz="1300" dirty="0">
                  <a:solidFill>
                    <a:srgbClr val="000000"/>
                  </a:solidFill>
                  <a:cs typeface="Arial" charset="0"/>
                </a:rPr>
                <a:t> que participa </a:t>
              </a:r>
              <a:r>
                <a:rPr lang="es-ES" sz="1300" dirty="0" smtClean="0">
                  <a:solidFill>
                    <a:srgbClr val="000000"/>
                  </a:solidFill>
                  <a:cs typeface="Arial" charset="0"/>
                </a:rPr>
                <a:t>de </a:t>
              </a:r>
              <a:r>
                <a:rPr lang="es-ES" sz="1300" dirty="0">
                  <a:solidFill>
                    <a:srgbClr val="000000"/>
                  </a:solidFill>
                  <a:cs typeface="Arial" charset="0"/>
                </a:rPr>
                <a:t>las reuniones sin derecho </a:t>
              </a:r>
              <a:r>
                <a:rPr lang="es-ES" sz="1300" dirty="0" smtClean="0">
                  <a:solidFill>
                    <a:srgbClr val="000000"/>
                  </a:solidFill>
                  <a:cs typeface="Arial" charset="0"/>
                </a:rPr>
                <a:t>a </a:t>
              </a:r>
              <a:r>
                <a:rPr lang="es-ES" sz="1300" dirty="0">
                  <a:solidFill>
                    <a:srgbClr val="000000"/>
                  </a:solidFill>
                  <a:cs typeface="Arial" charset="0"/>
                </a:rPr>
                <a:t>voto. </a:t>
              </a:r>
            </a:p>
            <a:p>
              <a:pPr marL="97200" indent="-97200" defTabSz="914400">
                <a:lnSpc>
                  <a:spcPct val="90000"/>
                </a:lnSpc>
                <a:spcBef>
                  <a:spcPts val="4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" sz="1300" dirty="0">
                  <a:solidFill>
                    <a:srgbClr val="000000"/>
                  </a:solidFill>
                  <a:cs typeface="Arial" charset="0"/>
                </a:rPr>
                <a:t>El Economato colabora con el </a:t>
              </a:r>
              <a:r>
                <a:rPr lang="es-ES" sz="1300" b="1" dirty="0">
                  <a:solidFill>
                    <a:srgbClr val="000000"/>
                  </a:solidFill>
                  <a:cs typeface="Arial" charset="0"/>
                </a:rPr>
                <a:t>Consejo de Misión en todos los asuntos estratégicos y tácticos</a:t>
              </a:r>
              <a:r>
                <a:rPr lang="es-ES" sz="1300" dirty="0">
                  <a:solidFill>
                    <a:srgbClr val="000000"/>
                  </a:solidFill>
                  <a:cs typeface="Arial" charset="0"/>
                </a:rPr>
                <a:t> con respecto a la </a:t>
              </a:r>
              <a:r>
                <a:rPr lang="es-ES" sz="1300" b="1" dirty="0">
                  <a:solidFill>
                    <a:srgbClr val="000000"/>
                  </a:solidFill>
                  <a:cs typeface="Arial" charset="0"/>
                </a:rPr>
                <a:t>gestión del presupuesto, análisis de costes y beneficios y previsiones de necesidades</a:t>
              </a:r>
              <a:r>
                <a:rPr lang="es-ES" sz="1300" dirty="0">
                  <a:solidFill>
                    <a:srgbClr val="000000"/>
                  </a:solidFill>
                  <a:cs typeface="Arial" charset="0"/>
                </a:rPr>
                <a:t>…</a:t>
              </a:r>
            </a:p>
          </p:txBody>
        </p:sp>
      </p:grpSp>
      <p:sp>
        <p:nvSpPr>
          <p:cNvPr id="740376" name="AutoShape 3"/>
          <p:cNvSpPr>
            <a:spLocks noChangeArrowheads="1"/>
          </p:cNvSpPr>
          <p:nvPr/>
        </p:nvSpPr>
        <p:spPr bwMode="gray">
          <a:xfrm>
            <a:off x="179388" y="5876689"/>
            <a:ext cx="2339975" cy="828675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71120" tIns="71120" rIns="71120" bIns="7112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 i="1">
                <a:solidFill>
                  <a:srgbClr val="FFFFFF"/>
                </a:solidFill>
              </a:rPr>
              <a:t>Coordinación y trabajo en red</a:t>
            </a:r>
            <a:endParaRPr lang="en-US" sz="1600" b="1" i="1">
              <a:solidFill>
                <a:srgbClr val="FFFFFF"/>
              </a:solidFill>
            </a:endParaRPr>
          </a:p>
          <a:p>
            <a:pPr defTabSz="914400" eaLnBrk="0" hangingPunct="0">
              <a:lnSpc>
                <a:spcPct val="90000"/>
              </a:lnSpc>
            </a:pPr>
            <a:endParaRPr lang="en-US" sz="1600" b="1" i="1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559050" y="5876689"/>
            <a:ext cx="6407150" cy="80329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7200" indent="-9720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cs typeface="Arial" charset="0"/>
              </a:rPr>
              <a:t>Consejo General, Vocación Marista y Consejo de Misión.</a:t>
            </a:r>
          </a:p>
          <a:p>
            <a:pPr marL="97200" indent="-97200" defTabSz="91440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cs typeface="Arial" charset="0"/>
              </a:rPr>
              <a:t>Las </a:t>
            </a:r>
            <a:r>
              <a:rPr lang="es-ES" sz="1300" dirty="0" smtClean="0">
                <a:solidFill>
                  <a:srgbClr val="000000"/>
                </a:solidFill>
                <a:cs typeface="Arial" charset="0"/>
              </a:rPr>
              <a:t>Asociaciones internas </a:t>
            </a:r>
            <a:r>
              <a:rPr lang="es-ES" sz="1300" dirty="0">
                <a:solidFill>
                  <a:srgbClr val="000000"/>
                </a:solidFill>
                <a:cs typeface="Arial" charset="0"/>
              </a:rPr>
              <a:t>o </a:t>
            </a:r>
            <a:r>
              <a:rPr lang="es-ES" sz="1300" dirty="0" smtClean="0">
                <a:solidFill>
                  <a:srgbClr val="000000"/>
                </a:solidFill>
                <a:cs typeface="Arial" charset="0"/>
              </a:rPr>
              <a:t>externas </a:t>
            </a:r>
            <a:r>
              <a:rPr lang="es-ES" sz="1300" dirty="0">
                <a:solidFill>
                  <a:srgbClr val="000000"/>
                </a:solidFill>
                <a:cs typeface="Arial" charset="0"/>
              </a:rPr>
              <a:t>al </a:t>
            </a:r>
            <a:r>
              <a:rPr lang="es-ES" sz="1300" dirty="0" smtClean="0">
                <a:solidFill>
                  <a:srgbClr val="000000"/>
                </a:solidFill>
                <a:cs typeface="Arial" charset="0"/>
              </a:rPr>
              <a:t>Instituto </a:t>
            </a:r>
            <a:r>
              <a:rPr lang="es-ES" sz="1300" dirty="0">
                <a:solidFill>
                  <a:srgbClr val="000000"/>
                </a:solidFill>
                <a:cs typeface="Arial" charset="0"/>
              </a:rPr>
              <a:t>(iniciativas de colaboración </a:t>
            </a:r>
            <a:r>
              <a:rPr lang="es-ES" sz="1300" dirty="0" smtClean="0">
                <a:solidFill>
                  <a:srgbClr val="000000"/>
                </a:solidFill>
                <a:cs typeface="Arial" charset="0"/>
              </a:rPr>
              <a:t>que han de ser </a:t>
            </a:r>
            <a:r>
              <a:rPr lang="es-ES" sz="1300" dirty="0">
                <a:solidFill>
                  <a:srgbClr val="000000"/>
                </a:solidFill>
                <a:cs typeface="Arial" charset="0"/>
              </a:rPr>
              <a:t>planificadas y monitoreadas…) y otras entidades legales.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79388" y="1965141"/>
            <a:ext cx="8809037" cy="1708321"/>
            <a:chOff x="179388" y="1965141"/>
            <a:chExt cx="8809037" cy="1708321"/>
          </a:xfrm>
        </p:grpSpPr>
        <p:sp>
          <p:nvSpPr>
            <p:cNvPr id="9" name="Rectangle 8"/>
            <p:cNvSpPr/>
            <p:nvPr/>
          </p:nvSpPr>
          <p:spPr>
            <a:xfrm>
              <a:off x="2579688" y="1965141"/>
              <a:ext cx="6408737" cy="170832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>
              <a:spAutoFit/>
            </a:bodyPr>
            <a:lstStyle/>
            <a:p>
              <a:pPr marL="97200" indent="-97200" defTabSz="914400">
                <a:lnSpc>
                  <a:spcPct val="90000"/>
                </a:lnSpc>
                <a:spcBef>
                  <a:spcPts val="4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" sz="1300" dirty="0">
                  <a:solidFill>
                    <a:srgbClr val="000000"/>
                  </a:solidFill>
                  <a:cs typeface="Arial" charset="0"/>
                </a:rPr>
                <a:t>Responsable de la </a:t>
              </a:r>
              <a:r>
                <a:rPr lang="es-ES" sz="1300" b="1" dirty="0">
                  <a:solidFill>
                    <a:srgbClr val="000000"/>
                  </a:solidFill>
                  <a:cs typeface="Arial" charset="0"/>
                </a:rPr>
                <a:t>gestión de los riesgos económicos y financieros del Instituto</a:t>
              </a:r>
              <a:r>
                <a:rPr lang="es-ES" sz="1300" dirty="0">
                  <a:solidFill>
                    <a:srgbClr val="000000"/>
                  </a:solidFill>
                  <a:cs typeface="Arial" charset="0"/>
                </a:rPr>
                <a:t>.</a:t>
              </a:r>
              <a:endParaRPr lang="es-ES" sz="1300" b="1" dirty="0">
                <a:solidFill>
                  <a:srgbClr val="000000"/>
                </a:solidFill>
                <a:cs typeface="Arial" charset="0"/>
              </a:endParaRPr>
            </a:p>
            <a:p>
              <a:pPr marL="97200" indent="-97200" defTabSz="914400">
                <a:lnSpc>
                  <a:spcPct val="90000"/>
                </a:lnSpc>
                <a:spcBef>
                  <a:spcPts val="4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" sz="1300" dirty="0">
                  <a:solidFill>
                    <a:srgbClr val="000000"/>
                  </a:solidFill>
                  <a:cs typeface="Arial" charset="0"/>
                </a:rPr>
                <a:t>Actuar </a:t>
              </a:r>
              <a:r>
                <a:rPr lang="es-ES" sz="1300" dirty="0" smtClean="0">
                  <a:solidFill>
                    <a:srgbClr val="000000"/>
                  </a:solidFill>
                  <a:cs typeface="Arial" charset="0"/>
                </a:rPr>
                <a:t>con </a:t>
              </a:r>
              <a:r>
                <a:rPr lang="es-ES" sz="1300" b="1" dirty="0">
                  <a:solidFill>
                    <a:srgbClr val="000000"/>
                  </a:solidFill>
                  <a:cs typeface="Arial" charset="0"/>
                </a:rPr>
                <a:t>total transparencia</a:t>
              </a:r>
              <a:r>
                <a:rPr lang="es-ES" sz="1300" dirty="0">
                  <a:solidFill>
                    <a:srgbClr val="000000"/>
                  </a:solidFill>
                  <a:cs typeface="Arial" charset="0"/>
                </a:rPr>
                <a:t> a través y hacia todas las Regiones y Provincias del Instituto.</a:t>
              </a:r>
            </a:p>
            <a:p>
              <a:pPr marL="97200" lvl="1" indent="-97200" defTabSz="914400">
                <a:lnSpc>
                  <a:spcPct val="90000"/>
                </a:lnSpc>
                <a:spcBef>
                  <a:spcPts val="4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" sz="1300" dirty="0">
                  <a:solidFill>
                    <a:srgbClr val="000000"/>
                  </a:solidFill>
                  <a:cs typeface="Arial" charset="0"/>
                </a:rPr>
                <a:t>Llevar a cabo </a:t>
              </a:r>
              <a:r>
                <a:rPr lang="es-ES" sz="1300" b="1" dirty="0">
                  <a:solidFill>
                    <a:srgbClr val="000000"/>
                  </a:solidFill>
                  <a:cs typeface="Arial" charset="0"/>
                </a:rPr>
                <a:t>auditorias</a:t>
              </a:r>
              <a:r>
                <a:rPr lang="es-ES" sz="1300" dirty="0">
                  <a:solidFill>
                    <a:srgbClr val="000000"/>
                  </a:solidFill>
                  <a:cs typeface="Arial" charset="0"/>
                </a:rPr>
                <a:t> “Familiares” de las actividades de Misión sobre el uso correcto y evangélico de los bienes</a:t>
              </a:r>
            </a:p>
            <a:p>
              <a:pPr marL="97200" lvl="1" indent="-97200" defTabSz="914400">
                <a:lnSpc>
                  <a:spcPct val="90000"/>
                </a:lnSpc>
                <a:spcBef>
                  <a:spcPts val="4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" sz="1300" dirty="0">
                  <a:solidFill>
                    <a:srgbClr val="000000"/>
                  </a:solidFill>
                  <a:cs typeface="Arial" charset="0"/>
                </a:rPr>
                <a:t>Los miembros son nombrados por el Consejo General. </a:t>
              </a:r>
            </a:p>
            <a:p>
              <a:pPr marL="97200" lvl="1" indent="-97200" defTabSz="914400">
                <a:lnSpc>
                  <a:spcPct val="90000"/>
                </a:lnSpc>
                <a:spcBef>
                  <a:spcPts val="4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ES" sz="1300" dirty="0">
                  <a:solidFill>
                    <a:srgbClr val="000000"/>
                  </a:solidFill>
                  <a:cs typeface="Arial" charset="0"/>
                </a:rPr>
                <a:t>Apoyo estratégico económico y financiero a las Regiones y UA.</a:t>
              </a:r>
            </a:p>
          </p:txBody>
        </p:sp>
        <p:sp>
          <p:nvSpPr>
            <p:cNvPr id="740378" name="AutoShape 3"/>
            <p:cNvSpPr>
              <a:spLocks noChangeArrowheads="1"/>
            </p:cNvSpPr>
            <p:nvPr/>
          </p:nvSpPr>
          <p:spPr bwMode="gray">
            <a:xfrm>
              <a:off x="179388" y="1965141"/>
              <a:ext cx="2339975" cy="1708321"/>
            </a:xfrm>
            <a:prstGeom prst="homePlate">
              <a:avLst>
                <a:gd name="adj" fmla="val 0"/>
              </a:avLst>
            </a:prstGeom>
            <a:solidFill>
              <a:schemeClr val="bg2"/>
            </a:solidFill>
            <a:ln w="6350">
              <a:noFill/>
              <a:miter lim="800000"/>
              <a:headEnd/>
              <a:tailEnd/>
            </a:ln>
          </p:spPr>
          <p:txBody>
            <a:bodyPr lIns="71120" tIns="71120" rIns="71120" bIns="71120" anchor="ctr"/>
            <a:lstStyle/>
            <a:p>
              <a:pPr eaLnBrk="0" hangingPunct="0">
                <a:lnSpc>
                  <a:spcPct val="90000"/>
                </a:lnSpc>
              </a:pPr>
              <a:r>
                <a:rPr lang="es-ES" sz="1600" b="1" i="1" dirty="0">
                  <a:solidFill>
                    <a:srgbClr val="FFFFFF"/>
                  </a:solidFill>
                </a:rPr>
                <a:t>Alcance y composición</a:t>
              </a:r>
            </a:p>
          </p:txBody>
        </p:sp>
      </p:grpSp>
      <p:sp>
        <p:nvSpPr>
          <p:cNvPr id="740379" name="RunningHead"/>
          <p:cNvSpPr txBox="1">
            <a:spLocks noChangeArrowheads="1"/>
          </p:cNvSpPr>
          <p:nvPr/>
        </p:nvSpPr>
        <p:spPr bwMode="gray">
          <a:xfrm>
            <a:off x="6891338" y="139700"/>
            <a:ext cx="2000250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MX" sz="1200" dirty="0">
                <a:solidFill>
                  <a:srgbClr val="000000"/>
                </a:solidFill>
              </a:rPr>
              <a:t>¿Estamos bien organizados?</a:t>
            </a:r>
          </a:p>
        </p:txBody>
      </p:sp>
    </p:spTree>
    <p:extLst>
      <p:ext uri="{BB962C8B-B14F-4D97-AF65-F5344CB8AC3E}">
        <p14:creationId xmlns:p14="http://schemas.microsoft.com/office/powerpoint/2010/main" val="108520679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80321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57225"/>
          </a:xfrm>
        </p:spPr>
        <p:txBody>
          <a:bodyPr/>
          <a:lstStyle/>
          <a:p>
            <a:pPr eaLnBrk="1" hangingPunct="1"/>
            <a:r>
              <a:rPr lang="es-ES" smtClean="0">
                <a:latin typeface="Arial" charset="0"/>
                <a:cs typeface="Arial" charset="0"/>
              </a:rPr>
              <a:t>El Comité de Riesgos establecerá pautas globales para las inversiones</a:t>
            </a:r>
          </a:p>
        </p:txBody>
      </p:sp>
      <p:sp>
        <p:nvSpPr>
          <p:cNvPr id="7480322" name="TextBox 10"/>
          <p:cNvSpPr txBox="1">
            <a:spLocks noChangeArrowheads="1"/>
          </p:cNvSpPr>
          <p:nvPr/>
        </p:nvSpPr>
        <p:spPr bwMode="auto">
          <a:xfrm>
            <a:off x="244475" y="1790700"/>
            <a:ext cx="7065963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400">
              <a:lnSpc>
                <a:spcPct val="90000"/>
              </a:lnSpc>
              <a:buClr>
                <a:srgbClr val="9B1717"/>
              </a:buClr>
            </a:pPr>
            <a:r>
              <a:rPr lang="es-ES" altLang="en-US" b="1" dirty="0">
                <a:solidFill>
                  <a:srgbClr val="000000"/>
                </a:solidFill>
              </a:rPr>
              <a:t>Características – </a:t>
            </a:r>
            <a:r>
              <a:rPr lang="es-ES" altLang="en-US" b="1" dirty="0" smtClean="0">
                <a:solidFill>
                  <a:srgbClr val="000000"/>
                </a:solidFill>
              </a:rPr>
              <a:t>Cartera de valores </a:t>
            </a:r>
            <a:r>
              <a:rPr lang="es-ES" altLang="en-US" b="1" dirty="0">
                <a:solidFill>
                  <a:srgbClr val="000000"/>
                </a:solidFill>
              </a:rPr>
              <a:t>y Comité de Riesgos</a:t>
            </a:r>
          </a:p>
        </p:txBody>
      </p:sp>
      <p:sp>
        <p:nvSpPr>
          <p:cNvPr id="7480323" name="Rectangle 17"/>
          <p:cNvSpPr>
            <a:spLocks noChangeArrowheads="1"/>
          </p:cNvSpPr>
          <p:nvPr/>
        </p:nvSpPr>
        <p:spPr bwMode="auto">
          <a:xfrm>
            <a:off x="271463" y="2217738"/>
            <a:ext cx="4464050" cy="360362"/>
          </a:xfrm>
          <a:prstGeom prst="rect">
            <a:avLst/>
          </a:prstGeom>
          <a:solidFill>
            <a:schemeClr val="bg2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914400"/>
            <a:r>
              <a:rPr lang="es-ES" altLang="en-US" sz="1600" b="1">
                <a:solidFill>
                  <a:srgbClr val="FFFFFF"/>
                </a:solidFill>
              </a:rPr>
              <a:t>Objetivos</a:t>
            </a:r>
          </a:p>
        </p:txBody>
      </p:sp>
      <p:sp>
        <p:nvSpPr>
          <p:cNvPr id="7480324" name="Rounded 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1463" y="2576513"/>
            <a:ext cx="4464050" cy="1890712"/>
          </a:xfrm>
          <a:prstGeom prst="roundRect">
            <a:avLst>
              <a:gd name="adj" fmla="val 0"/>
            </a:avLst>
          </a:prstGeom>
          <a:solidFill>
            <a:srgbClr val="F5F5F5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0" tIns="72000" rIns="36000" bIns="72000"/>
          <a:lstStyle/>
          <a:p>
            <a:pPr marL="266700" indent="-177800" defTabSz="914400">
              <a:lnSpc>
                <a:spcPct val="85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altLang="en-US" sz="1400" dirty="0" smtClean="0">
                <a:solidFill>
                  <a:srgbClr val="000000"/>
                </a:solidFill>
              </a:rPr>
              <a:t>Mitigar </a:t>
            </a:r>
            <a:r>
              <a:rPr lang="es-ES" altLang="en-US" sz="1400" dirty="0">
                <a:solidFill>
                  <a:srgbClr val="000000"/>
                </a:solidFill>
              </a:rPr>
              <a:t>riesgos de la Congregación (</a:t>
            </a:r>
            <a:r>
              <a:rPr lang="es-ES" altLang="en-US" sz="1400" dirty="0" smtClean="0">
                <a:solidFill>
                  <a:srgbClr val="000000"/>
                </a:solidFill>
              </a:rPr>
              <a:t>imagen y </a:t>
            </a:r>
            <a:r>
              <a:rPr lang="es-ES" altLang="en-US" sz="1400" dirty="0">
                <a:solidFill>
                  <a:srgbClr val="000000"/>
                </a:solidFill>
              </a:rPr>
              <a:t>responsabilidades frente a leyes y finanzas).</a:t>
            </a:r>
          </a:p>
          <a:p>
            <a:pPr marL="266700" indent="-177800" defTabSz="914400">
              <a:lnSpc>
                <a:spcPct val="85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altLang="en-US" sz="1400" dirty="0">
                <a:solidFill>
                  <a:srgbClr val="000000"/>
                </a:solidFill>
              </a:rPr>
              <a:t>Establecer directrices sobre las inversiones (basadas en activos, finanzas…). </a:t>
            </a:r>
          </a:p>
          <a:p>
            <a:pPr marL="266700" indent="-177800" defTabSz="914400">
              <a:lnSpc>
                <a:spcPct val="85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altLang="en-US" sz="1400" dirty="0">
                <a:solidFill>
                  <a:srgbClr val="000000"/>
                </a:solidFill>
              </a:rPr>
              <a:t>Monitorear el perfil de riesgo de las inversiones.</a:t>
            </a:r>
          </a:p>
          <a:p>
            <a:pPr marL="266700" indent="-177800" defTabSz="914400">
              <a:lnSpc>
                <a:spcPct val="85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altLang="en-US" sz="1400" dirty="0">
                <a:solidFill>
                  <a:srgbClr val="000000"/>
                </a:solidFill>
              </a:rPr>
              <a:t>Identificar oportunidades de inversión a nivel global (de acuerdo con la Misión Global).</a:t>
            </a:r>
          </a:p>
          <a:p>
            <a:pPr marL="266700" indent="-177800" defTabSz="914400">
              <a:lnSpc>
                <a:spcPct val="85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altLang="en-US" sz="1400" dirty="0">
                <a:solidFill>
                  <a:srgbClr val="000000"/>
                </a:solidFill>
              </a:rPr>
              <a:t>Apoyar a las </a:t>
            </a:r>
            <a:r>
              <a:rPr lang="es-ES" altLang="en-US" sz="1400" dirty="0" smtClean="0">
                <a:solidFill>
                  <a:srgbClr val="000000"/>
                </a:solidFill>
              </a:rPr>
              <a:t>UA </a:t>
            </a:r>
            <a:r>
              <a:rPr lang="es-ES" altLang="en-US" sz="1400" dirty="0">
                <a:solidFill>
                  <a:srgbClr val="000000"/>
                </a:solidFill>
              </a:rPr>
              <a:t>en la evaluación de riesgos</a:t>
            </a:r>
            <a:r>
              <a:rPr lang="en-US" altLang="en-US" sz="14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7480325" name="Rectangle 17"/>
          <p:cNvSpPr>
            <a:spLocks noChangeArrowheads="1"/>
          </p:cNvSpPr>
          <p:nvPr/>
        </p:nvSpPr>
        <p:spPr bwMode="auto">
          <a:xfrm>
            <a:off x="5308600" y="2217738"/>
            <a:ext cx="3619500" cy="360362"/>
          </a:xfrm>
          <a:prstGeom prst="rect">
            <a:avLst/>
          </a:prstGeom>
          <a:solidFill>
            <a:srgbClr val="77787B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914400"/>
            <a:r>
              <a:rPr lang="es-ES" altLang="en-US" sz="1600" b="1">
                <a:solidFill>
                  <a:srgbClr val="FFFFFF"/>
                </a:solidFill>
              </a:rPr>
              <a:t>Actividades</a:t>
            </a:r>
          </a:p>
        </p:txBody>
      </p:sp>
      <p:sp>
        <p:nvSpPr>
          <p:cNvPr id="7480326" name="Rounded 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08600" y="2576513"/>
            <a:ext cx="3619500" cy="398462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0" tIns="72000" rIns="36000" bIns="72000"/>
          <a:lstStyle/>
          <a:p>
            <a:pPr marL="266700" indent="-177800" defTabSz="914400">
              <a:lnSpc>
                <a:spcPct val="85000"/>
              </a:lnSpc>
              <a:spcBef>
                <a:spcPts val="8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altLang="en-US" sz="1400" dirty="0">
                <a:solidFill>
                  <a:srgbClr val="000000"/>
                </a:solidFill>
              </a:rPr>
              <a:t>A nivel global:</a:t>
            </a:r>
          </a:p>
          <a:p>
            <a:pPr marL="266700" indent="-177800" defTabSz="914400">
              <a:lnSpc>
                <a:spcPct val="85000"/>
              </a:lnSpc>
              <a:spcBef>
                <a:spcPts val="800"/>
              </a:spcBef>
              <a:buClr>
                <a:srgbClr val="9B1717"/>
              </a:buClr>
              <a:buSzPct val="100000"/>
              <a:buFont typeface="Arial" charset="0"/>
              <a:buChar char="–"/>
            </a:pPr>
            <a:r>
              <a:rPr lang="es-ES" altLang="en-US" sz="1300" dirty="0">
                <a:solidFill>
                  <a:srgbClr val="000000"/>
                </a:solidFill>
              </a:rPr>
              <a:t>Análisis de riesgos </a:t>
            </a:r>
            <a:r>
              <a:rPr lang="es-ES" altLang="en-US" sz="1300" dirty="0" smtClean="0">
                <a:solidFill>
                  <a:srgbClr val="000000"/>
                </a:solidFill>
              </a:rPr>
              <a:t>clave </a:t>
            </a:r>
            <a:r>
              <a:rPr lang="es-ES" altLang="en-US" sz="1300" dirty="0">
                <a:solidFill>
                  <a:srgbClr val="000000"/>
                </a:solidFill>
              </a:rPr>
              <a:t>(</a:t>
            </a:r>
            <a:r>
              <a:rPr lang="es-ES" altLang="en-US" sz="1300" dirty="0" smtClean="0">
                <a:solidFill>
                  <a:srgbClr val="000000"/>
                </a:solidFill>
              </a:rPr>
              <a:t>imagen y </a:t>
            </a:r>
            <a:r>
              <a:rPr lang="es-ES" altLang="en-US" sz="1300" dirty="0">
                <a:solidFill>
                  <a:srgbClr val="000000"/>
                </a:solidFill>
              </a:rPr>
              <a:t>responsabilidades frente a las leyes y finanzas).</a:t>
            </a:r>
          </a:p>
          <a:p>
            <a:pPr marL="266700" indent="-177800" defTabSz="914400">
              <a:lnSpc>
                <a:spcPct val="85000"/>
              </a:lnSpc>
              <a:spcBef>
                <a:spcPts val="800"/>
              </a:spcBef>
              <a:buClr>
                <a:srgbClr val="9B1717"/>
              </a:buClr>
              <a:buSzPct val="100000"/>
              <a:buFont typeface="Arial" charset="0"/>
              <a:buChar char="–"/>
            </a:pPr>
            <a:r>
              <a:rPr lang="es-ES" altLang="en-US" sz="1300" dirty="0">
                <a:solidFill>
                  <a:srgbClr val="000000"/>
                </a:solidFill>
              </a:rPr>
              <a:t>Análisis de inversiones actuales. </a:t>
            </a:r>
          </a:p>
          <a:p>
            <a:pPr marL="266700" indent="-177800" defTabSz="914400">
              <a:lnSpc>
                <a:spcPct val="85000"/>
              </a:lnSpc>
              <a:spcBef>
                <a:spcPts val="800"/>
              </a:spcBef>
              <a:buClr>
                <a:srgbClr val="9B1717"/>
              </a:buClr>
              <a:buSzPct val="100000"/>
              <a:buFont typeface="Arial" charset="0"/>
              <a:buChar char="–"/>
            </a:pPr>
            <a:r>
              <a:rPr lang="es-ES" altLang="en-US" sz="1300" dirty="0">
                <a:solidFill>
                  <a:srgbClr val="000000"/>
                </a:solidFill>
              </a:rPr>
              <a:t>Identificación </a:t>
            </a:r>
            <a:r>
              <a:rPr lang="es-ES" altLang="en-US" sz="1300" dirty="0" smtClean="0">
                <a:solidFill>
                  <a:srgbClr val="000000"/>
                </a:solidFill>
              </a:rPr>
              <a:t>de los niveles </a:t>
            </a:r>
            <a:r>
              <a:rPr lang="es-ES" altLang="en-US" sz="1300" dirty="0">
                <a:solidFill>
                  <a:srgbClr val="000000"/>
                </a:solidFill>
              </a:rPr>
              <a:t>de riesgo estándar.</a:t>
            </a:r>
          </a:p>
          <a:p>
            <a:pPr marL="266700" indent="-177800" defTabSz="914400">
              <a:lnSpc>
                <a:spcPct val="85000"/>
              </a:lnSpc>
              <a:spcBef>
                <a:spcPts val="800"/>
              </a:spcBef>
              <a:buClr>
                <a:srgbClr val="9B1717"/>
              </a:buClr>
              <a:buSzPct val="100000"/>
              <a:buFont typeface="Arial" charset="0"/>
              <a:buChar char="–"/>
            </a:pPr>
            <a:r>
              <a:rPr lang="es-ES" altLang="en-US" sz="1300" dirty="0">
                <a:solidFill>
                  <a:srgbClr val="000000"/>
                </a:solidFill>
              </a:rPr>
              <a:t>Definición de proyectos </a:t>
            </a:r>
            <a:r>
              <a:rPr lang="es-ES" altLang="en-US" sz="1300" dirty="0" smtClean="0">
                <a:solidFill>
                  <a:srgbClr val="000000"/>
                </a:solidFill>
              </a:rPr>
              <a:t>que pueden generar riesgo </a:t>
            </a:r>
            <a:r>
              <a:rPr lang="es-ES" altLang="en-US" sz="1300" dirty="0">
                <a:solidFill>
                  <a:srgbClr val="000000"/>
                </a:solidFill>
              </a:rPr>
              <a:t>e identificación de acciones de </a:t>
            </a:r>
            <a:r>
              <a:rPr lang="es-ES" altLang="en-US" sz="1300" dirty="0" smtClean="0">
                <a:solidFill>
                  <a:srgbClr val="000000"/>
                </a:solidFill>
              </a:rPr>
              <a:t>mitigación.</a:t>
            </a:r>
            <a:endParaRPr lang="es-ES" altLang="en-US" sz="1300" dirty="0">
              <a:solidFill>
                <a:srgbClr val="000000"/>
              </a:solidFill>
            </a:endParaRPr>
          </a:p>
          <a:p>
            <a:pPr marL="266700" indent="-177800" defTabSz="914400">
              <a:lnSpc>
                <a:spcPct val="85000"/>
              </a:lnSpc>
              <a:spcBef>
                <a:spcPts val="800"/>
              </a:spcBef>
              <a:buClr>
                <a:srgbClr val="9B1717"/>
              </a:buClr>
              <a:buSzPct val="100000"/>
              <a:buFont typeface="Arial" charset="0"/>
              <a:buChar char="–"/>
            </a:pPr>
            <a:r>
              <a:rPr lang="es-ES" altLang="en-US" sz="1300" dirty="0" smtClean="0">
                <a:solidFill>
                  <a:srgbClr val="000000"/>
                </a:solidFill>
              </a:rPr>
              <a:t>Apoyo </a:t>
            </a:r>
            <a:r>
              <a:rPr lang="es-ES" altLang="en-US" sz="1300" dirty="0">
                <a:solidFill>
                  <a:srgbClr val="000000"/>
                </a:solidFill>
              </a:rPr>
              <a:t>a los Proyectos </a:t>
            </a:r>
            <a:r>
              <a:rPr lang="es-ES" altLang="en-US" sz="1300" dirty="0" smtClean="0">
                <a:solidFill>
                  <a:srgbClr val="000000"/>
                </a:solidFill>
              </a:rPr>
              <a:t>Especiales mediante la identificación de </a:t>
            </a:r>
            <a:r>
              <a:rPr lang="es-ES" altLang="en-US" sz="1300" dirty="0">
                <a:solidFill>
                  <a:srgbClr val="000000"/>
                </a:solidFill>
              </a:rPr>
              <a:t>los riesgos asociados con los nuevos desarrollos o </a:t>
            </a:r>
            <a:r>
              <a:rPr lang="es-ES" altLang="en-US" sz="1300" dirty="0" smtClean="0">
                <a:solidFill>
                  <a:srgbClr val="000000"/>
                </a:solidFill>
              </a:rPr>
              <a:t>carteras de valores a través de </a:t>
            </a:r>
            <a:r>
              <a:rPr lang="es-ES" altLang="en-US" sz="1300" dirty="0">
                <a:solidFill>
                  <a:srgbClr val="000000"/>
                </a:solidFill>
              </a:rPr>
              <a:t>un análisis cualitativo y cuantitativo:</a:t>
            </a:r>
          </a:p>
          <a:p>
            <a:pPr marL="356895" lvl="1" indent="-105313" defTabSz="914400">
              <a:lnSpc>
                <a:spcPct val="85000"/>
              </a:lnSpc>
              <a:spcBef>
                <a:spcPts val="8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-"/>
            </a:pPr>
            <a:r>
              <a:rPr lang="es-ES" altLang="en-US" sz="1300" dirty="0">
                <a:solidFill>
                  <a:srgbClr val="000000"/>
                </a:solidFill>
              </a:rPr>
              <a:t>Incertidumbres </a:t>
            </a:r>
            <a:r>
              <a:rPr lang="es-ES" altLang="en-US" sz="1300" dirty="0" smtClean="0">
                <a:solidFill>
                  <a:srgbClr val="000000"/>
                </a:solidFill>
              </a:rPr>
              <a:t>(“Qué pasa si…”), </a:t>
            </a:r>
            <a:r>
              <a:rPr lang="es-ES" altLang="en-US" sz="1300" dirty="0">
                <a:solidFill>
                  <a:srgbClr val="000000"/>
                </a:solidFill>
              </a:rPr>
              <a:t>Análisis </a:t>
            </a:r>
            <a:r>
              <a:rPr lang="es-ES" altLang="en-US" sz="1300" dirty="0" smtClean="0">
                <a:solidFill>
                  <a:srgbClr val="000000"/>
                </a:solidFill>
              </a:rPr>
              <a:t>Preliminar de Riesgos, sin fallos</a:t>
            </a:r>
            <a:r>
              <a:rPr lang="es-ES" altLang="en-US" sz="1300" dirty="0">
                <a:solidFill>
                  <a:srgbClr val="000000"/>
                </a:solidFill>
              </a:rPr>
              <a:t>…</a:t>
            </a:r>
          </a:p>
          <a:p>
            <a:pPr marL="266700" indent="-177800" defTabSz="914400">
              <a:lnSpc>
                <a:spcPct val="85000"/>
              </a:lnSpc>
              <a:spcBef>
                <a:spcPts val="8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altLang="en-US" sz="1300" dirty="0">
                <a:solidFill>
                  <a:srgbClr val="000000"/>
                </a:solidFill>
              </a:rPr>
              <a:t>Apoyo a las UA en la gestión de riesgos y cuestiones de inversiones.</a:t>
            </a:r>
          </a:p>
        </p:txBody>
      </p:sp>
      <p:sp>
        <p:nvSpPr>
          <p:cNvPr id="7480327" name="Rectangle 17"/>
          <p:cNvSpPr>
            <a:spLocks noChangeArrowheads="1"/>
          </p:cNvSpPr>
          <p:nvPr/>
        </p:nvSpPr>
        <p:spPr bwMode="auto">
          <a:xfrm>
            <a:off x="271463" y="4568825"/>
            <a:ext cx="4464050" cy="360363"/>
          </a:xfrm>
          <a:prstGeom prst="rect">
            <a:avLst/>
          </a:prstGeom>
          <a:solidFill>
            <a:schemeClr val="tx2"/>
          </a:solidFill>
          <a:ln w="6350">
            <a:noFill/>
            <a:miter lim="800000"/>
            <a:headEnd/>
            <a:tailEnd/>
          </a:ln>
        </p:spPr>
        <p:txBody>
          <a:bodyPr lIns="71120" tIns="71120" rIns="71120" bIns="71120" anchor="ctr"/>
          <a:lstStyle/>
          <a:p>
            <a:pPr algn="ctr" defTabSz="914400"/>
            <a:r>
              <a:rPr lang="es-ES" altLang="en-US" sz="1600" b="1">
                <a:solidFill>
                  <a:srgbClr val="FFFFFF"/>
                </a:solidFill>
              </a:rPr>
              <a:t>Participantes</a:t>
            </a:r>
          </a:p>
        </p:txBody>
      </p:sp>
      <p:sp>
        <p:nvSpPr>
          <p:cNvPr id="7480328" name="Rounded Rectangle 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71463" y="4918075"/>
            <a:ext cx="4464050" cy="117633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72000" tIns="72000" rIns="36000" bIns="72000"/>
          <a:lstStyle/>
          <a:p>
            <a:pPr marL="112713" indent="-112713" defTabSz="914400"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altLang="en-US" sz="1400" dirty="0">
                <a:solidFill>
                  <a:srgbClr val="000000"/>
                </a:solidFill>
              </a:rPr>
              <a:t>Superior General y Consejo General.</a:t>
            </a:r>
          </a:p>
          <a:p>
            <a:pPr marL="112713" indent="-112713" defTabSz="914400"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altLang="en-US" sz="1400" dirty="0">
                <a:solidFill>
                  <a:srgbClr val="000000"/>
                </a:solidFill>
              </a:rPr>
              <a:t>Responsable de la Misión.</a:t>
            </a:r>
          </a:p>
          <a:p>
            <a:pPr marL="112713" indent="-112713" defTabSz="914400"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altLang="en-US" sz="1400" dirty="0">
                <a:solidFill>
                  <a:srgbClr val="000000"/>
                </a:solidFill>
              </a:rPr>
              <a:t>Ecónomo General / Economato.</a:t>
            </a:r>
          </a:p>
          <a:p>
            <a:pPr marL="112713" indent="-112713" defTabSz="914400"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altLang="en-US" sz="1400" dirty="0">
                <a:solidFill>
                  <a:srgbClr val="000000"/>
                </a:solidFill>
              </a:rPr>
              <a:t>Expertos externos. </a:t>
            </a:r>
          </a:p>
          <a:p>
            <a:pPr marL="112713" indent="-112713" defTabSz="914400"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altLang="en-US" sz="1400" dirty="0">
                <a:solidFill>
                  <a:srgbClr val="000000"/>
                </a:solidFill>
              </a:rPr>
              <a:t>Representantes de </a:t>
            </a:r>
            <a:r>
              <a:rPr lang="es-ES" altLang="en-US" sz="1400" dirty="0" smtClean="0">
                <a:solidFill>
                  <a:srgbClr val="000000"/>
                </a:solidFill>
              </a:rPr>
              <a:t>las UA </a:t>
            </a:r>
            <a:r>
              <a:rPr lang="es-ES" altLang="en-US" sz="1400" dirty="0">
                <a:solidFill>
                  <a:srgbClr val="000000"/>
                </a:solidFill>
              </a:rPr>
              <a:t>(si </a:t>
            </a:r>
            <a:r>
              <a:rPr lang="es-ES" altLang="en-US" sz="1400" dirty="0" smtClean="0">
                <a:solidFill>
                  <a:srgbClr val="000000"/>
                </a:solidFill>
              </a:rPr>
              <a:t>es necesario</a:t>
            </a:r>
            <a:r>
              <a:rPr lang="es-ES" altLang="en-US" sz="1400" dirty="0">
                <a:solidFill>
                  <a:srgbClr val="000000"/>
                </a:solidFill>
              </a:rPr>
              <a:t>).</a:t>
            </a:r>
          </a:p>
        </p:txBody>
      </p:sp>
      <p:sp>
        <p:nvSpPr>
          <p:cNvPr id="7480329" name="Rectangle 21"/>
          <p:cNvSpPr>
            <a:spLocks noChangeArrowheads="1"/>
          </p:cNvSpPr>
          <p:nvPr/>
        </p:nvSpPr>
        <p:spPr bwMode="auto">
          <a:xfrm>
            <a:off x="273050" y="6196013"/>
            <a:ext cx="1527175" cy="360362"/>
          </a:xfrm>
          <a:prstGeom prst="rect">
            <a:avLst/>
          </a:prstGeom>
          <a:solidFill>
            <a:schemeClr val="tx2"/>
          </a:solidFill>
          <a:ln w="6350">
            <a:noFill/>
            <a:miter lim="800000"/>
            <a:headEnd/>
            <a:tailEnd/>
          </a:ln>
        </p:spPr>
        <p:txBody>
          <a:bodyPr lIns="71120" tIns="71120" rIns="71120" bIns="71120" anchor="ctr"/>
          <a:lstStyle/>
          <a:p>
            <a:pPr algn="ctr" defTabSz="914400"/>
            <a:r>
              <a:rPr lang="es-ES" altLang="en-US" sz="1600" b="1">
                <a:solidFill>
                  <a:srgbClr val="FFFFFF"/>
                </a:solidFill>
              </a:rPr>
              <a:t>Frecuencia</a:t>
            </a:r>
          </a:p>
        </p:txBody>
      </p:sp>
      <p:sp>
        <p:nvSpPr>
          <p:cNvPr id="7480330" name="Rounded Rectangle 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789113" y="6196013"/>
            <a:ext cx="2946400" cy="36036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72000" tIns="72000" rIns="36000" bIns="72000" anchor="ctr"/>
          <a:lstStyle/>
          <a:p>
            <a:pPr marL="266700" indent="-177800" defTabSz="914400">
              <a:spcBef>
                <a:spcPct val="50000"/>
              </a:spcBef>
              <a:buClr>
                <a:srgbClr val="006600"/>
              </a:buClr>
              <a:buSzPct val="70000"/>
            </a:pPr>
            <a:r>
              <a:rPr lang="es-ES" altLang="en-US" sz="1400" dirty="0">
                <a:solidFill>
                  <a:srgbClr val="000000"/>
                </a:solidFill>
              </a:rPr>
              <a:t>Trimestral, cuando </a:t>
            </a:r>
            <a:r>
              <a:rPr lang="es-ES" altLang="en-US" sz="1400" dirty="0" smtClean="0">
                <a:solidFill>
                  <a:srgbClr val="000000"/>
                </a:solidFill>
              </a:rPr>
              <a:t>sea necesario</a:t>
            </a:r>
            <a:r>
              <a:rPr lang="en-US" altLang="en-US" sz="1400" dirty="0" smtClean="0">
                <a:solidFill>
                  <a:srgbClr val="000000"/>
                </a:solidFill>
              </a:rPr>
              <a:t> </a:t>
            </a:r>
            <a:endParaRPr lang="en-US" altLang="en-US" sz="1400" dirty="0">
              <a:solidFill>
                <a:srgbClr val="000000"/>
              </a:solidFill>
            </a:endParaRPr>
          </a:p>
        </p:txBody>
      </p:sp>
      <p:sp>
        <p:nvSpPr>
          <p:cNvPr id="7480331" name="RunningHead"/>
          <p:cNvSpPr txBox="1">
            <a:spLocks noChangeArrowheads="1"/>
          </p:cNvSpPr>
          <p:nvPr/>
        </p:nvSpPr>
        <p:spPr bwMode="gray">
          <a:xfrm>
            <a:off x="6891338" y="139700"/>
            <a:ext cx="2000250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MX" sz="1200" dirty="0">
                <a:solidFill>
                  <a:srgbClr val="000000"/>
                </a:solidFill>
              </a:rPr>
              <a:t>¿Estamos bien organizados?</a:t>
            </a:r>
          </a:p>
        </p:txBody>
      </p:sp>
    </p:spTree>
    <p:extLst>
      <p:ext uri="{BB962C8B-B14F-4D97-AF65-F5344CB8AC3E}">
        <p14:creationId xmlns:p14="http://schemas.microsoft.com/office/powerpoint/2010/main" val="107378176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81345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997196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Los Proyectos especiales deben ser guiados por un Comité de Implementación para evaluar las oportunidades y su implementación</a:t>
            </a:r>
          </a:p>
        </p:txBody>
      </p:sp>
      <p:sp>
        <p:nvSpPr>
          <p:cNvPr id="7481346" name="TextBox 10"/>
          <p:cNvSpPr txBox="1">
            <a:spLocks noChangeArrowheads="1"/>
          </p:cNvSpPr>
          <p:nvPr/>
        </p:nvSpPr>
        <p:spPr bwMode="auto">
          <a:xfrm>
            <a:off x="244475" y="1790700"/>
            <a:ext cx="7065963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400">
              <a:lnSpc>
                <a:spcPct val="90000"/>
              </a:lnSpc>
              <a:buClr>
                <a:srgbClr val="9B1717"/>
              </a:buClr>
            </a:pPr>
            <a:r>
              <a:rPr lang="es-ES" altLang="en-US" b="1" dirty="0">
                <a:solidFill>
                  <a:srgbClr val="000000"/>
                </a:solidFill>
              </a:rPr>
              <a:t>Características – Proyectos </a:t>
            </a:r>
            <a:r>
              <a:rPr lang="es-ES" altLang="en-US" b="1" dirty="0" smtClean="0">
                <a:solidFill>
                  <a:srgbClr val="000000"/>
                </a:solidFill>
              </a:rPr>
              <a:t>especial</a:t>
            </a:r>
            <a:r>
              <a:rPr lang="en-US" altLang="en-US" b="1" dirty="0" err="1">
                <a:solidFill>
                  <a:srgbClr val="000000"/>
                </a:solidFill>
              </a:rPr>
              <a:t>es</a:t>
            </a:r>
            <a:r>
              <a:rPr lang="es-ES" altLang="en-US" b="1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7481347" name="Rectangle 17"/>
          <p:cNvSpPr>
            <a:spLocks noChangeArrowheads="1"/>
          </p:cNvSpPr>
          <p:nvPr/>
        </p:nvSpPr>
        <p:spPr bwMode="auto">
          <a:xfrm>
            <a:off x="271463" y="2217738"/>
            <a:ext cx="4464050" cy="360362"/>
          </a:xfrm>
          <a:prstGeom prst="rect">
            <a:avLst/>
          </a:prstGeom>
          <a:solidFill>
            <a:schemeClr val="bg2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914400"/>
            <a:r>
              <a:rPr lang="es-ES" altLang="en-US" b="1">
                <a:solidFill>
                  <a:srgbClr val="FFFFFF"/>
                </a:solidFill>
              </a:rPr>
              <a:t>Objetivos</a:t>
            </a:r>
          </a:p>
        </p:txBody>
      </p:sp>
      <p:sp>
        <p:nvSpPr>
          <p:cNvPr id="7481348" name="Rounded 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1463" y="2576513"/>
            <a:ext cx="4464050" cy="1890712"/>
          </a:xfrm>
          <a:prstGeom prst="roundRect">
            <a:avLst>
              <a:gd name="adj" fmla="val 0"/>
            </a:avLst>
          </a:prstGeom>
          <a:solidFill>
            <a:srgbClr val="F5F5F5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0" tIns="72000" rIns="36000" bIns="72000"/>
          <a:lstStyle/>
          <a:p>
            <a:pPr marL="266700" indent="-177800" defTabSz="914400">
              <a:lnSpc>
                <a:spcPct val="85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altLang="en-US" sz="1400" dirty="0">
                <a:solidFill>
                  <a:srgbClr val="000000"/>
                </a:solidFill>
              </a:rPr>
              <a:t>Evaluar las oportunidades identificadas </a:t>
            </a:r>
            <a:r>
              <a:rPr lang="es-ES" altLang="en-US" sz="1400" dirty="0" smtClean="0">
                <a:solidFill>
                  <a:srgbClr val="000000"/>
                </a:solidFill>
              </a:rPr>
              <a:t>por </a:t>
            </a:r>
            <a:r>
              <a:rPr lang="es-ES" altLang="en-US" sz="1400" dirty="0">
                <a:solidFill>
                  <a:srgbClr val="000000"/>
                </a:solidFill>
              </a:rPr>
              <a:t>diferentes fuentes (Provincias, Regiones, AG, otros Comités… ) evaluando </a:t>
            </a:r>
            <a:r>
              <a:rPr lang="es-ES" altLang="en-US" sz="1400" dirty="0" smtClean="0">
                <a:solidFill>
                  <a:srgbClr val="000000"/>
                </a:solidFill>
              </a:rPr>
              <a:t>cómo </a:t>
            </a:r>
            <a:r>
              <a:rPr lang="es-ES" altLang="en-US" sz="1400" dirty="0">
                <a:solidFill>
                  <a:srgbClr val="000000"/>
                </a:solidFill>
              </a:rPr>
              <a:t>responden a la Misión del Instituto y </a:t>
            </a:r>
            <a:r>
              <a:rPr lang="es-ES" altLang="en-US" sz="1400" dirty="0" smtClean="0">
                <a:solidFill>
                  <a:srgbClr val="000000"/>
                </a:solidFill>
              </a:rPr>
              <a:t>a </a:t>
            </a:r>
            <a:r>
              <a:rPr lang="es-ES" altLang="en-US" sz="1400" dirty="0">
                <a:solidFill>
                  <a:srgbClr val="000000"/>
                </a:solidFill>
              </a:rPr>
              <a:t>la política económica.  </a:t>
            </a:r>
          </a:p>
          <a:p>
            <a:pPr marL="266700" indent="-177800" defTabSz="914400">
              <a:lnSpc>
                <a:spcPct val="85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altLang="en-US" sz="1400" dirty="0" smtClean="0">
                <a:solidFill>
                  <a:srgbClr val="000000"/>
                </a:solidFill>
              </a:rPr>
              <a:t>Dar </a:t>
            </a:r>
            <a:r>
              <a:rPr lang="es-ES" altLang="en-US" sz="1400" dirty="0">
                <a:solidFill>
                  <a:srgbClr val="000000"/>
                </a:solidFill>
              </a:rPr>
              <a:t>seguimiento y monitorear sistemáticamente la implementación de los proyectos examinando los mecanismos para ajustar el avance del proyecto a un plan de implementación predefinido. </a:t>
            </a:r>
          </a:p>
        </p:txBody>
      </p:sp>
      <p:sp>
        <p:nvSpPr>
          <p:cNvPr id="7481349" name="Rectangle 17"/>
          <p:cNvSpPr>
            <a:spLocks noChangeArrowheads="1"/>
          </p:cNvSpPr>
          <p:nvPr/>
        </p:nvSpPr>
        <p:spPr bwMode="auto">
          <a:xfrm>
            <a:off x="5308600" y="2217738"/>
            <a:ext cx="3619500" cy="360362"/>
          </a:xfrm>
          <a:prstGeom prst="rect">
            <a:avLst/>
          </a:prstGeom>
          <a:solidFill>
            <a:srgbClr val="77787B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914400"/>
            <a:r>
              <a:rPr lang="es-ES" altLang="en-US" sz="1600" b="1">
                <a:solidFill>
                  <a:srgbClr val="FFFFFF"/>
                </a:solidFill>
              </a:rPr>
              <a:t>Actividades</a:t>
            </a:r>
          </a:p>
        </p:txBody>
      </p:sp>
      <p:sp>
        <p:nvSpPr>
          <p:cNvPr id="7481350" name="Rounded 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08600" y="2576513"/>
            <a:ext cx="3619500" cy="398462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0" tIns="72000" rIns="36000" bIns="72000"/>
          <a:lstStyle/>
          <a:p>
            <a:pPr marL="266700" indent="-177800" defTabSz="914400">
              <a:spcBef>
                <a:spcPts val="12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altLang="en-US" sz="1400" dirty="0">
                <a:solidFill>
                  <a:srgbClr val="000000"/>
                </a:solidFill>
              </a:rPr>
              <a:t>Evaluación de </a:t>
            </a:r>
            <a:r>
              <a:rPr lang="es-ES" altLang="en-US" sz="1400" dirty="0" smtClean="0">
                <a:solidFill>
                  <a:srgbClr val="000000"/>
                </a:solidFill>
              </a:rPr>
              <a:t>oportunidades:</a:t>
            </a:r>
            <a:endParaRPr lang="es-ES" altLang="en-US" sz="1400" dirty="0">
              <a:solidFill>
                <a:srgbClr val="000000"/>
              </a:solidFill>
            </a:endParaRPr>
          </a:p>
          <a:p>
            <a:pPr marL="723900" lvl="1" indent="-177800" defTabSz="914400">
              <a:spcBef>
                <a:spcPts val="1200"/>
              </a:spcBef>
              <a:buClr>
                <a:srgbClr val="9B1717"/>
              </a:buClr>
              <a:buSzPct val="100000"/>
              <a:buFont typeface="Symbol" pitchFamily="18" charset="2"/>
              <a:buChar char=""/>
            </a:pPr>
            <a:r>
              <a:rPr lang="es-ES" altLang="en-US" sz="1400" dirty="0" smtClean="0">
                <a:solidFill>
                  <a:srgbClr val="000000"/>
                </a:solidFill>
              </a:rPr>
              <a:t>Dimensionar el proyecto.</a:t>
            </a:r>
            <a:endParaRPr lang="es-ES" altLang="en-US" sz="1400" dirty="0">
              <a:solidFill>
                <a:srgbClr val="000000"/>
              </a:solidFill>
            </a:endParaRPr>
          </a:p>
          <a:p>
            <a:pPr marL="723900" lvl="1" indent="-177800" defTabSz="914400">
              <a:spcBef>
                <a:spcPts val="1200"/>
              </a:spcBef>
              <a:buClr>
                <a:srgbClr val="9B1717"/>
              </a:buClr>
              <a:buSzPct val="100000"/>
              <a:buFont typeface="Symbol" pitchFamily="18" charset="2"/>
              <a:buChar char=""/>
            </a:pPr>
            <a:r>
              <a:rPr lang="es-ES" altLang="en-US" sz="1400" dirty="0" smtClean="0">
                <a:solidFill>
                  <a:srgbClr val="000000"/>
                </a:solidFill>
              </a:rPr>
              <a:t>Evaluar la idoneidad del proyecto </a:t>
            </a:r>
            <a:r>
              <a:rPr lang="es-ES" altLang="en-US" sz="1400" dirty="0">
                <a:solidFill>
                  <a:srgbClr val="000000"/>
                </a:solidFill>
              </a:rPr>
              <a:t>con la Misión </a:t>
            </a:r>
            <a:r>
              <a:rPr lang="es-ES" altLang="en-US" sz="1400" dirty="0" smtClean="0">
                <a:solidFill>
                  <a:srgbClr val="000000"/>
                </a:solidFill>
              </a:rPr>
              <a:t>Global y con  las estrategias y políticas actuales </a:t>
            </a:r>
            <a:r>
              <a:rPr lang="es-ES" altLang="en-US" sz="1400" dirty="0">
                <a:solidFill>
                  <a:srgbClr val="000000"/>
                </a:solidFill>
              </a:rPr>
              <a:t>(tecnología, </a:t>
            </a:r>
            <a:r>
              <a:rPr lang="es-ES" altLang="en-US" sz="1400" dirty="0" smtClean="0">
                <a:solidFill>
                  <a:srgbClr val="000000"/>
                </a:solidFill>
              </a:rPr>
              <a:t>dimensión, necesidades </a:t>
            </a:r>
            <a:r>
              <a:rPr lang="es-ES" altLang="en-US" sz="1400" dirty="0">
                <a:solidFill>
                  <a:srgbClr val="000000"/>
                </a:solidFill>
              </a:rPr>
              <a:t>de </a:t>
            </a:r>
            <a:r>
              <a:rPr lang="es-ES" altLang="en-US" sz="1400" dirty="0" smtClean="0">
                <a:solidFill>
                  <a:srgbClr val="000000"/>
                </a:solidFill>
              </a:rPr>
              <a:t>financiación, </a:t>
            </a:r>
            <a:r>
              <a:rPr lang="es-ES" altLang="en-US" sz="1400" dirty="0">
                <a:solidFill>
                  <a:srgbClr val="000000"/>
                </a:solidFill>
              </a:rPr>
              <a:t>rentabilidad, riesgo</a:t>
            </a:r>
            <a:r>
              <a:rPr lang="es-ES" altLang="en-US" sz="1400" dirty="0" smtClean="0">
                <a:solidFill>
                  <a:srgbClr val="000000"/>
                </a:solidFill>
              </a:rPr>
              <a:t>…).</a:t>
            </a:r>
            <a:endParaRPr lang="es-ES" altLang="en-US" sz="1400" dirty="0">
              <a:solidFill>
                <a:srgbClr val="000000"/>
              </a:solidFill>
            </a:endParaRPr>
          </a:p>
          <a:p>
            <a:pPr marL="266700" indent="-177800" defTabSz="914400">
              <a:spcBef>
                <a:spcPts val="12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r>
              <a:rPr lang="es-ES" altLang="en-US" sz="1400" dirty="0">
                <a:solidFill>
                  <a:srgbClr val="000000"/>
                </a:solidFill>
              </a:rPr>
              <a:t>Monitoreo de la </a:t>
            </a:r>
            <a:r>
              <a:rPr lang="es-ES" altLang="en-US" sz="1400" dirty="0" smtClean="0">
                <a:solidFill>
                  <a:srgbClr val="000000"/>
                </a:solidFill>
              </a:rPr>
              <a:t>implementación:</a:t>
            </a:r>
            <a:endParaRPr lang="es-ES" altLang="en-US" sz="1400" dirty="0">
              <a:solidFill>
                <a:srgbClr val="000000"/>
              </a:solidFill>
            </a:endParaRPr>
          </a:p>
          <a:p>
            <a:pPr marL="723900" lvl="1" indent="-177800" defTabSz="914400">
              <a:spcBef>
                <a:spcPts val="1200"/>
              </a:spcBef>
              <a:buClr>
                <a:srgbClr val="9B1717"/>
              </a:buClr>
              <a:buSzPct val="100000"/>
              <a:buFont typeface="Symbol" pitchFamily="18" charset="2"/>
              <a:buChar char=""/>
            </a:pPr>
            <a:r>
              <a:rPr lang="es-ES" altLang="en-US" sz="1400" dirty="0">
                <a:solidFill>
                  <a:srgbClr val="000000"/>
                </a:solidFill>
              </a:rPr>
              <a:t>Estado de la implementación con respecto a la </a:t>
            </a:r>
            <a:r>
              <a:rPr lang="es-ES" altLang="en-US" sz="1400" dirty="0" smtClean="0">
                <a:solidFill>
                  <a:srgbClr val="000000"/>
                </a:solidFill>
              </a:rPr>
              <a:t>programación.</a:t>
            </a:r>
            <a:endParaRPr lang="es-ES" altLang="en-US" sz="1400" dirty="0">
              <a:solidFill>
                <a:srgbClr val="000000"/>
              </a:solidFill>
            </a:endParaRPr>
          </a:p>
          <a:p>
            <a:pPr marL="723900" lvl="1" indent="-177800" defTabSz="914400">
              <a:spcBef>
                <a:spcPts val="1200"/>
              </a:spcBef>
              <a:buClr>
                <a:srgbClr val="9B1717"/>
              </a:buClr>
              <a:buSzPct val="100000"/>
              <a:buFont typeface="Symbol" pitchFamily="18" charset="2"/>
              <a:buChar char=""/>
            </a:pPr>
            <a:r>
              <a:rPr lang="es-ES" altLang="en-US" sz="1400" dirty="0">
                <a:solidFill>
                  <a:srgbClr val="000000"/>
                </a:solidFill>
              </a:rPr>
              <a:t>Medidas para minimizar </a:t>
            </a:r>
            <a:r>
              <a:rPr lang="es-ES" altLang="en-US" sz="1400" dirty="0" smtClean="0">
                <a:solidFill>
                  <a:srgbClr val="000000"/>
                </a:solidFill>
              </a:rPr>
              <a:t>retrasos.</a:t>
            </a:r>
            <a:r>
              <a:rPr lang="en-US" altLang="en-US" sz="1400" dirty="0" smtClean="0">
                <a:solidFill>
                  <a:srgbClr val="000000"/>
                </a:solidFill>
              </a:rPr>
              <a:t> </a:t>
            </a:r>
            <a:endParaRPr lang="en-US" altLang="en-US" sz="1400" dirty="0">
              <a:solidFill>
                <a:srgbClr val="000000"/>
              </a:solidFill>
            </a:endParaRPr>
          </a:p>
          <a:p>
            <a:pPr marL="266700" indent="-177800" defTabSz="914400">
              <a:spcBef>
                <a:spcPts val="1200"/>
              </a:spcBef>
              <a:buClr>
                <a:srgbClr val="9B1717"/>
              </a:buClr>
              <a:buSzPct val="100000"/>
              <a:buFont typeface="Arial" charset="0"/>
              <a:buChar char="•"/>
            </a:pPr>
            <a:endParaRPr lang="en-US" altLang="en-US" sz="1400" dirty="0">
              <a:solidFill>
                <a:srgbClr val="000000"/>
              </a:solidFill>
            </a:endParaRPr>
          </a:p>
        </p:txBody>
      </p:sp>
      <p:sp>
        <p:nvSpPr>
          <p:cNvPr id="7481351" name="Rectangle 17"/>
          <p:cNvSpPr>
            <a:spLocks noChangeArrowheads="1"/>
          </p:cNvSpPr>
          <p:nvPr/>
        </p:nvSpPr>
        <p:spPr bwMode="auto">
          <a:xfrm>
            <a:off x="271463" y="4568825"/>
            <a:ext cx="4464050" cy="360363"/>
          </a:xfrm>
          <a:prstGeom prst="rect">
            <a:avLst/>
          </a:prstGeom>
          <a:solidFill>
            <a:schemeClr val="tx2"/>
          </a:solidFill>
          <a:ln w="6350">
            <a:noFill/>
            <a:miter lim="800000"/>
            <a:headEnd/>
            <a:tailEnd/>
          </a:ln>
        </p:spPr>
        <p:txBody>
          <a:bodyPr lIns="71120" tIns="71120" rIns="71120" bIns="71120" anchor="ctr"/>
          <a:lstStyle/>
          <a:p>
            <a:pPr algn="ctr" defTabSz="914400"/>
            <a:r>
              <a:rPr lang="es-ES" altLang="en-US" sz="1600" b="1" dirty="0" smtClean="0">
                <a:solidFill>
                  <a:srgbClr val="FFFFFF"/>
                </a:solidFill>
              </a:rPr>
              <a:t>Participantes</a:t>
            </a:r>
            <a:endParaRPr lang="es-ES" altLang="en-US" sz="1600" b="1" dirty="0">
              <a:solidFill>
                <a:srgbClr val="FFFFFF"/>
              </a:solidFill>
            </a:endParaRPr>
          </a:p>
        </p:txBody>
      </p:sp>
      <p:sp>
        <p:nvSpPr>
          <p:cNvPr id="7481352" name="Rounded Rectangle 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71463" y="4918075"/>
            <a:ext cx="4464050" cy="117633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72000" tIns="72000" rIns="36000" bIns="72000"/>
          <a:lstStyle/>
          <a:p>
            <a:pPr marL="112713" indent="-112713" defTabSz="914400"/>
            <a:r>
              <a:rPr lang="es-ES" altLang="en-US" sz="1400" dirty="0">
                <a:solidFill>
                  <a:srgbClr val="000000"/>
                </a:solidFill>
              </a:rPr>
              <a:t>Superior General y Consejo General.</a:t>
            </a:r>
          </a:p>
          <a:p>
            <a:pPr marL="112713" indent="-112713" defTabSz="914400"/>
            <a:r>
              <a:rPr lang="es-ES" altLang="en-US" sz="1400" dirty="0">
                <a:solidFill>
                  <a:srgbClr val="000000"/>
                </a:solidFill>
              </a:rPr>
              <a:t>Responsable de la Misión.</a:t>
            </a:r>
          </a:p>
          <a:p>
            <a:pPr marL="112713" indent="-112713" defTabSz="914400"/>
            <a:r>
              <a:rPr lang="es-ES" altLang="en-US" sz="1400" dirty="0">
                <a:solidFill>
                  <a:srgbClr val="000000"/>
                </a:solidFill>
              </a:rPr>
              <a:t>Ecónomo General</a:t>
            </a:r>
            <a:r>
              <a:rPr lang="es-ES" altLang="en-US" sz="1400" dirty="0" smtClean="0">
                <a:solidFill>
                  <a:srgbClr val="000000"/>
                </a:solidFill>
              </a:rPr>
              <a:t>.</a:t>
            </a:r>
          </a:p>
          <a:p>
            <a:pPr marL="112713" indent="-112713" defTabSz="914400"/>
            <a:r>
              <a:rPr lang="es-ES" altLang="en-US" sz="1400" dirty="0">
                <a:solidFill>
                  <a:srgbClr val="000000"/>
                </a:solidFill>
              </a:rPr>
              <a:t>Representantes de las UA (si es necesario).</a:t>
            </a:r>
          </a:p>
          <a:p>
            <a:pPr marL="112713" indent="-112713" defTabSz="914400"/>
            <a:r>
              <a:rPr lang="es-ES" altLang="en-US" sz="1400" dirty="0" smtClean="0">
                <a:solidFill>
                  <a:srgbClr val="000000"/>
                </a:solidFill>
              </a:rPr>
              <a:t>Expertos </a:t>
            </a:r>
            <a:r>
              <a:rPr lang="es-ES" altLang="en-US" sz="1400" dirty="0">
                <a:solidFill>
                  <a:srgbClr val="000000"/>
                </a:solidFill>
              </a:rPr>
              <a:t>externos. </a:t>
            </a:r>
          </a:p>
        </p:txBody>
      </p:sp>
      <p:sp>
        <p:nvSpPr>
          <p:cNvPr id="7481353" name="Rectangle 21"/>
          <p:cNvSpPr>
            <a:spLocks noChangeArrowheads="1"/>
          </p:cNvSpPr>
          <p:nvPr/>
        </p:nvSpPr>
        <p:spPr bwMode="auto">
          <a:xfrm>
            <a:off x="273050" y="6196013"/>
            <a:ext cx="1527175" cy="360362"/>
          </a:xfrm>
          <a:prstGeom prst="rect">
            <a:avLst/>
          </a:prstGeom>
          <a:solidFill>
            <a:schemeClr val="tx2"/>
          </a:solidFill>
          <a:ln w="6350">
            <a:noFill/>
            <a:miter lim="800000"/>
            <a:headEnd/>
            <a:tailEnd/>
          </a:ln>
        </p:spPr>
        <p:txBody>
          <a:bodyPr lIns="71120" tIns="71120" rIns="71120" bIns="71120" anchor="ctr"/>
          <a:lstStyle/>
          <a:p>
            <a:pPr algn="ctr" defTabSz="914400"/>
            <a:r>
              <a:rPr lang="es-ES" altLang="en-US" sz="1600" b="1">
                <a:solidFill>
                  <a:srgbClr val="FFFFFF"/>
                </a:solidFill>
              </a:rPr>
              <a:t>Frecuencia</a:t>
            </a:r>
            <a:endParaRPr lang="en-US" altLang="en-US" sz="1600" b="1">
              <a:solidFill>
                <a:srgbClr val="FFFFFF"/>
              </a:solidFill>
            </a:endParaRPr>
          </a:p>
        </p:txBody>
      </p:sp>
      <p:sp>
        <p:nvSpPr>
          <p:cNvPr id="7481354" name="Rounded Rectangle 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789113" y="6196013"/>
            <a:ext cx="2946400" cy="36036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lIns="72000" tIns="72000" rIns="36000" bIns="72000" anchor="ctr"/>
          <a:lstStyle/>
          <a:p>
            <a:pPr marL="266700" indent="-177800" defTabSz="914400">
              <a:spcBef>
                <a:spcPct val="50000"/>
              </a:spcBef>
              <a:buClr>
                <a:srgbClr val="006600"/>
              </a:buClr>
              <a:buSzPct val="70000"/>
            </a:pPr>
            <a:r>
              <a:rPr lang="es-ES" altLang="en-US" sz="1400" dirty="0">
                <a:solidFill>
                  <a:srgbClr val="000000"/>
                </a:solidFill>
              </a:rPr>
              <a:t>Trimestral, cuando </a:t>
            </a:r>
            <a:r>
              <a:rPr lang="es-ES" altLang="en-US" sz="1400" dirty="0" smtClean="0">
                <a:solidFill>
                  <a:srgbClr val="000000"/>
                </a:solidFill>
              </a:rPr>
              <a:t>sea necesario.</a:t>
            </a:r>
            <a:endParaRPr lang="en-US" altLang="en-US" sz="1400" dirty="0">
              <a:solidFill>
                <a:srgbClr val="000000"/>
              </a:solidFill>
            </a:endParaRPr>
          </a:p>
        </p:txBody>
      </p:sp>
      <p:sp>
        <p:nvSpPr>
          <p:cNvPr id="7481355" name="RunningHead"/>
          <p:cNvSpPr txBox="1">
            <a:spLocks noChangeArrowheads="1"/>
          </p:cNvSpPr>
          <p:nvPr/>
        </p:nvSpPr>
        <p:spPr bwMode="gray">
          <a:xfrm>
            <a:off x="6891338" y="139700"/>
            <a:ext cx="2000250" cy="169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MX" sz="1200" dirty="0">
                <a:solidFill>
                  <a:srgbClr val="000000"/>
                </a:solidFill>
              </a:rPr>
              <a:t>¿Estamos bien organizados?</a:t>
            </a:r>
          </a:p>
        </p:txBody>
      </p:sp>
    </p:spTree>
    <p:extLst>
      <p:ext uri="{BB962C8B-B14F-4D97-AF65-F5344CB8AC3E}">
        <p14:creationId xmlns:p14="http://schemas.microsoft.com/office/powerpoint/2010/main" val="100346363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01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209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4800" y="700568"/>
            <a:ext cx="8125328" cy="664797"/>
          </a:xfrm>
        </p:spPr>
        <p:txBody>
          <a:bodyPr/>
          <a:lstStyle/>
          <a:p>
            <a:r>
              <a:rPr lang="es-ES_tradnl" dirty="0">
                <a:latin typeface="Arial" charset="0"/>
                <a:cs typeface="Arial" charset="0"/>
              </a:rPr>
              <a:t>La nueva estructura </a:t>
            </a:r>
            <a:r>
              <a:rPr lang="es-ES_tradnl" dirty="0" smtClean="0">
                <a:latin typeface="Arial" charset="0"/>
                <a:cs typeface="Arial" charset="0"/>
              </a:rPr>
              <a:t>propuesta para las Provincias </a:t>
            </a:r>
            <a:r>
              <a:rPr lang="es-ES_tradnl" dirty="0">
                <a:latin typeface="Arial" charset="0"/>
                <a:cs typeface="Arial" charset="0"/>
              </a:rPr>
              <a:t>coincidirá con la de la Administración General ...</a:t>
            </a:r>
            <a:endParaRPr lang="en-US" dirty="0" smtClean="0"/>
          </a:p>
        </p:txBody>
      </p:sp>
      <p:sp>
        <p:nvSpPr>
          <p:cNvPr id="69" name="Rectángulo 49"/>
          <p:cNvSpPr/>
          <p:nvPr/>
        </p:nvSpPr>
        <p:spPr>
          <a:xfrm>
            <a:off x="233770" y="2906495"/>
            <a:ext cx="8646160" cy="3547202"/>
          </a:xfrm>
          <a:prstGeom prst="rect">
            <a:avLst/>
          </a:prstGeom>
          <a:solidFill>
            <a:schemeClr val="accent6">
              <a:lumMod val="40000"/>
              <a:lumOff val="60000"/>
              <a:alpha val="68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s-ES" sz="1400" dirty="0" err="1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1" name="Rectangle 70"/>
          <p:cNvSpPr>
            <a:spLocks noChangeArrowheads="1"/>
          </p:cNvSpPr>
          <p:nvPr/>
        </p:nvSpPr>
        <p:spPr bwMode="gray">
          <a:xfrm>
            <a:off x="1717122" y="1538855"/>
            <a:ext cx="2160000" cy="539750"/>
          </a:xfrm>
          <a:prstGeom prst="rect">
            <a:avLst/>
          </a:prstGeom>
          <a:solidFill>
            <a:schemeClr val="bg2"/>
          </a:solidFill>
          <a:ln w="6350" cap="flat" algn="ctr">
            <a:noFill/>
            <a:miter lim="800000"/>
            <a:headEnd/>
            <a:tailEnd/>
          </a:ln>
        </p:spPr>
        <p:txBody>
          <a:bodyPr wrap="square"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rovincial y </a:t>
            </a:r>
          </a:p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nsejo provincial</a:t>
            </a:r>
            <a:endParaRPr lang="en-US" sz="14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Rectangle 14"/>
          <p:cNvSpPr>
            <a:spLocks noChangeArrowheads="1"/>
          </p:cNvSpPr>
          <p:nvPr/>
        </p:nvSpPr>
        <p:spPr bwMode="gray">
          <a:xfrm>
            <a:off x="755576" y="4315294"/>
            <a:ext cx="1882656" cy="350364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ntabilidad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7" name="AutoShape 38"/>
          <p:cNvCxnSpPr>
            <a:cxnSpLocks noChangeShapeType="1"/>
            <a:stCxn id="125" idx="2"/>
            <a:endCxn id="73" idx="3"/>
          </p:cNvCxnSpPr>
          <p:nvPr/>
        </p:nvCxnSpPr>
        <p:spPr bwMode="gray">
          <a:xfrm rot="16200000" flipH="1">
            <a:off x="145713" y="3880613"/>
            <a:ext cx="884802" cy="334923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79" name="Rectangle 14"/>
          <p:cNvSpPr>
            <a:spLocks noChangeArrowheads="1"/>
          </p:cNvSpPr>
          <p:nvPr/>
        </p:nvSpPr>
        <p:spPr bwMode="gray">
          <a:xfrm>
            <a:off x="755694" y="5023163"/>
            <a:ext cx="1882656" cy="297577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Gestión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ctivos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Rectangle 14"/>
          <p:cNvSpPr>
            <a:spLocks noChangeArrowheads="1"/>
          </p:cNvSpPr>
          <p:nvPr/>
        </p:nvSpPr>
        <p:spPr bwMode="gray">
          <a:xfrm>
            <a:off x="755694" y="5678244"/>
            <a:ext cx="1882656" cy="447614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lanificación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, Control y </a:t>
            </a: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uditoría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5" name="AutoShape 38"/>
          <p:cNvCxnSpPr>
            <a:cxnSpLocks noChangeShapeType="1"/>
            <a:stCxn id="125" idx="2"/>
            <a:endCxn id="79" idx="3"/>
          </p:cNvCxnSpPr>
          <p:nvPr/>
        </p:nvCxnSpPr>
        <p:spPr bwMode="gray">
          <a:xfrm rot="16200000" flipH="1">
            <a:off x="-194966" y="4221292"/>
            <a:ext cx="1566278" cy="335041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86" name="AutoShape 38"/>
          <p:cNvCxnSpPr>
            <a:cxnSpLocks noChangeShapeType="1"/>
            <a:stCxn id="125" idx="2"/>
            <a:endCxn id="84" idx="3"/>
          </p:cNvCxnSpPr>
          <p:nvPr/>
        </p:nvCxnSpPr>
        <p:spPr bwMode="gray">
          <a:xfrm rot="16200000" flipH="1">
            <a:off x="-560015" y="4586341"/>
            <a:ext cx="2296377" cy="335041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87" name="Rectangle 14"/>
          <p:cNvSpPr>
            <a:spLocks noChangeArrowheads="1"/>
          </p:cNvSpPr>
          <p:nvPr/>
        </p:nvSpPr>
        <p:spPr bwMode="gray">
          <a:xfrm>
            <a:off x="756857" y="3785689"/>
            <a:ext cx="1882656" cy="354423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2">
              <a:lumMod val="60000"/>
              <a:lumOff val="4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misión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suntos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conómicos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0" name="AutoShape 38"/>
          <p:cNvCxnSpPr>
            <a:cxnSpLocks noChangeShapeType="1"/>
            <a:stCxn id="125" idx="2"/>
            <a:endCxn id="87" idx="3"/>
          </p:cNvCxnSpPr>
          <p:nvPr/>
        </p:nvCxnSpPr>
        <p:spPr bwMode="gray">
          <a:xfrm rot="16200000" flipH="1">
            <a:off x="410142" y="3616185"/>
            <a:ext cx="357227" cy="336204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91" name="Rectangle 7"/>
          <p:cNvSpPr>
            <a:spLocks noChangeArrowheads="1"/>
          </p:cNvSpPr>
          <p:nvPr/>
        </p:nvSpPr>
        <p:spPr bwMode="gray">
          <a:xfrm>
            <a:off x="310993" y="3054402"/>
            <a:ext cx="2375024" cy="576000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>
              <a:lumMod val="5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400" b="1" i="1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conomato</a:t>
            </a:r>
            <a:endParaRPr lang="en-US" sz="14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Oval 108"/>
          <p:cNvSpPr/>
          <p:nvPr/>
        </p:nvSpPr>
        <p:spPr>
          <a:xfrm>
            <a:off x="2339752" y="3104784"/>
            <a:ext cx="432048" cy="18038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1" name="Rectangle 14"/>
          <p:cNvSpPr>
            <a:spLocks noChangeArrowheads="1"/>
          </p:cNvSpPr>
          <p:nvPr/>
        </p:nvSpPr>
        <p:spPr bwMode="gray">
          <a:xfrm>
            <a:off x="3256051" y="3730224"/>
            <a:ext cx="1683732" cy="446636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Hermanos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2" name="AutoShape 34"/>
          <p:cNvCxnSpPr>
            <a:cxnSpLocks noChangeShapeType="1"/>
            <a:stCxn id="120" idx="4"/>
            <a:endCxn id="111" idx="3"/>
          </p:cNvCxnSpPr>
          <p:nvPr/>
        </p:nvCxnSpPr>
        <p:spPr bwMode="gray">
          <a:xfrm rot="16200000" flipH="1">
            <a:off x="2888179" y="3585670"/>
            <a:ext cx="321024" cy="414720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113" name="AutoShape 35"/>
          <p:cNvCxnSpPr>
            <a:cxnSpLocks noChangeShapeType="1"/>
            <a:stCxn id="120" idx="4"/>
            <a:endCxn id="115" idx="3"/>
          </p:cNvCxnSpPr>
          <p:nvPr/>
        </p:nvCxnSpPr>
        <p:spPr bwMode="gray">
          <a:xfrm rot="16200000" flipH="1">
            <a:off x="2576832" y="3897017"/>
            <a:ext cx="943718" cy="414720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114" name="AutoShape 36"/>
          <p:cNvCxnSpPr>
            <a:cxnSpLocks noChangeShapeType="1"/>
            <a:stCxn id="120" idx="4"/>
            <a:endCxn id="116" idx="3"/>
          </p:cNvCxnSpPr>
          <p:nvPr/>
        </p:nvCxnSpPr>
        <p:spPr bwMode="gray">
          <a:xfrm rot="16200000" flipH="1">
            <a:off x="1915869" y="4557979"/>
            <a:ext cx="2270022" cy="419099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115" name="Rectangle 14"/>
          <p:cNvSpPr>
            <a:spLocks noChangeArrowheads="1"/>
          </p:cNvSpPr>
          <p:nvPr/>
        </p:nvSpPr>
        <p:spPr bwMode="gray">
          <a:xfrm>
            <a:off x="3256051" y="4352918"/>
            <a:ext cx="1683732" cy="446636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Laicos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aristas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6" name="Rectangle 14"/>
          <p:cNvSpPr>
            <a:spLocks noChangeArrowheads="1"/>
          </p:cNvSpPr>
          <p:nvPr/>
        </p:nvSpPr>
        <p:spPr bwMode="gray">
          <a:xfrm>
            <a:off x="3260430" y="5679222"/>
            <a:ext cx="1683732" cy="446636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astoral </a:t>
            </a: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vocacional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7" name="Rectangle 14"/>
          <p:cNvSpPr>
            <a:spLocks noChangeArrowheads="1"/>
          </p:cNvSpPr>
          <p:nvPr/>
        </p:nvSpPr>
        <p:spPr bwMode="gray">
          <a:xfrm>
            <a:off x="3260430" y="4990151"/>
            <a:ext cx="1683731" cy="513011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spiritualidad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y Formación marista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8" name="AutoShape 35"/>
          <p:cNvCxnSpPr>
            <a:cxnSpLocks noChangeShapeType="1"/>
            <a:stCxn id="120" idx="4"/>
            <a:endCxn id="117" idx="3"/>
          </p:cNvCxnSpPr>
          <p:nvPr/>
        </p:nvCxnSpPr>
        <p:spPr bwMode="gray">
          <a:xfrm rot="16200000" flipH="1">
            <a:off x="2243811" y="4230037"/>
            <a:ext cx="1614139" cy="419099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119" name="CuadroTexto 56"/>
          <p:cNvSpPr txBox="1"/>
          <p:nvPr/>
        </p:nvSpPr>
        <p:spPr>
          <a:xfrm rot="16200000">
            <a:off x="1711588" y="4790345"/>
            <a:ext cx="2449427" cy="221599"/>
          </a:xfrm>
          <a:prstGeom prst="rect">
            <a:avLst/>
          </a:prstGeom>
          <a:solidFill>
            <a:schemeClr val="accent5"/>
          </a:solidFill>
          <a:ln w="6350" cap="flat">
            <a:solidFill>
              <a:schemeClr val="tx1"/>
            </a:solidFill>
            <a:prstDash val="dot"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n-US" sz="2400" kern="1700" baseline="2000" dirty="0" err="1" smtClean="0">
                <a:solidFill>
                  <a:srgbClr val="FFFFFF"/>
                </a:solidFill>
                <a:latin typeface="Arial "/>
              </a:rPr>
              <a:t>Comité</a:t>
            </a:r>
            <a:r>
              <a:rPr lang="en-US" sz="2400" kern="1700" baseline="2000" dirty="0" smtClean="0">
                <a:solidFill>
                  <a:srgbClr val="FFFFFF"/>
                </a:solidFill>
                <a:latin typeface="Arial "/>
              </a:rPr>
              <a:t> de </a:t>
            </a:r>
            <a:r>
              <a:rPr lang="en-US" sz="2400" kern="1700" baseline="2000" dirty="0" err="1" smtClean="0">
                <a:solidFill>
                  <a:srgbClr val="FFFFFF"/>
                </a:solidFill>
                <a:latin typeface="Arial "/>
              </a:rPr>
              <a:t>integración</a:t>
            </a:r>
            <a:endParaRPr lang="en-US" sz="2400" kern="1700" baseline="2000" dirty="0">
              <a:solidFill>
                <a:srgbClr val="FFFFFF"/>
              </a:solidFill>
              <a:latin typeface="Arial "/>
            </a:endParaRPr>
          </a:p>
        </p:txBody>
      </p:sp>
      <p:sp>
        <p:nvSpPr>
          <p:cNvPr id="120" name="Rectangle 6"/>
          <p:cNvSpPr>
            <a:spLocks noChangeArrowheads="1"/>
          </p:cNvSpPr>
          <p:nvPr/>
        </p:nvSpPr>
        <p:spPr bwMode="gray">
          <a:xfrm>
            <a:off x="2841331" y="3056518"/>
            <a:ext cx="2098452" cy="576000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tx2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400" b="1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Vocación</a:t>
            </a:r>
            <a:r>
              <a:rPr lang="en-US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marista</a:t>
            </a:r>
            <a:endParaRPr lang="en-US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21" name="Conector angular 45"/>
          <p:cNvCxnSpPr>
            <a:stCxn id="71" idx="2"/>
            <a:endCxn id="91" idx="1"/>
          </p:cNvCxnSpPr>
          <p:nvPr/>
        </p:nvCxnSpPr>
        <p:spPr>
          <a:xfrm rot="5400000">
            <a:off x="1659916" y="1917195"/>
            <a:ext cx="975797" cy="1298617"/>
          </a:xfrm>
          <a:prstGeom prst="bentConnector3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Conector angular 47"/>
          <p:cNvCxnSpPr>
            <a:stCxn id="71" idx="2"/>
            <a:endCxn id="120" idx="1"/>
          </p:cNvCxnSpPr>
          <p:nvPr/>
        </p:nvCxnSpPr>
        <p:spPr>
          <a:xfrm rot="16200000" flipH="1">
            <a:off x="2854883" y="2020843"/>
            <a:ext cx="977913" cy="1093435"/>
          </a:xfrm>
          <a:prstGeom prst="bentConnector3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Oval 125"/>
          <p:cNvSpPr/>
          <p:nvPr/>
        </p:nvSpPr>
        <p:spPr>
          <a:xfrm>
            <a:off x="4777718" y="3104784"/>
            <a:ext cx="432048" cy="18038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4" name="5-Point Star 126"/>
          <p:cNvSpPr/>
          <p:nvPr/>
        </p:nvSpPr>
        <p:spPr>
          <a:xfrm>
            <a:off x="4492133" y="3032956"/>
            <a:ext cx="396044" cy="324036"/>
          </a:xfrm>
          <a:prstGeom prst="star5">
            <a:avLst/>
          </a:prstGeom>
          <a:solidFill>
            <a:srgbClr val="FFFF00"/>
          </a:solidFill>
          <a:ln w="63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359532" y="3132483"/>
            <a:ext cx="122242" cy="473191"/>
          </a:xfrm>
          <a:prstGeom prst="rect">
            <a:avLst/>
          </a:prstGeom>
          <a:solidFill>
            <a:schemeClr val="accent3">
              <a:lumMod val="5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endParaRPr lang="en-US" sz="1400" b="1" i="1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26" name="AutoShape 26"/>
          <p:cNvCxnSpPr>
            <a:cxnSpLocks noChangeShapeType="1"/>
            <a:stCxn id="127" idx="6"/>
            <a:endCxn id="129" idx="7"/>
          </p:cNvCxnSpPr>
          <p:nvPr/>
        </p:nvCxnSpPr>
        <p:spPr bwMode="gray">
          <a:xfrm rot="16200000" flipH="1">
            <a:off x="5025537" y="4745562"/>
            <a:ext cx="1160372" cy="184087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127" name="Rectangle 12"/>
          <p:cNvSpPr>
            <a:spLocks noChangeArrowheads="1"/>
          </p:cNvSpPr>
          <p:nvPr/>
        </p:nvSpPr>
        <p:spPr bwMode="gray">
          <a:xfrm flipH="1">
            <a:off x="5513680" y="3854641"/>
            <a:ext cx="1340152" cy="402779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entro de </a:t>
            </a: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nimación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8" name="Rectangle 13"/>
          <p:cNvSpPr>
            <a:spLocks noChangeArrowheads="1"/>
          </p:cNvSpPr>
          <p:nvPr/>
        </p:nvSpPr>
        <p:spPr bwMode="gray">
          <a:xfrm flipH="1">
            <a:off x="6953840" y="3854641"/>
            <a:ext cx="1784192" cy="402779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ervicios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9" name="Rectangle 8"/>
          <p:cNvSpPr>
            <a:spLocks noChangeArrowheads="1"/>
          </p:cNvSpPr>
          <p:nvPr/>
        </p:nvSpPr>
        <p:spPr bwMode="gray">
          <a:xfrm flipH="1">
            <a:off x="5697767" y="5156928"/>
            <a:ext cx="1156065" cy="521727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ras</a:t>
            </a:r>
            <a:r>
              <a:rPr lang="en-US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ociales</a:t>
            </a:r>
            <a:r>
              <a:rPr lang="en-US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y Derechos del </a:t>
            </a: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niño</a:t>
            </a:r>
            <a:endParaRPr lang="en-US" sz="10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0" name="AutoShape 21"/>
          <p:cNvCxnSpPr>
            <a:cxnSpLocks noChangeShapeType="1"/>
            <a:stCxn id="128" idx="6"/>
            <a:endCxn id="140" idx="3"/>
          </p:cNvCxnSpPr>
          <p:nvPr/>
        </p:nvCxnSpPr>
        <p:spPr bwMode="gray">
          <a:xfrm rot="16200000" flipH="1">
            <a:off x="6859799" y="4351460"/>
            <a:ext cx="342008" cy="153927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131" name="AutoShape 21"/>
          <p:cNvCxnSpPr>
            <a:cxnSpLocks noChangeShapeType="1"/>
            <a:stCxn id="128" idx="6"/>
            <a:endCxn id="141" idx="3"/>
          </p:cNvCxnSpPr>
          <p:nvPr/>
        </p:nvCxnSpPr>
        <p:spPr bwMode="gray">
          <a:xfrm rot="16200000" flipH="1">
            <a:off x="6593245" y="4618014"/>
            <a:ext cx="875117" cy="153927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132" name="AutoShape 26"/>
          <p:cNvCxnSpPr>
            <a:cxnSpLocks noChangeShapeType="1"/>
            <a:stCxn id="127" idx="6"/>
            <a:endCxn id="152" idx="7"/>
          </p:cNvCxnSpPr>
          <p:nvPr/>
        </p:nvCxnSpPr>
        <p:spPr bwMode="gray">
          <a:xfrm rot="16200000" flipH="1">
            <a:off x="4758176" y="5012923"/>
            <a:ext cx="1695095" cy="184087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133" name="Rectangle 10"/>
          <p:cNvSpPr>
            <a:spLocks noChangeArrowheads="1"/>
          </p:cNvSpPr>
          <p:nvPr/>
        </p:nvSpPr>
        <p:spPr bwMode="gray">
          <a:xfrm flipH="1">
            <a:off x="5697767" y="4755214"/>
            <a:ext cx="1156065" cy="275104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ducación</a:t>
            </a:r>
            <a:endParaRPr lang="en-US" sz="10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4" name="AutoShape 26"/>
          <p:cNvCxnSpPr>
            <a:cxnSpLocks noChangeShapeType="1"/>
            <a:stCxn id="127" idx="6"/>
            <a:endCxn id="133" idx="7"/>
          </p:cNvCxnSpPr>
          <p:nvPr/>
        </p:nvCxnSpPr>
        <p:spPr bwMode="gray">
          <a:xfrm rot="16200000" flipH="1">
            <a:off x="5288050" y="4483049"/>
            <a:ext cx="635346" cy="184087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135" name="AutoShape 21"/>
          <p:cNvCxnSpPr>
            <a:cxnSpLocks noChangeShapeType="1"/>
            <a:stCxn id="128" idx="6"/>
            <a:endCxn id="142" idx="3"/>
          </p:cNvCxnSpPr>
          <p:nvPr/>
        </p:nvCxnSpPr>
        <p:spPr bwMode="gray">
          <a:xfrm rot="16200000" flipH="1">
            <a:off x="6336919" y="4874340"/>
            <a:ext cx="1387769" cy="153927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136" name="AutoShape 21"/>
          <p:cNvCxnSpPr>
            <a:cxnSpLocks noChangeShapeType="1"/>
            <a:stCxn id="128" idx="6"/>
            <a:endCxn id="143" idx="3"/>
          </p:cNvCxnSpPr>
          <p:nvPr/>
        </p:nvCxnSpPr>
        <p:spPr bwMode="gray">
          <a:xfrm rot="16200000" flipH="1">
            <a:off x="6064378" y="5146881"/>
            <a:ext cx="1932850" cy="153927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137" name="Rectangle 10"/>
          <p:cNvSpPr>
            <a:spLocks noChangeArrowheads="1"/>
          </p:cNvSpPr>
          <p:nvPr/>
        </p:nvSpPr>
        <p:spPr bwMode="gray">
          <a:xfrm flipH="1">
            <a:off x="5697767" y="4353500"/>
            <a:ext cx="1156065" cy="275104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0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vangelización</a:t>
            </a:r>
            <a:endParaRPr lang="en-US" sz="10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8" name="AutoShape 26"/>
          <p:cNvCxnSpPr>
            <a:cxnSpLocks noChangeShapeType="1"/>
            <a:stCxn id="127" idx="6"/>
            <a:endCxn id="137" idx="7"/>
          </p:cNvCxnSpPr>
          <p:nvPr/>
        </p:nvCxnSpPr>
        <p:spPr bwMode="gray">
          <a:xfrm rot="16200000" flipH="1">
            <a:off x="5488907" y="4282192"/>
            <a:ext cx="233632" cy="184087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139" name="CuadroTexto 56"/>
          <p:cNvSpPr txBox="1"/>
          <p:nvPr/>
        </p:nvSpPr>
        <p:spPr>
          <a:xfrm rot="16200000">
            <a:off x="4712487" y="5081655"/>
            <a:ext cx="1657667" cy="22159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6350" cap="flat">
            <a:solidFill>
              <a:schemeClr val="tx1"/>
            </a:solidFill>
            <a:prstDash val="dot"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" sz="2400" kern="1700" baseline="2000" dirty="0" smtClean="0">
                <a:solidFill>
                  <a:srgbClr val="FFFFFF"/>
                </a:solidFill>
                <a:latin typeface="Arial "/>
              </a:rPr>
              <a:t>Redes</a:t>
            </a:r>
            <a:endParaRPr lang="es-ES" sz="2400" kern="1700" baseline="2000" dirty="0">
              <a:solidFill>
                <a:srgbClr val="FFFFFF"/>
              </a:solidFill>
              <a:latin typeface="Arial "/>
            </a:endParaRPr>
          </a:p>
        </p:txBody>
      </p:sp>
      <p:sp>
        <p:nvSpPr>
          <p:cNvPr id="140" name="Rectangle 14"/>
          <p:cNvSpPr>
            <a:spLocks noChangeArrowheads="1"/>
          </p:cNvSpPr>
          <p:nvPr/>
        </p:nvSpPr>
        <p:spPr bwMode="gray">
          <a:xfrm>
            <a:off x="7107767" y="4365699"/>
            <a:ext cx="1630265" cy="467457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>
              <a:lumMod val="65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0" tIns="72000" rIns="0" bIns="72000" anchor="ctr"/>
          <a:lstStyle/>
          <a:p>
            <a:pPr algn="ctr" eaLnBrk="0" hangingPunct="0">
              <a:lnSpc>
                <a:spcPct val="70000"/>
              </a:lnSpc>
            </a:pPr>
            <a:r>
              <a:rPr lang="en-US" sz="1000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strategia</a:t>
            </a:r>
            <a:r>
              <a:rPr 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, innovación y </a:t>
            </a:r>
            <a:r>
              <a:rPr lang="en-US" sz="1000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royectos</a:t>
            </a:r>
            <a:r>
              <a:rPr 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peciales</a:t>
            </a:r>
            <a:r>
              <a:rPr 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en-US" sz="1000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lanificación</a:t>
            </a:r>
            <a:r>
              <a:rPr 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stratégica</a:t>
            </a:r>
            <a:r>
              <a:rPr 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000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labraciones</a:t>
            </a:r>
            <a:r>
              <a:rPr 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)</a:t>
            </a:r>
          </a:p>
        </p:txBody>
      </p:sp>
      <p:sp>
        <p:nvSpPr>
          <p:cNvPr id="141" name="Rectangle 14"/>
          <p:cNvSpPr>
            <a:spLocks noChangeArrowheads="1"/>
          </p:cNvSpPr>
          <p:nvPr/>
        </p:nvSpPr>
        <p:spPr bwMode="gray">
          <a:xfrm>
            <a:off x="7107767" y="4901900"/>
            <a:ext cx="1630265" cy="461273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>
              <a:lumMod val="65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000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conomía</a:t>
            </a:r>
            <a:r>
              <a:rPr 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en-US" sz="1000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gestión</a:t>
            </a:r>
            <a:r>
              <a:rPr 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000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ctivos</a:t>
            </a:r>
            <a:r>
              <a:rPr 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, control, </a:t>
            </a:r>
            <a:r>
              <a:rPr lang="en-US" sz="1000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aptación</a:t>
            </a:r>
            <a:r>
              <a:rPr 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000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ondos</a:t>
            </a:r>
            <a:r>
              <a:rPr 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)</a:t>
            </a:r>
          </a:p>
        </p:txBody>
      </p:sp>
      <p:sp>
        <p:nvSpPr>
          <p:cNvPr id="142" name="Rectangle 14"/>
          <p:cNvSpPr>
            <a:spLocks noChangeArrowheads="1"/>
          </p:cNvSpPr>
          <p:nvPr/>
        </p:nvSpPr>
        <p:spPr bwMode="gray">
          <a:xfrm>
            <a:off x="7107767" y="5431917"/>
            <a:ext cx="1630265" cy="426543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>
              <a:lumMod val="65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900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Gestión</a:t>
            </a:r>
            <a:r>
              <a:rPr lang="en-US" sz="9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de las personas, </a:t>
            </a:r>
            <a:r>
              <a:rPr lang="en-US" sz="900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esarrollo</a:t>
            </a:r>
            <a:r>
              <a:rPr lang="en-US" sz="9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900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mpetencias</a:t>
            </a:r>
            <a:r>
              <a:rPr lang="en-US" sz="9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y </a:t>
            </a:r>
            <a:r>
              <a:rPr lang="en-US" sz="900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voluntariado</a:t>
            </a:r>
            <a:endParaRPr lang="en-US" sz="9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3" name="Rectangle 14"/>
          <p:cNvSpPr>
            <a:spLocks noChangeArrowheads="1"/>
          </p:cNvSpPr>
          <p:nvPr/>
        </p:nvSpPr>
        <p:spPr bwMode="gray">
          <a:xfrm>
            <a:off x="7107767" y="5927204"/>
            <a:ext cx="1630265" cy="526132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>
              <a:lumMod val="65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000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Herramientas</a:t>
            </a:r>
            <a:r>
              <a:rPr 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(TIC, Comunicación , </a:t>
            </a:r>
            <a:r>
              <a:rPr lang="en-US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arketing </a:t>
            </a:r>
            <a:r>
              <a:rPr 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y </a:t>
            </a:r>
            <a:r>
              <a:rPr lang="en-US" sz="1000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gestión</a:t>
            </a:r>
            <a:r>
              <a:rPr 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del </a:t>
            </a:r>
            <a:r>
              <a:rPr lang="en-US" sz="1000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nocimiento</a:t>
            </a:r>
            <a:r>
              <a:rPr 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).</a:t>
            </a:r>
          </a:p>
        </p:txBody>
      </p:sp>
      <p:sp>
        <p:nvSpPr>
          <p:cNvPr id="144" name="Rectangle 7"/>
          <p:cNvSpPr>
            <a:spLocks noChangeArrowheads="1"/>
          </p:cNvSpPr>
          <p:nvPr/>
        </p:nvSpPr>
        <p:spPr bwMode="gray">
          <a:xfrm>
            <a:off x="5523365" y="2000039"/>
            <a:ext cx="2998174" cy="576000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nsejo de Misión</a:t>
            </a:r>
            <a:endParaRPr lang="en-US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en-US" sz="1000" b="1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ntidades</a:t>
            </a:r>
            <a:r>
              <a:rPr lang="en-U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anónicas</a:t>
            </a:r>
            <a:r>
              <a:rPr lang="en-U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y </a:t>
            </a:r>
            <a:r>
              <a:rPr lang="en-US" sz="1000" b="1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iviles</a:t>
            </a:r>
            <a:r>
              <a:rPr lang="en-U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5" name="Oval 124"/>
          <p:cNvSpPr/>
          <p:nvPr/>
        </p:nvSpPr>
        <p:spPr>
          <a:xfrm>
            <a:off x="8259669" y="1927714"/>
            <a:ext cx="432048" cy="18038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6" name="5-Point Star 127"/>
          <p:cNvSpPr/>
          <p:nvPr/>
        </p:nvSpPr>
        <p:spPr>
          <a:xfrm>
            <a:off x="7974084" y="1826577"/>
            <a:ext cx="396044" cy="324036"/>
          </a:xfrm>
          <a:prstGeom prst="star5">
            <a:avLst/>
          </a:prstGeom>
          <a:solidFill>
            <a:srgbClr val="FFFF00"/>
          </a:solidFill>
          <a:ln w="63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7" name="Rectangle 6"/>
          <p:cNvSpPr>
            <a:spLocks noChangeArrowheads="1"/>
          </p:cNvSpPr>
          <p:nvPr/>
        </p:nvSpPr>
        <p:spPr bwMode="gray">
          <a:xfrm>
            <a:off x="5328084" y="3140968"/>
            <a:ext cx="3409948" cy="576000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isión</a:t>
            </a:r>
            <a:endParaRPr lang="en-US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48" name="Straight Connector 147"/>
          <p:cNvCxnSpPr>
            <a:stCxn id="144" idx="5"/>
            <a:endCxn id="147" idx="1"/>
          </p:cNvCxnSpPr>
          <p:nvPr/>
        </p:nvCxnSpPr>
        <p:spPr>
          <a:xfrm>
            <a:off x="7022452" y="2576039"/>
            <a:ext cx="10606" cy="564929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Oval 125"/>
          <p:cNvSpPr/>
          <p:nvPr/>
        </p:nvSpPr>
        <p:spPr>
          <a:xfrm>
            <a:off x="8466589" y="3104784"/>
            <a:ext cx="432048" cy="18038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0" name="5-Point Star 126"/>
          <p:cNvSpPr/>
          <p:nvPr/>
        </p:nvSpPr>
        <p:spPr>
          <a:xfrm>
            <a:off x="8181004" y="3032956"/>
            <a:ext cx="396044" cy="324036"/>
          </a:xfrm>
          <a:prstGeom prst="star5">
            <a:avLst/>
          </a:prstGeom>
          <a:solidFill>
            <a:srgbClr val="FFFF00"/>
          </a:solidFill>
          <a:ln w="63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51" name="Conector angular 47"/>
          <p:cNvCxnSpPr>
            <a:stCxn id="71" idx="2"/>
            <a:endCxn id="144" idx="3"/>
          </p:cNvCxnSpPr>
          <p:nvPr/>
        </p:nvCxnSpPr>
        <p:spPr>
          <a:xfrm rot="16200000" flipH="1">
            <a:off x="4055526" y="820200"/>
            <a:ext cx="209434" cy="2726243"/>
          </a:xfrm>
          <a:prstGeom prst="bentConnector2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tangle 8"/>
          <p:cNvSpPr>
            <a:spLocks noChangeArrowheads="1"/>
          </p:cNvSpPr>
          <p:nvPr/>
        </p:nvSpPr>
        <p:spPr bwMode="gray">
          <a:xfrm flipH="1">
            <a:off x="5697767" y="5805264"/>
            <a:ext cx="1156065" cy="294501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</a:t>
            </a:r>
            <a:endParaRPr lang="en-US" sz="10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3" name="TextBox 152"/>
          <p:cNvSpPr txBox="1"/>
          <p:nvPr/>
        </p:nvSpPr>
        <p:spPr>
          <a:xfrm>
            <a:off x="245110" y="6369685"/>
            <a:ext cx="7243214" cy="36830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lvl="1">
              <a:lnSpc>
                <a:spcPct val="90000"/>
              </a:lnSpc>
            </a:pPr>
            <a:r>
              <a:rPr lang="en-US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Participación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de </a:t>
            </a:r>
            <a:r>
              <a:rPr lang="en-US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laicos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en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la </a:t>
            </a:r>
            <a:r>
              <a:rPr lang="en-US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gobernanza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               </a:t>
            </a:r>
            <a:r>
              <a:rPr lang="en-US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Participación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de </a:t>
            </a:r>
            <a:r>
              <a:rPr lang="en-US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laicos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en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la </a:t>
            </a:r>
            <a:r>
              <a:rPr lang="en-US" sz="10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gestión</a:t>
            </a:r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54" name="5-Point Star 122"/>
          <p:cNvSpPr/>
          <p:nvPr/>
        </p:nvSpPr>
        <p:spPr>
          <a:xfrm>
            <a:off x="200174" y="6453696"/>
            <a:ext cx="396044" cy="324036"/>
          </a:xfrm>
          <a:prstGeom prst="star5">
            <a:avLst/>
          </a:prstGeom>
          <a:solidFill>
            <a:srgbClr val="FFFF00"/>
          </a:solidFill>
          <a:ln w="63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5" name="Oval 123"/>
          <p:cNvSpPr/>
          <p:nvPr/>
        </p:nvSpPr>
        <p:spPr>
          <a:xfrm>
            <a:off x="3095836" y="6575220"/>
            <a:ext cx="357065" cy="18038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56" name="Conector angular 47"/>
          <p:cNvCxnSpPr>
            <a:stCxn id="147" idx="5"/>
            <a:endCxn id="127" idx="1"/>
          </p:cNvCxnSpPr>
          <p:nvPr/>
        </p:nvCxnSpPr>
        <p:spPr>
          <a:xfrm rot="5400000">
            <a:off x="6539571" y="3361153"/>
            <a:ext cx="137673" cy="849302"/>
          </a:xfrm>
          <a:prstGeom prst="bentConnector3">
            <a:avLst>
              <a:gd name="adj1" fmla="val 50000"/>
            </a:avLst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Conector angular 47"/>
          <p:cNvCxnSpPr>
            <a:stCxn id="147" idx="5"/>
            <a:endCxn id="128" idx="1"/>
          </p:cNvCxnSpPr>
          <p:nvPr/>
        </p:nvCxnSpPr>
        <p:spPr>
          <a:xfrm rot="16200000" flipH="1">
            <a:off x="7370661" y="3379365"/>
            <a:ext cx="137673" cy="812878"/>
          </a:xfrm>
          <a:prstGeom prst="bentConnector3">
            <a:avLst>
              <a:gd name="adj1" fmla="val 50000"/>
            </a:avLst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unningHead"/>
          <p:cNvSpPr txBox="1">
            <a:spLocks noChangeArrowheads="1"/>
          </p:cNvSpPr>
          <p:nvPr/>
        </p:nvSpPr>
        <p:spPr bwMode="gray">
          <a:xfrm>
            <a:off x="6861175" y="139700"/>
            <a:ext cx="2030413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" sz="1200" dirty="0">
                <a:solidFill>
                  <a:srgbClr val="000000"/>
                </a:solidFill>
              </a:rPr>
              <a:t>¿Estamos bien organizados? </a:t>
            </a:r>
          </a:p>
        </p:txBody>
      </p:sp>
    </p:spTree>
    <p:extLst>
      <p:ext uri="{BB962C8B-B14F-4D97-AF65-F5344CB8AC3E}">
        <p14:creationId xmlns:p14="http://schemas.microsoft.com/office/powerpoint/2010/main" val="4195220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1201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71512"/>
          </a:xfrm>
        </p:spPr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Preguntas por responder</a:t>
            </a:r>
            <a:br>
              <a:rPr lang="es-ES_tradnl" dirty="0" smtClean="0">
                <a:latin typeface="Arial" charset="0"/>
                <a:cs typeface="Arial" charset="0"/>
              </a:rPr>
            </a:br>
            <a:endParaRPr lang="es-ES_tradnl" dirty="0" smtClean="0">
              <a:latin typeface="Arial" charset="0"/>
              <a:cs typeface="Arial" charset="0"/>
            </a:endParaRPr>
          </a:p>
        </p:txBody>
      </p:sp>
      <p:sp>
        <p:nvSpPr>
          <p:cNvPr id="3251202" name="Content Placeholder 2"/>
          <p:cNvSpPr>
            <a:spLocks noGrp="1"/>
          </p:cNvSpPr>
          <p:nvPr>
            <p:ph idx="1"/>
          </p:nvPr>
        </p:nvSpPr>
        <p:spPr>
          <a:xfrm>
            <a:off x="244475" y="1760538"/>
            <a:ext cx="4722813" cy="4003675"/>
          </a:xfrm>
        </p:spPr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¿Cómo quiere el Instituto Marista </a:t>
            </a:r>
            <a:r>
              <a:rPr lang="es-ES_tradnl" b="1" dirty="0" smtClean="0">
                <a:latin typeface="Arial" charset="0"/>
                <a:cs typeface="Arial" charset="0"/>
              </a:rPr>
              <a:t>ser percibido en el mundo</a:t>
            </a:r>
            <a:r>
              <a:rPr lang="es-ES_tradnl" dirty="0" smtClean="0">
                <a:latin typeface="Arial" charset="0"/>
                <a:cs typeface="Arial" charset="0"/>
              </a:rPr>
              <a:t> y en las comunidades locales? </a:t>
            </a:r>
          </a:p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¿Dónde se hace más</a:t>
            </a:r>
            <a:r>
              <a:rPr lang="es-ES_tradnl" b="1" dirty="0" smtClean="0">
                <a:latin typeface="Arial" charset="0"/>
                <a:cs typeface="Arial" charset="0"/>
              </a:rPr>
              <a:t> urgente nuestra presencia </a:t>
            </a:r>
            <a:r>
              <a:rPr lang="es-ES_tradnl" dirty="0" smtClean="0">
                <a:latin typeface="Arial" charset="0"/>
                <a:cs typeface="Arial" charset="0"/>
              </a:rPr>
              <a:t>entre niños y jóvenes? </a:t>
            </a:r>
          </a:p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¿Cuál es el </a:t>
            </a:r>
            <a:r>
              <a:rPr lang="es-ES_tradnl" b="1" dirty="0" smtClean="0">
                <a:latin typeface="Arial" charset="0"/>
                <a:cs typeface="Arial" charset="0"/>
              </a:rPr>
              <a:t>lugar y el rol de los laicos </a:t>
            </a:r>
            <a:r>
              <a:rPr lang="es-ES_tradnl" dirty="0" smtClean="0">
                <a:latin typeface="Arial" charset="0"/>
                <a:cs typeface="Arial" charset="0"/>
              </a:rPr>
              <a:t>en el Instituto y la contribución específica de los </a:t>
            </a:r>
            <a:r>
              <a:rPr lang="es-ES_tradnl" b="1" dirty="0" smtClean="0">
                <a:latin typeface="Arial" charset="0"/>
                <a:cs typeface="Arial" charset="0"/>
              </a:rPr>
              <a:t>Hermanos</a:t>
            </a:r>
            <a:r>
              <a:rPr lang="es-ES_tradnl" dirty="0" smtClean="0">
                <a:latin typeface="Arial" charset="0"/>
                <a:cs typeface="Arial" charset="0"/>
              </a:rPr>
              <a:t> en la Misión?</a:t>
            </a:r>
          </a:p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¿Cuáles son </a:t>
            </a:r>
            <a:r>
              <a:rPr lang="es-ES_tradnl" b="1" dirty="0" smtClean="0">
                <a:latin typeface="Arial" charset="0"/>
                <a:cs typeface="Arial" charset="0"/>
              </a:rPr>
              <a:t>los vectores de expansión </a:t>
            </a:r>
            <a:r>
              <a:rPr lang="es-ES_tradnl" dirty="0" smtClean="0">
                <a:latin typeface="Arial" charset="0"/>
                <a:cs typeface="Arial" charset="0"/>
              </a:rPr>
              <a:t>de los frentes apostólicos del Instituto Marista?</a:t>
            </a:r>
          </a:p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¿Cuáles son los principales </a:t>
            </a:r>
            <a:r>
              <a:rPr lang="es-ES_tradnl" b="1" dirty="0" smtClean="0">
                <a:latin typeface="Arial" charset="0"/>
                <a:cs typeface="Arial" charset="0"/>
              </a:rPr>
              <a:t>desafíos a largo plazo </a:t>
            </a:r>
            <a:r>
              <a:rPr lang="es-ES_tradnl" dirty="0" smtClean="0">
                <a:latin typeface="Arial" charset="0"/>
                <a:cs typeface="Arial" charset="0"/>
              </a:rPr>
              <a:t>que el Instituto debe superar?</a:t>
            </a:r>
          </a:p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¿Qué tipo de modelos pueden contribuir a una mayor </a:t>
            </a:r>
            <a:r>
              <a:rPr lang="es-ES_tradnl" b="1" dirty="0" smtClean="0">
                <a:latin typeface="Arial" charset="0"/>
                <a:cs typeface="Arial" charset="0"/>
              </a:rPr>
              <a:t>participación y corresponsabilidad entre las UA y la AG</a:t>
            </a:r>
            <a:r>
              <a:rPr lang="es-ES_tradnl" dirty="0" smtClean="0">
                <a:latin typeface="Arial" charset="0"/>
                <a:cs typeface="Arial" charset="0"/>
              </a:rPr>
              <a:t>?</a:t>
            </a:r>
          </a:p>
        </p:txBody>
      </p:sp>
      <p:sp>
        <p:nvSpPr>
          <p:cNvPr id="3251203" name="Rectangle 5"/>
          <p:cNvSpPr txBox="1">
            <a:spLocks noChangeArrowheads="1"/>
          </p:cNvSpPr>
          <p:nvPr/>
        </p:nvSpPr>
        <p:spPr bwMode="auto">
          <a:xfrm>
            <a:off x="5667375" y="139700"/>
            <a:ext cx="3225800" cy="1698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>
                <a:solidFill>
                  <a:srgbClr val="000000"/>
                </a:solidFill>
              </a:rPr>
              <a:t>Información general y principios fundamentales</a:t>
            </a:r>
          </a:p>
        </p:txBody>
      </p:sp>
      <p:pic>
        <p:nvPicPr>
          <p:cNvPr id="325120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27650" y="1760538"/>
            <a:ext cx="3708400" cy="330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84417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755687" cy="664797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… donde el Hermano Provincial con su Consejo tienen la última responsabilidad en línea con una gestión “familiar”… </a:t>
            </a:r>
          </a:p>
        </p:txBody>
      </p:sp>
      <p:sp>
        <p:nvSpPr>
          <p:cNvPr id="3" name="Rectangle 2"/>
          <p:cNvSpPr/>
          <p:nvPr/>
        </p:nvSpPr>
        <p:spPr>
          <a:xfrm>
            <a:off x="2519363" y="1736725"/>
            <a:ext cx="6408737" cy="171926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112713" indent="-112713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400" b="1" dirty="0" smtClean="0">
                <a:solidFill>
                  <a:srgbClr val="000000"/>
                </a:solidFill>
                <a:cs typeface="Arial" charset="0"/>
              </a:rPr>
              <a:t>Responsable </a:t>
            </a: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de la animación espiritual y apostólica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 de la Provincia y de la </a:t>
            </a: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administración de recursos provinciales.</a:t>
            </a:r>
            <a:endParaRPr lang="es-ES" sz="1400" dirty="0">
              <a:solidFill>
                <a:srgbClr val="000000"/>
              </a:solidFill>
              <a:cs typeface="Arial" charset="0"/>
            </a:endParaRPr>
          </a:p>
          <a:p>
            <a:pPr marL="112713" indent="-112713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Autoridad directa sobre todos los Hermanos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y todas las casas de la Provincia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.</a:t>
            </a:r>
            <a:endParaRPr lang="es-ES" sz="1400" b="1" dirty="0">
              <a:solidFill>
                <a:srgbClr val="000000"/>
              </a:solidFill>
              <a:cs typeface="Arial" charset="0"/>
            </a:endParaRPr>
          </a:p>
          <a:p>
            <a:pPr marL="112713" indent="-112713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Compuesto de Hermanos que, junto con el Hermano Provincial, forman un grupo de reflexión, consulta y </a:t>
            </a: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toma de decisiones para la Provincia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.. </a:t>
            </a:r>
          </a:p>
          <a:p>
            <a:pPr marL="112713" indent="-112713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Los miembros (Hermanos) son elegidos.</a:t>
            </a:r>
          </a:p>
        </p:txBody>
      </p:sp>
      <p:sp>
        <p:nvSpPr>
          <p:cNvPr id="7484419" name="AutoShape 3"/>
          <p:cNvSpPr>
            <a:spLocks noChangeArrowheads="1"/>
          </p:cNvSpPr>
          <p:nvPr/>
        </p:nvSpPr>
        <p:spPr bwMode="gray">
          <a:xfrm>
            <a:off x="179388" y="1773239"/>
            <a:ext cx="2346325" cy="1682750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0" hangingPunct="0">
              <a:lnSpc>
                <a:spcPct val="90000"/>
              </a:lnSpc>
            </a:pPr>
            <a:r>
              <a:rPr lang="es-ES" sz="1600" b="1" i="1" dirty="0" smtClean="0">
                <a:solidFill>
                  <a:srgbClr val="FFFFFF"/>
                </a:solidFill>
              </a:rPr>
              <a:t>Alcance </a:t>
            </a:r>
            <a:r>
              <a:rPr lang="es-ES" sz="1600" b="1" i="1" dirty="0">
                <a:solidFill>
                  <a:srgbClr val="FFFFFF"/>
                </a:solidFill>
              </a:rPr>
              <a:t>y composición</a:t>
            </a:r>
          </a:p>
        </p:txBody>
      </p:sp>
      <p:sp>
        <p:nvSpPr>
          <p:cNvPr id="5" name="Rectangle 4"/>
          <p:cNvSpPr/>
          <p:nvPr/>
        </p:nvSpPr>
        <p:spPr>
          <a:xfrm>
            <a:off x="2514600" y="3758694"/>
            <a:ext cx="6407150" cy="3054682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112713" indent="-112713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Órgano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responsable de la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toma de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decisiones sobre </a:t>
            </a: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la vida consagrada a nivel de la UA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.</a:t>
            </a:r>
            <a:endParaRPr lang="es-ES" sz="1400" b="1" dirty="0">
              <a:solidFill>
                <a:srgbClr val="000000"/>
              </a:solidFill>
              <a:cs typeface="Arial" charset="0"/>
            </a:endParaRPr>
          </a:p>
          <a:p>
            <a:pPr marL="112713" indent="-112713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Con el apoyo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del área de Vocación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Marista,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del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Economato y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del Consejo Provincial de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Misión. </a:t>
            </a:r>
          </a:p>
          <a:p>
            <a:pPr marL="112713" indent="-112713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Está a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cargo de la </a:t>
            </a: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planificación estratégica de la Provincia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que ha de</a:t>
            </a:r>
            <a:r>
              <a:rPr lang="es-ES" sz="1400" b="1" dirty="0" smtClean="0">
                <a:solidFill>
                  <a:srgbClr val="000000"/>
                </a:solidFill>
                <a:cs typeface="Arial" charset="0"/>
              </a:rPr>
              <a:t> </a:t>
            </a: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ser aprobada por el Consejo Regional y desarrollada </a:t>
            </a:r>
            <a:r>
              <a:rPr lang="es-ES" sz="1400" b="1" dirty="0" smtClean="0">
                <a:solidFill>
                  <a:srgbClr val="000000"/>
                </a:solidFill>
                <a:cs typeface="Arial" charset="0"/>
              </a:rPr>
              <a:t>por el Consejo de Misión de la Provincia. </a:t>
            </a:r>
            <a:endParaRPr lang="es-ES" sz="1400" b="1" dirty="0">
              <a:solidFill>
                <a:srgbClr val="000000"/>
              </a:solidFill>
              <a:cs typeface="Arial" charset="0"/>
            </a:endParaRPr>
          </a:p>
          <a:p>
            <a:pPr marL="112713" indent="-112713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Tiene </a:t>
            </a: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pleno apoyo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por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parte del Consejo de Misión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para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la animación y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la gobernanza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de la Misión. </a:t>
            </a:r>
          </a:p>
          <a:p>
            <a:pPr marL="112713" indent="-112713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Puede formar comités para supervisar temas clave identificados. Los miembros de los </a:t>
            </a:r>
            <a:r>
              <a:rPr lang="es-ES" sz="1400" b="1" dirty="0">
                <a:solidFill>
                  <a:srgbClr val="000000"/>
                </a:solidFill>
                <a:cs typeface="Arial" charset="0"/>
              </a:rPr>
              <a:t>Comités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 deben ser Hermanos y Laicos.</a:t>
            </a:r>
          </a:p>
          <a:p>
            <a:pPr marL="112713" indent="-112713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charset="0"/>
              </a:rPr>
              <a:t>Tiene </a:t>
            </a:r>
            <a:r>
              <a:rPr lang="es-ES" sz="1400" b="1" dirty="0" smtClean="0">
                <a:solidFill>
                  <a:srgbClr val="000000"/>
                </a:solidFill>
                <a:cs typeface="Arial" charset="0"/>
              </a:rPr>
              <a:t>una visión de conjunto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 de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todos los aspectos de la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Misión y de su desarrollo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mediante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informes </a:t>
            </a:r>
            <a:r>
              <a:rPr lang="es-ES" sz="1400" dirty="0">
                <a:solidFill>
                  <a:srgbClr val="000000"/>
                </a:solidFill>
                <a:cs typeface="Arial" charset="0"/>
              </a:rPr>
              <a:t>de control y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seguimiento. Interviene de forma excepcional.</a:t>
            </a:r>
            <a:endParaRPr lang="es-ES" sz="1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484421" name="AutoShape 3"/>
          <p:cNvSpPr>
            <a:spLocks noChangeArrowheads="1"/>
          </p:cNvSpPr>
          <p:nvPr/>
        </p:nvSpPr>
        <p:spPr bwMode="gray">
          <a:xfrm>
            <a:off x="179388" y="3758694"/>
            <a:ext cx="2339975" cy="2847743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 i="1" dirty="0">
                <a:solidFill>
                  <a:srgbClr val="FFFFFF"/>
                </a:solidFill>
              </a:rPr>
              <a:t>Responsabilidades clave y gobernanza y mecanismos de gestión</a:t>
            </a:r>
            <a:endParaRPr lang="en-US" sz="1600" b="1" i="1" dirty="0">
              <a:solidFill>
                <a:srgbClr val="FFFFFF"/>
              </a:solidFill>
            </a:endParaRPr>
          </a:p>
        </p:txBody>
      </p:sp>
      <p:sp>
        <p:nvSpPr>
          <p:cNvPr id="8" name="RunningHead"/>
          <p:cNvSpPr txBox="1">
            <a:spLocks noChangeArrowheads="1"/>
          </p:cNvSpPr>
          <p:nvPr/>
        </p:nvSpPr>
        <p:spPr bwMode="gray">
          <a:xfrm>
            <a:off x="6861175" y="139700"/>
            <a:ext cx="2030413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" sz="1200" dirty="0">
                <a:solidFill>
                  <a:srgbClr val="000000"/>
                </a:solidFill>
              </a:rPr>
              <a:t>¿Estamos bien organizados? </a:t>
            </a:r>
          </a:p>
        </p:txBody>
      </p:sp>
    </p:spTree>
    <p:extLst>
      <p:ext uri="{BB962C8B-B14F-4D97-AF65-F5344CB8AC3E}">
        <p14:creationId xmlns:p14="http://schemas.microsoft.com/office/powerpoint/2010/main" val="145788038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85441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4797"/>
          </a:xfrm>
        </p:spPr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… el Consejo de Misión se centra en la gestión diaria de la Misión, de acuerdo con su autoridad delegada…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79388" y="3149472"/>
            <a:ext cx="8742362" cy="1928812"/>
            <a:chOff x="179388" y="2957513"/>
            <a:chExt cx="8742362" cy="1928812"/>
          </a:xfrm>
        </p:grpSpPr>
        <p:sp>
          <p:nvSpPr>
            <p:cNvPr id="5" name="Rectangle 4"/>
            <p:cNvSpPr/>
            <p:nvPr/>
          </p:nvSpPr>
          <p:spPr>
            <a:xfrm>
              <a:off x="2514600" y="2957513"/>
              <a:ext cx="6407150" cy="192881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>
              <a:spAutoFit/>
            </a:bodyPr>
            <a:lstStyle/>
            <a:p>
              <a:pPr marL="113414" indent="-113414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400" b="1" dirty="0" smtClean="0">
                  <a:solidFill>
                    <a:srgbClr val="000000"/>
                  </a:solidFill>
                  <a:cs typeface="Arial" pitchFamily="34" charset="0"/>
                </a:rPr>
                <a:t>Dirige </a:t>
              </a:r>
              <a:r>
                <a:rPr lang="es-ES_tradnl" sz="1400" b="1" dirty="0">
                  <a:solidFill>
                    <a:srgbClr val="000000"/>
                  </a:solidFill>
                  <a:cs typeface="Arial" pitchFamily="34" charset="0"/>
                </a:rPr>
                <a:t>y coordina el día a día y los proyectos </a:t>
              </a:r>
              <a:r>
                <a:rPr lang="es-ES_tradnl" sz="1400" b="1" dirty="0" smtClean="0">
                  <a:solidFill>
                    <a:srgbClr val="000000"/>
                  </a:solidFill>
                  <a:cs typeface="Arial" pitchFamily="34" charset="0"/>
                </a:rPr>
                <a:t>específicos </a:t>
              </a:r>
              <a:r>
                <a:rPr lang="es-ES_tradnl" sz="1400" dirty="0" smtClean="0">
                  <a:solidFill>
                    <a:srgbClr val="000000"/>
                  </a:solidFill>
                  <a:cs typeface="Arial" pitchFamily="34" charset="0"/>
                </a:rPr>
                <a:t>(bajo </a:t>
              </a:r>
              <a:r>
                <a:rPr lang="es-ES_tradnl" sz="1400" dirty="0">
                  <a:solidFill>
                    <a:srgbClr val="000000"/>
                  </a:solidFill>
                  <a:cs typeface="Arial" pitchFamily="34" charset="0"/>
                </a:rPr>
                <a:t>mandato del Consejo Provincial).</a:t>
              </a:r>
            </a:p>
            <a:p>
              <a:pPr marL="113414" indent="-113414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400" dirty="0">
                  <a:solidFill>
                    <a:srgbClr val="000000"/>
                  </a:solidFill>
                  <a:cs typeface="Arial" pitchFamily="34" charset="0"/>
                </a:rPr>
                <a:t>Está a cargo de la estrategia del </a:t>
              </a:r>
              <a:r>
                <a:rPr lang="es-ES_tradnl" sz="1400" b="1" dirty="0" smtClean="0">
                  <a:solidFill>
                    <a:srgbClr val="000000"/>
                  </a:solidFill>
                  <a:cs typeface="Arial" pitchFamily="34" charset="0"/>
                </a:rPr>
                <a:t>Plan </a:t>
              </a:r>
              <a:r>
                <a:rPr lang="es-ES_tradnl" sz="1400" b="1" dirty="0">
                  <a:solidFill>
                    <a:srgbClr val="000000"/>
                  </a:solidFill>
                  <a:cs typeface="Arial" pitchFamily="34" charset="0"/>
                </a:rPr>
                <a:t>de Misión </a:t>
              </a:r>
              <a:r>
                <a:rPr lang="es-ES_tradnl" sz="1400" b="1" dirty="0" smtClean="0">
                  <a:solidFill>
                    <a:srgbClr val="000000"/>
                  </a:solidFill>
                  <a:cs typeface="Arial" pitchFamily="34" charset="0"/>
                </a:rPr>
                <a:t>Provincial</a:t>
              </a:r>
              <a:r>
                <a:rPr lang="es-ES_tradnl" sz="1400" dirty="0" smtClean="0">
                  <a:solidFill>
                    <a:srgbClr val="000000"/>
                  </a:solidFill>
                  <a:cs typeface="Arial" pitchFamily="34" charset="0"/>
                </a:rPr>
                <a:t> </a:t>
              </a:r>
              <a:r>
                <a:rPr lang="es-ES_tradnl" sz="1400" dirty="0">
                  <a:solidFill>
                    <a:srgbClr val="000000"/>
                  </a:solidFill>
                  <a:cs typeface="Arial" pitchFamily="34" charset="0"/>
                </a:rPr>
                <a:t>el cual será </a:t>
              </a:r>
              <a:r>
                <a:rPr lang="es-ES_tradnl" sz="1400" b="1" dirty="0">
                  <a:solidFill>
                    <a:srgbClr val="000000"/>
                  </a:solidFill>
                  <a:cs typeface="Arial" pitchFamily="34" charset="0"/>
                </a:rPr>
                <a:t>compartido con el Consejo Provincial </a:t>
              </a:r>
              <a:r>
                <a:rPr lang="es-ES_tradnl" sz="1400" dirty="0">
                  <a:solidFill>
                    <a:srgbClr val="000000"/>
                  </a:solidFill>
                  <a:cs typeface="Arial" pitchFamily="34" charset="0"/>
                </a:rPr>
                <a:t>y remitido al </a:t>
              </a:r>
              <a:r>
                <a:rPr lang="es-ES_tradnl" sz="1400" b="1" dirty="0">
                  <a:solidFill>
                    <a:srgbClr val="000000"/>
                  </a:solidFill>
                  <a:cs typeface="Arial" pitchFamily="34" charset="0"/>
                </a:rPr>
                <a:t>Consejo Regional de Misión para su aprobación</a:t>
              </a:r>
              <a:r>
                <a:rPr lang="es-ES_tradnl" sz="1400" dirty="0">
                  <a:solidFill>
                    <a:srgbClr val="000000"/>
                  </a:solidFill>
                  <a:cs typeface="Arial" pitchFamily="34" charset="0"/>
                </a:rPr>
                <a:t>. </a:t>
              </a:r>
            </a:p>
            <a:p>
              <a:pPr marL="113414" indent="-113414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400" dirty="0">
                  <a:solidFill>
                    <a:srgbClr val="000000"/>
                  </a:solidFill>
                  <a:cs typeface="Arial" pitchFamily="34" charset="0"/>
                </a:rPr>
                <a:t>Cada miembro/grupo de </a:t>
              </a:r>
              <a:r>
                <a:rPr lang="es-ES_tradnl" sz="1400" b="1" dirty="0">
                  <a:solidFill>
                    <a:srgbClr val="000000"/>
                  </a:solidFill>
                  <a:cs typeface="Arial" pitchFamily="34" charset="0"/>
                </a:rPr>
                <a:t>miembros tiene responsabilidades funcionales específicas </a:t>
              </a:r>
              <a:r>
                <a:rPr lang="es-ES_tradnl" sz="1400" dirty="0">
                  <a:solidFill>
                    <a:srgbClr val="000000"/>
                  </a:solidFill>
                  <a:cs typeface="Arial" pitchFamily="34" charset="0"/>
                </a:rPr>
                <a:t>referidas a la Misión. En algunos casos las responsabilidades desarrolladas pueden servir a otras provincias o a la Región. </a:t>
              </a:r>
            </a:p>
          </p:txBody>
        </p:sp>
        <p:sp>
          <p:nvSpPr>
            <p:cNvPr id="6" name="AutoShape 3"/>
            <p:cNvSpPr>
              <a:spLocks noChangeArrowheads="1"/>
            </p:cNvSpPr>
            <p:nvPr/>
          </p:nvSpPr>
          <p:spPr bwMode="gray">
            <a:xfrm>
              <a:off x="179388" y="2957513"/>
              <a:ext cx="2339975" cy="1893887"/>
            </a:xfrm>
            <a:prstGeom prst="homePlate">
              <a:avLst>
                <a:gd name="adj" fmla="val 0"/>
              </a:avLst>
            </a:prstGeom>
            <a:solidFill>
              <a:schemeClr val="tx2"/>
            </a:solidFill>
            <a:ln w="6350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defTabSz="914400" eaLnBrk="0" hangingPunct="0">
                <a:lnSpc>
                  <a:spcPct val="90000"/>
                </a:lnSpc>
              </a:pPr>
              <a:r>
                <a:rPr lang="es-ES" sz="1600" b="1" i="1" dirty="0">
                  <a:solidFill>
                    <a:srgbClr val="FFFFFF"/>
                  </a:solidFill>
                </a:rPr>
                <a:t>Responsabilidades </a:t>
              </a:r>
              <a:r>
                <a:rPr lang="es-ES" sz="1600" b="1" i="1" dirty="0" smtClean="0">
                  <a:solidFill>
                    <a:srgbClr val="FFFFFF"/>
                  </a:solidFill>
                </a:rPr>
                <a:t>clave, gobernanza </a:t>
              </a:r>
              <a:r>
                <a:rPr lang="es-ES" sz="1600" b="1" i="1" dirty="0">
                  <a:solidFill>
                    <a:srgbClr val="FFFFFF"/>
                  </a:solidFill>
                </a:rPr>
                <a:t>y mecanismos de gestión</a:t>
              </a:r>
              <a:endParaRPr lang="en-US" sz="1600" b="1" i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179388" y="5205685"/>
            <a:ext cx="8742362" cy="1463675"/>
            <a:chOff x="179388" y="5205685"/>
            <a:chExt cx="8742362" cy="1463675"/>
          </a:xfrm>
        </p:grpSpPr>
        <p:sp>
          <p:nvSpPr>
            <p:cNvPr id="7" name="Rectangle 6"/>
            <p:cNvSpPr/>
            <p:nvPr/>
          </p:nvSpPr>
          <p:spPr>
            <a:xfrm>
              <a:off x="2514600" y="5205685"/>
              <a:ext cx="6407150" cy="1463675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>
              <a:spAutoFit/>
            </a:bodyPr>
            <a:lstStyle/>
            <a:p>
              <a:pPr marL="113414" indent="-113414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400" b="1" dirty="0">
                  <a:solidFill>
                    <a:srgbClr val="000000"/>
                  </a:solidFill>
                  <a:cs typeface="Arial" pitchFamily="34" charset="0"/>
                </a:rPr>
                <a:t>Trabajo en red</a:t>
              </a:r>
              <a:r>
                <a:rPr lang="es-ES_tradnl" sz="1400" dirty="0">
                  <a:solidFill>
                    <a:srgbClr val="000000"/>
                  </a:solidFill>
                  <a:cs typeface="Arial" pitchFamily="34" charset="0"/>
                </a:rPr>
                <a:t>: </a:t>
              </a:r>
            </a:p>
            <a:p>
              <a:pPr marL="270934" indent="-15752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–"/>
                <a:defRPr/>
              </a:pPr>
              <a:r>
                <a:rPr lang="es-ES_tradnl" sz="1400" dirty="0">
                  <a:solidFill>
                    <a:srgbClr val="000000"/>
                  </a:solidFill>
                  <a:cs typeface="Arial" pitchFamily="34" charset="0"/>
                </a:rPr>
                <a:t>Consejo Provincial, Vocación Marista y </a:t>
              </a:r>
              <a:r>
                <a:rPr lang="es-ES_tradnl" sz="1400" dirty="0" smtClean="0">
                  <a:solidFill>
                    <a:srgbClr val="000000"/>
                  </a:solidFill>
                  <a:cs typeface="Arial" pitchFamily="34" charset="0"/>
                </a:rPr>
                <a:t>Economato</a:t>
              </a:r>
              <a:r>
                <a:rPr lang="es-ES_tradnl" sz="1400" dirty="0">
                  <a:solidFill>
                    <a:srgbClr val="000000"/>
                  </a:solidFill>
                  <a:cs typeface="Arial" pitchFamily="34" charset="0"/>
                </a:rPr>
                <a:t>. </a:t>
              </a:r>
            </a:p>
            <a:p>
              <a:pPr marL="270934" indent="-15752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–"/>
                <a:defRPr/>
              </a:pPr>
              <a:r>
                <a:rPr lang="es-ES_tradnl" sz="1400" dirty="0">
                  <a:solidFill>
                    <a:srgbClr val="000000"/>
                  </a:solidFill>
                  <a:cs typeface="Arial" pitchFamily="34" charset="0"/>
                </a:rPr>
                <a:t>Las Asociaciones (los esfuerzos de colaboración serán </a:t>
              </a:r>
              <a:r>
                <a:rPr lang="es-ES_tradnl" sz="1400" dirty="0" smtClean="0">
                  <a:solidFill>
                    <a:srgbClr val="000000"/>
                  </a:solidFill>
                  <a:cs typeface="Arial" pitchFamily="34" charset="0"/>
                </a:rPr>
                <a:t>planificados </a:t>
              </a:r>
              <a:r>
                <a:rPr lang="es-ES_tradnl" sz="1400" dirty="0">
                  <a:solidFill>
                    <a:srgbClr val="000000"/>
                  </a:solidFill>
                  <a:cs typeface="Arial" pitchFamily="34" charset="0"/>
                </a:rPr>
                <a:t>y monitoreados…) y otras entidades </a:t>
              </a:r>
              <a:r>
                <a:rPr lang="es-ES_tradnl" sz="1400" dirty="0" smtClean="0">
                  <a:solidFill>
                    <a:srgbClr val="000000"/>
                  </a:solidFill>
                  <a:cs typeface="Arial" pitchFamily="34" charset="0"/>
                </a:rPr>
                <a:t>jurídicas.</a:t>
              </a:r>
              <a:endParaRPr lang="es-ES_tradnl" sz="1400" dirty="0">
                <a:solidFill>
                  <a:srgbClr val="000000"/>
                </a:solidFill>
                <a:cs typeface="Arial" pitchFamily="34" charset="0"/>
              </a:endParaRPr>
            </a:p>
            <a:p>
              <a:pPr marL="270934" indent="-15752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–"/>
                <a:defRPr/>
              </a:pPr>
              <a:r>
                <a:rPr lang="es-ES_tradnl" sz="1400" dirty="0">
                  <a:solidFill>
                    <a:srgbClr val="000000"/>
                  </a:solidFill>
                  <a:cs typeface="Arial" pitchFamily="34" charset="0"/>
                </a:rPr>
                <a:t>Regiones </a:t>
              </a:r>
              <a:r>
                <a:rPr lang="es-ES_tradnl" sz="1400" dirty="0" smtClean="0">
                  <a:solidFill>
                    <a:srgbClr val="000000"/>
                  </a:solidFill>
                  <a:cs typeface="Arial" pitchFamily="34" charset="0"/>
                </a:rPr>
                <a:t>(enriquecimiento </a:t>
              </a:r>
              <a:r>
                <a:rPr lang="es-ES_tradnl" sz="1400" dirty="0">
                  <a:solidFill>
                    <a:srgbClr val="000000"/>
                  </a:solidFill>
                  <a:cs typeface="Arial" pitchFamily="34" charset="0"/>
                </a:rPr>
                <a:t>transversal).</a:t>
              </a:r>
            </a:p>
          </p:txBody>
        </p:sp>
        <p:sp>
          <p:nvSpPr>
            <p:cNvPr id="8" name="AutoShape 3"/>
            <p:cNvSpPr>
              <a:spLocks noChangeArrowheads="1"/>
            </p:cNvSpPr>
            <p:nvPr/>
          </p:nvSpPr>
          <p:spPr bwMode="gray">
            <a:xfrm>
              <a:off x="179388" y="5205685"/>
              <a:ext cx="2339975" cy="1428750"/>
            </a:xfrm>
            <a:prstGeom prst="homePlate">
              <a:avLst>
                <a:gd name="adj" fmla="val 0"/>
              </a:avLst>
            </a:prstGeom>
            <a:solidFill>
              <a:schemeClr val="tx2"/>
            </a:solidFill>
            <a:ln w="6350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eaLnBrk="0" fontAlgn="auto" hangingPunct="0">
                <a:lnSpc>
                  <a:spcPct val="90000"/>
                </a:lnSpc>
                <a:spcAft>
                  <a:spcPts val="0"/>
                </a:spcAft>
                <a:defRPr/>
              </a:pPr>
              <a:r>
                <a:rPr lang="es-ES_tradnl" sz="1600" b="1" i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Coordinación y trabajo en red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85738" y="1785408"/>
            <a:ext cx="8756650" cy="1236662"/>
            <a:chOff x="185738" y="1785408"/>
            <a:chExt cx="8756650" cy="1236662"/>
          </a:xfrm>
        </p:grpSpPr>
        <p:sp>
          <p:nvSpPr>
            <p:cNvPr id="3" name="Rectangle 2"/>
            <p:cNvSpPr/>
            <p:nvPr/>
          </p:nvSpPr>
          <p:spPr>
            <a:xfrm>
              <a:off x="2533650" y="1785408"/>
              <a:ext cx="6408738" cy="1236662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>
              <a:spAutoFit/>
            </a:bodyPr>
            <a:lstStyle/>
            <a:p>
              <a:pPr marL="113414" indent="-113414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400" b="1" dirty="0">
                  <a:solidFill>
                    <a:srgbClr val="000000"/>
                  </a:solidFill>
                  <a:cs typeface="Arial" pitchFamily="34" charset="0"/>
                </a:rPr>
                <a:t>Es el órgano </a:t>
              </a:r>
              <a:r>
                <a:rPr lang="es-ES_tradnl" sz="1400" b="1" dirty="0" smtClean="0">
                  <a:solidFill>
                    <a:srgbClr val="000000"/>
                  </a:solidFill>
                  <a:cs typeface="Arial" pitchFamily="34" charset="0"/>
                </a:rPr>
                <a:t>responsable de la </a:t>
              </a:r>
              <a:r>
                <a:rPr lang="es-ES_tradnl" sz="1400" b="1" dirty="0">
                  <a:solidFill>
                    <a:srgbClr val="000000"/>
                  </a:solidFill>
                  <a:cs typeface="Arial" pitchFamily="34" charset="0"/>
                </a:rPr>
                <a:t>toma de decisiones para la gestión de la misión y </a:t>
              </a:r>
              <a:r>
                <a:rPr lang="es-ES_tradnl" sz="1400" b="1" dirty="0" smtClean="0">
                  <a:solidFill>
                    <a:srgbClr val="000000"/>
                  </a:solidFill>
                  <a:cs typeface="Arial" pitchFamily="34" charset="0"/>
                </a:rPr>
                <a:t>asesor del </a:t>
              </a:r>
              <a:r>
                <a:rPr lang="es-ES_tradnl" sz="1400" b="1" dirty="0">
                  <a:solidFill>
                    <a:srgbClr val="000000"/>
                  </a:solidFill>
                  <a:cs typeface="Arial" pitchFamily="34" charset="0"/>
                </a:rPr>
                <a:t>Consejo Provincial.</a:t>
              </a:r>
            </a:p>
            <a:p>
              <a:pPr marL="113414" indent="-113414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400" b="1" dirty="0">
                  <a:solidFill>
                    <a:srgbClr val="000000"/>
                  </a:solidFill>
                  <a:cs typeface="Arial" pitchFamily="34" charset="0"/>
                </a:rPr>
                <a:t>Los miembros son nombrados por el Consejo Provincial</a:t>
              </a:r>
              <a:r>
                <a:rPr lang="es-ES_tradnl" sz="1400" dirty="0">
                  <a:solidFill>
                    <a:srgbClr val="000000"/>
                  </a:solidFill>
                  <a:cs typeface="Arial" pitchFamily="34" charset="0"/>
                </a:rPr>
                <a:t> (o por la Asociación de la Provincia) y pueden ser hermanos y/o </a:t>
              </a:r>
              <a:r>
                <a:rPr lang="es-ES_tradnl" sz="1400" dirty="0" smtClean="0">
                  <a:solidFill>
                    <a:srgbClr val="000000"/>
                  </a:solidFill>
                  <a:cs typeface="Arial" pitchFamily="34" charset="0"/>
                </a:rPr>
                <a:t>laicos (hombres y mujeres).</a:t>
              </a:r>
              <a:endParaRPr lang="es-ES_tradnl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AutoShape 3"/>
            <p:cNvSpPr>
              <a:spLocks noChangeArrowheads="1"/>
            </p:cNvSpPr>
            <p:nvPr/>
          </p:nvSpPr>
          <p:spPr bwMode="gray">
            <a:xfrm>
              <a:off x="185738" y="1785408"/>
              <a:ext cx="2339975" cy="1168400"/>
            </a:xfrm>
            <a:prstGeom prst="homePlate">
              <a:avLst>
                <a:gd name="adj" fmla="val 0"/>
              </a:avLst>
            </a:prstGeom>
            <a:solidFill>
              <a:schemeClr val="tx2"/>
            </a:solidFill>
            <a:ln w="6350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eaLnBrk="0" hangingPunct="0">
                <a:lnSpc>
                  <a:spcPct val="90000"/>
                </a:lnSpc>
              </a:pPr>
              <a:r>
                <a:rPr lang="es-ES" sz="1600" b="1" i="1" dirty="0">
                  <a:solidFill>
                    <a:srgbClr val="FFFFFF"/>
                  </a:solidFill>
                </a:rPr>
                <a:t>Alcance y composición</a:t>
              </a:r>
            </a:p>
          </p:txBody>
        </p:sp>
      </p:grpSp>
      <p:sp>
        <p:nvSpPr>
          <p:cNvPr id="7485448" name="RunningHead"/>
          <p:cNvSpPr txBox="1">
            <a:spLocks noChangeArrowheads="1"/>
          </p:cNvSpPr>
          <p:nvPr/>
        </p:nvSpPr>
        <p:spPr bwMode="gray">
          <a:xfrm>
            <a:off x="6861175" y="139700"/>
            <a:ext cx="2030413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" sz="1200" dirty="0">
                <a:solidFill>
                  <a:srgbClr val="000000"/>
                </a:solidFill>
              </a:rPr>
              <a:t>¿Estamos bien organizados? </a:t>
            </a:r>
          </a:p>
        </p:txBody>
      </p:sp>
    </p:spTree>
    <p:extLst>
      <p:ext uri="{BB962C8B-B14F-4D97-AF65-F5344CB8AC3E}">
        <p14:creationId xmlns:p14="http://schemas.microsoft.com/office/powerpoint/2010/main" val="46185101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66666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62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86465" name="Title 1"/>
          <p:cNvSpPr>
            <a:spLocks noGrp="1"/>
          </p:cNvSpPr>
          <p:nvPr>
            <p:ph type="title"/>
          </p:nvPr>
        </p:nvSpPr>
        <p:spPr>
          <a:xfrm>
            <a:off x="244476" y="865280"/>
            <a:ext cx="8647112" cy="997196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… y el Economato Provincial estará a cargo de la distribución y el control de los recursos así como de preservar la sostenibilidad del Instituto a largo plazo.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79388" y="3519440"/>
            <a:ext cx="8748712" cy="1909023"/>
            <a:chOff x="179388" y="3359336"/>
            <a:chExt cx="8748712" cy="1909023"/>
          </a:xfrm>
        </p:grpSpPr>
        <p:sp>
          <p:nvSpPr>
            <p:cNvPr id="5" name="Rectangle 4"/>
            <p:cNvSpPr/>
            <p:nvPr/>
          </p:nvSpPr>
          <p:spPr>
            <a:xfrm>
              <a:off x="2520950" y="3359352"/>
              <a:ext cx="6407150" cy="1909007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>
              <a:spAutoFit/>
            </a:bodyPr>
            <a:lstStyle/>
            <a:p>
              <a:pPr marL="112713" indent="-112713">
                <a:lnSpc>
                  <a:spcPct val="90000"/>
                </a:lnSpc>
                <a:spcBef>
                  <a:spcPts val="6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CO" sz="1400" dirty="0" smtClean="0">
                  <a:solidFill>
                    <a:srgbClr val="000000"/>
                  </a:solidFill>
                  <a:cs typeface="Arial" charset="0"/>
                </a:rPr>
                <a:t>Es </a:t>
              </a:r>
              <a:r>
                <a:rPr lang="es-CO" sz="1400" dirty="0">
                  <a:solidFill>
                    <a:srgbClr val="000000"/>
                  </a:solidFill>
                  <a:cs typeface="Arial" charset="0"/>
                </a:rPr>
                <a:t>responsable de la </a:t>
              </a:r>
              <a:r>
                <a:rPr lang="es-CO" sz="1400" b="1" dirty="0">
                  <a:solidFill>
                    <a:srgbClr val="000000"/>
                  </a:solidFill>
                  <a:cs typeface="Arial" charset="0"/>
                </a:rPr>
                <a:t>planificación financiera</a:t>
              </a:r>
              <a:r>
                <a:rPr lang="es-CO" sz="1400" dirty="0">
                  <a:solidFill>
                    <a:srgbClr val="000000"/>
                  </a:solidFill>
                  <a:cs typeface="Arial" charset="0"/>
                </a:rPr>
                <a:t> así como de informar </a:t>
              </a:r>
              <a:r>
                <a:rPr lang="es-CO" sz="1400" dirty="0" smtClean="0">
                  <a:solidFill>
                    <a:srgbClr val="000000"/>
                  </a:solidFill>
                  <a:cs typeface="Arial" charset="0"/>
                </a:rPr>
                <a:t>de los </a:t>
              </a:r>
              <a:r>
                <a:rPr lang="es-CO" sz="1400" dirty="0">
                  <a:solidFill>
                    <a:srgbClr val="000000"/>
                  </a:solidFill>
                  <a:cs typeface="Arial" charset="0"/>
                </a:rPr>
                <a:t>temas financieros al Consejo Provincial, trabajando junto con el Consejo de Misión de la Provincia.</a:t>
              </a:r>
            </a:p>
            <a:p>
              <a:pPr marL="112713" indent="-112713">
                <a:lnSpc>
                  <a:spcPct val="90000"/>
                </a:lnSpc>
                <a:spcBef>
                  <a:spcPts val="6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CO" sz="1400" dirty="0">
                  <a:solidFill>
                    <a:srgbClr val="000000"/>
                  </a:solidFill>
                  <a:cs typeface="Arial" charset="0"/>
                </a:rPr>
                <a:t>El ecónomo provincial no es necesariamente un miembro con derecho a voto en el Consejo Provincial. </a:t>
              </a:r>
              <a:endParaRPr lang="es-CO" sz="1400" b="1" dirty="0">
                <a:solidFill>
                  <a:srgbClr val="000000"/>
                </a:solidFill>
                <a:cs typeface="Arial" charset="0"/>
              </a:endParaRPr>
            </a:p>
            <a:p>
              <a:pPr marL="112713" indent="-112713">
                <a:lnSpc>
                  <a:spcPct val="90000"/>
                </a:lnSpc>
                <a:spcBef>
                  <a:spcPts val="600"/>
                </a:spcBef>
                <a:buClr>
                  <a:srgbClr val="9B1717"/>
                </a:buClr>
                <a:buSzPct val="100000"/>
                <a:buFont typeface="Arial" charset="0"/>
                <a:buChar char="•"/>
                <a:defRPr/>
              </a:pPr>
              <a:r>
                <a:rPr lang="es-CO" sz="1400" dirty="0">
                  <a:solidFill>
                    <a:srgbClr val="000000"/>
                  </a:solidFill>
                  <a:cs typeface="Arial" charset="0"/>
                </a:rPr>
                <a:t>Trabaja junto con el Consejo de Misión en todo lo relacionado </a:t>
              </a:r>
              <a:r>
                <a:rPr lang="es-CO" sz="1400" b="1" dirty="0">
                  <a:solidFill>
                    <a:srgbClr val="000000"/>
                  </a:solidFill>
                  <a:cs typeface="Arial" charset="0"/>
                </a:rPr>
                <a:t>con los temas estratégicos y tácticos así como </a:t>
              </a:r>
              <a:r>
                <a:rPr lang="es-CO" sz="1400" b="1" dirty="0" smtClean="0">
                  <a:solidFill>
                    <a:srgbClr val="000000"/>
                  </a:solidFill>
                  <a:cs typeface="Arial" charset="0"/>
                </a:rPr>
                <a:t>con todo lo </a:t>
              </a:r>
              <a:r>
                <a:rPr lang="es-CO" sz="1400" b="1" dirty="0">
                  <a:solidFill>
                    <a:srgbClr val="000000"/>
                  </a:solidFill>
                  <a:cs typeface="Arial" charset="0"/>
                </a:rPr>
                <a:t>relacionado con el manejo de los presupuestos, el análisis de costo-beneficio, necesidades y tendencias.</a:t>
              </a:r>
              <a:endParaRPr lang="es-CO" sz="14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" name="AutoShape 3"/>
            <p:cNvSpPr>
              <a:spLocks noChangeArrowheads="1"/>
            </p:cNvSpPr>
            <p:nvPr/>
          </p:nvSpPr>
          <p:spPr bwMode="gray">
            <a:xfrm>
              <a:off x="179388" y="3359336"/>
              <a:ext cx="2346325" cy="1908610"/>
            </a:xfrm>
            <a:prstGeom prst="homePlate">
              <a:avLst>
                <a:gd name="adj" fmla="val 0"/>
              </a:avLst>
            </a:prstGeom>
            <a:solidFill>
              <a:schemeClr val="tx2"/>
            </a:solidFill>
            <a:ln w="6350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defTabSz="914400" eaLnBrk="0" hangingPunct="0">
                <a:lnSpc>
                  <a:spcPct val="90000"/>
                </a:lnSpc>
              </a:pPr>
              <a:r>
                <a:rPr lang="es-ES" sz="1600" b="1" i="1" dirty="0">
                  <a:solidFill>
                    <a:srgbClr val="FFFFFF"/>
                  </a:solidFill>
                </a:rPr>
                <a:t>Responsabilidades </a:t>
              </a:r>
              <a:r>
                <a:rPr lang="es-ES" sz="1600" b="1" i="1" dirty="0" smtClean="0">
                  <a:solidFill>
                    <a:srgbClr val="FFFFFF"/>
                  </a:solidFill>
                </a:rPr>
                <a:t>clave, gobernanza </a:t>
              </a:r>
              <a:r>
                <a:rPr lang="es-ES" sz="1600" b="1" i="1" dirty="0">
                  <a:solidFill>
                    <a:srgbClr val="FFFFFF"/>
                  </a:solidFill>
                </a:rPr>
                <a:t>y mecanismos de gestión</a:t>
              </a:r>
              <a:endParaRPr lang="en-US" sz="1600" b="1" i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79388" y="5518902"/>
            <a:ext cx="8742362" cy="1078450"/>
            <a:chOff x="179388" y="5353575"/>
            <a:chExt cx="8742362" cy="1078450"/>
          </a:xfrm>
        </p:grpSpPr>
        <p:sp>
          <p:nvSpPr>
            <p:cNvPr id="7" name="Rectangle 6"/>
            <p:cNvSpPr/>
            <p:nvPr/>
          </p:nvSpPr>
          <p:spPr>
            <a:xfrm>
              <a:off x="2514600" y="5353575"/>
              <a:ext cx="6407150" cy="1078450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>
              <a:noAutofit/>
            </a:bodyPr>
            <a:lstStyle/>
            <a:p>
              <a:pPr marL="113414" indent="-113414" fontAlgn="auto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CO" sz="1400" dirty="0">
                  <a:solidFill>
                    <a:srgbClr val="000000"/>
                  </a:solidFill>
                  <a:cs typeface="Arial" pitchFamily="34" charset="0"/>
                </a:rPr>
                <a:t>Consejo Provincial, Vocación Marista y </a:t>
              </a:r>
              <a:r>
                <a:rPr lang="es-CO" sz="1400" dirty="0" smtClean="0">
                  <a:solidFill>
                    <a:srgbClr val="000000"/>
                  </a:solidFill>
                  <a:cs typeface="Arial" pitchFamily="34" charset="0"/>
                </a:rPr>
                <a:t>Consejo de Misión. </a:t>
              </a:r>
              <a:endParaRPr lang="es-CO" sz="1400" dirty="0">
                <a:solidFill>
                  <a:srgbClr val="000000"/>
                </a:solidFill>
                <a:cs typeface="Arial" pitchFamily="34" charset="0"/>
              </a:endParaRPr>
            </a:p>
            <a:p>
              <a:pPr marL="113414" indent="-113414" fontAlgn="auto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CO" sz="1400" dirty="0">
                  <a:solidFill>
                    <a:srgbClr val="000000"/>
                  </a:solidFill>
                  <a:cs typeface="Arial" pitchFamily="34" charset="0"/>
                </a:rPr>
                <a:t>Ecónomo General y Conferencia Regional de Ecónomos.</a:t>
              </a:r>
            </a:p>
            <a:p>
              <a:pPr marL="113414" indent="-113414" fontAlgn="auto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CO" sz="1400" dirty="0">
                  <a:solidFill>
                    <a:srgbClr val="000000"/>
                  </a:solidFill>
                  <a:cs typeface="Arial" pitchFamily="34" charset="0"/>
                </a:rPr>
                <a:t>Las Asociaciones (los esfuerzos de colaboración serán </a:t>
              </a:r>
              <a:r>
                <a:rPr lang="es-CO" sz="1400" dirty="0" smtClean="0">
                  <a:solidFill>
                    <a:srgbClr val="000000"/>
                  </a:solidFill>
                  <a:cs typeface="Arial" pitchFamily="34" charset="0"/>
                </a:rPr>
                <a:t>planificados </a:t>
              </a:r>
              <a:r>
                <a:rPr lang="es-CO" sz="1400" dirty="0">
                  <a:solidFill>
                    <a:srgbClr val="000000"/>
                  </a:solidFill>
                  <a:cs typeface="Arial" pitchFamily="34" charset="0"/>
                </a:rPr>
                <a:t>y monitoreados…) y otras entidades </a:t>
              </a:r>
              <a:r>
                <a:rPr lang="es-CO" sz="1400" dirty="0" smtClean="0">
                  <a:solidFill>
                    <a:srgbClr val="000000"/>
                  </a:solidFill>
                  <a:cs typeface="Arial" pitchFamily="34" charset="0"/>
                </a:rPr>
                <a:t>jurídicas</a:t>
              </a:r>
              <a:r>
                <a:rPr lang="es-CO" sz="1400" dirty="0">
                  <a:solidFill>
                    <a:srgbClr val="000000"/>
                  </a:solidFill>
                  <a:cs typeface="Arial" pitchFamily="34" charset="0"/>
                </a:rPr>
                <a:t>.</a:t>
              </a:r>
            </a:p>
          </p:txBody>
        </p:sp>
        <p:sp>
          <p:nvSpPr>
            <p:cNvPr id="7486470" name="AutoShape 3"/>
            <p:cNvSpPr>
              <a:spLocks noChangeArrowheads="1"/>
            </p:cNvSpPr>
            <p:nvPr/>
          </p:nvSpPr>
          <p:spPr bwMode="gray">
            <a:xfrm>
              <a:off x="179388" y="5353575"/>
              <a:ext cx="2339975" cy="1078450"/>
            </a:xfrm>
            <a:prstGeom prst="homePlate">
              <a:avLst>
                <a:gd name="adj" fmla="val 0"/>
              </a:avLst>
            </a:prstGeom>
            <a:solidFill>
              <a:schemeClr val="tx2"/>
            </a:solidFill>
            <a:ln w="6350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eaLnBrk="0" hangingPunct="0">
                <a:lnSpc>
                  <a:spcPct val="90000"/>
                </a:lnSpc>
              </a:pPr>
              <a:r>
                <a:rPr lang="es-ES" sz="1600" b="1" i="1">
                  <a:solidFill>
                    <a:srgbClr val="FFFFFF"/>
                  </a:solidFill>
                </a:rPr>
                <a:t>Coordinación y trabajo en red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85738" y="1908175"/>
            <a:ext cx="8742362" cy="1520825"/>
            <a:chOff x="185738" y="1785931"/>
            <a:chExt cx="8742362" cy="1520825"/>
          </a:xfrm>
        </p:grpSpPr>
        <p:sp>
          <p:nvSpPr>
            <p:cNvPr id="3" name="Rectangle 2"/>
            <p:cNvSpPr/>
            <p:nvPr/>
          </p:nvSpPr>
          <p:spPr>
            <a:xfrm>
              <a:off x="2519363" y="1785931"/>
              <a:ext cx="6408737" cy="1520416"/>
            </a:xfrm>
            <a:prstGeom prst="rect">
              <a:avLst/>
            </a:prstGeom>
            <a:noFill/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>
              <a:spAutoFit/>
            </a:bodyPr>
            <a:lstStyle/>
            <a:p>
              <a:pPr marL="113414" indent="-113414" fontAlgn="auto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CO" sz="1400" dirty="0">
                  <a:solidFill>
                    <a:srgbClr val="000000"/>
                  </a:solidFill>
                  <a:cs typeface="Arial" pitchFamily="34" charset="0"/>
                </a:rPr>
                <a:t>Responsable del manejo del </a:t>
              </a:r>
              <a:r>
                <a:rPr lang="es-CO" sz="1400" b="1" dirty="0">
                  <a:solidFill>
                    <a:srgbClr val="000000"/>
                  </a:solidFill>
                  <a:cs typeface="Arial" pitchFamily="34" charset="0"/>
                </a:rPr>
                <a:t>riesgo económico y financiero </a:t>
              </a:r>
              <a:r>
                <a:rPr lang="es-CO" sz="1400" dirty="0">
                  <a:solidFill>
                    <a:srgbClr val="000000"/>
                  </a:solidFill>
                  <a:cs typeface="Arial" pitchFamily="34" charset="0"/>
                </a:rPr>
                <a:t>de la Provincia de acuerdo con las </a:t>
              </a:r>
              <a:r>
                <a:rPr lang="es-CO" sz="1400" b="1" dirty="0">
                  <a:solidFill>
                    <a:srgbClr val="000000"/>
                  </a:solidFill>
                  <a:cs typeface="Arial" pitchFamily="34" charset="0"/>
                </a:rPr>
                <a:t>orientaciones </a:t>
              </a:r>
              <a:r>
                <a:rPr lang="es-CO" sz="1400" b="1" dirty="0" smtClean="0">
                  <a:solidFill>
                    <a:srgbClr val="000000"/>
                  </a:solidFill>
                  <a:cs typeface="Arial" pitchFamily="34" charset="0"/>
                </a:rPr>
                <a:t>aportadas </a:t>
              </a:r>
              <a:r>
                <a:rPr lang="es-CO" sz="1400" b="1" dirty="0">
                  <a:solidFill>
                    <a:srgbClr val="000000"/>
                  </a:solidFill>
                  <a:cs typeface="Arial" pitchFamily="34" charset="0"/>
                </a:rPr>
                <a:t>por el Economato General</a:t>
              </a:r>
              <a:r>
                <a:rPr lang="es-CO" sz="1400" dirty="0">
                  <a:solidFill>
                    <a:srgbClr val="000000"/>
                  </a:solidFill>
                  <a:cs typeface="Arial" pitchFamily="34" charset="0"/>
                </a:rPr>
                <a:t>. </a:t>
              </a:r>
              <a:endParaRPr lang="es-CO" sz="1400" b="1" dirty="0">
                <a:solidFill>
                  <a:srgbClr val="000000"/>
                </a:solidFill>
                <a:cs typeface="Arial" pitchFamily="34" charset="0"/>
              </a:endParaRPr>
            </a:p>
            <a:p>
              <a:pPr marL="113414" indent="-113414" fontAlgn="auto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CO" sz="1400" dirty="0">
                  <a:solidFill>
                    <a:srgbClr val="000000"/>
                  </a:solidFill>
                  <a:cs typeface="Arial" pitchFamily="34" charset="0"/>
                </a:rPr>
                <a:t>Tiene </a:t>
              </a:r>
              <a:r>
                <a:rPr lang="es-CO" sz="1400" b="1" dirty="0">
                  <a:solidFill>
                    <a:srgbClr val="000000"/>
                  </a:solidFill>
                  <a:cs typeface="Arial" pitchFamily="34" charset="0"/>
                </a:rPr>
                <a:t>conocimiento absoluto</a:t>
              </a:r>
              <a:r>
                <a:rPr lang="es-CO" sz="1400" dirty="0">
                  <a:solidFill>
                    <a:srgbClr val="000000"/>
                  </a:solidFill>
                  <a:cs typeface="Arial" pitchFamily="34" charset="0"/>
                </a:rPr>
                <a:t> de la situación económica y financiera de </a:t>
              </a:r>
              <a:r>
                <a:rPr lang="es-CO" sz="1400" b="1" dirty="0">
                  <a:solidFill>
                    <a:srgbClr val="000000"/>
                  </a:solidFill>
                  <a:cs typeface="Arial" pitchFamily="34" charset="0"/>
                </a:rPr>
                <a:t>todas las entidades canónicas y civiles</a:t>
              </a:r>
              <a:r>
                <a:rPr lang="es-CO" sz="1400" dirty="0">
                  <a:solidFill>
                    <a:srgbClr val="000000"/>
                  </a:solidFill>
                  <a:cs typeface="Arial" pitchFamily="34" charset="0"/>
                </a:rPr>
                <a:t> que se encuentran en la Provincia. </a:t>
              </a:r>
              <a:endParaRPr lang="es-CO" sz="1400" b="1" dirty="0">
                <a:solidFill>
                  <a:srgbClr val="000000"/>
                </a:solidFill>
                <a:cs typeface="Arial" pitchFamily="34" charset="0"/>
              </a:endParaRPr>
            </a:p>
            <a:p>
              <a:pPr marL="113414" indent="-113414" fontAlgn="auto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CO" sz="1400" dirty="0">
                  <a:solidFill>
                    <a:srgbClr val="000000"/>
                  </a:solidFill>
                  <a:cs typeface="Arial" pitchFamily="34" charset="0"/>
                </a:rPr>
                <a:t>Desde la perspectiva del uso evangélico de los bienes, desarrolla </a:t>
              </a:r>
              <a:r>
                <a:rPr lang="es-CO" sz="1400" b="1" dirty="0">
                  <a:solidFill>
                    <a:srgbClr val="000000"/>
                  </a:solidFill>
                  <a:cs typeface="Arial" pitchFamily="34" charset="0"/>
                </a:rPr>
                <a:t>auditorías</a:t>
              </a:r>
              <a:r>
                <a:rPr lang="es-CO" sz="1400" dirty="0">
                  <a:solidFill>
                    <a:srgbClr val="000000"/>
                  </a:solidFill>
                  <a:cs typeface="Arial" pitchFamily="34" charset="0"/>
                </a:rPr>
                <a:t> “familiares” de las actividades de la misión.</a:t>
              </a:r>
            </a:p>
          </p:txBody>
        </p:sp>
        <p:sp>
          <p:nvSpPr>
            <p:cNvPr id="11" name="AutoShape 3"/>
            <p:cNvSpPr>
              <a:spLocks noChangeArrowheads="1"/>
            </p:cNvSpPr>
            <p:nvPr/>
          </p:nvSpPr>
          <p:spPr bwMode="gray">
            <a:xfrm>
              <a:off x="185738" y="1785931"/>
              <a:ext cx="2339975" cy="1520825"/>
            </a:xfrm>
            <a:prstGeom prst="homePlate">
              <a:avLst>
                <a:gd name="adj" fmla="val 0"/>
              </a:avLst>
            </a:prstGeom>
            <a:solidFill>
              <a:schemeClr val="tx2"/>
            </a:solidFill>
            <a:ln w="6350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eaLnBrk="0" fontAlgn="auto" hangingPunct="0">
                <a:lnSpc>
                  <a:spcPct val="90000"/>
                </a:lnSpc>
                <a:spcAft>
                  <a:spcPts val="0"/>
                </a:spcAft>
                <a:defRPr/>
              </a:pPr>
              <a:r>
                <a:rPr lang="es-ES" sz="1600" b="1" i="1" dirty="0">
                  <a:solidFill>
                    <a:srgbClr val="FFFFFF"/>
                  </a:solidFill>
                </a:rPr>
                <a:t>Alcance</a:t>
              </a:r>
              <a:endParaRPr lang="es-CO" sz="1600" b="1" i="1" kern="0" dirty="0">
                <a:solidFill>
                  <a:srgbClr val="FFFFFF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7486472" name="RunningHead"/>
          <p:cNvSpPr txBox="1">
            <a:spLocks noChangeArrowheads="1"/>
          </p:cNvSpPr>
          <p:nvPr/>
        </p:nvSpPr>
        <p:spPr bwMode="gray">
          <a:xfrm>
            <a:off x="6861175" y="150813"/>
            <a:ext cx="2030413" cy="1666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" sz="1200" dirty="0">
                <a:solidFill>
                  <a:srgbClr val="000000"/>
                </a:solidFill>
              </a:rPr>
              <a:t>¿Estamos bien organizados? </a:t>
            </a:r>
          </a:p>
        </p:txBody>
      </p:sp>
    </p:spTree>
    <p:extLst>
      <p:ext uri="{BB962C8B-B14F-4D97-AF65-F5344CB8AC3E}">
        <p14:creationId xmlns:p14="http://schemas.microsoft.com/office/powerpoint/2010/main" val="50518518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4145" name="Rectangle 1136"/>
          <p:cNvSpPr>
            <a:spLocks noGrp="1" noChangeAspect="1" noChangeArrowheads="1"/>
          </p:cNvSpPr>
          <p:nvPr>
            <p:ph type="title"/>
            <p:custDataLst>
              <p:tags r:id="rId1"/>
            </p:custDataLst>
          </p:nvPr>
        </p:nvSpPr>
        <p:spPr>
          <a:xfrm>
            <a:off x="244475" y="712397"/>
            <a:ext cx="8640763" cy="338137"/>
          </a:xfrm>
        </p:spPr>
        <p:txBody>
          <a:bodyPr/>
          <a:lstStyle/>
          <a:p>
            <a:pPr eaLnBrk="1" hangingPunct="1"/>
            <a:r>
              <a:rPr lang="es-ES_tradnl" smtClean="0">
                <a:solidFill>
                  <a:srgbClr val="000000"/>
                </a:solidFill>
                <a:latin typeface="Arial" charset="0"/>
                <a:cs typeface="Arial" charset="0"/>
              </a:rPr>
              <a:t>La Regionalización es un proceso evolutivo</a:t>
            </a:r>
          </a:p>
        </p:txBody>
      </p:sp>
      <p:grpSp>
        <p:nvGrpSpPr>
          <p:cNvPr id="3334146" name="Group 3"/>
          <p:cNvGrpSpPr>
            <a:grpSpLocks noChangeAspect="1"/>
          </p:cNvGrpSpPr>
          <p:nvPr/>
        </p:nvGrpSpPr>
        <p:grpSpPr bwMode="auto">
          <a:xfrm>
            <a:off x="630238" y="2874963"/>
            <a:ext cx="7829550" cy="3938587"/>
            <a:chOff x="185524" y="2060848"/>
            <a:chExt cx="8510403" cy="4280400"/>
          </a:xfrm>
        </p:grpSpPr>
        <p:grpSp>
          <p:nvGrpSpPr>
            <p:cNvPr id="3334152" name="Agrupar 11"/>
            <p:cNvGrpSpPr>
              <a:grpSpLocks/>
            </p:cNvGrpSpPr>
            <p:nvPr/>
          </p:nvGrpSpPr>
          <p:grpSpPr bwMode="auto">
            <a:xfrm>
              <a:off x="185524" y="2969110"/>
              <a:ext cx="8438238" cy="2388522"/>
              <a:chOff x="190712" y="2931476"/>
              <a:chExt cx="8438238" cy="2388522"/>
            </a:xfrm>
          </p:grpSpPr>
          <p:sp>
            <p:nvSpPr>
              <p:cNvPr id="3334403" name="TextBox 7"/>
              <p:cNvSpPr txBox="1">
                <a:spLocks noChangeArrowheads="1"/>
              </p:cNvSpPr>
              <p:nvPr/>
            </p:nvSpPr>
            <p:spPr bwMode="auto">
              <a:xfrm>
                <a:off x="190712" y="2931476"/>
                <a:ext cx="856004" cy="193899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buClr>
                    <a:srgbClr val="9B1717"/>
                  </a:buClr>
                </a:pPr>
                <a:r>
                  <a:rPr lang="it-IT" sz="1400">
                    <a:solidFill>
                      <a:srgbClr val="000000"/>
                    </a:solidFill>
                    <a:latin typeface="Arial "/>
                  </a:rPr>
                  <a:t>Arco Norte</a:t>
                </a:r>
                <a:endParaRPr lang="en-US" sz="1400">
                  <a:solidFill>
                    <a:srgbClr val="000000"/>
                  </a:solidFill>
                  <a:latin typeface="Arial "/>
                </a:endParaRPr>
              </a:p>
            </p:txBody>
          </p:sp>
          <p:sp>
            <p:nvSpPr>
              <p:cNvPr id="3334404" name="TextBox 394"/>
              <p:cNvSpPr txBox="1">
                <a:spLocks noChangeArrowheads="1"/>
              </p:cNvSpPr>
              <p:nvPr/>
            </p:nvSpPr>
            <p:spPr bwMode="auto">
              <a:xfrm>
                <a:off x="868850" y="5109238"/>
                <a:ext cx="1482778" cy="210760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buClr>
                    <a:srgbClr val="9B1717"/>
                  </a:buClr>
                </a:pPr>
                <a:r>
                  <a:rPr lang="it-IT" sz="1400">
                    <a:solidFill>
                      <a:srgbClr val="000000"/>
                    </a:solidFill>
                    <a:latin typeface="Arial "/>
                  </a:rPr>
                  <a:t>Cono Sur - Brasil</a:t>
                </a:r>
                <a:endParaRPr lang="en-US" sz="1400">
                  <a:solidFill>
                    <a:srgbClr val="000000"/>
                  </a:solidFill>
                  <a:latin typeface="Arial "/>
                </a:endParaRPr>
              </a:p>
            </p:txBody>
          </p:sp>
          <p:sp>
            <p:nvSpPr>
              <p:cNvPr id="3334405" name="TextBox 397"/>
              <p:cNvSpPr txBox="1">
                <a:spLocks noChangeArrowheads="1"/>
              </p:cNvSpPr>
              <p:nvPr/>
            </p:nvSpPr>
            <p:spPr bwMode="auto">
              <a:xfrm>
                <a:off x="3789505" y="4717481"/>
                <a:ext cx="458459" cy="193899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buClr>
                    <a:srgbClr val="9B1717"/>
                  </a:buClr>
                </a:pPr>
                <a:r>
                  <a:rPr lang="it-IT" sz="1400">
                    <a:solidFill>
                      <a:srgbClr val="000000"/>
                    </a:solidFill>
                    <a:latin typeface="Arial "/>
                  </a:rPr>
                  <a:t>Africa</a:t>
                </a:r>
                <a:endParaRPr lang="en-US" sz="1400">
                  <a:solidFill>
                    <a:srgbClr val="000000"/>
                  </a:solidFill>
                  <a:latin typeface="Arial "/>
                </a:endParaRPr>
              </a:p>
            </p:txBody>
          </p:sp>
          <p:sp>
            <p:nvSpPr>
              <p:cNvPr id="3334406" name="TextBox 398"/>
              <p:cNvSpPr txBox="1">
                <a:spLocks noChangeArrowheads="1"/>
              </p:cNvSpPr>
              <p:nvPr/>
            </p:nvSpPr>
            <p:spPr bwMode="auto">
              <a:xfrm>
                <a:off x="3495352" y="2942869"/>
                <a:ext cx="627261" cy="210760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buClr>
                    <a:srgbClr val="9B1717"/>
                  </a:buClr>
                </a:pPr>
                <a:r>
                  <a:rPr lang="it-IT" sz="1400" dirty="0">
                    <a:solidFill>
                      <a:srgbClr val="000000"/>
                    </a:solidFill>
                    <a:latin typeface="Arial "/>
                  </a:rPr>
                  <a:t>Europa</a:t>
                </a:r>
                <a:endParaRPr lang="en-US" sz="1400" dirty="0">
                  <a:solidFill>
                    <a:srgbClr val="000000"/>
                  </a:solidFill>
                  <a:latin typeface="Arial "/>
                </a:endParaRPr>
              </a:p>
            </p:txBody>
          </p:sp>
          <p:sp>
            <p:nvSpPr>
              <p:cNvPr id="3334407" name="TextBox 399"/>
              <p:cNvSpPr txBox="1">
                <a:spLocks noChangeArrowheads="1"/>
              </p:cNvSpPr>
              <p:nvPr/>
            </p:nvSpPr>
            <p:spPr bwMode="auto">
              <a:xfrm>
                <a:off x="7393591" y="3759716"/>
                <a:ext cx="1235359" cy="210760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600"/>
                  </a:spcBef>
                  <a:buClr>
                    <a:srgbClr val="9B1717"/>
                  </a:buClr>
                </a:pPr>
                <a:r>
                  <a:rPr lang="it-IT" sz="1400">
                    <a:solidFill>
                      <a:srgbClr val="000000"/>
                    </a:solidFill>
                    <a:latin typeface="Arial "/>
                  </a:rPr>
                  <a:t>Asia - Pacifico</a:t>
                </a:r>
                <a:endParaRPr lang="en-US" sz="1400">
                  <a:solidFill>
                    <a:srgbClr val="000000"/>
                  </a:solidFill>
                  <a:latin typeface="Arial "/>
                </a:endParaRPr>
              </a:p>
            </p:txBody>
          </p:sp>
        </p:grpSp>
        <p:grpSp>
          <p:nvGrpSpPr>
            <p:cNvPr id="3334153" name="Agrupar 391"/>
            <p:cNvGrpSpPr>
              <a:grpSpLocks/>
            </p:cNvGrpSpPr>
            <p:nvPr/>
          </p:nvGrpSpPr>
          <p:grpSpPr bwMode="auto">
            <a:xfrm>
              <a:off x="644522" y="2060848"/>
              <a:ext cx="8051405" cy="4280400"/>
              <a:chOff x="644522" y="2060848"/>
              <a:chExt cx="8051405" cy="4280400"/>
            </a:xfrm>
          </p:grpSpPr>
          <p:sp>
            <p:nvSpPr>
              <p:cNvPr id="3334154" name="Zimbabwe"/>
              <p:cNvSpPr>
                <a:spLocks/>
              </p:cNvSpPr>
              <p:nvPr/>
            </p:nvSpPr>
            <p:spPr bwMode="auto">
              <a:xfrm>
                <a:off x="4898137" y="5085360"/>
                <a:ext cx="208873" cy="221145"/>
              </a:xfrm>
              <a:custGeom>
                <a:avLst/>
                <a:gdLst>
                  <a:gd name="T0" fmla="*/ 50934863 w 575"/>
                  <a:gd name="T1" fmla="*/ 740448 h 514"/>
                  <a:gd name="T2" fmla="*/ 52122714 w 575"/>
                  <a:gd name="T3" fmla="*/ 5923587 h 514"/>
                  <a:gd name="T4" fmla="*/ 56608941 w 575"/>
                  <a:gd name="T5" fmla="*/ 6849040 h 514"/>
                  <a:gd name="T6" fmla="*/ 61491481 w 575"/>
                  <a:gd name="T7" fmla="*/ 8885382 h 514"/>
                  <a:gd name="T8" fmla="*/ 66373659 w 575"/>
                  <a:gd name="T9" fmla="*/ 12587622 h 514"/>
                  <a:gd name="T10" fmla="*/ 70596524 w 575"/>
                  <a:gd name="T11" fmla="*/ 13883084 h 514"/>
                  <a:gd name="T12" fmla="*/ 74159351 w 575"/>
                  <a:gd name="T13" fmla="*/ 16659876 h 514"/>
                  <a:gd name="T14" fmla="*/ 74027125 w 575"/>
                  <a:gd name="T15" fmla="*/ 21657578 h 514"/>
                  <a:gd name="T16" fmla="*/ 74159351 w 575"/>
                  <a:gd name="T17" fmla="*/ 28136607 h 514"/>
                  <a:gd name="T18" fmla="*/ 73631538 w 575"/>
                  <a:gd name="T19" fmla="*/ 35355661 h 514"/>
                  <a:gd name="T20" fmla="*/ 74291213 w 575"/>
                  <a:gd name="T21" fmla="*/ 39983785 h 514"/>
                  <a:gd name="T22" fmla="*/ 72971500 w 575"/>
                  <a:gd name="T23" fmla="*/ 44056035 h 514"/>
                  <a:gd name="T24" fmla="*/ 70728386 w 575"/>
                  <a:gd name="T25" fmla="*/ 47573271 h 514"/>
                  <a:gd name="T26" fmla="*/ 71915874 w 575"/>
                  <a:gd name="T27" fmla="*/ 50720068 h 514"/>
                  <a:gd name="T28" fmla="*/ 71520287 w 575"/>
                  <a:gd name="T29" fmla="*/ 55902775 h 514"/>
                  <a:gd name="T30" fmla="*/ 72443687 w 575"/>
                  <a:gd name="T31" fmla="*/ 58124133 h 514"/>
                  <a:gd name="T32" fmla="*/ 72707775 w 575"/>
                  <a:gd name="T33" fmla="*/ 62011379 h 514"/>
                  <a:gd name="T34" fmla="*/ 70860249 w 575"/>
                  <a:gd name="T35" fmla="*/ 66639503 h 514"/>
                  <a:gd name="T36" fmla="*/ 67297422 w 575"/>
                  <a:gd name="T37" fmla="*/ 70896757 h 514"/>
                  <a:gd name="T38" fmla="*/ 65845846 w 575"/>
                  <a:gd name="T39" fmla="*/ 77560791 h 514"/>
                  <a:gd name="T40" fmla="*/ 65582121 w 575"/>
                  <a:gd name="T41" fmla="*/ 80892592 h 514"/>
                  <a:gd name="T42" fmla="*/ 55157728 w 575"/>
                  <a:gd name="T43" fmla="*/ 95146112 h 514"/>
                  <a:gd name="T44" fmla="*/ 54629915 w 575"/>
                  <a:gd name="T45" fmla="*/ 94961108 h 514"/>
                  <a:gd name="T46" fmla="*/ 50803000 w 575"/>
                  <a:gd name="T47" fmla="*/ 93665216 h 514"/>
                  <a:gd name="T48" fmla="*/ 45260773 w 575"/>
                  <a:gd name="T49" fmla="*/ 94035225 h 514"/>
                  <a:gd name="T50" fmla="*/ 39586695 w 575"/>
                  <a:gd name="T51" fmla="*/ 91073862 h 514"/>
                  <a:gd name="T52" fmla="*/ 36947631 w 575"/>
                  <a:gd name="T53" fmla="*/ 91443871 h 514"/>
                  <a:gd name="T54" fmla="*/ 35627918 w 575"/>
                  <a:gd name="T55" fmla="*/ 90147979 h 514"/>
                  <a:gd name="T56" fmla="*/ 34176705 w 575"/>
                  <a:gd name="T57" fmla="*/ 86260734 h 514"/>
                  <a:gd name="T58" fmla="*/ 30086065 w 575"/>
                  <a:gd name="T59" fmla="*/ 83854385 h 514"/>
                  <a:gd name="T60" fmla="*/ 24543850 w 575"/>
                  <a:gd name="T61" fmla="*/ 82558493 h 514"/>
                  <a:gd name="T62" fmla="*/ 21904780 w 575"/>
                  <a:gd name="T63" fmla="*/ 75894890 h 514"/>
                  <a:gd name="T64" fmla="*/ 21904780 w 575"/>
                  <a:gd name="T65" fmla="*/ 67749960 h 514"/>
                  <a:gd name="T66" fmla="*/ 18605678 w 575"/>
                  <a:gd name="T67" fmla="*/ 65343611 h 514"/>
                  <a:gd name="T68" fmla="*/ 16098477 w 575"/>
                  <a:gd name="T69" fmla="*/ 60715917 h 514"/>
                  <a:gd name="T70" fmla="*/ 16098477 w 575"/>
                  <a:gd name="T71" fmla="*/ 60715917 h 514"/>
                  <a:gd name="T72" fmla="*/ 10820346 w 575"/>
                  <a:gd name="T73" fmla="*/ 56828672 h 514"/>
                  <a:gd name="T74" fmla="*/ 9896583 w 575"/>
                  <a:gd name="T75" fmla="*/ 55347762 h 514"/>
                  <a:gd name="T76" fmla="*/ 7785332 w 575"/>
                  <a:gd name="T77" fmla="*/ 52015530 h 514"/>
                  <a:gd name="T78" fmla="*/ 6597844 w 575"/>
                  <a:gd name="T79" fmla="*/ 45536931 h 514"/>
                  <a:gd name="T80" fmla="*/ 3562828 w 575"/>
                  <a:gd name="T81" fmla="*/ 39428341 h 514"/>
                  <a:gd name="T82" fmla="*/ 395951 w 575"/>
                  <a:gd name="T83" fmla="*/ 32394299 h 514"/>
                  <a:gd name="T84" fmla="*/ 791901 w 575"/>
                  <a:gd name="T85" fmla="*/ 30172954 h 514"/>
                  <a:gd name="T86" fmla="*/ 1715301 w 575"/>
                  <a:gd name="T87" fmla="*/ 30542963 h 514"/>
                  <a:gd name="T88" fmla="*/ 6201894 w 575"/>
                  <a:gd name="T89" fmla="*/ 32394299 h 514"/>
                  <a:gd name="T90" fmla="*/ 10952209 w 575"/>
                  <a:gd name="T91" fmla="*/ 32023859 h 514"/>
                  <a:gd name="T92" fmla="*/ 15834752 w 575"/>
                  <a:gd name="T93" fmla="*/ 32949312 h 514"/>
                  <a:gd name="T94" fmla="*/ 20189116 w 575"/>
                  <a:gd name="T95" fmla="*/ 27766168 h 514"/>
                  <a:gd name="T96" fmla="*/ 24279762 w 575"/>
                  <a:gd name="T97" fmla="*/ 20732126 h 514"/>
                  <a:gd name="T98" fmla="*/ 28634490 w 575"/>
                  <a:gd name="T99" fmla="*/ 16659876 h 514"/>
                  <a:gd name="T100" fmla="*/ 33252942 w 575"/>
                  <a:gd name="T101" fmla="*/ 13513075 h 514"/>
                  <a:gd name="T102" fmla="*/ 35760144 w 575"/>
                  <a:gd name="T103" fmla="*/ 6479031 h 514"/>
                  <a:gd name="T104" fmla="*/ 39322971 w 575"/>
                  <a:gd name="T105" fmla="*/ 2776789 h 514"/>
                  <a:gd name="T106" fmla="*/ 43809197 w 575"/>
                  <a:gd name="T107" fmla="*/ 1110458 h 514"/>
                  <a:gd name="T108" fmla="*/ 49879237 w 575"/>
                  <a:gd name="T109" fmla="*/ 925453 h 514"/>
                  <a:gd name="T110" fmla="*/ 50275188 w 575"/>
                  <a:gd name="T111" fmla="*/ 740448 h 514"/>
                  <a:gd name="T112" fmla="*/ 50934863 w 575"/>
                  <a:gd name="T113" fmla="*/ 740448 h 51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575"/>
                  <a:gd name="T172" fmla="*/ 0 h 514"/>
                  <a:gd name="T173" fmla="*/ 575 w 575"/>
                  <a:gd name="T174" fmla="*/ 514 h 514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575" h="514">
                    <a:moveTo>
                      <a:pt x="386" y="4"/>
                    </a:moveTo>
                    <a:cubicBezTo>
                      <a:pt x="388" y="14"/>
                      <a:pt x="378" y="36"/>
                      <a:pt x="395" y="32"/>
                    </a:cubicBezTo>
                    <a:cubicBezTo>
                      <a:pt x="407" y="32"/>
                      <a:pt x="419" y="32"/>
                      <a:pt x="429" y="37"/>
                    </a:cubicBezTo>
                    <a:cubicBezTo>
                      <a:pt x="444" y="25"/>
                      <a:pt x="452" y="46"/>
                      <a:pt x="466" y="48"/>
                    </a:cubicBezTo>
                    <a:cubicBezTo>
                      <a:pt x="483" y="45"/>
                      <a:pt x="487" y="69"/>
                      <a:pt x="503" y="68"/>
                    </a:cubicBezTo>
                    <a:cubicBezTo>
                      <a:pt x="514" y="67"/>
                      <a:pt x="525" y="70"/>
                      <a:pt x="535" y="75"/>
                    </a:cubicBezTo>
                    <a:cubicBezTo>
                      <a:pt x="548" y="77"/>
                      <a:pt x="547" y="96"/>
                      <a:pt x="562" y="90"/>
                    </a:cubicBezTo>
                    <a:cubicBezTo>
                      <a:pt x="575" y="96"/>
                      <a:pt x="547" y="107"/>
                      <a:pt x="561" y="117"/>
                    </a:cubicBezTo>
                    <a:cubicBezTo>
                      <a:pt x="566" y="128"/>
                      <a:pt x="568" y="141"/>
                      <a:pt x="562" y="152"/>
                    </a:cubicBezTo>
                    <a:cubicBezTo>
                      <a:pt x="573" y="165"/>
                      <a:pt x="554" y="177"/>
                      <a:pt x="558" y="191"/>
                    </a:cubicBezTo>
                    <a:cubicBezTo>
                      <a:pt x="560" y="200"/>
                      <a:pt x="558" y="208"/>
                      <a:pt x="563" y="216"/>
                    </a:cubicBezTo>
                    <a:cubicBezTo>
                      <a:pt x="560" y="224"/>
                      <a:pt x="544" y="228"/>
                      <a:pt x="553" y="238"/>
                    </a:cubicBezTo>
                    <a:cubicBezTo>
                      <a:pt x="556" y="252"/>
                      <a:pt x="530" y="241"/>
                      <a:pt x="536" y="257"/>
                    </a:cubicBezTo>
                    <a:cubicBezTo>
                      <a:pt x="528" y="267"/>
                      <a:pt x="553" y="262"/>
                      <a:pt x="545" y="274"/>
                    </a:cubicBezTo>
                    <a:cubicBezTo>
                      <a:pt x="545" y="284"/>
                      <a:pt x="532" y="295"/>
                      <a:pt x="542" y="302"/>
                    </a:cubicBezTo>
                    <a:cubicBezTo>
                      <a:pt x="538" y="311"/>
                      <a:pt x="541" y="317"/>
                      <a:pt x="549" y="314"/>
                    </a:cubicBezTo>
                    <a:cubicBezTo>
                      <a:pt x="552" y="321"/>
                      <a:pt x="556" y="327"/>
                      <a:pt x="551" y="335"/>
                    </a:cubicBezTo>
                    <a:cubicBezTo>
                      <a:pt x="547" y="343"/>
                      <a:pt x="538" y="349"/>
                      <a:pt x="537" y="360"/>
                    </a:cubicBezTo>
                    <a:cubicBezTo>
                      <a:pt x="529" y="370"/>
                      <a:pt x="523" y="380"/>
                      <a:pt x="510" y="383"/>
                    </a:cubicBezTo>
                    <a:cubicBezTo>
                      <a:pt x="506" y="395"/>
                      <a:pt x="514" y="411"/>
                      <a:pt x="499" y="419"/>
                    </a:cubicBezTo>
                    <a:cubicBezTo>
                      <a:pt x="493" y="426"/>
                      <a:pt x="511" y="438"/>
                      <a:pt x="497" y="437"/>
                    </a:cubicBezTo>
                    <a:cubicBezTo>
                      <a:pt x="471" y="463"/>
                      <a:pt x="445" y="489"/>
                      <a:pt x="418" y="514"/>
                    </a:cubicBezTo>
                    <a:cubicBezTo>
                      <a:pt x="416" y="514"/>
                      <a:pt x="415" y="513"/>
                      <a:pt x="414" y="513"/>
                    </a:cubicBezTo>
                    <a:cubicBezTo>
                      <a:pt x="404" y="511"/>
                      <a:pt x="395" y="507"/>
                      <a:pt x="385" y="506"/>
                    </a:cubicBezTo>
                    <a:cubicBezTo>
                      <a:pt x="371" y="506"/>
                      <a:pt x="357" y="509"/>
                      <a:pt x="343" y="508"/>
                    </a:cubicBezTo>
                    <a:cubicBezTo>
                      <a:pt x="328" y="504"/>
                      <a:pt x="316" y="493"/>
                      <a:pt x="300" y="492"/>
                    </a:cubicBezTo>
                    <a:cubicBezTo>
                      <a:pt x="293" y="494"/>
                      <a:pt x="286" y="495"/>
                      <a:pt x="280" y="494"/>
                    </a:cubicBezTo>
                    <a:cubicBezTo>
                      <a:pt x="276" y="493"/>
                      <a:pt x="272" y="491"/>
                      <a:pt x="270" y="487"/>
                    </a:cubicBezTo>
                    <a:cubicBezTo>
                      <a:pt x="257" y="488"/>
                      <a:pt x="254" y="476"/>
                      <a:pt x="259" y="466"/>
                    </a:cubicBezTo>
                    <a:cubicBezTo>
                      <a:pt x="250" y="462"/>
                      <a:pt x="238" y="459"/>
                      <a:pt x="228" y="453"/>
                    </a:cubicBezTo>
                    <a:cubicBezTo>
                      <a:pt x="214" y="454"/>
                      <a:pt x="201" y="448"/>
                      <a:pt x="186" y="446"/>
                    </a:cubicBezTo>
                    <a:cubicBezTo>
                      <a:pt x="182" y="433"/>
                      <a:pt x="176" y="420"/>
                      <a:pt x="166" y="410"/>
                    </a:cubicBezTo>
                    <a:cubicBezTo>
                      <a:pt x="165" y="395"/>
                      <a:pt x="175" y="377"/>
                      <a:pt x="166" y="366"/>
                    </a:cubicBezTo>
                    <a:cubicBezTo>
                      <a:pt x="156" y="361"/>
                      <a:pt x="133" y="372"/>
                      <a:pt x="141" y="353"/>
                    </a:cubicBezTo>
                    <a:cubicBezTo>
                      <a:pt x="142" y="338"/>
                      <a:pt x="133" y="334"/>
                      <a:pt x="122" y="328"/>
                    </a:cubicBezTo>
                    <a:cubicBezTo>
                      <a:pt x="122" y="328"/>
                      <a:pt x="122" y="328"/>
                      <a:pt x="122" y="328"/>
                    </a:cubicBezTo>
                    <a:cubicBezTo>
                      <a:pt x="106" y="328"/>
                      <a:pt x="95" y="314"/>
                      <a:pt x="82" y="307"/>
                    </a:cubicBezTo>
                    <a:cubicBezTo>
                      <a:pt x="80" y="304"/>
                      <a:pt x="79" y="302"/>
                      <a:pt x="75" y="299"/>
                    </a:cubicBezTo>
                    <a:cubicBezTo>
                      <a:pt x="70" y="293"/>
                      <a:pt x="58" y="293"/>
                      <a:pt x="59" y="281"/>
                    </a:cubicBezTo>
                    <a:cubicBezTo>
                      <a:pt x="55" y="269"/>
                      <a:pt x="49" y="259"/>
                      <a:pt x="50" y="246"/>
                    </a:cubicBezTo>
                    <a:cubicBezTo>
                      <a:pt x="36" y="238"/>
                      <a:pt x="41" y="221"/>
                      <a:pt x="27" y="213"/>
                    </a:cubicBezTo>
                    <a:cubicBezTo>
                      <a:pt x="17" y="201"/>
                      <a:pt x="14" y="186"/>
                      <a:pt x="3" y="175"/>
                    </a:cubicBezTo>
                    <a:cubicBezTo>
                      <a:pt x="0" y="170"/>
                      <a:pt x="2" y="164"/>
                      <a:pt x="6" y="163"/>
                    </a:cubicBezTo>
                    <a:cubicBezTo>
                      <a:pt x="8" y="162"/>
                      <a:pt x="10" y="163"/>
                      <a:pt x="13" y="165"/>
                    </a:cubicBezTo>
                    <a:cubicBezTo>
                      <a:pt x="25" y="167"/>
                      <a:pt x="43" y="158"/>
                      <a:pt x="47" y="175"/>
                    </a:cubicBezTo>
                    <a:cubicBezTo>
                      <a:pt x="59" y="182"/>
                      <a:pt x="71" y="163"/>
                      <a:pt x="83" y="173"/>
                    </a:cubicBezTo>
                    <a:cubicBezTo>
                      <a:pt x="96" y="177"/>
                      <a:pt x="107" y="187"/>
                      <a:pt x="120" y="178"/>
                    </a:cubicBezTo>
                    <a:cubicBezTo>
                      <a:pt x="137" y="178"/>
                      <a:pt x="141" y="159"/>
                      <a:pt x="153" y="150"/>
                    </a:cubicBezTo>
                    <a:cubicBezTo>
                      <a:pt x="166" y="139"/>
                      <a:pt x="178" y="127"/>
                      <a:pt x="184" y="112"/>
                    </a:cubicBezTo>
                    <a:cubicBezTo>
                      <a:pt x="190" y="98"/>
                      <a:pt x="206" y="97"/>
                      <a:pt x="217" y="90"/>
                    </a:cubicBezTo>
                    <a:cubicBezTo>
                      <a:pt x="227" y="82"/>
                      <a:pt x="240" y="78"/>
                      <a:pt x="252" y="73"/>
                    </a:cubicBezTo>
                    <a:cubicBezTo>
                      <a:pt x="273" y="72"/>
                      <a:pt x="268" y="49"/>
                      <a:pt x="271" y="35"/>
                    </a:cubicBezTo>
                    <a:cubicBezTo>
                      <a:pt x="276" y="25"/>
                      <a:pt x="291" y="24"/>
                      <a:pt x="298" y="15"/>
                    </a:cubicBezTo>
                    <a:cubicBezTo>
                      <a:pt x="309" y="10"/>
                      <a:pt x="321" y="7"/>
                      <a:pt x="332" y="6"/>
                    </a:cubicBezTo>
                    <a:cubicBezTo>
                      <a:pt x="347" y="0"/>
                      <a:pt x="363" y="6"/>
                      <a:pt x="378" y="5"/>
                    </a:cubicBezTo>
                    <a:cubicBezTo>
                      <a:pt x="379" y="5"/>
                      <a:pt x="380" y="5"/>
                      <a:pt x="381" y="4"/>
                    </a:cubicBezTo>
                    <a:lnTo>
                      <a:pt x="386" y="4"/>
                    </a:ln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34155" name="Zambia"/>
              <p:cNvSpPr>
                <a:spLocks/>
              </p:cNvSpPr>
              <p:nvPr/>
            </p:nvSpPr>
            <p:spPr bwMode="auto">
              <a:xfrm>
                <a:off x="4814447" y="4843353"/>
                <a:ext cx="320694" cy="322121"/>
              </a:xfrm>
              <a:custGeom>
                <a:avLst/>
                <a:gdLst>
                  <a:gd name="T0" fmla="*/ 23796803 w 882"/>
                  <a:gd name="T1" fmla="*/ 44070205 h 747"/>
                  <a:gd name="T2" fmla="*/ 33844127 w 882"/>
                  <a:gd name="T3" fmla="*/ 41652789 h 747"/>
                  <a:gd name="T4" fmla="*/ 36356229 w 882"/>
                  <a:gd name="T5" fmla="*/ 49276748 h 747"/>
                  <a:gd name="T6" fmla="*/ 45874875 w 882"/>
                  <a:gd name="T7" fmla="*/ 52809729 h 747"/>
                  <a:gd name="T8" fmla="*/ 52220408 w 882"/>
                  <a:gd name="T9" fmla="*/ 47975328 h 747"/>
                  <a:gd name="T10" fmla="*/ 58301958 w 882"/>
                  <a:gd name="T11" fmla="*/ 57086577 h 747"/>
                  <a:gd name="T12" fmla="*/ 64912179 w 882"/>
                  <a:gd name="T13" fmla="*/ 65826531 h 747"/>
                  <a:gd name="T14" fmla="*/ 70200356 w 882"/>
                  <a:gd name="T15" fmla="*/ 73078348 h 747"/>
                  <a:gd name="T16" fmla="*/ 76281542 w 882"/>
                  <a:gd name="T17" fmla="*/ 74194344 h 747"/>
                  <a:gd name="T18" fmla="*/ 77074914 w 882"/>
                  <a:gd name="T19" fmla="*/ 56156854 h 747"/>
                  <a:gd name="T20" fmla="*/ 73637453 w 882"/>
                  <a:gd name="T21" fmla="*/ 60061990 h 747"/>
                  <a:gd name="T22" fmla="*/ 65044529 w 882"/>
                  <a:gd name="T23" fmla="*/ 51880020 h 747"/>
                  <a:gd name="T24" fmla="*/ 65705551 w 882"/>
                  <a:gd name="T25" fmla="*/ 36446246 h 747"/>
                  <a:gd name="T26" fmla="*/ 67027595 w 882"/>
                  <a:gd name="T27" fmla="*/ 22313886 h 747"/>
                  <a:gd name="T28" fmla="*/ 67159582 w 882"/>
                  <a:gd name="T29" fmla="*/ 11900796 h 747"/>
                  <a:gd name="T30" fmla="*/ 83024113 w 882"/>
                  <a:gd name="T31" fmla="*/ 1115565 h 747"/>
                  <a:gd name="T32" fmla="*/ 88047954 w 882"/>
                  <a:gd name="T33" fmla="*/ 0 h 747"/>
                  <a:gd name="T34" fmla="*/ 95847893 w 882"/>
                  <a:gd name="T35" fmla="*/ 8739527 h 747"/>
                  <a:gd name="T36" fmla="*/ 102458114 w 882"/>
                  <a:gd name="T37" fmla="*/ 13574359 h 747"/>
                  <a:gd name="T38" fmla="*/ 108935986 w 882"/>
                  <a:gd name="T39" fmla="*/ 17479485 h 747"/>
                  <a:gd name="T40" fmla="*/ 109332672 w 882"/>
                  <a:gd name="T41" fmla="*/ 18780905 h 747"/>
                  <a:gd name="T42" fmla="*/ 112109110 w 882"/>
                  <a:gd name="T43" fmla="*/ 22871884 h 747"/>
                  <a:gd name="T44" fmla="*/ 114885185 w 882"/>
                  <a:gd name="T45" fmla="*/ 32169412 h 747"/>
                  <a:gd name="T46" fmla="*/ 112505433 w 882"/>
                  <a:gd name="T47" fmla="*/ 37561811 h 747"/>
                  <a:gd name="T48" fmla="*/ 110919052 w 882"/>
                  <a:gd name="T49" fmla="*/ 47789041 h 747"/>
                  <a:gd name="T50" fmla="*/ 112241096 w 882"/>
                  <a:gd name="T51" fmla="*/ 59318137 h 747"/>
                  <a:gd name="T52" fmla="*/ 108274964 w 882"/>
                  <a:gd name="T53" fmla="*/ 63409115 h 747"/>
                  <a:gd name="T54" fmla="*/ 106424247 w 882"/>
                  <a:gd name="T55" fmla="*/ 74751911 h 747"/>
                  <a:gd name="T56" fmla="*/ 105630875 w 882"/>
                  <a:gd name="T57" fmla="*/ 79586743 h 747"/>
                  <a:gd name="T58" fmla="*/ 109068336 w 882"/>
                  <a:gd name="T59" fmla="*/ 82933868 h 747"/>
                  <a:gd name="T60" fmla="*/ 99153003 w 882"/>
                  <a:gd name="T61" fmla="*/ 87396557 h 747"/>
                  <a:gd name="T62" fmla="*/ 86196874 w 882"/>
                  <a:gd name="T63" fmla="*/ 92789387 h 747"/>
                  <a:gd name="T64" fmla="*/ 81173397 w 882"/>
                  <a:gd name="T65" fmla="*/ 102086909 h 747"/>
                  <a:gd name="T66" fmla="*/ 80380025 w 882"/>
                  <a:gd name="T67" fmla="*/ 105061891 h 747"/>
                  <a:gd name="T68" fmla="*/ 69803670 w 882"/>
                  <a:gd name="T69" fmla="*/ 106921309 h 747"/>
                  <a:gd name="T70" fmla="*/ 63722485 w 882"/>
                  <a:gd name="T71" fmla="*/ 117706565 h 747"/>
                  <a:gd name="T72" fmla="*/ 54732511 w 882"/>
                  <a:gd name="T73" fmla="*/ 124958813 h 747"/>
                  <a:gd name="T74" fmla="*/ 46271561 w 882"/>
                  <a:gd name="T75" fmla="*/ 137231317 h 747"/>
                  <a:gd name="T76" fmla="*/ 36620565 w 882"/>
                  <a:gd name="T77" fmla="*/ 136673319 h 747"/>
                  <a:gd name="T78" fmla="*/ 31200038 w 882"/>
                  <a:gd name="T79" fmla="*/ 134442190 h 747"/>
                  <a:gd name="T80" fmla="*/ 29877994 w 882"/>
                  <a:gd name="T81" fmla="*/ 132954483 h 747"/>
                  <a:gd name="T82" fmla="*/ 19169648 w 882"/>
                  <a:gd name="T83" fmla="*/ 129979069 h 747"/>
                  <a:gd name="T84" fmla="*/ 13220449 w 882"/>
                  <a:gd name="T85" fmla="*/ 130909209 h 747"/>
                  <a:gd name="T86" fmla="*/ 3040776 w 882"/>
                  <a:gd name="T87" fmla="*/ 117520709 h 747"/>
                  <a:gd name="T88" fmla="*/ 793372 w 882"/>
                  <a:gd name="T89" fmla="*/ 66570385 h 747"/>
                  <a:gd name="T90" fmla="*/ 20359342 w 882"/>
                  <a:gd name="T91" fmla="*/ 66384098 h 747"/>
                  <a:gd name="T92" fmla="*/ 20491692 w 882"/>
                  <a:gd name="T93" fmla="*/ 51508309 h 747"/>
                  <a:gd name="T94" fmla="*/ 20888378 w 882"/>
                  <a:gd name="T95" fmla="*/ 38119809 h 747"/>
                  <a:gd name="T96" fmla="*/ 22342409 w 882"/>
                  <a:gd name="T97" fmla="*/ 39235373 h 747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882"/>
                  <a:gd name="T148" fmla="*/ 0 h 747"/>
                  <a:gd name="T149" fmla="*/ 882 w 882"/>
                  <a:gd name="T150" fmla="*/ 747 h 747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882" h="747">
                    <a:moveTo>
                      <a:pt x="169" y="211"/>
                    </a:moveTo>
                    <a:cubicBezTo>
                      <a:pt x="185" y="206"/>
                      <a:pt x="195" y="231"/>
                      <a:pt x="180" y="237"/>
                    </a:cubicBezTo>
                    <a:cubicBezTo>
                      <a:pt x="186" y="243"/>
                      <a:pt x="197" y="247"/>
                      <a:pt x="204" y="238"/>
                    </a:cubicBezTo>
                    <a:cubicBezTo>
                      <a:pt x="219" y="227"/>
                      <a:pt x="239" y="232"/>
                      <a:pt x="256" y="224"/>
                    </a:cubicBezTo>
                    <a:cubicBezTo>
                      <a:pt x="255" y="235"/>
                      <a:pt x="250" y="247"/>
                      <a:pt x="258" y="258"/>
                    </a:cubicBezTo>
                    <a:cubicBezTo>
                      <a:pt x="267" y="257"/>
                      <a:pt x="266" y="273"/>
                      <a:pt x="275" y="265"/>
                    </a:cubicBezTo>
                    <a:cubicBezTo>
                      <a:pt x="285" y="271"/>
                      <a:pt x="296" y="269"/>
                      <a:pt x="305" y="278"/>
                    </a:cubicBezTo>
                    <a:cubicBezTo>
                      <a:pt x="319" y="280"/>
                      <a:pt x="334" y="278"/>
                      <a:pt x="347" y="284"/>
                    </a:cubicBezTo>
                    <a:cubicBezTo>
                      <a:pt x="360" y="288"/>
                      <a:pt x="379" y="283"/>
                      <a:pt x="380" y="267"/>
                    </a:cubicBezTo>
                    <a:cubicBezTo>
                      <a:pt x="377" y="258"/>
                      <a:pt x="389" y="248"/>
                      <a:pt x="395" y="258"/>
                    </a:cubicBezTo>
                    <a:cubicBezTo>
                      <a:pt x="391" y="271"/>
                      <a:pt x="405" y="276"/>
                      <a:pt x="412" y="284"/>
                    </a:cubicBezTo>
                    <a:cubicBezTo>
                      <a:pt x="413" y="299"/>
                      <a:pt x="426" y="316"/>
                      <a:pt x="441" y="307"/>
                    </a:cubicBezTo>
                    <a:cubicBezTo>
                      <a:pt x="451" y="315"/>
                      <a:pt x="462" y="319"/>
                      <a:pt x="475" y="321"/>
                    </a:cubicBezTo>
                    <a:cubicBezTo>
                      <a:pt x="490" y="328"/>
                      <a:pt x="484" y="343"/>
                      <a:pt x="491" y="354"/>
                    </a:cubicBezTo>
                    <a:cubicBezTo>
                      <a:pt x="499" y="347"/>
                      <a:pt x="508" y="360"/>
                      <a:pt x="511" y="368"/>
                    </a:cubicBezTo>
                    <a:cubicBezTo>
                      <a:pt x="519" y="377"/>
                      <a:pt x="514" y="397"/>
                      <a:pt x="531" y="393"/>
                    </a:cubicBezTo>
                    <a:cubicBezTo>
                      <a:pt x="544" y="401"/>
                      <a:pt x="558" y="374"/>
                      <a:pt x="571" y="385"/>
                    </a:cubicBezTo>
                    <a:cubicBezTo>
                      <a:pt x="569" y="391"/>
                      <a:pt x="562" y="395"/>
                      <a:pt x="577" y="399"/>
                    </a:cubicBezTo>
                    <a:cubicBezTo>
                      <a:pt x="583" y="389"/>
                      <a:pt x="579" y="369"/>
                      <a:pt x="582" y="355"/>
                    </a:cubicBezTo>
                    <a:cubicBezTo>
                      <a:pt x="582" y="337"/>
                      <a:pt x="584" y="319"/>
                      <a:pt x="583" y="302"/>
                    </a:cubicBezTo>
                    <a:cubicBezTo>
                      <a:pt x="576" y="304"/>
                      <a:pt x="567" y="302"/>
                      <a:pt x="560" y="307"/>
                    </a:cubicBezTo>
                    <a:cubicBezTo>
                      <a:pt x="550" y="313"/>
                      <a:pt x="570" y="322"/>
                      <a:pt x="557" y="323"/>
                    </a:cubicBezTo>
                    <a:cubicBezTo>
                      <a:pt x="546" y="312"/>
                      <a:pt x="527" y="324"/>
                      <a:pt x="522" y="307"/>
                    </a:cubicBezTo>
                    <a:cubicBezTo>
                      <a:pt x="514" y="295"/>
                      <a:pt x="504" y="286"/>
                      <a:pt x="492" y="279"/>
                    </a:cubicBezTo>
                    <a:cubicBezTo>
                      <a:pt x="485" y="268"/>
                      <a:pt x="474" y="252"/>
                      <a:pt x="483" y="240"/>
                    </a:cubicBezTo>
                    <a:cubicBezTo>
                      <a:pt x="490" y="226"/>
                      <a:pt x="491" y="211"/>
                      <a:pt x="497" y="196"/>
                    </a:cubicBezTo>
                    <a:cubicBezTo>
                      <a:pt x="510" y="189"/>
                      <a:pt x="502" y="177"/>
                      <a:pt x="502" y="165"/>
                    </a:cubicBezTo>
                    <a:cubicBezTo>
                      <a:pt x="498" y="150"/>
                      <a:pt x="503" y="135"/>
                      <a:pt x="507" y="120"/>
                    </a:cubicBezTo>
                    <a:cubicBezTo>
                      <a:pt x="502" y="108"/>
                      <a:pt x="500" y="95"/>
                      <a:pt x="492" y="85"/>
                    </a:cubicBezTo>
                    <a:cubicBezTo>
                      <a:pt x="476" y="78"/>
                      <a:pt x="503" y="71"/>
                      <a:pt x="508" y="64"/>
                    </a:cubicBezTo>
                    <a:cubicBezTo>
                      <a:pt x="518" y="53"/>
                      <a:pt x="538" y="38"/>
                      <a:pt x="527" y="21"/>
                    </a:cubicBezTo>
                    <a:cubicBezTo>
                      <a:pt x="560" y="16"/>
                      <a:pt x="594" y="11"/>
                      <a:pt x="628" y="6"/>
                    </a:cubicBezTo>
                    <a:cubicBezTo>
                      <a:pt x="639" y="3"/>
                      <a:pt x="653" y="4"/>
                      <a:pt x="663" y="0"/>
                    </a:cubicBezTo>
                    <a:cubicBezTo>
                      <a:pt x="666" y="0"/>
                      <a:pt x="666" y="0"/>
                      <a:pt x="666" y="0"/>
                    </a:cubicBezTo>
                    <a:cubicBezTo>
                      <a:pt x="670" y="13"/>
                      <a:pt x="676" y="27"/>
                      <a:pt x="689" y="32"/>
                    </a:cubicBezTo>
                    <a:cubicBezTo>
                      <a:pt x="702" y="31"/>
                      <a:pt x="722" y="30"/>
                      <a:pt x="725" y="47"/>
                    </a:cubicBezTo>
                    <a:cubicBezTo>
                      <a:pt x="727" y="63"/>
                      <a:pt x="754" y="47"/>
                      <a:pt x="751" y="65"/>
                    </a:cubicBezTo>
                    <a:cubicBezTo>
                      <a:pt x="758" y="69"/>
                      <a:pt x="767" y="66"/>
                      <a:pt x="775" y="73"/>
                    </a:cubicBezTo>
                    <a:cubicBezTo>
                      <a:pt x="785" y="70"/>
                      <a:pt x="791" y="79"/>
                      <a:pt x="798" y="84"/>
                    </a:cubicBezTo>
                    <a:cubicBezTo>
                      <a:pt x="808" y="83"/>
                      <a:pt x="814" y="92"/>
                      <a:pt x="824" y="94"/>
                    </a:cubicBezTo>
                    <a:cubicBezTo>
                      <a:pt x="824" y="95"/>
                      <a:pt x="824" y="95"/>
                      <a:pt x="824" y="95"/>
                    </a:cubicBezTo>
                    <a:cubicBezTo>
                      <a:pt x="823" y="99"/>
                      <a:pt x="823" y="101"/>
                      <a:pt x="827" y="101"/>
                    </a:cubicBezTo>
                    <a:cubicBezTo>
                      <a:pt x="827" y="104"/>
                      <a:pt x="828" y="113"/>
                      <a:pt x="833" y="113"/>
                    </a:cubicBezTo>
                    <a:cubicBezTo>
                      <a:pt x="841" y="103"/>
                      <a:pt x="844" y="117"/>
                      <a:pt x="848" y="123"/>
                    </a:cubicBezTo>
                    <a:cubicBezTo>
                      <a:pt x="864" y="129"/>
                      <a:pt x="842" y="144"/>
                      <a:pt x="855" y="149"/>
                    </a:cubicBezTo>
                    <a:cubicBezTo>
                      <a:pt x="868" y="153"/>
                      <a:pt x="864" y="165"/>
                      <a:pt x="869" y="173"/>
                    </a:cubicBezTo>
                    <a:cubicBezTo>
                      <a:pt x="882" y="183"/>
                      <a:pt x="869" y="191"/>
                      <a:pt x="862" y="198"/>
                    </a:cubicBezTo>
                    <a:cubicBezTo>
                      <a:pt x="857" y="204"/>
                      <a:pt x="855" y="200"/>
                      <a:pt x="851" y="202"/>
                    </a:cubicBezTo>
                    <a:cubicBezTo>
                      <a:pt x="839" y="204"/>
                      <a:pt x="844" y="212"/>
                      <a:pt x="847" y="219"/>
                    </a:cubicBezTo>
                    <a:cubicBezTo>
                      <a:pt x="860" y="234"/>
                      <a:pt x="839" y="243"/>
                      <a:pt x="839" y="257"/>
                    </a:cubicBezTo>
                    <a:cubicBezTo>
                      <a:pt x="847" y="262"/>
                      <a:pt x="845" y="273"/>
                      <a:pt x="844" y="283"/>
                    </a:cubicBezTo>
                    <a:cubicBezTo>
                      <a:pt x="840" y="295"/>
                      <a:pt x="836" y="312"/>
                      <a:pt x="849" y="319"/>
                    </a:cubicBezTo>
                    <a:cubicBezTo>
                      <a:pt x="866" y="314"/>
                      <a:pt x="848" y="336"/>
                      <a:pt x="840" y="333"/>
                    </a:cubicBezTo>
                    <a:cubicBezTo>
                      <a:pt x="835" y="342"/>
                      <a:pt x="824" y="334"/>
                      <a:pt x="819" y="341"/>
                    </a:cubicBezTo>
                    <a:cubicBezTo>
                      <a:pt x="807" y="351"/>
                      <a:pt x="822" y="361"/>
                      <a:pt x="815" y="371"/>
                    </a:cubicBezTo>
                    <a:cubicBezTo>
                      <a:pt x="816" y="383"/>
                      <a:pt x="810" y="392"/>
                      <a:pt x="805" y="402"/>
                    </a:cubicBezTo>
                    <a:cubicBezTo>
                      <a:pt x="804" y="411"/>
                      <a:pt x="781" y="412"/>
                      <a:pt x="796" y="417"/>
                    </a:cubicBezTo>
                    <a:cubicBezTo>
                      <a:pt x="806" y="420"/>
                      <a:pt x="792" y="425"/>
                      <a:pt x="799" y="428"/>
                    </a:cubicBezTo>
                    <a:cubicBezTo>
                      <a:pt x="811" y="428"/>
                      <a:pt x="808" y="451"/>
                      <a:pt x="816" y="445"/>
                    </a:cubicBezTo>
                    <a:cubicBezTo>
                      <a:pt x="820" y="437"/>
                      <a:pt x="827" y="442"/>
                      <a:pt x="825" y="446"/>
                    </a:cubicBezTo>
                    <a:cubicBezTo>
                      <a:pt x="825" y="447"/>
                      <a:pt x="823" y="448"/>
                      <a:pt x="820" y="448"/>
                    </a:cubicBezTo>
                    <a:cubicBezTo>
                      <a:pt x="796" y="455"/>
                      <a:pt x="774" y="466"/>
                      <a:pt x="750" y="470"/>
                    </a:cubicBezTo>
                    <a:cubicBezTo>
                      <a:pt x="736" y="475"/>
                      <a:pt x="722" y="478"/>
                      <a:pt x="708" y="484"/>
                    </a:cubicBezTo>
                    <a:cubicBezTo>
                      <a:pt x="691" y="494"/>
                      <a:pt x="670" y="494"/>
                      <a:pt x="652" y="499"/>
                    </a:cubicBezTo>
                    <a:cubicBezTo>
                      <a:pt x="637" y="502"/>
                      <a:pt x="624" y="510"/>
                      <a:pt x="611" y="514"/>
                    </a:cubicBezTo>
                    <a:cubicBezTo>
                      <a:pt x="594" y="520"/>
                      <a:pt x="612" y="539"/>
                      <a:pt x="614" y="549"/>
                    </a:cubicBezTo>
                    <a:cubicBezTo>
                      <a:pt x="609" y="552"/>
                      <a:pt x="619" y="561"/>
                      <a:pt x="611" y="564"/>
                    </a:cubicBezTo>
                    <a:cubicBezTo>
                      <a:pt x="610" y="565"/>
                      <a:pt x="609" y="565"/>
                      <a:pt x="608" y="565"/>
                    </a:cubicBezTo>
                    <a:cubicBezTo>
                      <a:pt x="593" y="566"/>
                      <a:pt x="577" y="560"/>
                      <a:pt x="562" y="566"/>
                    </a:cubicBezTo>
                    <a:cubicBezTo>
                      <a:pt x="551" y="567"/>
                      <a:pt x="539" y="570"/>
                      <a:pt x="528" y="575"/>
                    </a:cubicBezTo>
                    <a:cubicBezTo>
                      <a:pt x="521" y="584"/>
                      <a:pt x="506" y="585"/>
                      <a:pt x="501" y="595"/>
                    </a:cubicBezTo>
                    <a:cubicBezTo>
                      <a:pt x="498" y="609"/>
                      <a:pt x="503" y="632"/>
                      <a:pt x="482" y="633"/>
                    </a:cubicBezTo>
                    <a:cubicBezTo>
                      <a:pt x="470" y="638"/>
                      <a:pt x="457" y="642"/>
                      <a:pt x="447" y="650"/>
                    </a:cubicBezTo>
                    <a:cubicBezTo>
                      <a:pt x="436" y="657"/>
                      <a:pt x="420" y="658"/>
                      <a:pt x="414" y="672"/>
                    </a:cubicBezTo>
                    <a:cubicBezTo>
                      <a:pt x="408" y="687"/>
                      <a:pt x="396" y="699"/>
                      <a:pt x="383" y="710"/>
                    </a:cubicBezTo>
                    <a:cubicBezTo>
                      <a:pt x="371" y="719"/>
                      <a:pt x="367" y="738"/>
                      <a:pt x="350" y="738"/>
                    </a:cubicBezTo>
                    <a:cubicBezTo>
                      <a:pt x="337" y="747"/>
                      <a:pt x="326" y="737"/>
                      <a:pt x="313" y="733"/>
                    </a:cubicBezTo>
                    <a:cubicBezTo>
                      <a:pt x="301" y="723"/>
                      <a:pt x="289" y="742"/>
                      <a:pt x="277" y="735"/>
                    </a:cubicBezTo>
                    <a:cubicBezTo>
                      <a:pt x="273" y="718"/>
                      <a:pt x="255" y="727"/>
                      <a:pt x="243" y="725"/>
                    </a:cubicBezTo>
                    <a:cubicBezTo>
                      <a:pt x="240" y="723"/>
                      <a:pt x="238" y="722"/>
                      <a:pt x="236" y="723"/>
                    </a:cubicBezTo>
                    <a:cubicBezTo>
                      <a:pt x="232" y="721"/>
                      <a:pt x="232" y="721"/>
                      <a:pt x="232" y="721"/>
                    </a:cubicBezTo>
                    <a:cubicBezTo>
                      <a:pt x="232" y="721"/>
                      <a:pt x="230" y="720"/>
                      <a:pt x="226" y="715"/>
                    </a:cubicBezTo>
                    <a:cubicBezTo>
                      <a:pt x="218" y="704"/>
                      <a:pt x="205" y="698"/>
                      <a:pt x="191" y="698"/>
                    </a:cubicBezTo>
                    <a:cubicBezTo>
                      <a:pt x="177" y="700"/>
                      <a:pt x="161" y="693"/>
                      <a:pt x="145" y="699"/>
                    </a:cubicBezTo>
                    <a:cubicBezTo>
                      <a:pt x="132" y="700"/>
                      <a:pt x="118" y="707"/>
                      <a:pt x="104" y="705"/>
                    </a:cubicBezTo>
                    <a:cubicBezTo>
                      <a:pt x="103" y="705"/>
                      <a:pt x="101" y="704"/>
                      <a:pt x="100" y="704"/>
                    </a:cubicBezTo>
                    <a:cubicBezTo>
                      <a:pt x="86" y="699"/>
                      <a:pt x="78" y="687"/>
                      <a:pt x="68" y="677"/>
                    </a:cubicBezTo>
                    <a:cubicBezTo>
                      <a:pt x="51" y="664"/>
                      <a:pt x="40" y="645"/>
                      <a:pt x="23" y="632"/>
                    </a:cubicBezTo>
                    <a:cubicBezTo>
                      <a:pt x="6" y="626"/>
                      <a:pt x="11" y="607"/>
                      <a:pt x="0" y="596"/>
                    </a:cubicBezTo>
                    <a:cubicBezTo>
                      <a:pt x="2" y="516"/>
                      <a:pt x="4" y="437"/>
                      <a:pt x="6" y="358"/>
                    </a:cubicBezTo>
                    <a:cubicBezTo>
                      <a:pt x="41" y="358"/>
                      <a:pt x="77" y="359"/>
                      <a:pt x="112" y="359"/>
                    </a:cubicBezTo>
                    <a:cubicBezTo>
                      <a:pt x="126" y="358"/>
                      <a:pt x="144" y="363"/>
                      <a:pt x="154" y="357"/>
                    </a:cubicBezTo>
                    <a:cubicBezTo>
                      <a:pt x="139" y="345"/>
                      <a:pt x="150" y="326"/>
                      <a:pt x="158" y="312"/>
                    </a:cubicBezTo>
                    <a:cubicBezTo>
                      <a:pt x="156" y="301"/>
                      <a:pt x="151" y="289"/>
                      <a:pt x="155" y="277"/>
                    </a:cubicBezTo>
                    <a:cubicBezTo>
                      <a:pt x="157" y="265"/>
                      <a:pt x="152" y="253"/>
                      <a:pt x="160" y="242"/>
                    </a:cubicBezTo>
                    <a:cubicBezTo>
                      <a:pt x="161" y="230"/>
                      <a:pt x="158" y="217"/>
                      <a:pt x="158" y="205"/>
                    </a:cubicBezTo>
                    <a:cubicBezTo>
                      <a:pt x="157" y="203"/>
                      <a:pt x="157" y="202"/>
                      <a:pt x="158" y="201"/>
                    </a:cubicBezTo>
                    <a:cubicBezTo>
                      <a:pt x="159" y="195"/>
                      <a:pt x="171" y="204"/>
                      <a:pt x="169" y="211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406" name="Yemen"/>
              <p:cNvSpPr>
                <a:spLocks/>
              </p:cNvSpPr>
              <p:nvPr/>
            </p:nvSpPr>
            <p:spPr bwMode="auto">
              <a:xfrm>
                <a:off x="5341462" y="3994878"/>
                <a:ext cx="265734" cy="172527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7" y="7"/>
                  </a:cxn>
                  <a:cxn ang="0">
                    <a:pos x="15" y="18"/>
                  </a:cxn>
                  <a:cxn ang="0">
                    <a:pos x="32" y="4"/>
                  </a:cxn>
                  <a:cxn ang="0">
                    <a:pos x="46" y="0"/>
                  </a:cxn>
                  <a:cxn ang="0">
                    <a:pos x="48" y="7"/>
                  </a:cxn>
                  <a:cxn ang="0">
                    <a:pos x="48" y="9"/>
                  </a:cxn>
                  <a:cxn ang="0">
                    <a:pos x="46" y="9"/>
                  </a:cxn>
                  <a:cxn ang="0">
                    <a:pos x="46" y="13"/>
                  </a:cxn>
                  <a:cxn ang="0">
                    <a:pos x="34" y="18"/>
                  </a:cxn>
                  <a:cxn ang="0">
                    <a:pos x="23" y="29"/>
                  </a:cxn>
                  <a:cxn ang="0">
                    <a:pos x="15" y="29"/>
                  </a:cxn>
                  <a:cxn ang="0">
                    <a:pos x="11" y="31"/>
                  </a:cxn>
                  <a:cxn ang="0">
                    <a:pos x="7" y="31"/>
                  </a:cxn>
                  <a:cxn ang="0">
                    <a:pos x="2" y="20"/>
                  </a:cxn>
                  <a:cxn ang="0">
                    <a:pos x="0" y="9"/>
                  </a:cxn>
                </a:cxnLst>
                <a:rect l="0" t="0" r="r" b="b"/>
                <a:pathLst>
                  <a:path w="48" h="31">
                    <a:moveTo>
                      <a:pt x="0" y="9"/>
                    </a:moveTo>
                    <a:lnTo>
                      <a:pt x="7" y="7"/>
                    </a:lnTo>
                    <a:lnTo>
                      <a:pt x="15" y="18"/>
                    </a:lnTo>
                    <a:lnTo>
                      <a:pt x="32" y="4"/>
                    </a:lnTo>
                    <a:lnTo>
                      <a:pt x="46" y="0"/>
                    </a:lnTo>
                    <a:lnTo>
                      <a:pt x="48" y="7"/>
                    </a:lnTo>
                    <a:lnTo>
                      <a:pt x="48" y="9"/>
                    </a:lnTo>
                    <a:lnTo>
                      <a:pt x="46" y="9"/>
                    </a:lnTo>
                    <a:lnTo>
                      <a:pt x="46" y="13"/>
                    </a:lnTo>
                    <a:lnTo>
                      <a:pt x="34" y="18"/>
                    </a:lnTo>
                    <a:lnTo>
                      <a:pt x="23" y="29"/>
                    </a:lnTo>
                    <a:lnTo>
                      <a:pt x="15" y="29"/>
                    </a:lnTo>
                    <a:lnTo>
                      <a:pt x="11" y="31"/>
                    </a:lnTo>
                    <a:lnTo>
                      <a:pt x="7" y="31"/>
                    </a:lnTo>
                    <a:lnTo>
                      <a:pt x="2" y="2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157" name="Vietnam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6874364" y="3833202"/>
                <a:ext cx="216352" cy="451449"/>
              </a:xfrm>
              <a:custGeom>
                <a:avLst/>
                <a:gdLst>
                  <a:gd name="T0" fmla="*/ 0 w 39"/>
                  <a:gd name="T1" fmla="*/ 11147 h 81"/>
                  <a:gd name="T2" fmla="*/ 22190 w 39"/>
                  <a:gd name="T3" fmla="*/ 61308 h 81"/>
                  <a:gd name="T4" fmla="*/ 55475 w 39"/>
                  <a:gd name="T5" fmla="*/ 83602 h 81"/>
                  <a:gd name="T6" fmla="*/ 66570 w 39"/>
                  <a:gd name="T7" fmla="*/ 100322 h 81"/>
                  <a:gd name="T8" fmla="*/ 55475 w 39"/>
                  <a:gd name="T9" fmla="*/ 111469 h 81"/>
                  <a:gd name="T10" fmla="*/ 116497 w 39"/>
                  <a:gd name="T11" fmla="*/ 183924 h 81"/>
                  <a:gd name="T12" fmla="*/ 116497 w 39"/>
                  <a:gd name="T13" fmla="*/ 200644 h 81"/>
                  <a:gd name="T14" fmla="*/ 149782 w 39"/>
                  <a:gd name="T15" fmla="*/ 234085 h 81"/>
                  <a:gd name="T16" fmla="*/ 171972 w 39"/>
                  <a:gd name="T17" fmla="*/ 261952 h 81"/>
                  <a:gd name="T18" fmla="*/ 171972 w 39"/>
                  <a:gd name="T19" fmla="*/ 334407 h 81"/>
                  <a:gd name="T20" fmla="*/ 138687 w 39"/>
                  <a:gd name="T21" fmla="*/ 373421 h 81"/>
                  <a:gd name="T22" fmla="*/ 116497 w 39"/>
                  <a:gd name="T23" fmla="*/ 384568 h 81"/>
                  <a:gd name="T24" fmla="*/ 88760 w 39"/>
                  <a:gd name="T25" fmla="*/ 401288 h 81"/>
                  <a:gd name="T26" fmla="*/ 105402 w 39"/>
                  <a:gd name="T27" fmla="*/ 423582 h 81"/>
                  <a:gd name="T28" fmla="*/ 105402 w 39"/>
                  <a:gd name="T29" fmla="*/ 451449 h 81"/>
                  <a:gd name="T30" fmla="*/ 149782 w 39"/>
                  <a:gd name="T31" fmla="*/ 434729 h 81"/>
                  <a:gd name="T32" fmla="*/ 149782 w 39"/>
                  <a:gd name="T33" fmla="*/ 401288 h 81"/>
                  <a:gd name="T34" fmla="*/ 171972 w 39"/>
                  <a:gd name="T35" fmla="*/ 401288 h 81"/>
                  <a:gd name="T36" fmla="*/ 216352 w 39"/>
                  <a:gd name="T37" fmla="*/ 373421 h 81"/>
                  <a:gd name="T38" fmla="*/ 216352 w 39"/>
                  <a:gd name="T39" fmla="*/ 300966 h 81"/>
                  <a:gd name="T40" fmla="*/ 194162 w 39"/>
                  <a:gd name="T41" fmla="*/ 250805 h 81"/>
                  <a:gd name="T42" fmla="*/ 105402 w 39"/>
                  <a:gd name="T43" fmla="*/ 150483 h 81"/>
                  <a:gd name="T44" fmla="*/ 88760 w 39"/>
                  <a:gd name="T45" fmla="*/ 133763 h 81"/>
                  <a:gd name="T46" fmla="*/ 105402 w 39"/>
                  <a:gd name="T47" fmla="*/ 100322 h 81"/>
                  <a:gd name="T48" fmla="*/ 116497 w 39"/>
                  <a:gd name="T49" fmla="*/ 61308 h 81"/>
                  <a:gd name="T50" fmla="*/ 149782 w 39"/>
                  <a:gd name="T51" fmla="*/ 50161 h 81"/>
                  <a:gd name="T52" fmla="*/ 116497 w 39"/>
                  <a:gd name="T53" fmla="*/ 22294 h 81"/>
                  <a:gd name="T54" fmla="*/ 105402 w 39"/>
                  <a:gd name="T55" fmla="*/ 11147 h 81"/>
                  <a:gd name="T56" fmla="*/ 66570 w 39"/>
                  <a:gd name="T57" fmla="*/ 0 h 81"/>
                  <a:gd name="T58" fmla="*/ 11095 w 39"/>
                  <a:gd name="T59" fmla="*/ 11147 h 81"/>
                  <a:gd name="T60" fmla="*/ 0 w 39"/>
                  <a:gd name="T61" fmla="*/ 11147 h 81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39"/>
                  <a:gd name="T94" fmla="*/ 0 h 81"/>
                  <a:gd name="T95" fmla="*/ 39 w 39"/>
                  <a:gd name="T96" fmla="*/ 81 h 81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39" h="81">
                    <a:moveTo>
                      <a:pt x="0" y="2"/>
                    </a:moveTo>
                    <a:lnTo>
                      <a:pt x="4" y="11"/>
                    </a:lnTo>
                    <a:lnTo>
                      <a:pt x="10" y="15"/>
                    </a:lnTo>
                    <a:lnTo>
                      <a:pt x="12" y="18"/>
                    </a:lnTo>
                    <a:lnTo>
                      <a:pt x="10" y="20"/>
                    </a:lnTo>
                    <a:lnTo>
                      <a:pt x="21" y="33"/>
                    </a:lnTo>
                    <a:lnTo>
                      <a:pt x="21" y="36"/>
                    </a:lnTo>
                    <a:lnTo>
                      <a:pt x="27" y="42"/>
                    </a:lnTo>
                    <a:lnTo>
                      <a:pt x="31" y="47"/>
                    </a:lnTo>
                    <a:lnTo>
                      <a:pt x="31" y="60"/>
                    </a:lnTo>
                    <a:lnTo>
                      <a:pt x="25" y="67"/>
                    </a:lnTo>
                    <a:lnTo>
                      <a:pt x="21" y="69"/>
                    </a:lnTo>
                    <a:lnTo>
                      <a:pt x="16" y="72"/>
                    </a:lnTo>
                    <a:lnTo>
                      <a:pt x="19" y="76"/>
                    </a:lnTo>
                    <a:lnTo>
                      <a:pt x="19" y="81"/>
                    </a:lnTo>
                    <a:lnTo>
                      <a:pt x="27" y="78"/>
                    </a:lnTo>
                    <a:lnTo>
                      <a:pt x="27" y="72"/>
                    </a:lnTo>
                    <a:lnTo>
                      <a:pt x="31" y="72"/>
                    </a:lnTo>
                    <a:lnTo>
                      <a:pt x="39" y="67"/>
                    </a:lnTo>
                    <a:lnTo>
                      <a:pt x="39" y="54"/>
                    </a:lnTo>
                    <a:lnTo>
                      <a:pt x="35" y="45"/>
                    </a:lnTo>
                    <a:lnTo>
                      <a:pt x="19" y="27"/>
                    </a:lnTo>
                    <a:lnTo>
                      <a:pt x="16" y="24"/>
                    </a:lnTo>
                    <a:lnTo>
                      <a:pt x="19" y="18"/>
                    </a:lnTo>
                    <a:lnTo>
                      <a:pt x="21" y="11"/>
                    </a:lnTo>
                    <a:lnTo>
                      <a:pt x="27" y="9"/>
                    </a:lnTo>
                    <a:lnTo>
                      <a:pt x="21" y="4"/>
                    </a:lnTo>
                    <a:lnTo>
                      <a:pt x="19" y="2"/>
                    </a:lnTo>
                    <a:lnTo>
                      <a:pt x="12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E8B8B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410" name="Venezuela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2337282" y="4184658"/>
                <a:ext cx="331305" cy="362307"/>
              </a:xfrm>
              <a:custGeom>
                <a:avLst/>
                <a:gdLst/>
                <a:ahLst/>
                <a:cxnLst>
                  <a:cxn ang="0">
                    <a:pos x="60" y="22"/>
                  </a:cxn>
                  <a:cxn ang="0">
                    <a:pos x="56" y="24"/>
                  </a:cxn>
                  <a:cxn ang="0">
                    <a:pos x="56" y="27"/>
                  </a:cxn>
                  <a:cxn ang="0">
                    <a:pos x="58" y="31"/>
                  </a:cxn>
                  <a:cxn ang="0">
                    <a:pos x="56" y="31"/>
                  </a:cxn>
                  <a:cxn ang="0">
                    <a:pos x="52" y="36"/>
                  </a:cxn>
                  <a:cxn ang="0">
                    <a:pos x="56" y="40"/>
                  </a:cxn>
                  <a:cxn ang="0">
                    <a:pos x="56" y="42"/>
                  </a:cxn>
                  <a:cxn ang="0">
                    <a:pos x="44" y="49"/>
                  </a:cxn>
                  <a:cxn ang="0">
                    <a:pos x="35" y="47"/>
                  </a:cxn>
                  <a:cxn ang="0">
                    <a:pos x="39" y="49"/>
                  </a:cxn>
                  <a:cxn ang="0">
                    <a:pos x="39" y="56"/>
                  </a:cxn>
                  <a:cxn ang="0">
                    <a:pos x="41" y="58"/>
                  </a:cxn>
                  <a:cxn ang="0">
                    <a:pos x="33" y="65"/>
                  </a:cxn>
                  <a:cxn ang="0">
                    <a:pos x="27" y="65"/>
                  </a:cxn>
                  <a:cxn ang="0">
                    <a:pos x="27" y="60"/>
                  </a:cxn>
                  <a:cxn ang="0">
                    <a:pos x="21" y="51"/>
                  </a:cxn>
                  <a:cxn ang="0">
                    <a:pos x="25" y="51"/>
                  </a:cxn>
                  <a:cxn ang="0">
                    <a:pos x="21" y="42"/>
                  </a:cxn>
                  <a:cxn ang="0">
                    <a:pos x="25" y="33"/>
                  </a:cxn>
                  <a:cxn ang="0">
                    <a:pos x="16" y="33"/>
                  </a:cxn>
                  <a:cxn ang="0">
                    <a:pos x="12" y="31"/>
                  </a:cxn>
                  <a:cxn ang="0">
                    <a:pos x="4" y="27"/>
                  </a:cxn>
                  <a:cxn ang="0">
                    <a:pos x="2" y="27"/>
                  </a:cxn>
                  <a:cxn ang="0">
                    <a:pos x="2" y="24"/>
                  </a:cxn>
                  <a:cxn ang="0">
                    <a:pos x="0" y="15"/>
                  </a:cxn>
                  <a:cxn ang="0">
                    <a:pos x="2" y="6"/>
                  </a:cxn>
                  <a:cxn ang="0">
                    <a:pos x="4" y="4"/>
                  </a:cxn>
                  <a:cxn ang="0">
                    <a:pos x="8" y="9"/>
                  </a:cxn>
                  <a:cxn ang="0">
                    <a:pos x="4" y="13"/>
                  </a:cxn>
                  <a:cxn ang="0">
                    <a:pos x="4" y="18"/>
                  </a:cxn>
                  <a:cxn ang="0">
                    <a:pos x="8" y="15"/>
                  </a:cxn>
                  <a:cxn ang="0">
                    <a:pos x="8" y="6"/>
                  </a:cxn>
                  <a:cxn ang="0">
                    <a:pos x="12" y="4"/>
                  </a:cxn>
                  <a:cxn ang="0">
                    <a:pos x="12" y="0"/>
                  </a:cxn>
                  <a:cxn ang="0">
                    <a:pos x="16" y="4"/>
                  </a:cxn>
                  <a:cxn ang="0">
                    <a:pos x="21" y="6"/>
                  </a:cxn>
                  <a:cxn ang="0">
                    <a:pos x="21" y="9"/>
                  </a:cxn>
                  <a:cxn ang="0">
                    <a:pos x="31" y="9"/>
                  </a:cxn>
                  <a:cxn ang="0">
                    <a:pos x="35" y="13"/>
                  </a:cxn>
                  <a:cxn ang="0">
                    <a:pos x="41" y="9"/>
                  </a:cxn>
                  <a:cxn ang="0">
                    <a:pos x="50" y="9"/>
                  </a:cxn>
                  <a:cxn ang="0">
                    <a:pos x="48" y="9"/>
                  </a:cxn>
                  <a:cxn ang="0">
                    <a:pos x="50" y="13"/>
                  </a:cxn>
                  <a:cxn ang="0">
                    <a:pos x="56" y="15"/>
                  </a:cxn>
                  <a:cxn ang="0">
                    <a:pos x="56" y="22"/>
                  </a:cxn>
                  <a:cxn ang="0">
                    <a:pos x="58" y="22"/>
                  </a:cxn>
                  <a:cxn ang="0">
                    <a:pos x="60" y="22"/>
                  </a:cxn>
                </a:cxnLst>
                <a:rect l="0" t="0" r="r" b="b"/>
                <a:pathLst>
                  <a:path w="60" h="65">
                    <a:moveTo>
                      <a:pt x="60" y="22"/>
                    </a:moveTo>
                    <a:lnTo>
                      <a:pt x="56" y="24"/>
                    </a:lnTo>
                    <a:lnTo>
                      <a:pt x="56" y="27"/>
                    </a:lnTo>
                    <a:lnTo>
                      <a:pt x="58" y="31"/>
                    </a:lnTo>
                    <a:lnTo>
                      <a:pt x="56" y="31"/>
                    </a:lnTo>
                    <a:lnTo>
                      <a:pt x="52" y="36"/>
                    </a:lnTo>
                    <a:lnTo>
                      <a:pt x="56" y="40"/>
                    </a:lnTo>
                    <a:lnTo>
                      <a:pt x="56" y="42"/>
                    </a:lnTo>
                    <a:lnTo>
                      <a:pt x="44" y="49"/>
                    </a:lnTo>
                    <a:lnTo>
                      <a:pt x="35" y="47"/>
                    </a:lnTo>
                    <a:lnTo>
                      <a:pt x="39" y="49"/>
                    </a:lnTo>
                    <a:lnTo>
                      <a:pt x="39" y="56"/>
                    </a:lnTo>
                    <a:lnTo>
                      <a:pt x="41" y="58"/>
                    </a:lnTo>
                    <a:lnTo>
                      <a:pt x="33" y="65"/>
                    </a:lnTo>
                    <a:lnTo>
                      <a:pt x="27" y="65"/>
                    </a:lnTo>
                    <a:lnTo>
                      <a:pt x="27" y="60"/>
                    </a:lnTo>
                    <a:lnTo>
                      <a:pt x="21" y="51"/>
                    </a:lnTo>
                    <a:lnTo>
                      <a:pt x="25" y="51"/>
                    </a:lnTo>
                    <a:lnTo>
                      <a:pt x="21" y="42"/>
                    </a:lnTo>
                    <a:lnTo>
                      <a:pt x="25" y="33"/>
                    </a:lnTo>
                    <a:lnTo>
                      <a:pt x="16" y="33"/>
                    </a:lnTo>
                    <a:lnTo>
                      <a:pt x="12" y="31"/>
                    </a:lnTo>
                    <a:lnTo>
                      <a:pt x="4" y="27"/>
                    </a:lnTo>
                    <a:lnTo>
                      <a:pt x="2" y="27"/>
                    </a:lnTo>
                    <a:lnTo>
                      <a:pt x="2" y="24"/>
                    </a:lnTo>
                    <a:lnTo>
                      <a:pt x="0" y="15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8" y="9"/>
                    </a:lnTo>
                    <a:lnTo>
                      <a:pt x="4" y="13"/>
                    </a:lnTo>
                    <a:lnTo>
                      <a:pt x="4" y="18"/>
                    </a:lnTo>
                    <a:lnTo>
                      <a:pt x="8" y="15"/>
                    </a:lnTo>
                    <a:lnTo>
                      <a:pt x="8" y="6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6" y="4"/>
                    </a:lnTo>
                    <a:lnTo>
                      <a:pt x="21" y="6"/>
                    </a:lnTo>
                    <a:lnTo>
                      <a:pt x="21" y="9"/>
                    </a:lnTo>
                    <a:lnTo>
                      <a:pt x="31" y="9"/>
                    </a:lnTo>
                    <a:lnTo>
                      <a:pt x="35" y="13"/>
                    </a:lnTo>
                    <a:lnTo>
                      <a:pt x="41" y="9"/>
                    </a:lnTo>
                    <a:lnTo>
                      <a:pt x="50" y="9"/>
                    </a:lnTo>
                    <a:lnTo>
                      <a:pt x="48" y="9"/>
                    </a:lnTo>
                    <a:lnTo>
                      <a:pt x="50" y="13"/>
                    </a:lnTo>
                    <a:lnTo>
                      <a:pt x="56" y="15"/>
                    </a:lnTo>
                    <a:lnTo>
                      <a:pt x="56" y="22"/>
                    </a:lnTo>
                    <a:lnTo>
                      <a:pt x="58" y="22"/>
                    </a:lnTo>
                    <a:lnTo>
                      <a:pt x="60" y="22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11" name="Vatican City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4521826" y="3158121"/>
                <a:ext cx="10353" cy="5003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4"/>
                  </a:cxn>
                  <a:cxn ang="0">
                    <a:pos x="2" y="9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lnTo>
                      <a:pt x="0" y="4"/>
                    </a:lnTo>
                    <a:lnTo>
                      <a:pt x="2" y="9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14" name="Uzbekistan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576136" y="3114989"/>
                <a:ext cx="438289" cy="260517"/>
              </a:xfrm>
              <a:custGeom>
                <a:avLst/>
                <a:gdLst/>
                <a:ahLst/>
                <a:cxnLst>
                  <a:cxn ang="0">
                    <a:pos x="54" y="45"/>
                  </a:cxn>
                  <a:cxn ang="0">
                    <a:pos x="61" y="47"/>
                  </a:cxn>
                  <a:cxn ang="0">
                    <a:pos x="63" y="43"/>
                  </a:cxn>
                  <a:cxn ang="0">
                    <a:pos x="61" y="36"/>
                  </a:cxn>
                  <a:cxn ang="0">
                    <a:pos x="58" y="34"/>
                  </a:cxn>
                  <a:cxn ang="0">
                    <a:pos x="63" y="34"/>
                  </a:cxn>
                  <a:cxn ang="0">
                    <a:pos x="63" y="27"/>
                  </a:cxn>
                  <a:cxn ang="0">
                    <a:pos x="69" y="25"/>
                  </a:cxn>
                  <a:cxn ang="0">
                    <a:pos x="69" y="29"/>
                  </a:cxn>
                  <a:cxn ang="0">
                    <a:pos x="75" y="29"/>
                  </a:cxn>
                  <a:cxn ang="0">
                    <a:pos x="79" y="27"/>
                  </a:cxn>
                  <a:cxn ang="0">
                    <a:pos x="71" y="20"/>
                  </a:cxn>
                  <a:cxn ang="0">
                    <a:pos x="71" y="25"/>
                  </a:cxn>
                  <a:cxn ang="0">
                    <a:pos x="67" y="20"/>
                  </a:cxn>
                  <a:cxn ang="0">
                    <a:pos x="61" y="25"/>
                  </a:cxn>
                  <a:cxn ang="0">
                    <a:pos x="52" y="25"/>
                  </a:cxn>
                  <a:cxn ang="0">
                    <a:pos x="52" y="20"/>
                  </a:cxn>
                  <a:cxn ang="0">
                    <a:pos x="48" y="20"/>
                  </a:cxn>
                  <a:cxn ang="0">
                    <a:pos x="46" y="16"/>
                  </a:cxn>
                  <a:cxn ang="0">
                    <a:pos x="40" y="9"/>
                  </a:cxn>
                  <a:cxn ang="0">
                    <a:pos x="29" y="11"/>
                  </a:cxn>
                  <a:cxn ang="0">
                    <a:pos x="13" y="0"/>
                  </a:cxn>
                  <a:cxn ang="0">
                    <a:pos x="0" y="2"/>
                  </a:cxn>
                  <a:cxn ang="0">
                    <a:pos x="6" y="25"/>
                  </a:cxn>
                  <a:cxn ang="0">
                    <a:pos x="8" y="25"/>
                  </a:cxn>
                  <a:cxn ang="0">
                    <a:pos x="8" y="20"/>
                  </a:cxn>
                  <a:cxn ang="0">
                    <a:pos x="13" y="16"/>
                  </a:cxn>
                  <a:cxn ang="0">
                    <a:pos x="15" y="16"/>
                  </a:cxn>
                  <a:cxn ang="0">
                    <a:pos x="21" y="18"/>
                  </a:cxn>
                  <a:cxn ang="0">
                    <a:pos x="23" y="25"/>
                  </a:cxn>
                  <a:cxn ang="0">
                    <a:pos x="31" y="25"/>
                  </a:cxn>
                  <a:cxn ang="0">
                    <a:pos x="35" y="29"/>
                  </a:cxn>
                  <a:cxn ang="0">
                    <a:pos x="48" y="38"/>
                  </a:cxn>
                  <a:cxn ang="0">
                    <a:pos x="54" y="43"/>
                  </a:cxn>
                  <a:cxn ang="0">
                    <a:pos x="54" y="45"/>
                  </a:cxn>
                </a:cxnLst>
                <a:rect l="0" t="0" r="r" b="b"/>
                <a:pathLst>
                  <a:path w="79" h="47">
                    <a:moveTo>
                      <a:pt x="54" y="45"/>
                    </a:moveTo>
                    <a:lnTo>
                      <a:pt x="61" y="47"/>
                    </a:lnTo>
                    <a:lnTo>
                      <a:pt x="63" y="43"/>
                    </a:lnTo>
                    <a:lnTo>
                      <a:pt x="61" y="36"/>
                    </a:lnTo>
                    <a:lnTo>
                      <a:pt x="58" y="34"/>
                    </a:lnTo>
                    <a:lnTo>
                      <a:pt x="63" y="34"/>
                    </a:lnTo>
                    <a:lnTo>
                      <a:pt x="63" y="27"/>
                    </a:lnTo>
                    <a:lnTo>
                      <a:pt x="69" y="25"/>
                    </a:lnTo>
                    <a:lnTo>
                      <a:pt x="69" y="29"/>
                    </a:lnTo>
                    <a:lnTo>
                      <a:pt x="75" y="29"/>
                    </a:lnTo>
                    <a:lnTo>
                      <a:pt x="79" y="27"/>
                    </a:lnTo>
                    <a:lnTo>
                      <a:pt x="71" y="20"/>
                    </a:lnTo>
                    <a:lnTo>
                      <a:pt x="71" y="25"/>
                    </a:lnTo>
                    <a:lnTo>
                      <a:pt x="67" y="20"/>
                    </a:lnTo>
                    <a:lnTo>
                      <a:pt x="61" y="25"/>
                    </a:lnTo>
                    <a:lnTo>
                      <a:pt x="52" y="25"/>
                    </a:lnTo>
                    <a:lnTo>
                      <a:pt x="52" y="20"/>
                    </a:lnTo>
                    <a:lnTo>
                      <a:pt x="48" y="20"/>
                    </a:lnTo>
                    <a:lnTo>
                      <a:pt x="46" y="16"/>
                    </a:lnTo>
                    <a:lnTo>
                      <a:pt x="40" y="9"/>
                    </a:lnTo>
                    <a:lnTo>
                      <a:pt x="29" y="11"/>
                    </a:lnTo>
                    <a:lnTo>
                      <a:pt x="13" y="0"/>
                    </a:lnTo>
                    <a:lnTo>
                      <a:pt x="0" y="2"/>
                    </a:lnTo>
                    <a:lnTo>
                      <a:pt x="6" y="25"/>
                    </a:lnTo>
                    <a:lnTo>
                      <a:pt x="8" y="25"/>
                    </a:lnTo>
                    <a:lnTo>
                      <a:pt x="8" y="20"/>
                    </a:lnTo>
                    <a:lnTo>
                      <a:pt x="13" y="16"/>
                    </a:lnTo>
                    <a:lnTo>
                      <a:pt x="15" y="16"/>
                    </a:lnTo>
                    <a:lnTo>
                      <a:pt x="21" y="18"/>
                    </a:lnTo>
                    <a:lnTo>
                      <a:pt x="23" y="25"/>
                    </a:lnTo>
                    <a:lnTo>
                      <a:pt x="31" y="25"/>
                    </a:lnTo>
                    <a:lnTo>
                      <a:pt x="35" y="29"/>
                    </a:lnTo>
                    <a:lnTo>
                      <a:pt x="48" y="38"/>
                    </a:lnTo>
                    <a:lnTo>
                      <a:pt x="54" y="43"/>
                    </a:lnTo>
                    <a:lnTo>
                      <a:pt x="54" y="4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161" name="Uruguay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796952" y="5549820"/>
                <a:ext cx="127592" cy="150483"/>
              </a:xfrm>
              <a:custGeom>
                <a:avLst/>
                <a:gdLst>
                  <a:gd name="T0" fmla="*/ 0 w 23"/>
                  <a:gd name="T1" fmla="*/ 111469 h 27"/>
                  <a:gd name="T2" fmla="*/ 0 w 23"/>
                  <a:gd name="T3" fmla="*/ 0 h 27"/>
                  <a:gd name="T4" fmla="*/ 22190 w 23"/>
                  <a:gd name="T5" fmla="*/ 0 h 27"/>
                  <a:gd name="T6" fmla="*/ 49927 w 23"/>
                  <a:gd name="T7" fmla="*/ 27867 h 27"/>
                  <a:gd name="T8" fmla="*/ 49927 w 23"/>
                  <a:gd name="T9" fmla="*/ 11147 h 27"/>
                  <a:gd name="T10" fmla="*/ 116497 w 23"/>
                  <a:gd name="T11" fmla="*/ 50161 h 27"/>
                  <a:gd name="T12" fmla="*/ 127592 w 23"/>
                  <a:gd name="T13" fmla="*/ 89175 h 27"/>
                  <a:gd name="T14" fmla="*/ 127592 w 23"/>
                  <a:gd name="T15" fmla="*/ 111469 h 27"/>
                  <a:gd name="T16" fmla="*/ 116497 w 23"/>
                  <a:gd name="T17" fmla="*/ 139336 h 27"/>
                  <a:gd name="T18" fmla="*/ 72117 w 23"/>
                  <a:gd name="T19" fmla="*/ 150483 h 27"/>
                  <a:gd name="T20" fmla="*/ 33285 w 23"/>
                  <a:gd name="T21" fmla="*/ 139336 h 27"/>
                  <a:gd name="T22" fmla="*/ 0 w 23"/>
                  <a:gd name="T23" fmla="*/ 111469 h 2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3"/>
                  <a:gd name="T37" fmla="*/ 0 h 27"/>
                  <a:gd name="T38" fmla="*/ 23 w 23"/>
                  <a:gd name="T39" fmla="*/ 27 h 2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3" h="27">
                    <a:moveTo>
                      <a:pt x="0" y="20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9" y="5"/>
                    </a:lnTo>
                    <a:lnTo>
                      <a:pt x="9" y="2"/>
                    </a:lnTo>
                    <a:lnTo>
                      <a:pt x="21" y="9"/>
                    </a:lnTo>
                    <a:lnTo>
                      <a:pt x="23" y="16"/>
                    </a:lnTo>
                    <a:lnTo>
                      <a:pt x="23" y="20"/>
                    </a:lnTo>
                    <a:lnTo>
                      <a:pt x="21" y="25"/>
                    </a:lnTo>
                    <a:lnTo>
                      <a:pt x="13" y="27"/>
                    </a:lnTo>
                    <a:lnTo>
                      <a:pt x="6" y="25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778025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418" name="USA"/>
              <p:cNvGrpSpPr/>
              <p:nvPr/>
            </p:nvGrpSpPr>
            <p:grpSpPr>
              <a:xfrm>
                <a:off x="644522" y="2350667"/>
                <a:ext cx="2047028" cy="1404506"/>
                <a:chOff x="644522" y="2331578"/>
                <a:chExt cx="2047028" cy="1404506"/>
              </a:xfrm>
              <a:solidFill>
                <a:srgbClr val="EF7A04"/>
              </a:solidFill>
            </p:grpSpPr>
            <p:sp>
              <p:nvSpPr>
                <p:cNvPr id="840" name="USA"/>
                <p:cNvSpPr>
                  <a:spLocks/>
                </p:cNvSpPr>
                <p:nvPr/>
              </p:nvSpPr>
              <p:spPr bwMode="auto">
                <a:xfrm>
                  <a:off x="794305" y="2632543"/>
                  <a:ext cx="49927" cy="2229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" y="4"/>
                    </a:cxn>
                    <a:cxn ang="0">
                      <a:pos x="9" y="0"/>
                    </a:cxn>
                    <a:cxn ang="0">
                      <a:pos x="4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9" h="4">
                      <a:moveTo>
                        <a:pt x="0" y="0"/>
                      </a:moveTo>
                      <a:lnTo>
                        <a:pt x="2" y="4"/>
                      </a:ln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41" name="USA"/>
                <p:cNvSpPr>
                  <a:spLocks/>
                </p:cNvSpPr>
                <p:nvPr/>
              </p:nvSpPr>
              <p:spPr bwMode="auto">
                <a:xfrm>
                  <a:off x="966278" y="2682705"/>
                  <a:ext cx="72117" cy="50161"/>
                </a:xfrm>
                <a:custGeom>
                  <a:avLst/>
                  <a:gdLst/>
                  <a:ahLst/>
                  <a:cxnLst>
                    <a:cxn ang="0">
                      <a:pos x="0" y="9"/>
                    </a:cxn>
                    <a:cxn ang="0">
                      <a:pos x="11" y="7"/>
                    </a:cxn>
                    <a:cxn ang="0">
                      <a:pos x="11" y="4"/>
                    </a:cxn>
                    <a:cxn ang="0">
                      <a:pos x="13" y="4"/>
                    </a:cxn>
                    <a:cxn ang="0">
                      <a:pos x="13" y="0"/>
                    </a:cxn>
                    <a:cxn ang="0">
                      <a:pos x="7" y="4"/>
                    </a:cxn>
                    <a:cxn ang="0">
                      <a:pos x="0" y="9"/>
                    </a:cxn>
                  </a:cxnLst>
                  <a:rect l="0" t="0" r="r" b="b"/>
                  <a:pathLst>
                    <a:path w="13" h="9">
                      <a:moveTo>
                        <a:pt x="0" y="9"/>
                      </a:moveTo>
                      <a:lnTo>
                        <a:pt x="11" y="7"/>
                      </a:lnTo>
                      <a:lnTo>
                        <a:pt x="11" y="4"/>
                      </a:lnTo>
                      <a:lnTo>
                        <a:pt x="13" y="4"/>
                      </a:lnTo>
                      <a:lnTo>
                        <a:pt x="13" y="0"/>
                      </a:lnTo>
                      <a:lnTo>
                        <a:pt x="7" y="4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42" name="USA"/>
                <p:cNvSpPr>
                  <a:spLocks/>
                </p:cNvSpPr>
                <p:nvPr/>
              </p:nvSpPr>
              <p:spPr bwMode="auto">
                <a:xfrm>
                  <a:off x="2475197" y="3245622"/>
                  <a:ext cx="55475" cy="11147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10" y="0"/>
                    </a:cxn>
                    <a:cxn ang="0">
                      <a:pos x="8" y="0"/>
                    </a:cxn>
                    <a:cxn ang="0">
                      <a:pos x="4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10" h="2">
                      <a:moveTo>
                        <a:pt x="0" y="2"/>
                      </a:move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4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43" name="USA"/>
                <p:cNvSpPr>
                  <a:spLocks/>
                </p:cNvSpPr>
                <p:nvPr/>
              </p:nvSpPr>
              <p:spPr bwMode="auto">
                <a:xfrm>
                  <a:off x="2336510" y="3072845"/>
                  <a:ext cx="22190" cy="2229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" y="4"/>
                    </a:cxn>
                    <a:cxn ang="0">
                      <a:pos x="4" y="0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" h="4">
                      <a:moveTo>
                        <a:pt x="0" y="0"/>
                      </a:moveTo>
                      <a:lnTo>
                        <a:pt x="2" y="4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44" name="USA"/>
                <p:cNvSpPr>
                  <a:spLocks/>
                </p:cNvSpPr>
                <p:nvPr/>
              </p:nvSpPr>
              <p:spPr bwMode="auto">
                <a:xfrm>
                  <a:off x="644522" y="2331578"/>
                  <a:ext cx="1009645" cy="490462"/>
                </a:xfrm>
                <a:custGeom>
                  <a:avLst/>
                  <a:gdLst/>
                  <a:ahLst/>
                  <a:cxnLst>
                    <a:cxn ang="0">
                      <a:pos x="134" y="54"/>
                    </a:cxn>
                    <a:cxn ang="0">
                      <a:pos x="134" y="61"/>
                    </a:cxn>
                    <a:cxn ang="0">
                      <a:pos x="146" y="63"/>
                    </a:cxn>
                    <a:cxn ang="0">
                      <a:pos x="146" y="79"/>
                    </a:cxn>
                    <a:cxn ang="0">
                      <a:pos x="140" y="85"/>
                    </a:cxn>
                    <a:cxn ang="0">
                      <a:pos x="138" y="79"/>
                    </a:cxn>
                    <a:cxn ang="0">
                      <a:pos x="138" y="76"/>
                    </a:cxn>
                    <a:cxn ang="0">
                      <a:pos x="132" y="81"/>
                    </a:cxn>
                    <a:cxn ang="0">
                      <a:pos x="132" y="76"/>
                    </a:cxn>
                    <a:cxn ang="0">
                      <a:pos x="138" y="72"/>
                    </a:cxn>
                    <a:cxn ang="0">
                      <a:pos x="140" y="70"/>
                    </a:cxn>
                    <a:cxn ang="0">
                      <a:pos x="138" y="67"/>
                    </a:cxn>
                    <a:cxn ang="0">
                      <a:pos x="127" y="61"/>
                    </a:cxn>
                    <a:cxn ang="0">
                      <a:pos x="125" y="58"/>
                    </a:cxn>
                    <a:cxn ang="0">
                      <a:pos x="109" y="52"/>
                    </a:cxn>
                    <a:cxn ang="0">
                      <a:pos x="94" y="58"/>
                    </a:cxn>
                    <a:cxn ang="0">
                      <a:pos x="71" y="61"/>
                    </a:cxn>
                    <a:cxn ang="0">
                      <a:pos x="69" y="63"/>
                    </a:cxn>
                    <a:cxn ang="0">
                      <a:pos x="36" y="79"/>
                    </a:cxn>
                    <a:cxn ang="0">
                      <a:pos x="50" y="70"/>
                    </a:cxn>
                    <a:cxn ang="0">
                      <a:pos x="50" y="63"/>
                    </a:cxn>
                    <a:cxn ang="0">
                      <a:pos x="46" y="58"/>
                    </a:cxn>
                    <a:cxn ang="0">
                      <a:pos x="40" y="47"/>
                    </a:cxn>
                    <a:cxn ang="0">
                      <a:pos x="71" y="38"/>
                    </a:cxn>
                    <a:cxn ang="0">
                      <a:pos x="71" y="34"/>
                    </a:cxn>
                    <a:cxn ang="0">
                      <a:pos x="63" y="29"/>
                    </a:cxn>
                    <a:cxn ang="0">
                      <a:pos x="77" y="25"/>
                    </a:cxn>
                    <a:cxn ang="0">
                      <a:pos x="77" y="25"/>
                    </a:cxn>
                    <a:cxn ang="0">
                      <a:pos x="86" y="20"/>
                    </a:cxn>
                    <a:cxn ang="0">
                      <a:pos x="86" y="16"/>
                    </a:cxn>
                    <a:cxn ang="0">
                      <a:pos x="100" y="11"/>
                    </a:cxn>
                    <a:cxn ang="0">
                      <a:pos x="140" y="0"/>
                    </a:cxn>
                    <a:cxn ang="0">
                      <a:pos x="142" y="2"/>
                    </a:cxn>
                    <a:cxn ang="0">
                      <a:pos x="177" y="4"/>
                    </a:cxn>
                    <a:cxn ang="0">
                      <a:pos x="154" y="31"/>
                    </a:cxn>
                  </a:cxnLst>
                  <a:rect l="0" t="0" r="r" b="b"/>
                  <a:pathLst>
                    <a:path w="182" h="88">
                      <a:moveTo>
                        <a:pt x="127" y="54"/>
                      </a:moveTo>
                      <a:lnTo>
                        <a:pt x="134" y="54"/>
                      </a:lnTo>
                      <a:lnTo>
                        <a:pt x="132" y="58"/>
                      </a:lnTo>
                      <a:lnTo>
                        <a:pt x="134" y="61"/>
                      </a:lnTo>
                      <a:lnTo>
                        <a:pt x="146" y="58"/>
                      </a:lnTo>
                      <a:lnTo>
                        <a:pt x="146" y="63"/>
                      </a:lnTo>
                      <a:lnTo>
                        <a:pt x="142" y="76"/>
                      </a:lnTo>
                      <a:lnTo>
                        <a:pt x="146" y="79"/>
                      </a:lnTo>
                      <a:lnTo>
                        <a:pt x="142" y="85"/>
                      </a:lnTo>
                      <a:lnTo>
                        <a:pt x="140" y="85"/>
                      </a:lnTo>
                      <a:lnTo>
                        <a:pt x="138" y="85"/>
                      </a:lnTo>
                      <a:lnTo>
                        <a:pt x="138" y="79"/>
                      </a:lnTo>
                      <a:lnTo>
                        <a:pt x="140" y="79"/>
                      </a:lnTo>
                      <a:lnTo>
                        <a:pt x="138" y="76"/>
                      </a:lnTo>
                      <a:lnTo>
                        <a:pt x="134" y="85"/>
                      </a:lnTo>
                      <a:lnTo>
                        <a:pt x="132" y="81"/>
                      </a:lnTo>
                      <a:lnTo>
                        <a:pt x="134" y="76"/>
                      </a:lnTo>
                      <a:lnTo>
                        <a:pt x="132" y="76"/>
                      </a:lnTo>
                      <a:lnTo>
                        <a:pt x="134" y="72"/>
                      </a:lnTo>
                      <a:lnTo>
                        <a:pt x="138" y="72"/>
                      </a:lnTo>
                      <a:lnTo>
                        <a:pt x="140" y="72"/>
                      </a:lnTo>
                      <a:lnTo>
                        <a:pt x="140" y="70"/>
                      </a:lnTo>
                      <a:lnTo>
                        <a:pt x="134" y="72"/>
                      </a:lnTo>
                      <a:lnTo>
                        <a:pt x="138" y="67"/>
                      </a:lnTo>
                      <a:lnTo>
                        <a:pt x="134" y="67"/>
                      </a:lnTo>
                      <a:lnTo>
                        <a:pt x="127" y="61"/>
                      </a:lnTo>
                      <a:lnTo>
                        <a:pt x="132" y="58"/>
                      </a:lnTo>
                      <a:lnTo>
                        <a:pt x="125" y="58"/>
                      </a:lnTo>
                      <a:lnTo>
                        <a:pt x="115" y="58"/>
                      </a:lnTo>
                      <a:lnTo>
                        <a:pt x="109" y="52"/>
                      </a:lnTo>
                      <a:lnTo>
                        <a:pt x="102" y="52"/>
                      </a:lnTo>
                      <a:lnTo>
                        <a:pt x="94" y="58"/>
                      </a:lnTo>
                      <a:lnTo>
                        <a:pt x="79" y="61"/>
                      </a:lnTo>
                      <a:lnTo>
                        <a:pt x="71" y="61"/>
                      </a:lnTo>
                      <a:lnTo>
                        <a:pt x="71" y="63"/>
                      </a:lnTo>
                      <a:lnTo>
                        <a:pt x="69" y="63"/>
                      </a:lnTo>
                      <a:lnTo>
                        <a:pt x="50" y="72"/>
                      </a:lnTo>
                      <a:lnTo>
                        <a:pt x="36" y="79"/>
                      </a:lnTo>
                      <a:lnTo>
                        <a:pt x="0" y="88"/>
                      </a:lnTo>
                      <a:lnTo>
                        <a:pt x="50" y="70"/>
                      </a:lnTo>
                      <a:lnTo>
                        <a:pt x="54" y="63"/>
                      </a:lnTo>
                      <a:lnTo>
                        <a:pt x="50" y="63"/>
                      </a:lnTo>
                      <a:lnTo>
                        <a:pt x="40" y="63"/>
                      </a:lnTo>
                      <a:lnTo>
                        <a:pt x="46" y="58"/>
                      </a:lnTo>
                      <a:lnTo>
                        <a:pt x="38" y="58"/>
                      </a:lnTo>
                      <a:lnTo>
                        <a:pt x="40" y="47"/>
                      </a:lnTo>
                      <a:lnTo>
                        <a:pt x="54" y="43"/>
                      </a:lnTo>
                      <a:lnTo>
                        <a:pt x="71" y="38"/>
                      </a:lnTo>
                      <a:lnTo>
                        <a:pt x="79" y="29"/>
                      </a:lnTo>
                      <a:lnTo>
                        <a:pt x="71" y="34"/>
                      </a:lnTo>
                      <a:lnTo>
                        <a:pt x="61" y="34"/>
                      </a:lnTo>
                      <a:lnTo>
                        <a:pt x="63" y="29"/>
                      </a:lnTo>
                      <a:lnTo>
                        <a:pt x="61" y="27"/>
                      </a:lnTo>
                      <a:lnTo>
                        <a:pt x="77" y="25"/>
                      </a:lnTo>
                      <a:lnTo>
                        <a:pt x="79" y="25"/>
                      </a:lnTo>
                      <a:lnTo>
                        <a:pt x="77" y="25"/>
                      </a:lnTo>
                      <a:lnTo>
                        <a:pt x="90" y="25"/>
                      </a:lnTo>
                      <a:lnTo>
                        <a:pt x="86" y="20"/>
                      </a:lnTo>
                      <a:lnTo>
                        <a:pt x="90" y="18"/>
                      </a:lnTo>
                      <a:lnTo>
                        <a:pt x="86" y="16"/>
                      </a:lnTo>
                      <a:lnTo>
                        <a:pt x="90" y="11"/>
                      </a:lnTo>
                      <a:lnTo>
                        <a:pt x="100" y="11"/>
                      </a:lnTo>
                      <a:lnTo>
                        <a:pt x="115" y="4"/>
                      </a:lnTo>
                      <a:lnTo>
                        <a:pt x="140" y="0"/>
                      </a:lnTo>
                      <a:lnTo>
                        <a:pt x="142" y="0"/>
                      </a:lnTo>
                      <a:lnTo>
                        <a:pt x="142" y="2"/>
                      </a:lnTo>
                      <a:lnTo>
                        <a:pt x="150" y="2"/>
                      </a:lnTo>
                      <a:lnTo>
                        <a:pt x="177" y="4"/>
                      </a:lnTo>
                      <a:lnTo>
                        <a:pt x="182" y="9"/>
                      </a:lnTo>
                      <a:lnTo>
                        <a:pt x="154" y="31"/>
                      </a:lnTo>
                      <a:lnTo>
                        <a:pt x="127" y="5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45" name="USA"/>
                <p:cNvSpPr>
                  <a:spLocks/>
                </p:cNvSpPr>
                <p:nvPr/>
              </p:nvSpPr>
              <p:spPr bwMode="auto">
                <a:xfrm>
                  <a:off x="1249200" y="2972523"/>
                  <a:ext cx="1442350" cy="763561"/>
                </a:xfrm>
                <a:custGeom>
                  <a:avLst/>
                  <a:gdLst/>
                  <a:ahLst/>
                  <a:cxnLst>
                    <a:cxn ang="0">
                      <a:pos x="110" y="112"/>
                    </a:cxn>
                    <a:cxn ang="0">
                      <a:pos x="121" y="112"/>
                    </a:cxn>
                    <a:cxn ang="0">
                      <a:pos x="125" y="117"/>
                    </a:cxn>
                    <a:cxn ang="0">
                      <a:pos x="135" y="117"/>
                    </a:cxn>
                    <a:cxn ang="0">
                      <a:pos x="135" y="110"/>
                    </a:cxn>
                    <a:cxn ang="0">
                      <a:pos x="150" y="108"/>
                    </a:cxn>
                    <a:cxn ang="0">
                      <a:pos x="152" y="112"/>
                    </a:cxn>
                    <a:cxn ang="0">
                      <a:pos x="164" y="117"/>
                    </a:cxn>
                    <a:cxn ang="0">
                      <a:pos x="166" y="137"/>
                    </a:cxn>
                    <a:cxn ang="0">
                      <a:pos x="173" y="135"/>
                    </a:cxn>
                    <a:cxn ang="0">
                      <a:pos x="173" y="103"/>
                    </a:cxn>
                    <a:cxn ang="0">
                      <a:pos x="204" y="81"/>
                    </a:cxn>
                    <a:cxn ang="0">
                      <a:pos x="204" y="69"/>
                    </a:cxn>
                    <a:cxn ang="0">
                      <a:pos x="206" y="60"/>
                    </a:cxn>
                    <a:cxn ang="0">
                      <a:pos x="208" y="65"/>
                    </a:cxn>
                    <a:cxn ang="0">
                      <a:pos x="212" y="56"/>
                    </a:cxn>
                    <a:cxn ang="0">
                      <a:pos x="217" y="56"/>
                    </a:cxn>
                    <a:cxn ang="0">
                      <a:pos x="235" y="47"/>
                    </a:cxn>
                    <a:cxn ang="0">
                      <a:pos x="240" y="42"/>
                    </a:cxn>
                    <a:cxn ang="0">
                      <a:pos x="237" y="42"/>
                    </a:cxn>
                    <a:cxn ang="0">
                      <a:pos x="244" y="31"/>
                    </a:cxn>
                    <a:cxn ang="0">
                      <a:pos x="256" y="27"/>
                    </a:cxn>
                    <a:cxn ang="0">
                      <a:pos x="256" y="22"/>
                    </a:cxn>
                    <a:cxn ang="0">
                      <a:pos x="254" y="9"/>
                    </a:cxn>
                    <a:cxn ang="0">
                      <a:pos x="240" y="24"/>
                    </a:cxn>
                    <a:cxn ang="0">
                      <a:pos x="221" y="27"/>
                    </a:cxn>
                    <a:cxn ang="0">
                      <a:pos x="204" y="33"/>
                    </a:cxn>
                    <a:cxn ang="0">
                      <a:pos x="189" y="42"/>
                    </a:cxn>
                    <a:cxn ang="0">
                      <a:pos x="189" y="33"/>
                    </a:cxn>
                    <a:cxn ang="0">
                      <a:pos x="187" y="31"/>
                    </a:cxn>
                    <a:cxn ang="0">
                      <a:pos x="189" y="22"/>
                    </a:cxn>
                    <a:cxn ang="0">
                      <a:pos x="177" y="24"/>
                    </a:cxn>
                    <a:cxn ang="0">
                      <a:pos x="169" y="40"/>
                    </a:cxn>
                    <a:cxn ang="0">
                      <a:pos x="164" y="42"/>
                    </a:cxn>
                    <a:cxn ang="0">
                      <a:pos x="166" y="33"/>
                    </a:cxn>
                    <a:cxn ang="0">
                      <a:pos x="169" y="27"/>
                    </a:cxn>
                    <a:cxn ang="0">
                      <a:pos x="189" y="18"/>
                    </a:cxn>
                    <a:cxn ang="0">
                      <a:pos x="187" y="15"/>
                    </a:cxn>
                    <a:cxn ang="0">
                      <a:pos x="177" y="15"/>
                    </a:cxn>
                    <a:cxn ang="0">
                      <a:pos x="173" y="15"/>
                    </a:cxn>
                    <a:cxn ang="0">
                      <a:pos x="164" y="15"/>
                    </a:cxn>
                    <a:cxn ang="0">
                      <a:pos x="158" y="15"/>
                    </a:cxn>
                    <a:cxn ang="0">
                      <a:pos x="173" y="6"/>
                    </a:cxn>
                    <a:cxn ang="0">
                      <a:pos x="152" y="0"/>
                    </a:cxn>
                    <a:cxn ang="0">
                      <a:pos x="37" y="0"/>
                    </a:cxn>
                    <a:cxn ang="0">
                      <a:pos x="33" y="9"/>
                    </a:cxn>
                    <a:cxn ang="0">
                      <a:pos x="33" y="6"/>
                    </a:cxn>
                    <a:cxn ang="0">
                      <a:pos x="25" y="6"/>
                    </a:cxn>
                    <a:cxn ang="0">
                      <a:pos x="8" y="38"/>
                    </a:cxn>
                    <a:cxn ang="0">
                      <a:pos x="2" y="51"/>
                    </a:cxn>
                    <a:cxn ang="0">
                      <a:pos x="0" y="58"/>
                    </a:cxn>
                    <a:cxn ang="0">
                      <a:pos x="0" y="65"/>
                    </a:cxn>
                    <a:cxn ang="0">
                      <a:pos x="2" y="74"/>
                    </a:cxn>
                    <a:cxn ang="0">
                      <a:pos x="2" y="83"/>
                    </a:cxn>
                    <a:cxn ang="0">
                      <a:pos x="10" y="90"/>
                    </a:cxn>
                    <a:cxn ang="0">
                      <a:pos x="14" y="94"/>
                    </a:cxn>
                    <a:cxn ang="0">
                      <a:pos x="39" y="103"/>
                    </a:cxn>
                    <a:cxn ang="0">
                      <a:pos x="64" y="108"/>
                    </a:cxn>
                    <a:cxn ang="0">
                      <a:pos x="68" y="117"/>
                    </a:cxn>
                    <a:cxn ang="0">
                      <a:pos x="73" y="110"/>
                    </a:cxn>
                    <a:cxn ang="0">
                      <a:pos x="85" y="133"/>
                    </a:cxn>
                    <a:cxn ang="0">
                      <a:pos x="93" y="130"/>
                    </a:cxn>
                  </a:cxnLst>
                  <a:rect l="0" t="0" r="r" b="b"/>
                  <a:pathLst>
                    <a:path w="260" h="137">
                      <a:moveTo>
                        <a:pt x="96" y="124"/>
                      </a:moveTo>
                      <a:lnTo>
                        <a:pt x="110" y="112"/>
                      </a:lnTo>
                      <a:lnTo>
                        <a:pt x="112" y="112"/>
                      </a:lnTo>
                      <a:lnTo>
                        <a:pt x="121" y="112"/>
                      </a:lnTo>
                      <a:lnTo>
                        <a:pt x="125" y="110"/>
                      </a:lnTo>
                      <a:lnTo>
                        <a:pt x="125" y="117"/>
                      </a:lnTo>
                      <a:lnTo>
                        <a:pt x="129" y="117"/>
                      </a:lnTo>
                      <a:lnTo>
                        <a:pt x="135" y="117"/>
                      </a:lnTo>
                      <a:lnTo>
                        <a:pt x="133" y="112"/>
                      </a:lnTo>
                      <a:lnTo>
                        <a:pt x="135" y="110"/>
                      </a:lnTo>
                      <a:lnTo>
                        <a:pt x="141" y="108"/>
                      </a:lnTo>
                      <a:lnTo>
                        <a:pt x="150" y="108"/>
                      </a:lnTo>
                      <a:lnTo>
                        <a:pt x="152" y="110"/>
                      </a:lnTo>
                      <a:lnTo>
                        <a:pt x="152" y="112"/>
                      </a:lnTo>
                      <a:lnTo>
                        <a:pt x="160" y="110"/>
                      </a:lnTo>
                      <a:lnTo>
                        <a:pt x="164" y="117"/>
                      </a:lnTo>
                      <a:lnTo>
                        <a:pt x="164" y="128"/>
                      </a:lnTo>
                      <a:lnTo>
                        <a:pt x="166" y="137"/>
                      </a:lnTo>
                      <a:lnTo>
                        <a:pt x="169" y="137"/>
                      </a:lnTo>
                      <a:lnTo>
                        <a:pt x="173" y="135"/>
                      </a:lnTo>
                      <a:lnTo>
                        <a:pt x="173" y="128"/>
                      </a:lnTo>
                      <a:lnTo>
                        <a:pt x="173" y="103"/>
                      </a:lnTo>
                      <a:lnTo>
                        <a:pt x="177" y="94"/>
                      </a:lnTo>
                      <a:lnTo>
                        <a:pt x="204" y="81"/>
                      </a:lnTo>
                      <a:lnTo>
                        <a:pt x="206" y="76"/>
                      </a:lnTo>
                      <a:lnTo>
                        <a:pt x="204" y="69"/>
                      </a:lnTo>
                      <a:lnTo>
                        <a:pt x="206" y="65"/>
                      </a:lnTo>
                      <a:lnTo>
                        <a:pt x="206" y="60"/>
                      </a:lnTo>
                      <a:lnTo>
                        <a:pt x="208" y="60"/>
                      </a:lnTo>
                      <a:lnTo>
                        <a:pt x="208" y="65"/>
                      </a:lnTo>
                      <a:lnTo>
                        <a:pt x="212" y="60"/>
                      </a:lnTo>
                      <a:lnTo>
                        <a:pt x="212" y="56"/>
                      </a:lnTo>
                      <a:lnTo>
                        <a:pt x="214" y="58"/>
                      </a:lnTo>
                      <a:lnTo>
                        <a:pt x="217" y="56"/>
                      </a:lnTo>
                      <a:lnTo>
                        <a:pt x="221" y="49"/>
                      </a:lnTo>
                      <a:lnTo>
                        <a:pt x="235" y="47"/>
                      </a:lnTo>
                      <a:lnTo>
                        <a:pt x="235" y="42"/>
                      </a:lnTo>
                      <a:lnTo>
                        <a:pt x="240" y="42"/>
                      </a:lnTo>
                      <a:lnTo>
                        <a:pt x="240" y="40"/>
                      </a:lnTo>
                      <a:lnTo>
                        <a:pt x="237" y="42"/>
                      </a:lnTo>
                      <a:lnTo>
                        <a:pt x="237" y="40"/>
                      </a:lnTo>
                      <a:lnTo>
                        <a:pt x="244" y="31"/>
                      </a:lnTo>
                      <a:lnTo>
                        <a:pt x="252" y="27"/>
                      </a:lnTo>
                      <a:lnTo>
                        <a:pt x="256" y="27"/>
                      </a:lnTo>
                      <a:lnTo>
                        <a:pt x="260" y="22"/>
                      </a:lnTo>
                      <a:lnTo>
                        <a:pt x="256" y="22"/>
                      </a:lnTo>
                      <a:lnTo>
                        <a:pt x="260" y="13"/>
                      </a:lnTo>
                      <a:lnTo>
                        <a:pt x="254" y="9"/>
                      </a:lnTo>
                      <a:lnTo>
                        <a:pt x="246" y="22"/>
                      </a:lnTo>
                      <a:lnTo>
                        <a:pt x="240" y="24"/>
                      </a:lnTo>
                      <a:lnTo>
                        <a:pt x="227" y="24"/>
                      </a:lnTo>
                      <a:lnTo>
                        <a:pt x="221" y="27"/>
                      </a:lnTo>
                      <a:lnTo>
                        <a:pt x="217" y="33"/>
                      </a:lnTo>
                      <a:lnTo>
                        <a:pt x="204" y="33"/>
                      </a:lnTo>
                      <a:lnTo>
                        <a:pt x="206" y="38"/>
                      </a:lnTo>
                      <a:lnTo>
                        <a:pt x="189" y="42"/>
                      </a:lnTo>
                      <a:lnTo>
                        <a:pt x="183" y="42"/>
                      </a:lnTo>
                      <a:lnTo>
                        <a:pt x="189" y="33"/>
                      </a:lnTo>
                      <a:lnTo>
                        <a:pt x="189" y="31"/>
                      </a:lnTo>
                      <a:lnTo>
                        <a:pt x="187" y="31"/>
                      </a:lnTo>
                      <a:lnTo>
                        <a:pt x="189" y="27"/>
                      </a:lnTo>
                      <a:lnTo>
                        <a:pt x="189" y="22"/>
                      </a:lnTo>
                      <a:lnTo>
                        <a:pt x="187" y="22"/>
                      </a:lnTo>
                      <a:lnTo>
                        <a:pt x="177" y="24"/>
                      </a:lnTo>
                      <a:lnTo>
                        <a:pt x="175" y="31"/>
                      </a:lnTo>
                      <a:lnTo>
                        <a:pt x="169" y="40"/>
                      </a:lnTo>
                      <a:lnTo>
                        <a:pt x="166" y="42"/>
                      </a:lnTo>
                      <a:lnTo>
                        <a:pt x="164" y="42"/>
                      </a:lnTo>
                      <a:lnTo>
                        <a:pt x="164" y="40"/>
                      </a:lnTo>
                      <a:lnTo>
                        <a:pt x="166" y="33"/>
                      </a:lnTo>
                      <a:lnTo>
                        <a:pt x="175" y="24"/>
                      </a:lnTo>
                      <a:lnTo>
                        <a:pt x="169" y="27"/>
                      </a:lnTo>
                      <a:lnTo>
                        <a:pt x="177" y="18"/>
                      </a:lnTo>
                      <a:lnTo>
                        <a:pt x="189" y="18"/>
                      </a:lnTo>
                      <a:lnTo>
                        <a:pt x="189" y="15"/>
                      </a:lnTo>
                      <a:lnTo>
                        <a:pt x="187" y="15"/>
                      </a:lnTo>
                      <a:lnTo>
                        <a:pt x="189" y="15"/>
                      </a:lnTo>
                      <a:lnTo>
                        <a:pt x="177" y="15"/>
                      </a:lnTo>
                      <a:lnTo>
                        <a:pt x="177" y="13"/>
                      </a:lnTo>
                      <a:lnTo>
                        <a:pt x="173" y="15"/>
                      </a:lnTo>
                      <a:lnTo>
                        <a:pt x="177" y="9"/>
                      </a:lnTo>
                      <a:lnTo>
                        <a:pt x="164" y="15"/>
                      </a:lnTo>
                      <a:lnTo>
                        <a:pt x="164" y="13"/>
                      </a:lnTo>
                      <a:lnTo>
                        <a:pt x="158" y="15"/>
                      </a:lnTo>
                      <a:lnTo>
                        <a:pt x="169" y="6"/>
                      </a:lnTo>
                      <a:lnTo>
                        <a:pt x="173" y="6"/>
                      </a:lnTo>
                      <a:lnTo>
                        <a:pt x="156" y="4"/>
                      </a:lnTo>
                      <a:lnTo>
                        <a:pt x="152" y="0"/>
                      </a:lnTo>
                      <a:lnTo>
                        <a:pt x="150" y="0"/>
                      </a:lnTo>
                      <a:lnTo>
                        <a:pt x="37" y="0"/>
                      </a:lnTo>
                      <a:lnTo>
                        <a:pt x="37" y="4"/>
                      </a:lnTo>
                      <a:lnTo>
                        <a:pt x="33" y="9"/>
                      </a:lnTo>
                      <a:lnTo>
                        <a:pt x="31" y="9"/>
                      </a:lnTo>
                      <a:lnTo>
                        <a:pt x="33" y="6"/>
                      </a:lnTo>
                      <a:lnTo>
                        <a:pt x="29" y="4"/>
                      </a:lnTo>
                      <a:lnTo>
                        <a:pt x="25" y="6"/>
                      </a:lnTo>
                      <a:lnTo>
                        <a:pt x="23" y="18"/>
                      </a:lnTo>
                      <a:lnTo>
                        <a:pt x="8" y="38"/>
                      </a:lnTo>
                      <a:lnTo>
                        <a:pt x="6" y="42"/>
                      </a:lnTo>
                      <a:lnTo>
                        <a:pt x="2" y="51"/>
                      </a:lnTo>
                      <a:lnTo>
                        <a:pt x="2" y="56"/>
                      </a:lnTo>
                      <a:lnTo>
                        <a:pt x="0" y="58"/>
                      </a:lnTo>
                      <a:lnTo>
                        <a:pt x="2" y="60"/>
                      </a:lnTo>
                      <a:lnTo>
                        <a:pt x="0" y="65"/>
                      </a:lnTo>
                      <a:lnTo>
                        <a:pt x="2" y="67"/>
                      </a:lnTo>
                      <a:lnTo>
                        <a:pt x="2" y="74"/>
                      </a:lnTo>
                      <a:lnTo>
                        <a:pt x="6" y="81"/>
                      </a:lnTo>
                      <a:lnTo>
                        <a:pt x="2" y="83"/>
                      </a:lnTo>
                      <a:lnTo>
                        <a:pt x="10" y="85"/>
                      </a:lnTo>
                      <a:lnTo>
                        <a:pt x="10" y="90"/>
                      </a:lnTo>
                      <a:lnTo>
                        <a:pt x="14" y="92"/>
                      </a:lnTo>
                      <a:lnTo>
                        <a:pt x="14" y="94"/>
                      </a:lnTo>
                      <a:lnTo>
                        <a:pt x="25" y="94"/>
                      </a:lnTo>
                      <a:lnTo>
                        <a:pt x="39" y="103"/>
                      </a:lnTo>
                      <a:lnTo>
                        <a:pt x="62" y="101"/>
                      </a:lnTo>
                      <a:lnTo>
                        <a:pt x="64" y="108"/>
                      </a:lnTo>
                      <a:lnTo>
                        <a:pt x="64" y="110"/>
                      </a:lnTo>
                      <a:lnTo>
                        <a:pt x="68" y="117"/>
                      </a:lnTo>
                      <a:lnTo>
                        <a:pt x="71" y="117"/>
                      </a:lnTo>
                      <a:lnTo>
                        <a:pt x="73" y="110"/>
                      </a:lnTo>
                      <a:lnTo>
                        <a:pt x="79" y="112"/>
                      </a:lnTo>
                      <a:lnTo>
                        <a:pt x="85" y="133"/>
                      </a:lnTo>
                      <a:lnTo>
                        <a:pt x="93" y="135"/>
                      </a:lnTo>
                      <a:lnTo>
                        <a:pt x="93" y="130"/>
                      </a:lnTo>
                      <a:lnTo>
                        <a:pt x="96" y="12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419" name="United Arab Emirates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5553703" y="3744714"/>
                <a:ext cx="139770" cy="87988"/>
              </a:xfrm>
              <a:custGeom>
                <a:avLst/>
                <a:gdLst/>
                <a:ahLst/>
                <a:cxnLst>
                  <a:cxn ang="0">
                    <a:pos x="25" y="2"/>
                  </a:cxn>
                  <a:cxn ang="0">
                    <a:pos x="25" y="7"/>
                  </a:cxn>
                  <a:cxn ang="0">
                    <a:pos x="23" y="9"/>
                  </a:cxn>
                  <a:cxn ang="0">
                    <a:pos x="23" y="11"/>
                  </a:cxn>
                  <a:cxn ang="0">
                    <a:pos x="19" y="11"/>
                  </a:cxn>
                  <a:cxn ang="0">
                    <a:pos x="17" y="11"/>
                  </a:cxn>
                  <a:cxn ang="0">
                    <a:pos x="17" y="16"/>
                  </a:cxn>
                  <a:cxn ang="0">
                    <a:pos x="12" y="16"/>
                  </a:cxn>
                  <a:cxn ang="0">
                    <a:pos x="10" y="16"/>
                  </a:cxn>
                  <a:cxn ang="0">
                    <a:pos x="8" y="16"/>
                  </a:cxn>
                  <a:cxn ang="0">
                    <a:pos x="4" y="16"/>
                  </a:cxn>
                  <a:cxn ang="0">
                    <a:pos x="2" y="16"/>
                  </a:cxn>
                  <a:cxn ang="0">
                    <a:pos x="0" y="16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4" y="11"/>
                  </a:cxn>
                  <a:cxn ang="0">
                    <a:pos x="8" y="9"/>
                  </a:cxn>
                  <a:cxn ang="0">
                    <a:pos x="12" y="9"/>
                  </a:cxn>
                  <a:cxn ang="0">
                    <a:pos x="23" y="0"/>
                  </a:cxn>
                  <a:cxn ang="0">
                    <a:pos x="23" y="2"/>
                  </a:cxn>
                  <a:cxn ang="0">
                    <a:pos x="25" y="2"/>
                  </a:cxn>
                </a:cxnLst>
                <a:rect l="0" t="0" r="r" b="b"/>
                <a:pathLst>
                  <a:path w="25" h="16">
                    <a:moveTo>
                      <a:pt x="25" y="2"/>
                    </a:moveTo>
                    <a:lnTo>
                      <a:pt x="25" y="7"/>
                    </a:lnTo>
                    <a:lnTo>
                      <a:pt x="23" y="9"/>
                    </a:lnTo>
                    <a:lnTo>
                      <a:pt x="23" y="11"/>
                    </a:lnTo>
                    <a:lnTo>
                      <a:pt x="19" y="11"/>
                    </a:lnTo>
                    <a:lnTo>
                      <a:pt x="17" y="11"/>
                    </a:lnTo>
                    <a:lnTo>
                      <a:pt x="17" y="16"/>
                    </a:lnTo>
                    <a:lnTo>
                      <a:pt x="12" y="16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2" y="16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4" y="11"/>
                    </a:lnTo>
                    <a:lnTo>
                      <a:pt x="8" y="9"/>
                    </a:lnTo>
                    <a:lnTo>
                      <a:pt x="12" y="9"/>
                    </a:lnTo>
                    <a:lnTo>
                      <a:pt x="23" y="0"/>
                    </a:lnTo>
                    <a:lnTo>
                      <a:pt x="23" y="2"/>
                    </a:lnTo>
                    <a:lnTo>
                      <a:pt x="25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23" name="Ukraine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777207" y="2890703"/>
                <a:ext cx="405504" cy="251890"/>
              </a:xfrm>
              <a:custGeom>
                <a:avLst/>
                <a:gdLst/>
                <a:ahLst/>
                <a:cxnLst>
                  <a:cxn ang="0">
                    <a:pos x="29" y="40"/>
                  </a:cxn>
                  <a:cxn ang="0">
                    <a:pos x="33" y="40"/>
                  </a:cxn>
                  <a:cxn ang="0">
                    <a:pos x="33" y="36"/>
                  </a:cxn>
                  <a:cxn ang="0">
                    <a:pos x="38" y="33"/>
                  </a:cxn>
                  <a:cxn ang="0">
                    <a:pos x="44" y="33"/>
                  </a:cxn>
                  <a:cxn ang="0">
                    <a:pos x="52" y="36"/>
                  </a:cxn>
                  <a:cxn ang="0">
                    <a:pos x="46" y="40"/>
                  </a:cxn>
                  <a:cxn ang="0">
                    <a:pos x="52" y="42"/>
                  </a:cxn>
                  <a:cxn ang="0">
                    <a:pos x="52" y="45"/>
                  </a:cxn>
                  <a:cxn ang="0">
                    <a:pos x="61" y="42"/>
                  </a:cxn>
                  <a:cxn ang="0">
                    <a:pos x="63" y="42"/>
                  </a:cxn>
                  <a:cxn ang="0">
                    <a:pos x="63" y="40"/>
                  </a:cxn>
                  <a:cxn ang="0">
                    <a:pos x="61" y="40"/>
                  </a:cxn>
                  <a:cxn ang="0">
                    <a:pos x="54" y="36"/>
                  </a:cxn>
                  <a:cxn ang="0">
                    <a:pos x="65" y="31"/>
                  </a:cxn>
                  <a:cxn ang="0">
                    <a:pos x="69" y="31"/>
                  </a:cxn>
                  <a:cxn ang="0">
                    <a:pos x="69" y="27"/>
                  </a:cxn>
                  <a:cxn ang="0">
                    <a:pos x="71" y="24"/>
                  </a:cxn>
                  <a:cxn ang="0">
                    <a:pos x="73" y="27"/>
                  </a:cxn>
                  <a:cxn ang="0">
                    <a:pos x="73" y="22"/>
                  </a:cxn>
                  <a:cxn ang="0">
                    <a:pos x="73" y="18"/>
                  </a:cxn>
                  <a:cxn ang="0">
                    <a:pos x="73" y="15"/>
                  </a:cxn>
                  <a:cxn ang="0">
                    <a:pos x="65" y="15"/>
                  </a:cxn>
                  <a:cxn ang="0">
                    <a:pos x="63" y="13"/>
                  </a:cxn>
                  <a:cxn ang="0">
                    <a:pos x="54" y="13"/>
                  </a:cxn>
                  <a:cxn ang="0">
                    <a:pos x="52" y="6"/>
                  </a:cxn>
                  <a:cxn ang="0">
                    <a:pos x="48" y="6"/>
                  </a:cxn>
                  <a:cxn ang="0">
                    <a:pos x="48" y="4"/>
                  </a:cxn>
                  <a:cxn ang="0">
                    <a:pos x="46" y="0"/>
                  </a:cxn>
                  <a:cxn ang="0">
                    <a:pos x="38" y="4"/>
                  </a:cxn>
                  <a:cxn ang="0">
                    <a:pos x="33" y="4"/>
                  </a:cxn>
                  <a:cxn ang="0">
                    <a:pos x="33" y="6"/>
                  </a:cxn>
                  <a:cxn ang="0">
                    <a:pos x="29" y="6"/>
                  </a:cxn>
                  <a:cxn ang="0">
                    <a:pos x="23" y="6"/>
                  </a:cxn>
                  <a:cxn ang="0">
                    <a:pos x="15" y="4"/>
                  </a:cxn>
                  <a:cxn ang="0">
                    <a:pos x="6" y="6"/>
                  </a:cxn>
                  <a:cxn ang="0">
                    <a:pos x="8" y="13"/>
                  </a:cxn>
                  <a:cxn ang="0">
                    <a:pos x="0" y="18"/>
                  </a:cxn>
                  <a:cxn ang="0">
                    <a:pos x="0" y="22"/>
                  </a:cxn>
                  <a:cxn ang="0">
                    <a:pos x="0" y="24"/>
                  </a:cxn>
                  <a:cxn ang="0">
                    <a:pos x="4" y="24"/>
                  </a:cxn>
                  <a:cxn ang="0">
                    <a:pos x="13" y="27"/>
                  </a:cxn>
                  <a:cxn ang="0">
                    <a:pos x="21" y="24"/>
                  </a:cxn>
                  <a:cxn ang="0">
                    <a:pos x="23" y="22"/>
                  </a:cxn>
                  <a:cxn ang="0">
                    <a:pos x="29" y="24"/>
                  </a:cxn>
                  <a:cxn ang="0">
                    <a:pos x="31" y="27"/>
                  </a:cxn>
                  <a:cxn ang="0">
                    <a:pos x="33" y="31"/>
                  </a:cxn>
                  <a:cxn ang="0">
                    <a:pos x="33" y="33"/>
                  </a:cxn>
                  <a:cxn ang="0">
                    <a:pos x="31" y="33"/>
                  </a:cxn>
                  <a:cxn ang="0">
                    <a:pos x="29" y="38"/>
                  </a:cxn>
                  <a:cxn ang="0">
                    <a:pos x="29" y="40"/>
                  </a:cxn>
                </a:cxnLst>
                <a:rect l="0" t="0" r="r" b="b"/>
                <a:pathLst>
                  <a:path w="73" h="45">
                    <a:moveTo>
                      <a:pt x="29" y="40"/>
                    </a:moveTo>
                    <a:lnTo>
                      <a:pt x="33" y="40"/>
                    </a:lnTo>
                    <a:lnTo>
                      <a:pt x="33" y="36"/>
                    </a:lnTo>
                    <a:lnTo>
                      <a:pt x="38" y="33"/>
                    </a:lnTo>
                    <a:lnTo>
                      <a:pt x="44" y="33"/>
                    </a:lnTo>
                    <a:lnTo>
                      <a:pt x="52" y="36"/>
                    </a:lnTo>
                    <a:lnTo>
                      <a:pt x="46" y="40"/>
                    </a:lnTo>
                    <a:lnTo>
                      <a:pt x="52" y="42"/>
                    </a:lnTo>
                    <a:lnTo>
                      <a:pt x="52" y="45"/>
                    </a:lnTo>
                    <a:lnTo>
                      <a:pt x="61" y="42"/>
                    </a:lnTo>
                    <a:lnTo>
                      <a:pt x="63" y="42"/>
                    </a:lnTo>
                    <a:lnTo>
                      <a:pt x="63" y="40"/>
                    </a:lnTo>
                    <a:lnTo>
                      <a:pt x="61" y="40"/>
                    </a:lnTo>
                    <a:lnTo>
                      <a:pt x="54" y="36"/>
                    </a:lnTo>
                    <a:lnTo>
                      <a:pt x="65" y="31"/>
                    </a:lnTo>
                    <a:lnTo>
                      <a:pt x="69" y="31"/>
                    </a:lnTo>
                    <a:lnTo>
                      <a:pt x="69" y="27"/>
                    </a:lnTo>
                    <a:lnTo>
                      <a:pt x="71" y="24"/>
                    </a:lnTo>
                    <a:lnTo>
                      <a:pt x="73" y="27"/>
                    </a:lnTo>
                    <a:lnTo>
                      <a:pt x="73" y="22"/>
                    </a:lnTo>
                    <a:lnTo>
                      <a:pt x="73" y="18"/>
                    </a:lnTo>
                    <a:lnTo>
                      <a:pt x="73" y="15"/>
                    </a:lnTo>
                    <a:lnTo>
                      <a:pt x="65" y="15"/>
                    </a:lnTo>
                    <a:lnTo>
                      <a:pt x="63" y="13"/>
                    </a:lnTo>
                    <a:lnTo>
                      <a:pt x="54" y="13"/>
                    </a:lnTo>
                    <a:lnTo>
                      <a:pt x="52" y="6"/>
                    </a:lnTo>
                    <a:lnTo>
                      <a:pt x="48" y="6"/>
                    </a:lnTo>
                    <a:lnTo>
                      <a:pt x="48" y="4"/>
                    </a:lnTo>
                    <a:lnTo>
                      <a:pt x="46" y="0"/>
                    </a:lnTo>
                    <a:lnTo>
                      <a:pt x="38" y="4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29" y="6"/>
                    </a:lnTo>
                    <a:lnTo>
                      <a:pt x="23" y="6"/>
                    </a:lnTo>
                    <a:lnTo>
                      <a:pt x="15" y="4"/>
                    </a:lnTo>
                    <a:lnTo>
                      <a:pt x="6" y="6"/>
                    </a:lnTo>
                    <a:lnTo>
                      <a:pt x="8" y="13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4" y="24"/>
                    </a:lnTo>
                    <a:lnTo>
                      <a:pt x="13" y="27"/>
                    </a:lnTo>
                    <a:lnTo>
                      <a:pt x="21" y="24"/>
                    </a:lnTo>
                    <a:lnTo>
                      <a:pt x="23" y="22"/>
                    </a:lnTo>
                    <a:lnTo>
                      <a:pt x="29" y="24"/>
                    </a:lnTo>
                    <a:lnTo>
                      <a:pt x="31" y="27"/>
                    </a:lnTo>
                    <a:lnTo>
                      <a:pt x="33" y="31"/>
                    </a:lnTo>
                    <a:lnTo>
                      <a:pt x="33" y="33"/>
                    </a:lnTo>
                    <a:lnTo>
                      <a:pt x="31" y="33"/>
                    </a:lnTo>
                    <a:lnTo>
                      <a:pt x="29" y="38"/>
                    </a:lnTo>
                    <a:lnTo>
                      <a:pt x="29" y="4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24" name="Uganda"/>
              <p:cNvSpPr>
                <a:spLocks/>
              </p:cNvSpPr>
              <p:nvPr/>
            </p:nvSpPr>
            <p:spPr bwMode="auto">
              <a:xfrm>
                <a:off x="5025686" y="4434823"/>
                <a:ext cx="150123" cy="188054"/>
              </a:xfrm>
              <a:custGeom>
                <a:avLst/>
                <a:gdLst>
                  <a:gd name="T0" fmla="*/ 94 w 409"/>
                  <a:gd name="T1" fmla="*/ 79 h 437"/>
                  <a:gd name="T2" fmla="*/ 98 w 409"/>
                  <a:gd name="T3" fmla="*/ 57 h 437"/>
                  <a:gd name="T4" fmla="*/ 98 w 409"/>
                  <a:gd name="T5" fmla="*/ 55 h 437"/>
                  <a:gd name="T6" fmla="*/ 101 w 409"/>
                  <a:gd name="T7" fmla="*/ 49 h 437"/>
                  <a:gd name="T8" fmla="*/ 143 w 409"/>
                  <a:gd name="T9" fmla="*/ 42 h 437"/>
                  <a:gd name="T10" fmla="*/ 176 w 409"/>
                  <a:gd name="T11" fmla="*/ 41 h 437"/>
                  <a:gd name="T12" fmla="*/ 197 w 409"/>
                  <a:gd name="T13" fmla="*/ 53 h 437"/>
                  <a:gd name="T14" fmla="*/ 239 w 409"/>
                  <a:gd name="T15" fmla="*/ 35 h 437"/>
                  <a:gd name="T16" fmla="*/ 270 w 409"/>
                  <a:gd name="T17" fmla="*/ 35 h 437"/>
                  <a:gd name="T18" fmla="*/ 310 w 409"/>
                  <a:gd name="T19" fmla="*/ 21 h 437"/>
                  <a:gd name="T20" fmla="*/ 330 w 409"/>
                  <a:gd name="T21" fmla="*/ 0 h 437"/>
                  <a:gd name="T22" fmla="*/ 330 w 409"/>
                  <a:gd name="T23" fmla="*/ 0 h 437"/>
                  <a:gd name="T24" fmla="*/ 345 w 409"/>
                  <a:gd name="T25" fmla="*/ 26 h 437"/>
                  <a:gd name="T26" fmla="*/ 346 w 409"/>
                  <a:gd name="T27" fmla="*/ 34 h 437"/>
                  <a:gd name="T28" fmla="*/ 361 w 409"/>
                  <a:gd name="T29" fmla="*/ 39 h 437"/>
                  <a:gd name="T30" fmla="*/ 365 w 409"/>
                  <a:gd name="T31" fmla="*/ 73 h 437"/>
                  <a:gd name="T32" fmla="*/ 377 w 409"/>
                  <a:gd name="T33" fmla="*/ 99 h 437"/>
                  <a:gd name="T34" fmla="*/ 392 w 409"/>
                  <a:gd name="T35" fmla="*/ 120 h 437"/>
                  <a:gd name="T36" fmla="*/ 399 w 409"/>
                  <a:gd name="T37" fmla="*/ 141 h 437"/>
                  <a:gd name="T38" fmla="*/ 408 w 409"/>
                  <a:gd name="T39" fmla="*/ 185 h 437"/>
                  <a:gd name="T40" fmla="*/ 393 w 409"/>
                  <a:gd name="T41" fmla="*/ 218 h 437"/>
                  <a:gd name="T42" fmla="*/ 386 w 409"/>
                  <a:gd name="T43" fmla="*/ 231 h 437"/>
                  <a:gd name="T44" fmla="*/ 366 w 409"/>
                  <a:gd name="T45" fmla="*/ 257 h 437"/>
                  <a:gd name="T46" fmla="*/ 343 w 409"/>
                  <a:gd name="T47" fmla="*/ 282 h 437"/>
                  <a:gd name="T48" fmla="*/ 330 w 409"/>
                  <a:gd name="T49" fmla="*/ 326 h 437"/>
                  <a:gd name="T50" fmla="*/ 327 w 409"/>
                  <a:gd name="T51" fmla="*/ 367 h 437"/>
                  <a:gd name="T52" fmla="*/ 325 w 409"/>
                  <a:gd name="T53" fmla="*/ 400 h 437"/>
                  <a:gd name="T54" fmla="*/ 324 w 409"/>
                  <a:gd name="T55" fmla="*/ 401 h 437"/>
                  <a:gd name="T56" fmla="*/ 244 w 409"/>
                  <a:gd name="T57" fmla="*/ 400 h 437"/>
                  <a:gd name="T58" fmla="*/ 92 w 409"/>
                  <a:gd name="T59" fmla="*/ 400 h 437"/>
                  <a:gd name="T60" fmla="*/ 70 w 409"/>
                  <a:gd name="T61" fmla="*/ 405 h 437"/>
                  <a:gd name="T62" fmla="*/ 60 w 409"/>
                  <a:gd name="T63" fmla="*/ 407 h 437"/>
                  <a:gd name="T64" fmla="*/ 27 w 409"/>
                  <a:gd name="T65" fmla="*/ 433 h 437"/>
                  <a:gd name="T66" fmla="*/ 5 w 409"/>
                  <a:gd name="T67" fmla="*/ 428 h 437"/>
                  <a:gd name="T68" fmla="*/ 4 w 409"/>
                  <a:gd name="T69" fmla="*/ 424 h 437"/>
                  <a:gd name="T70" fmla="*/ 7 w 409"/>
                  <a:gd name="T71" fmla="*/ 388 h 437"/>
                  <a:gd name="T72" fmla="*/ 10 w 409"/>
                  <a:gd name="T73" fmla="*/ 346 h 437"/>
                  <a:gd name="T74" fmla="*/ 21 w 409"/>
                  <a:gd name="T75" fmla="*/ 309 h 437"/>
                  <a:gd name="T76" fmla="*/ 31 w 409"/>
                  <a:gd name="T77" fmla="*/ 271 h 437"/>
                  <a:gd name="T78" fmla="*/ 51 w 409"/>
                  <a:gd name="T79" fmla="*/ 240 h 437"/>
                  <a:gd name="T80" fmla="*/ 78 w 409"/>
                  <a:gd name="T81" fmla="*/ 220 h 437"/>
                  <a:gd name="T82" fmla="*/ 119 w 409"/>
                  <a:gd name="T83" fmla="*/ 179 h 437"/>
                  <a:gd name="T84" fmla="*/ 124 w 409"/>
                  <a:gd name="T85" fmla="*/ 153 h 437"/>
                  <a:gd name="T86" fmla="*/ 111 w 409"/>
                  <a:gd name="T87" fmla="*/ 143 h 437"/>
                  <a:gd name="T88" fmla="*/ 94 w 409"/>
                  <a:gd name="T89" fmla="*/ 138 h 437"/>
                  <a:gd name="T90" fmla="*/ 97 w 409"/>
                  <a:gd name="T91" fmla="*/ 110 h 437"/>
                  <a:gd name="T92" fmla="*/ 94 w 409"/>
                  <a:gd name="T93" fmla="*/ 79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09" h="437">
                    <a:moveTo>
                      <a:pt x="94" y="79"/>
                    </a:moveTo>
                    <a:cubicBezTo>
                      <a:pt x="95" y="74"/>
                      <a:pt x="111" y="55"/>
                      <a:pt x="98" y="57"/>
                    </a:cubicBezTo>
                    <a:cubicBezTo>
                      <a:pt x="98" y="55"/>
                      <a:pt x="98" y="55"/>
                      <a:pt x="98" y="55"/>
                    </a:cubicBezTo>
                    <a:cubicBezTo>
                      <a:pt x="99" y="55"/>
                      <a:pt x="100" y="53"/>
                      <a:pt x="101" y="49"/>
                    </a:cubicBezTo>
                    <a:cubicBezTo>
                      <a:pt x="110" y="35"/>
                      <a:pt x="130" y="28"/>
                      <a:pt x="143" y="42"/>
                    </a:cubicBezTo>
                    <a:cubicBezTo>
                      <a:pt x="156" y="50"/>
                      <a:pt x="168" y="22"/>
                      <a:pt x="176" y="41"/>
                    </a:cubicBezTo>
                    <a:cubicBezTo>
                      <a:pt x="179" y="48"/>
                      <a:pt x="189" y="55"/>
                      <a:pt x="197" y="53"/>
                    </a:cubicBezTo>
                    <a:cubicBezTo>
                      <a:pt x="200" y="34"/>
                      <a:pt x="225" y="38"/>
                      <a:pt x="239" y="35"/>
                    </a:cubicBezTo>
                    <a:cubicBezTo>
                      <a:pt x="250" y="31"/>
                      <a:pt x="261" y="22"/>
                      <a:pt x="270" y="35"/>
                    </a:cubicBezTo>
                    <a:cubicBezTo>
                      <a:pt x="286" y="39"/>
                      <a:pt x="301" y="36"/>
                      <a:pt x="310" y="21"/>
                    </a:cubicBezTo>
                    <a:cubicBezTo>
                      <a:pt x="317" y="14"/>
                      <a:pt x="324" y="7"/>
                      <a:pt x="330" y="0"/>
                    </a:cubicBezTo>
                    <a:cubicBezTo>
                      <a:pt x="330" y="0"/>
                      <a:pt x="330" y="0"/>
                      <a:pt x="330" y="0"/>
                    </a:cubicBezTo>
                    <a:cubicBezTo>
                      <a:pt x="342" y="4"/>
                      <a:pt x="332" y="29"/>
                      <a:pt x="345" y="26"/>
                    </a:cubicBezTo>
                    <a:cubicBezTo>
                      <a:pt x="350" y="28"/>
                      <a:pt x="340" y="31"/>
                      <a:pt x="346" y="34"/>
                    </a:cubicBezTo>
                    <a:cubicBezTo>
                      <a:pt x="353" y="34"/>
                      <a:pt x="354" y="40"/>
                      <a:pt x="361" y="39"/>
                    </a:cubicBezTo>
                    <a:cubicBezTo>
                      <a:pt x="373" y="48"/>
                      <a:pt x="356" y="62"/>
                      <a:pt x="365" y="73"/>
                    </a:cubicBezTo>
                    <a:cubicBezTo>
                      <a:pt x="366" y="83"/>
                      <a:pt x="378" y="87"/>
                      <a:pt x="377" y="99"/>
                    </a:cubicBezTo>
                    <a:cubicBezTo>
                      <a:pt x="384" y="105"/>
                      <a:pt x="393" y="108"/>
                      <a:pt x="392" y="120"/>
                    </a:cubicBezTo>
                    <a:cubicBezTo>
                      <a:pt x="398" y="125"/>
                      <a:pt x="405" y="133"/>
                      <a:pt x="399" y="141"/>
                    </a:cubicBezTo>
                    <a:cubicBezTo>
                      <a:pt x="404" y="155"/>
                      <a:pt x="408" y="169"/>
                      <a:pt x="408" y="185"/>
                    </a:cubicBezTo>
                    <a:cubicBezTo>
                      <a:pt x="409" y="198"/>
                      <a:pt x="398" y="207"/>
                      <a:pt x="393" y="218"/>
                    </a:cubicBezTo>
                    <a:cubicBezTo>
                      <a:pt x="396" y="225"/>
                      <a:pt x="395" y="232"/>
                      <a:pt x="386" y="231"/>
                    </a:cubicBezTo>
                    <a:cubicBezTo>
                      <a:pt x="374" y="236"/>
                      <a:pt x="368" y="245"/>
                      <a:pt x="366" y="257"/>
                    </a:cubicBezTo>
                    <a:cubicBezTo>
                      <a:pt x="358" y="266"/>
                      <a:pt x="351" y="274"/>
                      <a:pt x="343" y="282"/>
                    </a:cubicBezTo>
                    <a:cubicBezTo>
                      <a:pt x="346" y="300"/>
                      <a:pt x="321" y="309"/>
                      <a:pt x="330" y="326"/>
                    </a:cubicBezTo>
                    <a:cubicBezTo>
                      <a:pt x="334" y="340"/>
                      <a:pt x="326" y="353"/>
                      <a:pt x="327" y="367"/>
                    </a:cubicBezTo>
                    <a:cubicBezTo>
                      <a:pt x="325" y="377"/>
                      <a:pt x="331" y="392"/>
                      <a:pt x="325" y="400"/>
                    </a:cubicBezTo>
                    <a:cubicBezTo>
                      <a:pt x="325" y="400"/>
                      <a:pt x="325" y="400"/>
                      <a:pt x="324" y="401"/>
                    </a:cubicBezTo>
                    <a:cubicBezTo>
                      <a:pt x="298" y="400"/>
                      <a:pt x="271" y="401"/>
                      <a:pt x="244" y="400"/>
                    </a:cubicBezTo>
                    <a:cubicBezTo>
                      <a:pt x="193" y="400"/>
                      <a:pt x="143" y="400"/>
                      <a:pt x="92" y="400"/>
                    </a:cubicBezTo>
                    <a:cubicBezTo>
                      <a:pt x="86" y="406"/>
                      <a:pt x="78" y="405"/>
                      <a:pt x="70" y="405"/>
                    </a:cubicBezTo>
                    <a:cubicBezTo>
                      <a:pt x="67" y="405"/>
                      <a:pt x="63" y="405"/>
                      <a:pt x="60" y="407"/>
                    </a:cubicBezTo>
                    <a:cubicBezTo>
                      <a:pt x="53" y="418"/>
                      <a:pt x="40" y="437"/>
                      <a:pt x="27" y="433"/>
                    </a:cubicBezTo>
                    <a:cubicBezTo>
                      <a:pt x="28" y="418"/>
                      <a:pt x="10" y="432"/>
                      <a:pt x="5" y="428"/>
                    </a:cubicBezTo>
                    <a:cubicBezTo>
                      <a:pt x="5" y="427"/>
                      <a:pt x="4" y="426"/>
                      <a:pt x="4" y="424"/>
                    </a:cubicBezTo>
                    <a:cubicBezTo>
                      <a:pt x="3" y="412"/>
                      <a:pt x="0" y="398"/>
                      <a:pt x="7" y="388"/>
                    </a:cubicBezTo>
                    <a:cubicBezTo>
                      <a:pt x="7" y="374"/>
                      <a:pt x="9" y="360"/>
                      <a:pt x="10" y="346"/>
                    </a:cubicBezTo>
                    <a:cubicBezTo>
                      <a:pt x="14" y="334"/>
                      <a:pt x="10" y="317"/>
                      <a:pt x="21" y="309"/>
                    </a:cubicBezTo>
                    <a:cubicBezTo>
                      <a:pt x="22" y="294"/>
                      <a:pt x="35" y="286"/>
                      <a:pt x="31" y="271"/>
                    </a:cubicBezTo>
                    <a:cubicBezTo>
                      <a:pt x="26" y="253"/>
                      <a:pt x="55" y="259"/>
                      <a:pt x="51" y="240"/>
                    </a:cubicBezTo>
                    <a:cubicBezTo>
                      <a:pt x="56" y="230"/>
                      <a:pt x="74" y="234"/>
                      <a:pt x="78" y="220"/>
                    </a:cubicBezTo>
                    <a:cubicBezTo>
                      <a:pt x="88" y="203"/>
                      <a:pt x="109" y="196"/>
                      <a:pt x="119" y="179"/>
                    </a:cubicBezTo>
                    <a:cubicBezTo>
                      <a:pt x="125" y="171"/>
                      <a:pt x="137" y="160"/>
                      <a:pt x="124" y="153"/>
                    </a:cubicBezTo>
                    <a:cubicBezTo>
                      <a:pt x="124" y="144"/>
                      <a:pt x="112" y="153"/>
                      <a:pt x="111" y="143"/>
                    </a:cubicBezTo>
                    <a:cubicBezTo>
                      <a:pt x="106" y="136"/>
                      <a:pt x="97" y="152"/>
                      <a:pt x="94" y="138"/>
                    </a:cubicBezTo>
                    <a:cubicBezTo>
                      <a:pt x="82" y="135"/>
                      <a:pt x="94" y="118"/>
                      <a:pt x="97" y="110"/>
                    </a:cubicBezTo>
                    <a:cubicBezTo>
                      <a:pt x="105" y="98"/>
                      <a:pt x="83" y="91"/>
                      <a:pt x="94" y="7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25" name="Tadzhikistane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5898813" y="3253011"/>
                <a:ext cx="188085" cy="122495"/>
              </a:xfrm>
              <a:custGeom>
                <a:avLst/>
                <a:gdLst/>
                <a:ahLst/>
                <a:cxnLst>
                  <a:cxn ang="0">
                    <a:pos x="5" y="22"/>
                  </a:cxn>
                  <a:cxn ang="0">
                    <a:pos x="11" y="20"/>
                  </a:cxn>
                  <a:cxn ang="0">
                    <a:pos x="13" y="20"/>
                  </a:cxn>
                  <a:cxn ang="0">
                    <a:pos x="17" y="13"/>
                  </a:cxn>
                  <a:cxn ang="0">
                    <a:pos x="19" y="18"/>
                  </a:cxn>
                  <a:cxn ang="0">
                    <a:pos x="21" y="22"/>
                  </a:cxn>
                  <a:cxn ang="0">
                    <a:pos x="28" y="20"/>
                  </a:cxn>
                  <a:cxn ang="0">
                    <a:pos x="34" y="20"/>
                  </a:cxn>
                  <a:cxn ang="0">
                    <a:pos x="34" y="13"/>
                  </a:cxn>
                  <a:cxn ang="0">
                    <a:pos x="30" y="13"/>
                  </a:cxn>
                  <a:cxn ang="0">
                    <a:pos x="28" y="11"/>
                  </a:cxn>
                  <a:cxn ang="0">
                    <a:pos x="28" y="9"/>
                  </a:cxn>
                  <a:cxn ang="0">
                    <a:pos x="19" y="11"/>
                  </a:cxn>
                  <a:cxn ang="0">
                    <a:pos x="17" y="9"/>
                  </a:cxn>
                  <a:cxn ang="0">
                    <a:pos x="9" y="9"/>
                  </a:cxn>
                  <a:cxn ang="0">
                    <a:pos x="9" y="4"/>
                  </a:cxn>
                  <a:cxn ang="0">
                    <a:pos x="11" y="4"/>
                  </a:cxn>
                  <a:cxn ang="0">
                    <a:pos x="13" y="4"/>
                  </a:cxn>
                  <a:cxn ang="0">
                    <a:pos x="11" y="4"/>
                  </a:cxn>
                  <a:cxn ang="0">
                    <a:pos x="11" y="0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5" y="9"/>
                  </a:cxn>
                  <a:cxn ang="0">
                    <a:pos x="0" y="9"/>
                  </a:cxn>
                  <a:cxn ang="0">
                    <a:pos x="3" y="11"/>
                  </a:cxn>
                  <a:cxn ang="0">
                    <a:pos x="5" y="18"/>
                  </a:cxn>
                  <a:cxn ang="0">
                    <a:pos x="3" y="22"/>
                  </a:cxn>
                  <a:cxn ang="0">
                    <a:pos x="5" y="22"/>
                  </a:cxn>
                </a:cxnLst>
                <a:rect l="0" t="0" r="r" b="b"/>
                <a:pathLst>
                  <a:path w="34" h="22">
                    <a:moveTo>
                      <a:pt x="5" y="22"/>
                    </a:moveTo>
                    <a:lnTo>
                      <a:pt x="11" y="20"/>
                    </a:lnTo>
                    <a:lnTo>
                      <a:pt x="13" y="20"/>
                    </a:lnTo>
                    <a:lnTo>
                      <a:pt x="17" y="13"/>
                    </a:lnTo>
                    <a:lnTo>
                      <a:pt x="19" y="18"/>
                    </a:lnTo>
                    <a:lnTo>
                      <a:pt x="21" y="22"/>
                    </a:lnTo>
                    <a:lnTo>
                      <a:pt x="28" y="20"/>
                    </a:lnTo>
                    <a:lnTo>
                      <a:pt x="34" y="20"/>
                    </a:lnTo>
                    <a:lnTo>
                      <a:pt x="34" y="13"/>
                    </a:lnTo>
                    <a:lnTo>
                      <a:pt x="30" y="13"/>
                    </a:lnTo>
                    <a:lnTo>
                      <a:pt x="28" y="11"/>
                    </a:lnTo>
                    <a:lnTo>
                      <a:pt x="28" y="9"/>
                    </a:lnTo>
                    <a:lnTo>
                      <a:pt x="19" y="11"/>
                    </a:lnTo>
                    <a:lnTo>
                      <a:pt x="17" y="9"/>
                    </a:lnTo>
                    <a:lnTo>
                      <a:pt x="9" y="9"/>
                    </a:lnTo>
                    <a:lnTo>
                      <a:pt x="9" y="4"/>
                    </a:lnTo>
                    <a:lnTo>
                      <a:pt x="11" y="4"/>
                    </a:lnTo>
                    <a:lnTo>
                      <a:pt x="13" y="4"/>
                    </a:lnTo>
                    <a:lnTo>
                      <a:pt x="11" y="4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5" y="9"/>
                    </a:lnTo>
                    <a:lnTo>
                      <a:pt x="0" y="9"/>
                    </a:lnTo>
                    <a:lnTo>
                      <a:pt x="3" y="11"/>
                    </a:lnTo>
                    <a:lnTo>
                      <a:pt x="5" y="18"/>
                    </a:lnTo>
                    <a:lnTo>
                      <a:pt x="3" y="22"/>
                    </a:lnTo>
                    <a:lnTo>
                      <a:pt x="5" y="2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167" name="Turks- und Caicosinseln"/>
              <p:cNvSpPr>
                <a:spLocks/>
              </p:cNvSpPr>
              <p:nvPr/>
            </p:nvSpPr>
            <p:spPr bwMode="auto">
              <a:xfrm>
                <a:off x="7770519" y="4538757"/>
                <a:ext cx="16176" cy="18359"/>
              </a:xfrm>
              <a:custGeom>
                <a:avLst/>
                <a:gdLst>
                  <a:gd name="T0" fmla="*/ 5236133 w 43"/>
                  <a:gd name="T1" fmla="*/ 4010374 h 43"/>
                  <a:gd name="T2" fmla="*/ 5802293 w 43"/>
                  <a:gd name="T3" fmla="*/ 5104229 h 43"/>
                  <a:gd name="T4" fmla="*/ 5236133 w 43"/>
                  <a:gd name="T5" fmla="*/ 6379965 h 43"/>
                  <a:gd name="T6" fmla="*/ 4811419 w 43"/>
                  <a:gd name="T7" fmla="*/ 7656131 h 43"/>
                  <a:gd name="T8" fmla="*/ 3254762 w 43"/>
                  <a:gd name="T9" fmla="*/ 7838440 h 43"/>
                  <a:gd name="T10" fmla="*/ 2264264 w 43"/>
                  <a:gd name="T11" fmla="*/ 7291512 h 43"/>
                  <a:gd name="T12" fmla="*/ 1415212 w 43"/>
                  <a:gd name="T13" fmla="*/ 6562274 h 43"/>
                  <a:gd name="T14" fmla="*/ 707606 w 43"/>
                  <a:gd name="T15" fmla="*/ 5651156 h 43"/>
                  <a:gd name="T16" fmla="*/ 566160 w 43"/>
                  <a:gd name="T17" fmla="*/ 4374993 h 43"/>
                  <a:gd name="T18" fmla="*/ 141446 w 43"/>
                  <a:gd name="T19" fmla="*/ 3098828 h 43"/>
                  <a:gd name="T20" fmla="*/ 566160 w 43"/>
                  <a:gd name="T21" fmla="*/ 2004974 h 43"/>
                  <a:gd name="T22" fmla="*/ 1131944 w 43"/>
                  <a:gd name="T23" fmla="*/ 911546 h 43"/>
                  <a:gd name="T24" fmla="*/ 1839550 w 43"/>
                  <a:gd name="T25" fmla="*/ 546927 h 43"/>
                  <a:gd name="T26" fmla="*/ 2971869 w 43"/>
                  <a:gd name="T27" fmla="*/ 546927 h 43"/>
                  <a:gd name="T28" fmla="*/ 3820922 w 43"/>
                  <a:gd name="T29" fmla="*/ 729237 h 43"/>
                  <a:gd name="T30" fmla="*/ 4669973 w 43"/>
                  <a:gd name="T31" fmla="*/ 1276164 h 43"/>
                  <a:gd name="T32" fmla="*/ 4811419 w 43"/>
                  <a:gd name="T33" fmla="*/ 2551901 h 43"/>
                  <a:gd name="T34" fmla="*/ 4953241 w 43"/>
                  <a:gd name="T35" fmla="*/ 2734210 h 43"/>
                  <a:gd name="T36" fmla="*/ 5236133 w 43"/>
                  <a:gd name="T37" fmla="*/ 4010374 h 4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3"/>
                  <a:gd name="T58" fmla="*/ 0 h 43"/>
                  <a:gd name="T59" fmla="*/ 43 w 43"/>
                  <a:gd name="T60" fmla="*/ 43 h 4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3" h="43">
                    <a:moveTo>
                      <a:pt x="37" y="22"/>
                    </a:moveTo>
                    <a:cubicBezTo>
                      <a:pt x="38" y="24"/>
                      <a:pt x="43" y="24"/>
                      <a:pt x="41" y="28"/>
                    </a:cubicBezTo>
                    <a:cubicBezTo>
                      <a:pt x="40" y="30"/>
                      <a:pt x="38" y="33"/>
                      <a:pt x="37" y="35"/>
                    </a:cubicBezTo>
                    <a:cubicBezTo>
                      <a:pt x="37" y="37"/>
                      <a:pt x="38" y="41"/>
                      <a:pt x="34" y="42"/>
                    </a:cubicBezTo>
                    <a:cubicBezTo>
                      <a:pt x="31" y="42"/>
                      <a:pt x="27" y="43"/>
                      <a:pt x="23" y="43"/>
                    </a:cubicBezTo>
                    <a:cubicBezTo>
                      <a:pt x="21" y="42"/>
                      <a:pt x="18" y="43"/>
                      <a:pt x="16" y="40"/>
                    </a:cubicBezTo>
                    <a:cubicBezTo>
                      <a:pt x="14" y="38"/>
                      <a:pt x="11" y="38"/>
                      <a:pt x="10" y="36"/>
                    </a:cubicBezTo>
                    <a:cubicBezTo>
                      <a:pt x="8" y="34"/>
                      <a:pt x="5" y="34"/>
                      <a:pt x="5" y="31"/>
                    </a:cubicBezTo>
                    <a:cubicBezTo>
                      <a:pt x="3" y="29"/>
                      <a:pt x="3" y="27"/>
                      <a:pt x="4" y="24"/>
                    </a:cubicBezTo>
                    <a:cubicBezTo>
                      <a:pt x="4" y="22"/>
                      <a:pt x="2" y="19"/>
                      <a:pt x="1" y="17"/>
                    </a:cubicBezTo>
                    <a:cubicBezTo>
                      <a:pt x="0" y="15"/>
                      <a:pt x="1" y="12"/>
                      <a:pt x="4" y="11"/>
                    </a:cubicBezTo>
                    <a:cubicBezTo>
                      <a:pt x="7" y="10"/>
                      <a:pt x="6" y="6"/>
                      <a:pt x="8" y="5"/>
                    </a:cubicBezTo>
                    <a:cubicBezTo>
                      <a:pt x="10" y="5"/>
                      <a:pt x="12" y="4"/>
                      <a:pt x="13" y="3"/>
                    </a:cubicBezTo>
                    <a:cubicBezTo>
                      <a:pt x="16" y="2"/>
                      <a:pt x="19" y="0"/>
                      <a:pt x="21" y="3"/>
                    </a:cubicBezTo>
                    <a:cubicBezTo>
                      <a:pt x="23" y="4"/>
                      <a:pt x="25" y="3"/>
                      <a:pt x="27" y="4"/>
                    </a:cubicBezTo>
                    <a:cubicBezTo>
                      <a:pt x="29" y="5"/>
                      <a:pt x="31" y="6"/>
                      <a:pt x="33" y="7"/>
                    </a:cubicBezTo>
                    <a:cubicBezTo>
                      <a:pt x="35" y="9"/>
                      <a:pt x="34" y="12"/>
                      <a:pt x="34" y="14"/>
                    </a:cubicBezTo>
                    <a:cubicBezTo>
                      <a:pt x="34" y="14"/>
                      <a:pt x="35" y="14"/>
                      <a:pt x="35" y="15"/>
                    </a:cubicBezTo>
                    <a:cubicBezTo>
                      <a:pt x="35" y="17"/>
                      <a:pt x="36" y="20"/>
                      <a:pt x="37" y="22"/>
                    </a:cubicBezTo>
                    <a:close/>
                  </a:path>
                </a:pathLst>
              </a:custGeom>
              <a:solidFill>
                <a:schemeClr val="bg2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 lIns="71120" tIns="71120" rIns="71120" bIns="71120"/>
              <a:lstStyle/>
              <a:p>
                <a:endParaRPr lang="it-IT"/>
              </a:p>
            </p:txBody>
          </p:sp>
          <p:sp>
            <p:nvSpPr>
              <p:cNvPr id="431" name="Turkmenistan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5520919" y="3202978"/>
                <a:ext cx="355463" cy="239812"/>
              </a:xfrm>
              <a:custGeom>
                <a:avLst/>
                <a:gdLst/>
                <a:ahLst/>
                <a:cxnLst>
                  <a:cxn ang="0">
                    <a:pos x="16" y="9"/>
                  </a:cxn>
                  <a:cxn ang="0">
                    <a:pos x="18" y="9"/>
                  </a:cxn>
                  <a:cxn ang="0">
                    <a:pos x="18" y="4"/>
                  </a:cxn>
                  <a:cxn ang="0">
                    <a:pos x="23" y="0"/>
                  </a:cxn>
                  <a:cxn ang="0">
                    <a:pos x="25" y="0"/>
                  </a:cxn>
                  <a:cxn ang="0">
                    <a:pos x="31" y="2"/>
                  </a:cxn>
                  <a:cxn ang="0">
                    <a:pos x="33" y="9"/>
                  </a:cxn>
                  <a:cxn ang="0">
                    <a:pos x="41" y="9"/>
                  </a:cxn>
                  <a:cxn ang="0">
                    <a:pos x="45" y="13"/>
                  </a:cxn>
                  <a:cxn ang="0">
                    <a:pos x="58" y="22"/>
                  </a:cxn>
                  <a:cxn ang="0">
                    <a:pos x="64" y="27"/>
                  </a:cxn>
                  <a:cxn ang="0">
                    <a:pos x="64" y="29"/>
                  </a:cxn>
                  <a:cxn ang="0">
                    <a:pos x="62" y="29"/>
                  </a:cxn>
                  <a:cxn ang="0">
                    <a:pos x="58" y="29"/>
                  </a:cxn>
                  <a:cxn ang="0">
                    <a:pos x="58" y="36"/>
                  </a:cxn>
                  <a:cxn ang="0">
                    <a:pos x="54" y="38"/>
                  </a:cxn>
                  <a:cxn ang="0">
                    <a:pos x="50" y="43"/>
                  </a:cxn>
                  <a:cxn ang="0">
                    <a:pos x="45" y="38"/>
                  </a:cxn>
                  <a:cxn ang="0">
                    <a:pos x="45" y="36"/>
                  </a:cxn>
                  <a:cxn ang="0">
                    <a:pos x="23" y="22"/>
                  </a:cxn>
                  <a:cxn ang="0">
                    <a:pos x="16" y="27"/>
                  </a:cxn>
                  <a:cxn ang="0">
                    <a:pos x="10" y="29"/>
                  </a:cxn>
                  <a:cxn ang="0">
                    <a:pos x="8" y="20"/>
                  </a:cxn>
                  <a:cxn ang="0">
                    <a:pos x="6" y="13"/>
                  </a:cxn>
                  <a:cxn ang="0">
                    <a:pos x="2" y="13"/>
                  </a:cxn>
                  <a:cxn ang="0">
                    <a:pos x="2" y="11"/>
                  </a:cxn>
                  <a:cxn ang="0">
                    <a:pos x="8" y="11"/>
                  </a:cxn>
                  <a:cxn ang="0">
                    <a:pos x="8" y="9"/>
                  </a:cxn>
                  <a:cxn ang="0">
                    <a:pos x="6" y="4"/>
                  </a:cxn>
                  <a:cxn ang="0">
                    <a:pos x="2" y="4"/>
                  </a:cxn>
                  <a:cxn ang="0">
                    <a:pos x="2" y="9"/>
                  </a:cxn>
                  <a:cxn ang="0">
                    <a:pos x="0" y="4"/>
                  </a:cxn>
                  <a:cxn ang="0">
                    <a:pos x="2" y="2"/>
                  </a:cxn>
                  <a:cxn ang="0">
                    <a:pos x="6" y="2"/>
                  </a:cxn>
                  <a:cxn ang="0">
                    <a:pos x="14" y="9"/>
                  </a:cxn>
                  <a:cxn ang="0">
                    <a:pos x="16" y="9"/>
                  </a:cxn>
                </a:cxnLst>
                <a:rect l="0" t="0" r="r" b="b"/>
                <a:pathLst>
                  <a:path w="64" h="43">
                    <a:moveTo>
                      <a:pt x="16" y="9"/>
                    </a:moveTo>
                    <a:lnTo>
                      <a:pt x="18" y="9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5" y="0"/>
                    </a:lnTo>
                    <a:lnTo>
                      <a:pt x="31" y="2"/>
                    </a:lnTo>
                    <a:lnTo>
                      <a:pt x="33" y="9"/>
                    </a:lnTo>
                    <a:lnTo>
                      <a:pt x="41" y="9"/>
                    </a:lnTo>
                    <a:lnTo>
                      <a:pt x="45" y="13"/>
                    </a:lnTo>
                    <a:lnTo>
                      <a:pt x="58" y="22"/>
                    </a:lnTo>
                    <a:lnTo>
                      <a:pt x="64" y="27"/>
                    </a:lnTo>
                    <a:lnTo>
                      <a:pt x="64" y="29"/>
                    </a:lnTo>
                    <a:lnTo>
                      <a:pt x="62" y="29"/>
                    </a:lnTo>
                    <a:lnTo>
                      <a:pt x="58" y="29"/>
                    </a:lnTo>
                    <a:lnTo>
                      <a:pt x="58" y="36"/>
                    </a:lnTo>
                    <a:lnTo>
                      <a:pt x="54" y="38"/>
                    </a:lnTo>
                    <a:lnTo>
                      <a:pt x="50" y="43"/>
                    </a:lnTo>
                    <a:lnTo>
                      <a:pt x="45" y="38"/>
                    </a:lnTo>
                    <a:lnTo>
                      <a:pt x="45" y="36"/>
                    </a:lnTo>
                    <a:lnTo>
                      <a:pt x="23" y="22"/>
                    </a:lnTo>
                    <a:lnTo>
                      <a:pt x="16" y="27"/>
                    </a:lnTo>
                    <a:lnTo>
                      <a:pt x="10" y="29"/>
                    </a:lnTo>
                    <a:lnTo>
                      <a:pt x="8" y="20"/>
                    </a:lnTo>
                    <a:lnTo>
                      <a:pt x="6" y="13"/>
                    </a:lnTo>
                    <a:lnTo>
                      <a:pt x="2" y="13"/>
                    </a:lnTo>
                    <a:lnTo>
                      <a:pt x="2" y="11"/>
                    </a:lnTo>
                    <a:lnTo>
                      <a:pt x="8" y="11"/>
                    </a:lnTo>
                    <a:lnTo>
                      <a:pt x="8" y="9"/>
                    </a:lnTo>
                    <a:lnTo>
                      <a:pt x="6" y="4"/>
                    </a:lnTo>
                    <a:lnTo>
                      <a:pt x="2" y="4"/>
                    </a:lnTo>
                    <a:lnTo>
                      <a:pt x="2" y="9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6" y="2"/>
                    </a:lnTo>
                    <a:lnTo>
                      <a:pt x="14" y="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35" name="Turkey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894544" y="3215055"/>
                <a:ext cx="458996" cy="200132"/>
              </a:xfrm>
              <a:custGeom>
                <a:avLst/>
                <a:gdLst/>
                <a:ahLst/>
                <a:cxnLst>
                  <a:cxn ang="0">
                    <a:pos x="73" y="7"/>
                  </a:cxn>
                  <a:cxn ang="0">
                    <a:pos x="73" y="2"/>
                  </a:cxn>
                  <a:cxn ang="0">
                    <a:pos x="67" y="2"/>
                  </a:cxn>
                  <a:cxn ang="0">
                    <a:pos x="58" y="7"/>
                  </a:cxn>
                  <a:cxn ang="0">
                    <a:pos x="48" y="7"/>
                  </a:cxn>
                  <a:cxn ang="0">
                    <a:pos x="35" y="0"/>
                  </a:cxn>
                  <a:cxn ang="0">
                    <a:pos x="31" y="0"/>
                  </a:cxn>
                  <a:cxn ang="0">
                    <a:pos x="23" y="7"/>
                  </a:cxn>
                  <a:cxn ang="0">
                    <a:pos x="17" y="7"/>
                  </a:cxn>
                  <a:cxn ang="0">
                    <a:pos x="10" y="7"/>
                  </a:cxn>
                  <a:cxn ang="0">
                    <a:pos x="8" y="2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2" y="9"/>
                  </a:cxn>
                  <a:cxn ang="0">
                    <a:pos x="0" y="11"/>
                  </a:cxn>
                  <a:cxn ang="0">
                    <a:pos x="4" y="7"/>
                  </a:cxn>
                  <a:cxn ang="0">
                    <a:pos x="10" y="7"/>
                  </a:cxn>
                  <a:cxn ang="0">
                    <a:pos x="12" y="9"/>
                  </a:cxn>
                  <a:cxn ang="0">
                    <a:pos x="10" y="9"/>
                  </a:cxn>
                  <a:cxn ang="0">
                    <a:pos x="12" y="11"/>
                  </a:cxn>
                  <a:cxn ang="0">
                    <a:pos x="2" y="11"/>
                  </a:cxn>
                  <a:cxn ang="0">
                    <a:pos x="0" y="11"/>
                  </a:cxn>
                  <a:cxn ang="0">
                    <a:pos x="0" y="16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2" y="20"/>
                  </a:cxn>
                  <a:cxn ang="0">
                    <a:pos x="4" y="25"/>
                  </a:cxn>
                  <a:cxn ang="0">
                    <a:pos x="4" y="27"/>
                  </a:cxn>
                  <a:cxn ang="0">
                    <a:pos x="8" y="27"/>
                  </a:cxn>
                  <a:cxn ang="0">
                    <a:pos x="4" y="29"/>
                  </a:cxn>
                  <a:cxn ang="0">
                    <a:pos x="10" y="29"/>
                  </a:cxn>
                  <a:cxn ang="0">
                    <a:pos x="8" y="29"/>
                  </a:cxn>
                  <a:cxn ang="0">
                    <a:pos x="17" y="34"/>
                  </a:cxn>
                  <a:cxn ang="0">
                    <a:pos x="19" y="34"/>
                  </a:cxn>
                  <a:cxn ang="0">
                    <a:pos x="23" y="29"/>
                  </a:cxn>
                  <a:cxn ang="0">
                    <a:pos x="25" y="29"/>
                  </a:cxn>
                  <a:cxn ang="0">
                    <a:pos x="31" y="36"/>
                  </a:cxn>
                  <a:cxn ang="0">
                    <a:pos x="33" y="34"/>
                  </a:cxn>
                  <a:cxn ang="0">
                    <a:pos x="40" y="29"/>
                  </a:cxn>
                  <a:cxn ang="0">
                    <a:pos x="42" y="34"/>
                  </a:cxn>
                  <a:cxn ang="0">
                    <a:pos x="44" y="29"/>
                  </a:cxn>
                  <a:cxn ang="0">
                    <a:pos x="44" y="36"/>
                  </a:cxn>
                  <a:cxn ang="0">
                    <a:pos x="48" y="34"/>
                  </a:cxn>
                  <a:cxn ang="0">
                    <a:pos x="48" y="29"/>
                  </a:cxn>
                  <a:cxn ang="0">
                    <a:pos x="56" y="29"/>
                  </a:cxn>
                  <a:cxn ang="0">
                    <a:pos x="58" y="29"/>
                  </a:cxn>
                  <a:cxn ang="0">
                    <a:pos x="65" y="29"/>
                  </a:cxn>
                  <a:cxn ang="0">
                    <a:pos x="73" y="27"/>
                  </a:cxn>
                  <a:cxn ang="0">
                    <a:pos x="75" y="27"/>
                  </a:cxn>
                  <a:cxn ang="0">
                    <a:pos x="83" y="27"/>
                  </a:cxn>
                  <a:cxn ang="0">
                    <a:pos x="79" y="16"/>
                  </a:cxn>
                  <a:cxn ang="0">
                    <a:pos x="81" y="11"/>
                  </a:cxn>
                  <a:cxn ang="0">
                    <a:pos x="75" y="11"/>
                  </a:cxn>
                  <a:cxn ang="0">
                    <a:pos x="73" y="9"/>
                  </a:cxn>
                  <a:cxn ang="0">
                    <a:pos x="73" y="7"/>
                  </a:cxn>
                </a:cxnLst>
                <a:rect l="0" t="0" r="r" b="b"/>
                <a:pathLst>
                  <a:path w="83" h="36">
                    <a:moveTo>
                      <a:pt x="73" y="7"/>
                    </a:moveTo>
                    <a:lnTo>
                      <a:pt x="73" y="2"/>
                    </a:lnTo>
                    <a:lnTo>
                      <a:pt x="67" y="2"/>
                    </a:lnTo>
                    <a:lnTo>
                      <a:pt x="58" y="7"/>
                    </a:lnTo>
                    <a:lnTo>
                      <a:pt x="48" y="7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23" y="7"/>
                    </a:lnTo>
                    <a:lnTo>
                      <a:pt x="17" y="7"/>
                    </a:lnTo>
                    <a:lnTo>
                      <a:pt x="10" y="7"/>
                    </a:lnTo>
                    <a:lnTo>
                      <a:pt x="8" y="2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0" y="11"/>
                    </a:lnTo>
                    <a:lnTo>
                      <a:pt x="4" y="7"/>
                    </a:lnTo>
                    <a:lnTo>
                      <a:pt x="10" y="7"/>
                    </a:lnTo>
                    <a:lnTo>
                      <a:pt x="12" y="9"/>
                    </a:lnTo>
                    <a:lnTo>
                      <a:pt x="10" y="9"/>
                    </a:lnTo>
                    <a:lnTo>
                      <a:pt x="12" y="11"/>
                    </a:lnTo>
                    <a:lnTo>
                      <a:pt x="2" y="11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2" y="20"/>
                    </a:lnTo>
                    <a:lnTo>
                      <a:pt x="4" y="25"/>
                    </a:lnTo>
                    <a:lnTo>
                      <a:pt x="4" y="27"/>
                    </a:lnTo>
                    <a:lnTo>
                      <a:pt x="8" y="27"/>
                    </a:lnTo>
                    <a:lnTo>
                      <a:pt x="4" y="29"/>
                    </a:lnTo>
                    <a:lnTo>
                      <a:pt x="10" y="29"/>
                    </a:lnTo>
                    <a:lnTo>
                      <a:pt x="8" y="29"/>
                    </a:lnTo>
                    <a:lnTo>
                      <a:pt x="17" y="34"/>
                    </a:lnTo>
                    <a:lnTo>
                      <a:pt x="19" y="34"/>
                    </a:lnTo>
                    <a:lnTo>
                      <a:pt x="23" y="29"/>
                    </a:lnTo>
                    <a:lnTo>
                      <a:pt x="25" y="29"/>
                    </a:lnTo>
                    <a:lnTo>
                      <a:pt x="31" y="36"/>
                    </a:lnTo>
                    <a:lnTo>
                      <a:pt x="33" y="34"/>
                    </a:lnTo>
                    <a:lnTo>
                      <a:pt x="40" y="29"/>
                    </a:lnTo>
                    <a:lnTo>
                      <a:pt x="42" y="34"/>
                    </a:lnTo>
                    <a:lnTo>
                      <a:pt x="44" y="29"/>
                    </a:lnTo>
                    <a:lnTo>
                      <a:pt x="44" y="36"/>
                    </a:lnTo>
                    <a:lnTo>
                      <a:pt x="48" y="34"/>
                    </a:lnTo>
                    <a:lnTo>
                      <a:pt x="48" y="29"/>
                    </a:lnTo>
                    <a:lnTo>
                      <a:pt x="56" y="29"/>
                    </a:lnTo>
                    <a:lnTo>
                      <a:pt x="58" y="29"/>
                    </a:lnTo>
                    <a:lnTo>
                      <a:pt x="65" y="29"/>
                    </a:lnTo>
                    <a:lnTo>
                      <a:pt x="73" y="27"/>
                    </a:lnTo>
                    <a:lnTo>
                      <a:pt x="75" y="27"/>
                    </a:lnTo>
                    <a:lnTo>
                      <a:pt x="83" y="27"/>
                    </a:lnTo>
                    <a:lnTo>
                      <a:pt x="79" y="16"/>
                    </a:lnTo>
                    <a:lnTo>
                      <a:pt x="81" y="11"/>
                    </a:lnTo>
                    <a:lnTo>
                      <a:pt x="75" y="11"/>
                    </a:lnTo>
                    <a:lnTo>
                      <a:pt x="73" y="9"/>
                    </a:lnTo>
                    <a:lnTo>
                      <a:pt x="73" y="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436" name="Tunesia"/>
              <p:cNvGrpSpPr/>
              <p:nvPr/>
            </p:nvGrpSpPr>
            <p:grpSpPr>
              <a:xfrm>
                <a:off x="4448040" y="3376285"/>
                <a:ext cx="98459" cy="221979"/>
                <a:chOff x="2070100" y="2238375"/>
                <a:chExt cx="222250" cy="422275"/>
              </a:xfrm>
              <a:solidFill>
                <a:schemeClr val="accent3"/>
              </a:solidFill>
            </p:grpSpPr>
            <p:sp>
              <p:nvSpPr>
                <p:cNvPr id="837" name="Tunesia"/>
                <p:cNvSpPr>
                  <a:spLocks/>
                </p:cNvSpPr>
                <p:nvPr/>
              </p:nvSpPr>
              <p:spPr bwMode="auto">
                <a:xfrm>
                  <a:off x="2070100" y="2238375"/>
                  <a:ext cx="222250" cy="422275"/>
                </a:xfrm>
                <a:custGeom>
                  <a:avLst/>
                  <a:gdLst>
                    <a:gd name="T0" fmla="*/ 264 w 271"/>
                    <a:gd name="T1" fmla="*/ 307 h 514"/>
                    <a:gd name="T2" fmla="*/ 261 w 271"/>
                    <a:gd name="T3" fmla="*/ 339 h 514"/>
                    <a:gd name="T4" fmla="*/ 258 w 271"/>
                    <a:gd name="T5" fmla="*/ 360 h 514"/>
                    <a:gd name="T6" fmla="*/ 220 w 271"/>
                    <a:gd name="T7" fmla="*/ 378 h 514"/>
                    <a:gd name="T8" fmla="*/ 199 w 271"/>
                    <a:gd name="T9" fmla="*/ 400 h 514"/>
                    <a:gd name="T10" fmla="*/ 175 w 271"/>
                    <a:gd name="T11" fmla="*/ 416 h 514"/>
                    <a:gd name="T12" fmla="*/ 177 w 271"/>
                    <a:gd name="T13" fmla="*/ 465 h 514"/>
                    <a:gd name="T14" fmla="*/ 148 w 271"/>
                    <a:gd name="T15" fmla="*/ 505 h 514"/>
                    <a:gd name="T16" fmla="*/ 126 w 271"/>
                    <a:gd name="T17" fmla="*/ 511 h 514"/>
                    <a:gd name="T18" fmla="*/ 123 w 271"/>
                    <a:gd name="T19" fmla="*/ 504 h 514"/>
                    <a:gd name="T20" fmla="*/ 99 w 271"/>
                    <a:gd name="T21" fmla="*/ 378 h 514"/>
                    <a:gd name="T22" fmla="*/ 53 w 271"/>
                    <a:gd name="T23" fmla="*/ 345 h 514"/>
                    <a:gd name="T24" fmla="*/ 46 w 271"/>
                    <a:gd name="T25" fmla="*/ 315 h 514"/>
                    <a:gd name="T26" fmla="*/ 15 w 271"/>
                    <a:gd name="T27" fmla="*/ 291 h 514"/>
                    <a:gd name="T28" fmla="*/ 3 w 271"/>
                    <a:gd name="T29" fmla="*/ 241 h 514"/>
                    <a:gd name="T30" fmla="*/ 28 w 271"/>
                    <a:gd name="T31" fmla="*/ 209 h 514"/>
                    <a:gd name="T32" fmla="*/ 58 w 271"/>
                    <a:gd name="T33" fmla="*/ 180 h 514"/>
                    <a:gd name="T34" fmla="*/ 60 w 271"/>
                    <a:gd name="T35" fmla="*/ 167 h 514"/>
                    <a:gd name="T36" fmla="*/ 62 w 271"/>
                    <a:gd name="T37" fmla="*/ 143 h 514"/>
                    <a:gd name="T38" fmla="*/ 61 w 271"/>
                    <a:gd name="T39" fmla="*/ 111 h 514"/>
                    <a:gd name="T40" fmla="*/ 70 w 271"/>
                    <a:gd name="T41" fmla="*/ 63 h 514"/>
                    <a:gd name="T42" fmla="*/ 63 w 271"/>
                    <a:gd name="T43" fmla="*/ 53 h 514"/>
                    <a:gd name="T44" fmla="*/ 76 w 271"/>
                    <a:gd name="T45" fmla="*/ 38 h 514"/>
                    <a:gd name="T46" fmla="*/ 89 w 271"/>
                    <a:gd name="T47" fmla="*/ 27 h 514"/>
                    <a:gd name="T48" fmla="*/ 88 w 271"/>
                    <a:gd name="T49" fmla="*/ 26 h 514"/>
                    <a:gd name="T50" fmla="*/ 103 w 271"/>
                    <a:gd name="T51" fmla="*/ 20 h 514"/>
                    <a:gd name="T52" fmla="*/ 132 w 271"/>
                    <a:gd name="T53" fmla="*/ 5 h 514"/>
                    <a:gd name="T54" fmla="*/ 159 w 271"/>
                    <a:gd name="T55" fmla="*/ 1 h 514"/>
                    <a:gd name="T56" fmla="*/ 189 w 271"/>
                    <a:gd name="T57" fmla="*/ 8 h 514"/>
                    <a:gd name="T58" fmla="*/ 192 w 271"/>
                    <a:gd name="T59" fmla="*/ 19 h 514"/>
                    <a:gd name="T60" fmla="*/ 194 w 271"/>
                    <a:gd name="T61" fmla="*/ 32 h 514"/>
                    <a:gd name="T62" fmla="*/ 201 w 271"/>
                    <a:gd name="T63" fmla="*/ 40 h 514"/>
                    <a:gd name="T64" fmla="*/ 212 w 271"/>
                    <a:gd name="T65" fmla="*/ 37 h 514"/>
                    <a:gd name="T66" fmla="*/ 230 w 271"/>
                    <a:gd name="T67" fmla="*/ 25 h 514"/>
                    <a:gd name="T68" fmla="*/ 242 w 271"/>
                    <a:gd name="T69" fmla="*/ 21 h 514"/>
                    <a:gd name="T70" fmla="*/ 247 w 271"/>
                    <a:gd name="T71" fmla="*/ 34 h 514"/>
                    <a:gd name="T72" fmla="*/ 233 w 271"/>
                    <a:gd name="T73" fmla="*/ 58 h 514"/>
                    <a:gd name="T74" fmla="*/ 214 w 271"/>
                    <a:gd name="T75" fmla="*/ 67 h 514"/>
                    <a:gd name="T76" fmla="*/ 207 w 271"/>
                    <a:gd name="T77" fmla="*/ 79 h 514"/>
                    <a:gd name="T78" fmla="*/ 209 w 271"/>
                    <a:gd name="T79" fmla="*/ 99 h 514"/>
                    <a:gd name="T80" fmla="*/ 216 w 271"/>
                    <a:gd name="T81" fmla="*/ 109 h 514"/>
                    <a:gd name="T82" fmla="*/ 228 w 271"/>
                    <a:gd name="T83" fmla="*/ 114 h 514"/>
                    <a:gd name="T84" fmla="*/ 239 w 271"/>
                    <a:gd name="T85" fmla="*/ 124 h 514"/>
                    <a:gd name="T86" fmla="*/ 243 w 271"/>
                    <a:gd name="T87" fmla="*/ 147 h 514"/>
                    <a:gd name="T88" fmla="*/ 239 w 271"/>
                    <a:gd name="T89" fmla="*/ 159 h 514"/>
                    <a:gd name="T90" fmla="*/ 222 w 271"/>
                    <a:gd name="T91" fmla="*/ 189 h 514"/>
                    <a:gd name="T92" fmla="*/ 194 w 271"/>
                    <a:gd name="T93" fmla="*/ 208 h 514"/>
                    <a:gd name="T94" fmla="*/ 180 w 271"/>
                    <a:gd name="T95" fmla="*/ 216 h 514"/>
                    <a:gd name="T96" fmla="*/ 174 w 271"/>
                    <a:gd name="T97" fmla="*/ 226 h 514"/>
                    <a:gd name="T98" fmla="*/ 168 w 271"/>
                    <a:gd name="T99" fmla="*/ 234 h 514"/>
                    <a:gd name="T100" fmla="*/ 158 w 271"/>
                    <a:gd name="T101" fmla="*/ 234 h 514"/>
                    <a:gd name="T102" fmla="*/ 160 w 271"/>
                    <a:gd name="T103" fmla="*/ 251 h 514"/>
                    <a:gd name="T104" fmla="*/ 169 w 271"/>
                    <a:gd name="T105" fmla="*/ 260 h 514"/>
                    <a:gd name="T106" fmla="*/ 195 w 271"/>
                    <a:gd name="T107" fmla="*/ 265 h 514"/>
                    <a:gd name="T108" fmla="*/ 204 w 271"/>
                    <a:gd name="T109" fmla="*/ 277 h 514"/>
                    <a:gd name="T110" fmla="*/ 221 w 271"/>
                    <a:gd name="T111" fmla="*/ 271 h 514"/>
                    <a:gd name="T112" fmla="*/ 227 w 271"/>
                    <a:gd name="T113" fmla="*/ 288 h 514"/>
                    <a:gd name="T114" fmla="*/ 232 w 271"/>
                    <a:gd name="T115" fmla="*/ 300 h 514"/>
                    <a:gd name="T116" fmla="*/ 245 w 271"/>
                    <a:gd name="T117" fmla="*/ 299 h 514"/>
                    <a:gd name="T118" fmla="*/ 264 w 271"/>
                    <a:gd name="T119" fmla="*/ 307 h 5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271" h="514">
                      <a:moveTo>
                        <a:pt x="264" y="307"/>
                      </a:moveTo>
                      <a:cubicBezTo>
                        <a:pt x="261" y="319"/>
                        <a:pt x="261" y="326"/>
                        <a:pt x="261" y="339"/>
                      </a:cubicBezTo>
                      <a:cubicBezTo>
                        <a:pt x="265" y="346"/>
                        <a:pt x="271" y="356"/>
                        <a:pt x="258" y="360"/>
                      </a:cubicBezTo>
                      <a:cubicBezTo>
                        <a:pt x="246" y="366"/>
                        <a:pt x="230" y="370"/>
                        <a:pt x="220" y="378"/>
                      </a:cubicBezTo>
                      <a:cubicBezTo>
                        <a:pt x="215" y="389"/>
                        <a:pt x="200" y="387"/>
                        <a:pt x="199" y="400"/>
                      </a:cubicBezTo>
                      <a:cubicBezTo>
                        <a:pt x="192" y="410"/>
                        <a:pt x="178" y="402"/>
                        <a:pt x="175" y="416"/>
                      </a:cubicBezTo>
                      <a:cubicBezTo>
                        <a:pt x="159" y="429"/>
                        <a:pt x="180" y="449"/>
                        <a:pt x="177" y="465"/>
                      </a:cubicBezTo>
                      <a:cubicBezTo>
                        <a:pt x="172" y="481"/>
                        <a:pt x="159" y="493"/>
                        <a:pt x="148" y="505"/>
                      </a:cubicBezTo>
                      <a:cubicBezTo>
                        <a:pt x="142" y="505"/>
                        <a:pt x="131" y="514"/>
                        <a:pt x="126" y="511"/>
                      </a:cubicBezTo>
                      <a:cubicBezTo>
                        <a:pt x="124" y="511"/>
                        <a:pt x="123" y="508"/>
                        <a:pt x="123" y="504"/>
                      </a:cubicBezTo>
                      <a:cubicBezTo>
                        <a:pt x="115" y="462"/>
                        <a:pt x="107" y="420"/>
                        <a:pt x="99" y="378"/>
                      </a:cubicBezTo>
                      <a:cubicBezTo>
                        <a:pt x="84" y="367"/>
                        <a:pt x="68" y="356"/>
                        <a:pt x="53" y="345"/>
                      </a:cubicBezTo>
                      <a:cubicBezTo>
                        <a:pt x="52" y="335"/>
                        <a:pt x="54" y="323"/>
                        <a:pt x="46" y="315"/>
                      </a:cubicBezTo>
                      <a:cubicBezTo>
                        <a:pt x="42" y="300"/>
                        <a:pt x="23" y="301"/>
                        <a:pt x="15" y="291"/>
                      </a:cubicBezTo>
                      <a:cubicBezTo>
                        <a:pt x="19" y="273"/>
                        <a:pt x="0" y="260"/>
                        <a:pt x="3" y="241"/>
                      </a:cubicBezTo>
                      <a:cubicBezTo>
                        <a:pt x="2" y="223"/>
                        <a:pt x="25" y="225"/>
                        <a:pt x="28" y="209"/>
                      </a:cubicBezTo>
                      <a:cubicBezTo>
                        <a:pt x="39" y="201"/>
                        <a:pt x="58" y="198"/>
                        <a:pt x="58" y="180"/>
                      </a:cubicBezTo>
                      <a:cubicBezTo>
                        <a:pt x="57" y="175"/>
                        <a:pt x="56" y="170"/>
                        <a:pt x="60" y="167"/>
                      </a:cubicBezTo>
                      <a:cubicBezTo>
                        <a:pt x="61" y="157"/>
                        <a:pt x="77" y="148"/>
                        <a:pt x="62" y="143"/>
                      </a:cubicBezTo>
                      <a:cubicBezTo>
                        <a:pt x="62" y="132"/>
                        <a:pt x="70" y="121"/>
                        <a:pt x="61" y="111"/>
                      </a:cubicBezTo>
                      <a:cubicBezTo>
                        <a:pt x="60" y="94"/>
                        <a:pt x="69" y="79"/>
                        <a:pt x="70" y="63"/>
                      </a:cubicBezTo>
                      <a:cubicBezTo>
                        <a:pt x="67" y="59"/>
                        <a:pt x="54" y="59"/>
                        <a:pt x="63" y="53"/>
                      </a:cubicBezTo>
                      <a:cubicBezTo>
                        <a:pt x="70" y="52"/>
                        <a:pt x="82" y="47"/>
                        <a:pt x="76" y="38"/>
                      </a:cubicBezTo>
                      <a:cubicBezTo>
                        <a:pt x="83" y="34"/>
                        <a:pt x="93" y="41"/>
                        <a:pt x="89" y="27"/>
                      </a:cubicBezTo>
                      <a:cubicBezTo>
                        <a:pt x="88" y="26"/>
                        <a:pt x="88" y="26"/>
                        <a:pt x="88" y="26"/>
                      </a:cubicBezTo>
                      <a:cubicBezTo>
                        <a:pt x="94" y="26"/>
                        <a:pt x="100" y="25"/>
                        <a:pt x="103" y="20"/>
                      </a:cubicBezTo>
                      <a:cubicBezTo>
                        <a:pt x="112" y="13"/>
                        <a:pt x="122" y="9"/>
                        <a:pt x="132" y="5"/>
                      </a:cubicBezTo>
                      <a:cubicBezTo>
                        <a:pt x="141" y="2"/>
                        <a:pt x="150" y="1"/>
                        <a:pt x="159" y="1"/>
                      </a:cubicBezTo>
                      <a:cubicBezTo>
                        <a:pt x="170" y="0"/>
                        <a:pt x="179" y="5"/>
                        <a:pt x="189" y="8"/>
                      </a:cubicBezTo>
                      <a:cubicBezTo>
                        <a:pt x="187" y="10"/>
                        <a:pt x="190" y="16"/>
                        <a:pt x="192" y="19"/>
                      </a:cubicBezTo>
                      <a:cubicBezTo>
                        <a:pt x="195" y="23"/>
                        <a:pt x="197" y="27"/>
                        <a:pt x="194" y="32"/>
                      </a:cubicBezTo>
                      <a:cubicBezTo>
                        <a:pt x="192" y="37"/>
                        <a:pt x="197" y="38"/>
                        <a:pt x="201" y="40"/>
                      </a:cubicBezTo>
                      <a:cubicBezTo>
                        <a:pt x="205" y="43"/>
                        <a:pt x="208" y="39"/>
                        <a:pt x="212" y="37"/>
                      </a:cubicBezTo>
                      <a:cubicBezTo>
                        <a:pt x="219" y="36"/>
                        <a:pt x="225" y="31"/>
                        <a:pt x="230" y="25"/>
                      </a:cubicBezTo>
                      <a:cubicBezTo>
                        <a:pt x="232" y="20"/>
                        <a:pt x="237" y="21"/>
                        <a:pt x="242" y="21"/>
                      </a:cubicBezTo>
                      <a:cubicBezTo>
                        <a:pt x="244" y="25"/>
                        <a:pt x="245" y="30"/>
                        <a:pt x="247" y="34"/>
                      </a:cubicBezTo>
                      <a:cubicBezTo>
                        <a:pt x="242" y="41"/>
                        <a:pt x="238" y="50"/>
                        <a:pt x="233" y="58"/>
                      </a:cubicBezTo>
                      <a:cubicBezTo>
                        <a:pt x="227" y="60"/>
                        <a:pt x="219" y="62"/>
                        <a:pt x="214" y="67"/>
                      </a:cubicBezTo>
                      <a:cubicBezTo>
                        <a:pt x="209" y="69"/>
                        <a:pt x="208" y="74"/>
                        <a:pt x="207" y="79"/>
                      </a:cubicBezTo>
                      <a:cubicBezTo>
                        <a:pt x="204" y="85"/>
                        <a:pt x="208" y="92"/>
                        <a:pt x="209" y="99"/>
                      </a:cubicBezTo>
                      <a:cubicBezTo>
                        <a:pt x="210" y="102"/>
                        <a:pt x="212" y="108"/>
                        <a:pt x="216" y="109"/>
                      </a:cubicBezTo>
                      <a:cubicBezTo>
                        <a:pt x="220" y="110"/>
                        <a:pt x="227" y="108"/>
                        <a:pt x="228" y="114"/>
                      </a:cubicBezTo>
                      <a:cubicBezTo>
                        <a:pt x="228" y="119"/>
                        <a:pt x="234" y="121"/>
                        <a:pt x="239" y="124"/>
                      </a:cubicBezTo>
                      <a:cubicBezTo>
                        <a:pt x="240" y="132"/>
                        <a:pt x="240" y="140"/>
                        <a:pt x="243" y="147"/>
                      </a:cubicBezTo>
                      <a:cubicBezTo>
                        <a:pt x="246" y="152"/>
                        <a:pt x="241" y="155"/>
                        <a:pt x="239" y="159"/>
                      </a:cubicBezTo>
                      <a:cubicBezTo>
                        <a:pt x="234" y="169"/>
                        <a:pt x="230" y="181"/>
                        <a:pt x="222" y="189"/>
                      </a:cubicBezTo>
                      <a:cubicBezTo>
                        <a:pt x="213" y="196"/>
                        <a:pt x="205" y="204"/>
                        <a:pt x="194" y="208"/>
                      </a:cubicBezTo>
                      <a:cubicBezTo>
                        <a:pt x="190" y="212"/>
                        <a:pt x="186" y="216"/>
                        <a:pt x="180" y="216"/>
                      </a:cubicBezTo>
                      <a:cubicBezTo>
                        <a:pt x="175" y="217"/>
                        <a:pt x="175" y="223"/>
                        <a:pt x="174" y="226"/>
                      </a:cubicBezTo>
                      <a:cubicBezTo>
                        <a:pt x="172" y="230"/>
                        <a:pt x="175" y="237"/>
                        <a:pt x="168" y="234"/>
                      </a:cubicBezTo>
                      <a:cubicBezTo>
                        <a:pt x="165" y="234"/>
                        <a:pt x="157" y="228"/>
                        <a:pt x="158" y="234"/>
                      </a:cubicBezTo>
                      <a:cubicBezTo>
                        <a:pt x="158" y="240"/>
                        <a:pt x="158" y="246"/>
                        <a:pt x="160" y="251"/>
                      </a:cubicBezTo>
                      <a:cubicBezTo>
                        <a:pt x="160" y="257"/>
                        <a:pt x="166" y="258"/>
                        <a:pt x="169" y="260"/>
                      </a:cubicBezTo>
                      <a:cubicBezTo>
                        <a:pt x="176" y="267"/>
                        <a:pt x="187" y="269"/>
                        <a:pt x="195" y="265"/>
                      </a:cubicBezTo>
                      <a:cubicBezTo>
                        <a:pt x="197" y="270"/>
                        <a:pt x="200" y="274"/>
                        <a:pt x="204" y="277"/>
                      </a:cubicBezTo>
                      <a:cubicBezTo>
                        <a:pt x="209" y="275"/>
                        <a:pt x="214" y="270"/>
                        <a:pt x="221" y="271"/>
                      </a:cubicBezTo>
                      <a:cubicBezTo>
                        <a:pt x="223" y="277"/>
                        <a:pt x="226" y="282"/>
                        <a:pt x="227" y="288"/>
                      </a:cubicBezTo>
                      <a:cubicBezTo>
                        <a:pt x="229" y="292"/>
                        <a:pt x="228" y="297"/>
                        <a:pt x="232" y="300"/>
                      </a:cubicBezTo>
                      <a:cubicBezTo>
                        <a:pt x="236" y="301"/>
                        <a:pt x="241" y="300"/>
                        <a:pt x="245" y="299"/>
                      </a:cubicBezTo>
                      <a:cubicBezTo>
                        <a:pt x="251" y="304"/>
                        <a:pt x="258" y="304"/>
                        <a:pt x="264" y="307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38" name="Tunesia"/>
                <p:cNvSpPr>
                  <a:spLocks/>
                </p:cNvSpPr>
                <p:nvPr/>
              </p:nvSpPr>
              <p:spPr bwMode="auto">
                <a:xfrm>
                  <a:off x="2268538" y="2389188"/>
                  <a:ext cx="11113" cy="9525"/>
                </a:xfrm>
                <a:custGeom>
                  <a:avLst/>
                  <a:gdLst>
                    <a:gd name="T0" fmla="*/ 1 w 7"/>
                    <a:gd name="T1" fmla="*/ 5 h 6"/>
                    <a:gd name="T2" fmla="*/ 1 w 7"/>
                    <a:gd name="T3" fmla="*/ 6 h 6"/>
                    <a:gd name="T4" fmla="*/ 0 w 7"/>
                    <a:gd name="T5" fmla="*/ 6 h 6"/>
                    <a:gd name="T6" fmla="*/ 0 w 7"/>
                    <a:gd name="T7" fmla="*/ 5 h 6"/>
                    <a:gd name="T8" fmla="*/ 0 w 7"/>
                    <a:gd name="T9" fmla="*/ 5 h 6"/>
                    <a:gd name="T10" fmla="*/ 0 w 7"/>
                    <a:gd name="T11" fmla="*/ 4 h 6"/>
                    <a:gd name="T12" fmla="*/ 1 w 7"/>
                    <a:gd name="T13" fmla="*/ 4 h 6"/>
                    <a:gd name="T14" fmla="*/ 1 w 7"/>
                    <a:gd name="T15" fmla="*/ 4 h 6"/>
                    <a:gd name="T16" fmla="*/ 1 w 7"/>
                    <a:gd name="T17" fmla="*/ 4 h 6"/>
                    <a:gd name="T18" fmla="*/ 1 w 7"/>
                    <a:gd name="T19" fmla="*/ 3 h 6"/>
                    <a:gd name="T20" fmla="*/ 2 w 7"/>
                    <a:gd name="T21" fmla="*/ 3 h 6"/>
                    <a:gd name="T22" fmla="*/ 2 w 7"/>
                    <a:gd name="T23" fmla="*/ 3 h 6"/>
                    <a:gd name="T24" fmla="*/ 2 w 7"/>
                    <a:gd name="T25" fmla="*/ 2 h 6"/>
                    <a:gd name="T26" fmla="*/ 2 w 7"/>
                    <a:gd name="T27" fmla="*/ 3 h 6"/>
                    <a:gd name="T28" fmla="*/ 3 w 7"/>
                    <a:gd name="T29" fmla="*/ 3 h 6"/>
                    <a:gd name="T30" fmla="*/ 3 w 7"/>
                    <a:gd name="T31" fmla="*/ 3 h 6"/>
                    <a:gd name="T32" fmla="*/ 3 w 7"/>
                    <a:gd name="T33" fmla="*/ 2 h 6"/>
                    <a:gd name="T34" fmla="*/ 3 w 7"/>
                    <a:gd name="T35" fmla="*/ 2 h 6"/>
                    <a:gd name="T36" fmla="*/ 3 w 7"/>
                    <a:gd name="T37" fmla="*/ 2 h 6"/>
                    <a:gd name="T38" fmla="*/ 3 w 7"/>
                    <a:gd name="T39" fmla="*/ 1 h 6"/>
                    <a:gd name="T40" fmla="*/ 3 w 7"/>
                    <a:gd name="T41" fmla="*/ 1 h 6"/>
                    <a:gd name="T42" fmla="*/ 4 w 7"/>
                    <a:gd name="T43" fmla="*/ 1 h 6"/>
                    <a:gd name="T44" fmla="*/ 4 w 7"/>
                    <a:gd name="T45" fmla="*/ 1 h 6"/>
                    <a:gd name="T46" fmla="*/ 5 w 7"/>
                    <a:gd name="T47" fmla="*/ 0 h 6"/>
                    <a:gd name="T48" fmla="*/ 5 w 7"/>
                    <a:gd name="T49" fmla="*/ 0 h 6"/>
                    <a:gd name="T50" fmla="*/ 5 w 7"/>
                    <a:gd name="T51" fmla="*/ 0 h 6"/>
                    <a:gd name="T52" fmla="*/ 6 w 7"/>
                    <a:gd name="T53" fmla="*/ 0 h 6"/>
                    <a:gd name="T54" fmla="*/ 6 w 7"/>
                    <a:gd name="T55" fmla="*/ 0 h 6"/>
                    <a:gd name="T56" fmla="*/ 6 w 7"/>
                    <a:gd name="T57" fmla="*/ 1 h 6"/>
                    <a:gd name="T58" fmla="*/ 7 w 7"/>
                    <a:gd name="T59" fmla="*/ 1 h 6"/>
                    <a:gd name="T60" fmla="*/ 7 w 7"/>
                    <a:gd name="T61" fmla="*/ 1 h 6"/>
                    <a:gd name="T62" fmla="*/ 6 w 7"/>
                    <a:gd name="T63" fmla="*/ 1 h 6"/>
                    <a:gd name="T64" fmla="*/ 6 w 7"/>
                    <a:gd name="T65" fmla="*/ 1 h 6"/>
                    <a:gd name="T66" fmla="*/ 6 w 7"/>
                    <a:gd name="T67" fmla="*/ 1 h 6"/>
                    <a:gd name="T68" fmla="*/ 6 w 7"/>
                    <a:gd name="T69" fmla="*/ 1 h 6"/>
                    <a:gd name="T70" fmla="*/ 6 w 7"/>
                    <a:gd name="T71" fmla="*/ 2 h 6"/>
                    <a:gd name="T72" fmla="*/ 6 w 7"/>
                    <a:gd name="T73" fmla="*/ 2 h 6"/>
                    <a:gd name="T74" fmla="*/ 6 w 7"/>
                    <a:gd name="T75" fmla="*/ 2 h 6"/>
                    <a:gd name="T76" fmla="*/ 6 w 7"/>
                    <a:gd name="T77" fmla="*/ 3 h 6"/>
                    <a:gd name="T78" fmla="*/ 6 w 7"/>
                    <a:gd name="T79" fmla="*/ 3 h 6"/>
                    <a:gd name="T80" fmla="*/ 6 w 7"/>
                    <a:gd name="T81" fmla="*/ 3 h 6"/>
                    <a:gd name="T82" fmla="*/ 5 w 7"/>
                    <a:gd name="T83" fmla="*/ 3 h 6"/>
                    <a:gd name="T84" fmla="*/ 5 w 7"/>
                    <a:gd name="T85" fmla="*/ 4 h 6"/>
                    <a:gd name="T86" fmla="*/ 5 w 7"/>
                    <a:gd name="T87" fmla="*/ 4 h 6"/>
                    <a:gd name="T88" fmla="*/ 4 w 7"/>
                    <a:gd name="T89" fmla="*/ 4 h 6"/>
                    <a:gd name="T90" fmla="*/ 3 w 7"/>
                    <a:gd name="T91" fmla="*/ 4 h 6"/>
                    <a:gd name="T92" fmla="*/ 3 w 7"/>
                    <a:gd name="T93" fmla="*/ 4 h 6"/>
                    <a:gd name="T94" fmla="*/ 3 w 7"/>
                    <a:gd name="T95" fmla="*/ 4 h 6"/>
                    <a:gd name="T96" fmla="*/ 2 w 7"/>
                    <a:gd name="T97" fmla="*/ 4 h 6"/>
                    <a:gd name="T98" fmla="*/ 2 w 7"/>
                    <a:gd name="T99" fmla="*/ 5 h 6"/>
                    <a:gd name="T100" fmla="*/ 2 w 7"/>
                    <a:gd name="T101" fmla="*/ 5 h 6"/>
                    <a:gd name="T102" fmla="*/ 1 w 7"/>
                    <a:gd name="T103" fmla="*/ 5 h 6"/>
                    <a:gd name="T104" fmla="*/ 1 w 7"/>
                    <a:gd name="T105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7" h="6">
                      <a:moveTo>
                        <a:pt x="1" y="5"/>
                      </a:move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1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1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5" y="3"/>
                      </a:lnTo>
                      <a:lnTo>
                        <a:pt x="5" y="3"/>
                      </a:lnTo>
                      <a:lnTo>
                        <a:pt x="5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39" name="Tunesia"/>
                <p:cNvSpPr>
                  <a:spLocks/>
                </p:cNvSpPr>
                <p:nvPr/>
              </p:nvSpPr>
              <p:spPr bwMode="auto">
                <a:xfrm>
                  <a:off x="2238375" y="2443163"/>
                  <a:ext cx="12700" cy="12700"/>
                </a:xfrm>
                <a:custGeom>
                  <a:avLst/>
                  <a:gdLst>
                    <a:gd name="T0" fmla="*/ 7 w 8"/>
                    <a:gd name="T1" fmla="*/ 2 h 8"/>
                    <a:gd name="T2" fmla="*/ 8 w 8"/>
                    <a:gd name="T3" fmla="*/ 4 h 8"/>
                    <a:gd name="T4" fmla="*/ 8 w 8"/>
                    <a:gd name="T5" fmla="*/ 7 h 8"/>
                    <a:gd name="T6" fmla="*/ 5 w 8"/>
                    <a:gd name="T7" fmla="*/ 8 h 8"/>
                    <a:gd name="T8" fmla="*/ 1 w 8"/>
                    <a:gd name="T9" fmla="*/ 7 h 8"/>
                    <a:gd name="T10" fmla="*/ 0 w 8"/>
                    <a:gd name="T11" fmla="*/ 3 h 8"/>
                    <a:gd name="T12" fmla="*/ 2 w 8"/>
                    <a:gd name="T13" fmla="*/ 1 h 8"/>
                    <a:gd name="T14" fmla="*/ 4 w 8"/>
                    <a:gd name="T15" fmla="*/ 0 h 8"/>
                    <a:gd name="T16" fmla="*/ 6 w 8"/>
                    <a:gd name="T17" fmla="*/ 1 h 8"/>
                    <a:gd name="T18" fmla="*/ 6 w 8"/>
                    <a:gd name="T19" fmla="*/ 0 h 8"/>
                    <a:gd name="T20" fmla="*/ 7 w 8"/>
                    <a:gd name="T21" fmla="*/ 1 h 8"/>
                    <a:gd name="T22" fmla="*/ 6 w 8"/>
                    <a:gd name="T23" fmla="*/ 1 h 8"/>
                    <a:gd name="T24" fmla="*/ 7 w 8"/>
                    <a:gd name="T25" fmla="*/ 2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" h="8">
                      <a:moveTo>
                        <a:pt x="7" y="2"/>
                      </a:moveTo>
                      <a:lnTo>
                        <a:pt x="8" y="4"/>
                      </a:lnTo>
                      <a:lnTo>
                        <a:pt x="8" y="7"/>
                      </a:lnTo>
                      <a:lnTo>
                        <a:pt x="5" y="8"/>
                      </a:lnTo>
                      <a:lnTo>
                        <a:pt x="1" y="7"/>
                      </a:lnTo>
                      <a:lnTo>
                        <a:pt x="0" y="3"/>
                      </a:lnTo>
                      <a:lnTo>
                        <a:pt x="2" y="1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6" y="0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7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437" name="Trinidad and Tobago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625449" y="4217438"/>
                <a:ext cx="22432" cy="39681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4" y="7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0" y="5"/>
                  </a:cxn>
                  <a:cxn ang="0">
                    <a:pos x="0" y="7"/>
                  </a:cxn>
                </a:cxnLst>
                <a:rect l="0" t="0" r="r" b="b"/>
                <a:pathLst>
                  <a:path w="4" h="7">
                    <a:moveTo>
                      <a:pt x="0" y="7"/>
                    </a:moveTo>
                    <a:lnTo>
                      <a:pt x="4" y="7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38" name="Togo"/>
              <p:cNvSpPr>
                <a:spLocks/>
              </p:cNvSpPr>
              <p:nvPr/>
            </p:nvSpPr>
            <p:spPr bwMode="auto">
              <a:xfrm>
                <a:off x="4216404" y="4208811"/>
                <a:ext cx="53491" cy="167352"/>
              </a:xfrm>
              <a:custGeom>
                <a:avLst/>
                <a:gdLst>
                  <a:gd name="T0" fmla="*/ 29 w 145"/>
                  <a:gd name="T1" fmla="*/ 128 h 389"/>
                  <a:gd name="T2" fmla="*/ 34 w 145"/>
                  <a:gd name="T3" fmla="*/ 120 h 389"/>
                  <a:gd name="T4" fmla="*/ 32 w 145"/>
                  <a:gd name="T5" fmla="*/ 116 h 389"/>
                  <a:gd name="T6" fmla="*/ 37 w 145"/>
                  <a:gd name="T7" fmla="*/ 106 h 389"/>
                  <a:gd name="T8" fmla="*/ 40 w 145"/>
                  <a:gd name="T9" fmla="*/ 72 h 389"/>
                  <a:gd name="T10" fmla="*/ 27 w 145"/>
                  <a:gd name="T11" fmla="*/ 53 h 389"/>
                  <a:gd name="T12" fmla="*/ 13 w 145"/>
                  <a:gd name="T13" fmla="*/ 26 h 389"/>
                  <a:gd name="T14" fmla="*/ 9 w 145"/>
                  <a:gd name="T15" fmla="*/ 4 h 389"/>
                  <a:gd name="T16" fmla="*/ 5 w 145"/>
                  <a:gd name="T17" fmla="*/ 1 h 389"/>
                  <a:gd name="T18" fmla="*/ 5 w 145"/>
                  <a:gd name="T19" fmla="*/ 0 h 389"/>
                  <a:gd name="T20" fmla="*/ 14 w 145"/>
                  <a:gd name="T21" fmla="*/ 2 h 389"/>
                  <a:gd name="T22" fmla="*/ 57 w 145"/>
                  <a:gd name="T23" fmla="*/ 15 h 389"/>
                  <a:gd name="T24" fmla="*/ 84 w 145"/>
                  <a:gd name="T25" fmla="*/ 12 h 389"/>
                  <a:gd name="T26" fmla="*/ 84 w 145"/>
                  <a:gd name="T27" fmla="*/ 12 h 389"/>
                  <a:gd name="T28" fmla="*/ 72 w 145"/>
                  <a:gd name="T29" fmla="*/ 58 h 389"/>
                  <a:gd name="T30" fmla="*/ 106 w 145"/>
                  <a:gd name="T31" fmla="*/ 84 h 389"/>
                  <a:gd name="T32" fmla="*/ 114 w 145"/>
                  <a:gd name="T33" fmla="*/ 127 h 389"/>
                  <a:gd name="T34" fmla="*/ 131 w 145"/>
                  <a:gd name="T35" fmla="*/ 167 h 389"/>
                  <a:gd name="T36" fmla="*/ 131 w 145"/>
                  <a:gd name="T37" fmla="*/ 206 h 389"/>
                  <a:gd name="T38" fmla="*/ 130 w 145"/>
                  <a:gd name="T39" fmla="*/ 253 h 389"/>
                  <a:gd name="T40" fmla="*/ 129 w 145"/>
                  <a:gd name="T41" fmla="*/ 298 h 389"/>
                  <a:gd name="T42" fmla="*/ 123 w 145"/>
                  <a:gd name="T43" fmla="*/ 318 h 389"/>
                  <a:gd name="T44" fmla="*/ 130 w 145"/>
                  <a:gd name="T45" fmla="*/ 350 h 389"/>
                  <a:gd name="T46" fmla="*/ 131 w 145"/>
                  <a:gd name="T47" fmla="*/ 374 h 389"/>
                  <a:gd name="T48" fmla="*/ 128 w 145"/>
                  <a:gd name="T49" fmla="*/ 375 h 389"/>
                  <a:gd name="T50" fmla="*/ 129 w 145"/>
                  <a:gd name="T51" fmla="*/ 378 h 389"/>
                  <a:gd name="T52" fmla="*/ 129 w 145"/>
                  <a:gd name="T53" fmla="*/ 379 h 389"/>
                  <a:gd name="T54" fmla="*/ 122 w 145"/>
                  <a:gd name="T55" fmla="*/ 381 h 389"/>
                  <a:gd name="T56" fmla="*/ 97 w 145"/>
                  <a:gd name="T57" fmla="*/ 389 h 389"/>
                  <a:gd name="T58" fmla="*/ 97 w 145"/>
                  <a:gd name="T59" fmla="*/ 389 h 389"/>
                  <a:gd name="T60" fmla="*/ 80 w 145"/>
                  <a:gd name="T61" fmla="*/ 370 h 389"/>
                  <a:gd name="T62" fmla="*/ 59 w 145"/>
                  <a:gd name="T63" fmla="*/ 347 h 389"/>
                  <a:gd name="T64" fmla="*/ 47 w 145"/>
                  <a:gd name="T65" fmla="*/ 328 h 389"/>
                  <a:gd name="T66" fmla="*/ 52 w 145"/>
                  <a:gd name="T67" fmla="*/ 314 h 389"/>
                  <a:gd name="T68" fmla="*/ 48 w 145"/>
                  <a:gd name="T69" fmla="*/ 284 h 389"/>
                  <a:gd name="T70" fmla="*/ 54 w 145"/>
                  <a:gd name="T71" fmla="*/ 249 h 389"/>
                  <a:gd name="T72" fmla="*/ 62 w 145"/>
                  <a:gd name="T73" fmla="*/ 218 h 389"/>
                  <a:gd name="T74" fmla="*/ 40 w 145"/>
                  <a:gd name="T75" fmla="*/ 181 h 389"/>
                  <a:gd name="T76" fmla="*/ 45 w 145"/>
                  <a:gd name="T77" fmla="*/ 159 h 389"/>
                  <a:gd name="T78" fmla="*/ 42 w 145"/>
                  <a:gd name="T79" fmla="*/ 126 h 389"/>
                  <a:gd name="T80" fmla="*/ 29 w 145"/>
                  <a:gd name="T81" fmla="*/ 128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5" h="389">
                    <a:moveTo>
                      <a:pt x="29" y="128"/>
                    </a:moveTo>
                    <a:cubicBezTo>
                      <a:pt x="40" y="127"/>
                      <a:pt x="21" y="120"/>
                      <a:pt x="34" y="120"/>
                    </a:cubicBezTo>
                    <a:cubicBezTo>
                      <a:pt x="40" y="120"/>
                      <a:pt x="34" y="117"/>
                      <a:pt x="32" y="116"/>
                    </a:cubicBezTo>
                    <a:cubicBezTo>
                      <a:pt x="29" y="110"/>
                      <a:pt x="43" y="116"/>
                      <a:pt x="37" y="106"/>
                    </a:cubicBezTo>
                    <a:cubicBezTo>
                      <a:pt x="38" y="93"/>
                      <a:pt x="44" y="84"/>
                      <a:pt x="40" y="72"/>
                    </a:cubicBezTo>
                    <a:cubicBezTo>
                      <a:pt x="47" y="62"/>
                      <a:pt x="32" y="57"/>
                      <a:pt x="27" y="53"/>
                    </a:cubicBezTo>
                    <a:cubicBezTo>
                      <a:pt x="23" y="42"/>
                      <a:pt x="0" y="40"/>
                      <a:pt x="13" y="26"/>
                    </a:cubicBezTo>
                    <a:cubicBezTo>
                      <a:pt x="15" y="18"/>
                      <a:pt x="25" y="0"/>
                      <a:pt x="9" y="4"/>
                    </a:cubicBezTo>
                    <a:cubicBezTo>
                      <a:pt x="7" y="4"/>
                      <a:pt x="6" y="2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8" y="1"/>
                      <a:pt x="11" y="2"/>
                      <a:pt x="14" y="2"/>
                    </a:cubicBezTo>
                    <a:cubicBezTo>
                      <a:pt x="28" y="7"/>
                      <a:pt x="45" y="7"/>
                      <a:pt x="57" y="15"/>
                    </a:cubicBezTo>
                    <a:cubicBezTo>
                      <a:pt x="64" y="9"/>
                      <a:pt x="77" y="15"/>
                      <a:pt x="84" y="12"/>
                    </a:cubicBezTo>
                    <a:cubicBezTo>
                      <a:pt x="84" y="12"/>
                      <a:pt x="84" y="12"/>
                      <a:pt x="84" y="12"/>
                    </a:cubicBezTo>
                    <a:cubicBezTo>
                      <a:pt x="80" y="28"/>
                      <a:pt x="71" y="41"/>
                      <a:pt x="72" y="58"/>
                    </a:cubicBezTo>
                    <a:cubicBezTo>
                      <a:pt x="81" y="69"/>
                      <a:pt x="95" y="75"/>
                      <a:pt x="106" y="84"/>
                    </a:cubicBezTo>
                    <a:cubicBezTo>
                      <a:pt x="122" y="92"/>
                      <a:pt x="109" y="115"/>
                      <a:pt x="114" y="127"/>
                    </a:cubicBezTo>
                    <a:cubicBezTo>
                      <a:pt x="113" y="144"/>
                      <a:pt x="134" y="150"/>
                      <a:pt x="131" y="167"/>
                    </a:cubicBezTo>
                    <a:cubicBezTo>
                      <a:pt x="131" y="180"/>
                      <a:pt x="130" y="193"/>
                      <a:pt x="131" y="206"/>
                    </a:cubicBezTo>
                    <a:cubicBezTo>
                      <a:pt x="130" y="221"/>
                      <a:pt x="131" y="238"/>
                      <a:pt x="130" y="253"/>
                    </a:cubicBezTo>
                    <a:cubicBezTo>
                      <a:pt x="130" y="268"/>
                      <a:pt x="131" y="283"/>
                      <a:pt x="129" y="298"/>
                    </a:cubicBezTo>
                    <a:cubicBezTo>
                      <a:pt x="129" y="305"/>
                      <a:pt x="132" y="317"/>
                      <a:pt x="123" y="318"/>
                    </a:cubicBezTo>
                    <a:cubicBezTo>
                      <a:pt x="131" y="329"/>
                      <a:pt x="119" y="342"/>
                      <a:pt x="130" y="350"/>
                    </a:cubicBezTo>
                    <a:cubicBezTo>
                      <a:pt x="138" y="357"/>
                      <a:pt x="145" y="372"/>
                      <a:pt x="131" y="374"/>
                    </a:cubicBezTo>
                    <a:cubicBezTo>
                      <a:pt x="128" y="375"/>
                      <a:pt x="128" y="375"/>
                      <a:pt x="128" y="375"/>
                    </a:cubicBezTo>
                    <a:cubicBezTo>
                      <a:pt x="129" y="378"/>
                      <a:pt x="129" y="378"/>
                      <a:pt x="129" y="378"/>
                    </a:cubicBezTo>
                    <a:cubicBezTo>
                      <a:pt x="129" y="379"/>
                      <a:pt x="129" y="379"/>
                      <a:pt x="129" y="379"/>
                    </a:cubicBezTo>
                    <a:cubicBezTo>
                      <a:pt x="127" y="380"/>
                      <a:pt x="125" y="380"/>
                      <a:pt x="122" y="381"/>
                    </a:cubicBezTo>
                    <a:cubicBezTo>
                      <a:pt x="114" y="383"/>
                      <a:pt x="105" y="386"/>
                      <a:pt x="97" y="389"/>
                    </a:cubicBezTo>
                    <a:cubicBezTo>
                      <a:pt x="97" y="389"/>
                      <a:pt x="97" y="389"/>
                      <a:pt x="97" y="389"/>
                    </a:cubicBezTo>
                    <a:cubicBezTo>
                      <a:pt x="96" y="378"/>
                      <a:pt x="81" y="379"/>
                      <a:pt x="80" y="370"/>
                    </a:cubicBezTo>
                    <a:cubicBezTo>
                      <a:pt x="70" y="365"/>
                      <a:pt x="59" y="358"/>
                      <a:pt x="59" y="347"/>
                    </a:cubicBezTo>
                    <a:cubicBezTo>
                      <a:pt x="52" y="343"/>
                      <a:pt x="54" y="333"/>
                      <a:pt x="47" y="328"/>
                    </a:cubicBezTo>
                    <a:cubicBezTo>
                      <a:pt x="50" y="321"/>
                      <a:pt x="42" y="316"/>
                      <a:pt x="52" y="314"/>
                    </a:cubicBezTo>
                    <a:cubicBezTo>
                      <a:pt x="50" y="304"/>
                      <a:pt x="64" y="285"/>
                      <a:pt x="48" y="284"/>
                    </a:cubicBezTo>
                    <a:cubicBezTo>
                      <a:pt x="40" y="272"/>
                      <a:pt x="59" y="263"/>
                      <a:pt x="54" y="249"/>
                    </a:cubicBezTo>
                    <a:cubicBezTo>
                      <a:pt x="54" y="238"/>
                      <a:pt x="49" y="223"/>
                      <a:pt x="62" y="218"/>
                    </a:cubicBezTo>
                    <a:cubicBezTo>
                      <a:pt x="65" y="200"/>
                      <a:pt x="38" y="198"/>
                      <a:pt x="40" y="181"/>
                    </a:cubicBezTo>
                    <a:cubicBezTo>
                      <a:pt x="53" y="179"/>
                      <a:pt x="46" y="167"/>
                      <a:pt x="45" y="159"/>
                    </a:cubicBezTo>
                    <a:cubicBezTo>
                      <a:pt x="49" y="149"/>
                      <a:pt x="59" y="128"/>
                      <a:pt x="42" y="126"/>
                    </a:cubicBezTo>
                    <a:cubicBezTo>
                      <a:pt x="38" y="126"/>
                      <a:pt x="30" y="136"/>
                      <a:pt x="29" y="128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173" name="Thailand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6768962" y="3916803"/>
                <a:ext cx="210804" cy="468169"/>
              </a:xfrm>
              <a:custGeom>
                <a:avLst/>
                <a:gdLst>
                  <a:gd name="T0" fmla="*/ 105402 w 38"/>
                  <a:gd name="T1" fmla="*/ 440302 h 84"/>
                  <a:gd name="T2" fmla="*/ 116497 w 38"/>
                  <a:gd name="T3" fmla="*/ 451449 h 84"/>
                  <a:gd name="T4" fmla="*/ 116497 w 38"/>
                  <a:gd name="T5" fmla="*/ 468169 h 84"/>
                  <a:gd name="T6" fmla="*/ 127592 w 38"/>
                  <a:gd name="T7" fmla="*/ 468169 h 84"/>
                  <a:gd name="T8" fmla="*/ 149782 w 38"/>
                  <a:gd name="T9" fmla="*/ 451449 h 84"/>
                  <a:gd name="T10" fmla="*/ 127592 w 38"/>
                  <a:gd name="T11" fmla="*/ 440302 h 84"/>
                  <a:gd name="T12" fmla="*/ 105402 w 38"/>
                  <a:gd name="T13" fmla="*/ 418008 h 84"/>
                  <a:gd name="T14" fmla="*/ 83212 w 38"/>
                  <a:gd name="T15" fmla="*/ 351127 h 84"/>
                  <a:gd name="T16" fmla="*/ 66570 w 38"/>
                  <a:gd name="T17" fmla="*/ 351127 h 84"/>
                  <a:gd name="T18" fmla="*/ 66570 w 38"/>
                  <a:gd name="T19" fmla="*/ 317686 h 84"/>
                  <a:gd name="T20" fmla="*/ 83212 w 38"/>
                  <a:gd name="T21" fmla="*/ 267525 h 84"/>
                  <a:gd name="T22" fmla="*/ 66570 w 38"/>
                  <a:gd name="T23" fmla="*/ 239658 h 84"/>
                  <a:gd name="T24" fmla="*/ 105402 w 38"/>
                  <a:gd name="T25" fmla="*/ 239658 h 84"/>
                  <a:gd name="T26" fmla="*/ 105402 w 38"/>
                  <a:gd name="T27" fmla="*/ 250805 h 84"/>
                  <a:gd name="T28" fmla="*/ 127592 w 38"/>
                  <a:gd name="T29" fmla="*/ 250805 h 84"/>
                  <a:gd name="T30" fmla="*/ 149782 w 38"/>
                  <a:gd name="T31" fmla="*/ 267525 h 84"/>
                  <a:gd name="T32" fmla="*/ 127592 w 38"/>
                  <a:gd name="T33" fmla="*/ 239658 h 84"/>
                  <a:gd name="T34" fmla="*/ 149782 w 38"/>
                  <a:gd name="T35" fmla="*/ 200644 h 84"/>
                  <a:gd name="T36" fmla="*/ 210804 w 38"/>
                  <a:gd name="T37" fmla="*/ 200644 h 84"/>
                  <a:gd name="T38" fmla="*/ 210804 w 38"/>
                  <a:gd name="T39" fmla="*/ 167203 h 84"/>
                  <a:gd name="T40" fmla="*/ 194162 w 38"/>
                  <a:gd name="T41" fmla="*/ 128189 h 84"/>
                  <a:gd name="T42" fmla="*/ 171972 w 38"/>
                  <a:gd name="T43" fmla="*/ 100322 h 84"/>
                  <a:gd name="T44" fmla="*/ 149782 w 38"/>
                  <a:gd name="T45" fmla="*/ 66881 h 84"/>
                  <a:gd name="T46" fmla="*/ 127592 w 38"/>
                  <a:gd name="T47" fmla="*/ 78028 h 84"/>
                  <a:gd name="T48" fmla="*/ 116497 w 38"/>
                  <a:gd name="T49" fmla="*/ 66881 h 84"/>
                  <a:gd name="T50" fmla="*/ 83212 w 38"/>
                  <a:gd name="T51" fmla="*/ 78028 h 84"/>
                  <a:gd name="T52" fmla="*/ 83212 w 38"/>
                  <a:gd name="T53" fmla="*/ 27867 h 84"/>
                  <a:gd name="T54" fmla="*/ 66570 w 38"/>
                  <a:gd name="T55" fmla="*/ 16720 h 84"/>
                  <a:gd name="T56" fmla="*/ 55475 w 38"/>
                  <a:gd name="T57" fmla="*/ 0 h 84"/>
                  <a:gd name="T58" fmla="*/ 0 w 38"/>
                  <a:gd name="T59" fmla="*/ 27867 h 84"/>
                  <a:gd name="T60" fmla="*/ 0 w 38"/>
                  <a:gd name="T61" fmla="*/ 66881 h 84"/>
                  <a:gd name="T62" fmla="*/ 33285 w 38"/>
                  <a:gd name="T63" fmla="*/ 128189 h 84"/>
                  <a:gd name="T64" fmla="*/ 22190 w 38"/>
                  <a:gd name="T65" fmla="*/ 178350 h 84"/>
                  <a:gd name="T66" fmla="*/ 55475 w 38"/>
                  <a:gd name="T67" fmla="*/ 200644 h 84"/>
                  <a:gd name="T68" fmla="*/ 66570 w 38"/>
                  <a:gd name="T69" fmla="*/ 267525 h 84"/>
                  <a:gd name="T70" fmla="*/ 33285 w 38"/>
                  <a:gd name="T71" fmla="*/ 351127 h 84"/>
                  <a:gd name="T72" fmla="*/ 33285 w 38"/>
                  <a:gd name="T73" fmla="*/ 367847 h 84"/>
                  <a:gd name="T74" fmla="*/ 55475 w 38"/>
                  <a:gd name="T75" fmla="*/ 401288 h 84"/>
                  <a:gd name="T76" fmla="*/ 55475 w 38"/>
                  <a:gd name="T77" fmla="*/ 390141 h 84"/>
                  <a:gd name="T78" fmla="*/ 105402 w 38"/>
                  <a:gd name="T79" fmla="*/ 451449 h 84"/>
                  <a:gd name="T80" fmla="*/ 105402 w 38"/>
                  <a:gd name="T81" fmla="*/ 440302 h 84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8"/>
                  <a:gd name="T124" fmla="*/ 0 h 84"/>
                  <a:gd name="T125" fmla="*/ 38 w 38"/>
                  <a:gd name="T126" fmla="*/ 84 h 84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8" h="84">
                    <a:moveTo>
                      <a:pt x="19" y="79"/>
                    </a:moveTo>
                    <a:lnTo>
                      <a:pt x="21" y="81"/>
                    </a:lnTo>
                    <a:lnTo>
                      <a:pt x="21" y="84"/>
                    </a:lnTo>
                    <a:lnTo>
                      <a:pt x="23" y="84"/>
                    </a:lnTo>
                    <a:lnTo>
                      <a:pt x="27" y="81"/>
                    </a:lnTo>
                    <a:lnTo>
                      <a:pt x="23" y="79"/>
                    </a:lnTo>
                    <a:lnTo>
                      <a:pt x="19" y="75"/>
                    </a:lnTo>
                    <a:lnTo>
                      <a:pt x="15" y="63"/>
                    </a:lnTo>
                    <a:lnTo>
                      <a:pt x="12" y="63"/>
                    </a:lnTo>
                    <a:lnTo>
                      <a:pt x="12" y="57"/>
                    </a:lnTo>
                    <a:lnTo>
                      <a:pt x="15" y="48"/>
                    </a:lnTo>
                    <a:lnTo>
                      <a:pt x="12" y="43"/>
                    </a:lnTo>
                    <a:lnTo>
                      <a:pt x="19" y="43"/>
                    </a:lnTo>
                    <a:lnTo>
                      <a:pt x="19" y="45"/>
                    </a:lnTo>
                    <a:lnTo>
                      <a:pt x="23" y="45"/>
                    </a:lnTo>
                    <a:lnTo>
                      <a:pt x="27" y="48"/>
                    </a:lnTo>
                    <a:lnTo>
                      <a:pt x="23" y="43"/>
                    </a:lnTo>
                    <a:lnTo>
                      <a:pt x="27" y="36"/>
                    </a:lnTo>
                    <a:lnTo>
                      <a:pt x="38" y="36"/>
                    </a:lnTo>
                    <a:lnTo>
                      <a:pt x="38" y="30"/>
                    </a:lnTo>
                    <a:lnTo>
                      <a:pt x="35" y="23"/>
                    </a:lnTo>
                    <a:lnTo>
                      <a:pt x="31" y="18"/>
                    </a:lnTo>
                    <a:lnTo>
                      <a:pt x="27" y="12"/>
                    </a:lnTo>
                    <a:lnTo>
                      <a:pt x="23" y="14"/>
                    </a:lnTo>
                    <a:lnTo>
                      <a:pt x="21" y="12"/>
                    </a:lnTo>
                    <a:lnTo>
                      <a:pt x="15" y="14"/>
                    </a:lnTo>
                    <a:lnTo>
                      <a:pt x="15" y="5"/>
                    </a:lnTo>
                    <a:lnTo>
                      <a:pt x="12" y="3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12"/>
                    </a:lnTo>
                    <a:lnTo>
                      <a:pt x="6" y="23"/>
                    </a:lnTo>
                    <a:lnTo>
                      <a:pt x="4" y="32"/>
                    </a:lnTo>
                    <a:lnTo>
                      <a:pt x="10" y="36"/>
                    </a:lnTo>
                    <a:lnTo>
                      <a:pt x="12" y="48"/>
                    </a:lnTo>
                    <a:lnTo>
                      <a:pt x="6" y="63"/>
                    </a:lnTo>
                    <a:lnTo>
                      <a:pt x="6" y="66"/>
                    </a:lnTo>
                    <a:lnTo>
                      <a:pt x="10" y="72"/>
                    </a:lnTo>
                    <a:lnTo>
                      <a:pt x="10" y="70"/>
                    </a:lnTo>
                    <a:lnTo>
                      <a:pt x="19" y="81"/>
                    </a:lnTo>
                    <a:lnTo>
                      <a:pt x="19" y="79"/>
                    </a:lnTo>
                    <a:close/>
                  </a:path>
                </a:pathLst>
              </a:custGeom>
              <a:solidFill>
                <a:srgbClr val="EE8B8B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440" name="Tanzania"/>
              <p:cNvGrpSpPr/>
              <p:nvPr/>
            </p:nvGrpSpPr>
            <p:grpSpPr>
              <a:xfrm>
                <a:off x="5018398" y="4607187"/>
                <a:ext cx="296080" cy="358004"/>
                <a:chOff x="5018398" y="4588098"/>
                <a:chExt cx="296080" cy="358004"/>
              </a:xfrm>
              <a:solidFill>
                <a:srgbClr val="5DD4F1"/>
              </a:solidFill>
            </p:grpSpPr>
            <p:sp>
              <p:nvSpPr>
                <p:cNvPr id="833" name="Tanzania"/>
                <p:cNvSpPr>
                  <a:spLocks/>
                </p:cNvSpPr>
                <p:nvPr/>
              </p:nvSpPr>
              <p:spPr bwMode="auto">
                <a:xfrm>
                  <a:off x="5297599" y="4719116"/>
                  <a:ext cx="7033" cy="18359"/>
                </a:xfrm>
                <a:custGeom>
                  <a:avLst/>
                  <a:gdLst>
                    <a:gd name="T0" fmla="*/ 3 w 19"/>
                    <a:gd name="T1" fmla="*/ 34 h 43"/>
                    <a:gd name="T2" fmla="*/ 4 w 19"/>
                    <a:gd name="T3" fmla="*/ 33 h 43"/>
                    <a:gd name="T4" fmla="*/ 5 w 19"/>
                    <a:gd name="T5" fmla="*/ 31 h 43"/>
                    <a:gd name="T6" fmla="*/ 6 w 19"/>
                    <a:gd name="T7" fmla="*/ 30 h 43"/>
                    <a:gd name="T8" fmla="*/ 10 w 19"/>
                    <a:gd name="T9" fmla="*/ 29 h 43"/>
                    <a:gd name="T10" fmla="*/ 10 w 19"/>
                    <a:gd name="T11" fmla="*/ 27 h 43"/>
                    <a:gd name="T12" fmla="*/ 4 w 19"/>
                    <a:gd name="T13" fmla="*/ 25 h 43"/>
                    <a:gd name="T14" fmla="*/ 4 w 19"/>
                    <a:gd name="T15" fmla="*/ 24 h 43"/>
                    <a:gd name="T16" fmla="*/ 9 w 19"/>
                    <a:gd name="T17" fmla="*/ 23 h 43"/>
                    <a:gd name="T18" fmla="*/ 7 w 19"/>
                    <a:gd name="T19" fmla="*/ 18 h 43"/>
                    <a:gd name="T20" fmla="*/ 6 w 19"/>
                    <a:gd name="T21" fmla="*/ 15 h 43"/>
                    <a:gd name="T22" fmla="*/ 6 w 19"/>
                    <a:gd name="T23" fmla="*/ 13 h 43"/>
                    <a:gd name="T24" fmla="*/ 5 w 19"/>
                    <a:gd name="T25" fmla="*/ 10 h 43"/>
                    <a:gd name="T26" fmla="*/ 6 w 19"/>
                    <a:gd name="T27" fmla="*/ 7 h 43"/>
                    <a:gd name="T28" fmla="*/ 5 w 19"/>
                    <a:gd name="T29" fmla="*/ 4 h 43"/>
                    <a:gd name="T30" fmla="*/ 5 w 19"/>
                    <a:gd name="T31" fmla="*/ 0 h 43"/>
                    <a:gd name="T32" fmla="*/ 9 w 19"/>
                    <a:gd name="T33" fmla="*/ 2 h 43"/>
                    <a:gd name="T34" fmla="*/ 13 w 19"/>
                    <a:gd name="T35" fmla="*/ 5 h 43"/>
                    <a:gd name="T36" fmla="*/ 15 w 19"/>
                    <a:gd name="T37" fmla="*/ 6 h 43"/>
                    <a:gd name="T38" fmla="*/ 17 w 19"/>
                    <a:gd name="T39" fmla="*/ 4 h 43"/>
                    <a:gd name="T40" fmla="*/ 19 w 19"/>
                    <a:gd name="T41" fmla="*/ 2 h 43"/>
                    <a:gd name="T42" fmla="*/ 19 w 19"/>
                    <a:gd name="T43" fmla="*/ 8 h 43"/>
                    <a:gd name="T44" fmla="*/ 16 w 19"/>
                    <a:gd name="T45" fmla="*/ 13 h 43"/>
                    <a:gd name="T46" fmla="*/ 16 w 19"/>
                    <a:gd name="T47" fmla="*/ 18 h 43"/>
                    <a:gd name="T48" fmla="*/ 18 w 19"/>
                    <a:gd name="T49" fmla="*/ 18 h 43"/>
                    <a:gd name="T50" fmla="*/ 17 w 19"/>
                    <a:gd name="T51" fmla="*/ 26 h 43"/>
                    <a:gd name="T52" fmla="*/ 15 w 19"/>
                    <a:gd name="T53" fmla="*/ 33 h 43"/>
                    <a:gd name="T54" fmla="*/ 13 w 19"/>
                    <a:gd name="T55" fmla="*/ 38 h 43"/>
                    <a:gd name="T56" fmla="*/ 13 w 19"/>
                    <a:gd name="T57" fmla="*/ 38 h 43"/>
                    <a:gd name="T58" fmla="*/ 13 w 19"/>
                    <a:gd name="T59" fmla="*/ 38 h 43"/>
                    <a:gd name="T60" fmla="*/ 11 w 19"/>
                    <a:gd name="T61" fmla="*/ 38 h 43"/>
                    <a:gd name="T62" fmla="*/ 8 w 19"/>
                    <a:gd name="T63" fmla="*/ 43 h 43"/>
                    <a:gd name="T64" fmla="*/ 4 w 19"/>
                    <a:gd name="T65" fmla="*/ 42 h 43"/>
                    <a:gd name="T66" fmla="*/ 1 w 19"/>
                    <a:gd name="T67" fmla="*/ 38 h 43"/>
                    <a:gd name="T68" fmla="*/ 3 w 19"/>
                    <a:gd name="T69" fmla="*/ 34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9" h="43">
                      <a:moveTo>
                        <a:pt x="3" y="34"/>
                      </a:moveTo>
                      <a:cubicBezTo>
                        <a:pt x="5" y="35"/>
                        <a:pt x="5" y="33"/>
                        <a:pt x="4" y="33"/>
                      </a:cubicBezTo>
                      <a:cubicBezTo>
                        <a:pt x="3" y="31"/>
                        <a:pt x="4" y="30"/>
                        <a:pt x="5" y="31"/>
                      </a:cubicBezTo>
                      <a:cubicBezTo>
                        <a:pt x="6" y="31"/>
                        <a:pt x="7" y="30"/>
                        <a:pt x="6" y="30"/>
                      </a:cubicBezTo>
                      <a:cubicBezTo>
                        <a:pt x="5" y="27"/>
                        <a:pt x="9" y="28"/>
                        <a:pt x="10" y="29"/>
                      </a:cubicBezTo>
                      <a:cubicBezTo>
                        <a:pt x="11" y="29"/>
                        <a:pt x="11" y="27"/>
                        <a:pt x="10" y="27"/>
                      </a:cubicBezTo>
                      <a:cubicBezTo>
                        <a:pt x="8" y="26"/>
                        <a:pt x="6" y="25"/>
                        <a:pt x="4" y="25"/>
                      </a:cubicBezTo>
                      <a:cubicBezTo>
                        <a:pt x="2" y="24"/>
                        <a:pt x="3" y="23"/>
                        <a:pt x="4" y="24"/>
                      </a:cubicBezTo>
                      <a:cubicBezTo>
                        <a:pt x="6" y="24"/>
                        <a:pt x="8" y="25"/>
                        <a:pt x="9" y="23"/>
                      </a:cubicBezTo>
                      <a:cubicBezTo>
                        <a:pt x="10" y="21"/>
                        <a:pt x="7" y="20"/>
                        <a:pt x="7" y="18"/>
                      </a:cubicBezTo>
                      <a:cubicBezTo>
                        <a:pt x="5" y="18"/>
                        <a:pt x="5" y="15"/>
                        <a:pt x="6" y="15"/>
                      </a:cubicBezTo>
                      <a:cubicBezTo>
                        <a:pt x="8" y="14"/>
                        <a:pt x="8" y="13"/>
                        <a:pt x="6" y="13"/>
                      </a:cubicBezTo>
                      <a:cubicBezTo>
                        <a:pt x="5" y="12"/>
                        <a:pt x="5" y="11"/>
                        <a:pt x="5" y="10"/>
                      </a:cubicBezTo>
                      <a:cubicBezTo>
                        <a:pt x="4" y="9"/>
                        <a:pt x="4" y="7"/>
                        <a:pt x="6" y="7"/>
                      </a:cubicBezTo>
                      <a:cubicBezTo>
                        <a:pt x="8" y="7"/>
                        <a:pt x="5" y="5"/>
                        <a:pt x="5" y="4"/>
                      </a:cubicBezTo>
                      <a:cubicBezTo>
                        <a:pt x="4" y="3"/>
                        <a:pt x="5" y="1"/>
                        <a:pt x="5" y="0"/>
                      </a:cubicBezTo>
                      <a:cubicBezTo>
                        <a:pt x="6" y="1"/>
                        <a:pt x="7" y="2"/>
                        <a:pt x="9" y="2"/>
                      </a:cubicBezTo>
                      <a:cubicBezTo>
                        <a:pt x="11" y="2"/>
                        <a:pt x="12" y="4"/>
                        <a:pt x="13" y="5"/>
                      </a:cubicBezTo>
                      <a:cubicBezTo>
                        <a:pt x="14" y="6"/>
                        <a:pt x="15" y="8"/>
                        <a:pt x="15" y="6"/>
                      </a:cubicBezTo>
                      <a:cubicBezTo>
                        <a:pt x="15" y="4"/>
                        <a:pt x="17" y="5"/>
                        <a:pt x="17" y="4"/>
                      </a:cubicBezTo>
                      <a:cubicBezTo>
                        <a:pt x="17" y="3"/>
                        <a:pt x="19" y="0"/>
                        <a:pt x="19" y="2"/>
                      </a:cubicBezTo>
                      <a:cubicBezTo>
                        <a:pt x="19" y="4"/>
                        <a:pt x="19" y="6"/>
                        <a:pt x="19" y="8"/>
                      </a:cubicBezTo>
                      <a:cubicBezTo>
                        <a:pt x="18" y="10"/>
                        <a:pt x="16" y="11"/>
                        <a:pt x="16" y="13"/>
                      </a:cubicBezTo>
                      <a:cubicBezTo>
                        <a:pt x="16" y="14"/>
                        <a:pt x="15" y="16"/>
                        <a:pt x="16" y="18"/>
                      </a:cubicBezTo>
                      <a:cubicBezTo>
                        <a:pt x="17" y="19"/>
                        <a:pt x="17" y="16"/>
                        <a:pt x="18" y="18"/>
                      </a:cubicBezTo>
                      <a:cubicBezTo>
                        <a:pt x="17" y="21"/>
                        <a:pt x="17" y="23"/>
                        <a:pt x="17" y="26"/>
                      </a:cubicBezTo>
                      <a:cubicBezTo>
                        <a:pt x="17" y="28"/>
                        <a:pt x="16" y="30"/>
                        <a:pt x="15" y="33"/>
                      </a:cubicBezTo>
                      <a:cubicBezTo>
                        <a:pt x="15" y="35"/>
                        <a:pt x="12" y="36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4" y="39"/>
                        <a:pt x="11" y="40"/>
                        <a:pt x="11" y="38"/>
                      </a:cubicBezTo>
                      <a:cubicBezTo>
                        <a:pt x="10" y="40"/>
                        <a:pt x="10" y="43"/>
                        <a:pt x="8" y="43"/>
                      </a:cubicBezTo>
                      <a:cubicBezTo>
                        <a:pt x="7" y="41"/>
                        <a:pt x="5" y="42"/>
                        <a:pt x="4" y="42"/>
                      </a:cubicBezTo>
                      <a:cubicBezTo>
                        <a:pt x="2" y="42"/>
                        <a:pt x="0" y="40"/>
                        <a:pt x="1" y="38"/>
                      </a:cubicBezTo>
                      <a:cubicBezTo>
                        <a:pt x="1" y="37"/>
                        <a:pt x="1" y="34"/>
                        <a:pt x="3" y="34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34" name="Tanzania"/>
                <p:cNvSpPr>
                  <a:spLocks/>
                </p:cNvSpPr>
                <p:nvPr/>
              </p:nvSpPr>
              <p:spPr bwMode="auto">
                <a:xfrm>
                  <a:off x="5294083" y="4810077"/>
                  <a:ext cx="9143" cy="12517"/>
                </a:xfrm>
                <a:custGeom>
                  <a:avLst/>
                  <a:gdLst>
                    <a:gd name="T0" fmla="*/ 0 w 25"/>
                    <a:gd name="T1" fmla="*/ 24 h 28"/>
                    <a:gd name="T2" fmla="*/ 3 w 25"/>
                    <a:gd name="T3" fmla="*/ 22 h 28"/>
                    <a:gd name="T4" fmla="*/ 7 w 25"/>
                    <a:gd name="T5" fmla="*/ 18 h 28"/>
                    <a:gd name="T6" fmla="*/ 9 w 25"/>
                    <a:gd name="T7" fmla="*/ 15 h 28"/>
                    <a:gd name="T8" fmla="*/ 11 w 25"/>
                    <a:gd name="T9" fmla="*/ 13 h 28"/>
                    <a:gd name="T10" fmla="*/ 15 w 25"/>
                    <a:gd name="T11" fmla="*/ 12 h 28"/>
                    <a:gd name="T12" fmla="*/ 16 w 25"/>
                    <a:gd name="T13" fmla="*/ 11 h 28"/>
                    <a:gd name="T14" fmla="*/ 15 w 25"/>
                    <a:gd name="T15" fmla="*/ 10 h 28"/>
                    <a:gd name="T16" fmla="*/ 19 w 25"/>
                    <a:gd name="T17" fmla="*/ 8 h 28"/>
                    <a:gd name="T18" fmla="*/ 21 w 25"/>
                    <a:gd name="T19" fmla="*/ 4 h 28"/>
                    <a:gd name="T20" fmla="*/ 24 w 25"/>
                    <a:gd name="T21" fmla="*/ 1 h 28"/>
                    <a:gd name="T22" fmla="*/ 24 w 25"/>
                    <a:gd name="T23" fmla="*/ 5 h 28"/>
                    <a:gd name="T24" fmla="*/ 21 w 25"/>
                    <a:gd name="T25" fmla="*/ 13 h 28"/>
                    <a:gd name="T26" fmla="*/ 19 w 25"/>
                    <a:gd name="T27" fmla="*/ 16 h 28"/>
                    <a:gd name="T28" fmla="*/ 18 w 25"/>
                    <a:gd name="T29" fmla="*/ 20 h 28"/>
                    <a:gd name="T30" fmla="*/ 15 w 25"/>
                    <a:gd name="T31" fmla="*/ 21 h 28"/>
                    <a:gd name="T32" fmla="*/ 11 w 25"/>
                    <a:gd name="T33" fmla="*/ 23 h 28"/>
                    <a:gd name="T34" fmla="*/ 10 w 25"/>
                    <a:gd name="T35" fmla="*/ 26 h 28"/>
                    <a:gd name="T36" fmla="*/ 9 w 25"/>
                    <a:gd name="T37" fmla="*/ 26 h 28"/>
                    <a:gd name="T38" fmla="*/ 3 w 25"/>
                    <a:gd name="T39" fmla="*/ 27 h 28"/>
                    <a:gd name="T40" fmla="*/ 0 w 25"/>
                    <a:gd name="T41" fmla="*/ 24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5" h="28">
                      <a:moveTo>
                        <a:pt x="0" y="24"/>
                      </a:moveTo>
                      <a:cubicBezTo>
                        <a:pt x="0" y="23"/>
                        <a:pt x="3" y="23"/>
                        <a:pt x="3" y="22"/>
                      </a:cubicBezTo>
                      <a:cubicBezTo>
                        <a:pt x="4" y="21"/>
                        <a:pt x="6" y="20"/>
                        <a:pt x="7" y="18"/>
                      </a:cubicBezTo>
                      <a:cubicBezTo>
                        <a:pt x="8" y="18"/>
                        <a:pt x="10" y="16"/>
                        <a:pt x="9" y="15"/>
                      </a:cubicBezTo>
                      <a:cubicBezTo>
                        <a:pt x="8" y="13"/>
                        <a:pt x="10" y="13"/>
                        <a:pt x="11" y="13"/>
                      </a:cubicBezTo>
                      <a:cubicBezTo>
                        <a:pt x="12" y="13"/>
                        <a:pt x="14" y="13"/>
                        <a:pt x="15" y="12"/>
                      </a:cubicBezTo>
                      <a:cubicBezTo>
                        <a:pt x="15" y="12"/>
                        <a:pt x="17" y="11"/>
                        <a:pt x="16" y="11"/>
                      </a:cubicBezTo>
                      <a:cubicBezTo>
                        <a:pt x="15" y="11"/>
                        <a:pt x="13" y="11"/>
                        <a:pt x="15" y="10"/>
                      </a:cubicBezTo>
                      <a:cubicBezTo>
                        <a:pt x="16" y="9"/>
                        <a:pt x="17" y="8"/>
                        <a:pt x="19" y="8"/>
                      </a:cubicBezTo>
                      <a:cubicBezTo>
                        <a:pt x="20" y="7"/>
                        <a:pt x="20" y="5"/>
                        <a:pt x="21" y="4"/>
                      </a:cubicBezTo>
                      <a:cubicBezTo>
                        <a:pt x="23" y="3"/>
                        <a:pt x="22" y="0"/>
                        <a:pt x="24" y="1"/>
                      </a:cubicBezTo>
                      <a:cubicBezTo>
                        <a:pt x="25" y="2"/>
                        <a:pt x="24" y="4"/>
                        <a:pt x="24" y="5"/>
                      </a:cubicBezTo>
                      <a:cubicBezTo>
                        <a:pt x="23" y="8"/>
                        <a:pt x="22" y="11"/>
                        <a:pt x="21" y="13"/>
                      </a:cubicBezTo>
                      <a:cubicBezTo>
                        <a:pt x="20" y="14"/>
                        <a:pt x="19" y="15"/>
                        <a:pt x="19" y="16"/>
                      </a:cubicBezTo>
                      <a:cubicBezTo>
                        <a:pt x="19" y="18"/>
                        <a:pt x="19" y="19"/>
                        <a:pt x="18" y="20"/>
                      </a:cubicBezTo>
                      <a:cubicBezTo>
                        <a:pt x="17" y="21"/>
                        <a:pt x="16" y="22"/>
                        <a:pt x="15" y="21"/>
                      </a:cubicBezTo>
                      <a:cubicBezTo>
                        <a:pt x="13" y="20"/>
                        <a:pt x="12" y="22"/>
                        <a:pt x="11" y="23"/>
                      </a:cubicBezTo>
                      <a:cubicBezTo>
                        <a:pt x="10" y="24"/>
                        <a:pt x="11" y="25"/>
                        <a:pt x="10" y="26"/>
                      </a:cubicBezTo>
                      <a:cubicBezTo>
                        <a:pt x="10" y="26"/>
                        <a:pt x="10" y="26"/>
                        <a:pt x="9" y="26"/>
                      </a:cubicBezTo>
                      <a:cubicBezTo>
                        <a:pt x="8" y="27"/>
                        <a:pt x="5" y="28"/>
                        <a:pt x="3" y="27"/>
                      </a:cubicBezTo>
                      <a:cubicBezTo>
                        <a:pt x="2" y="26"/>
                        <a:pt x="1" y="25"/>
                        <a:pt x="0" y="24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35" name="Tanzania"/>
                <p:cNvSpPr>
                  <a:spLocks/>
                </p:cNvSpPr>
                <p:nvPr/>
              </p:nvSpPr>
              <p:spPr bwMode="auto">
                <a:xfrm>
                  <a:off x="5285643" y="4746655"/>
                  <a:ext cx="9846" cy="25035"/>
                </a:xfrm>
                <a:custGeom>
                  <a:avLst/>
                  <a:gdLst>
                    <a:gd name="T0" fmla="*/ 18 w 28"/>
                    <a:gd name="T1" fmla="*/ 36 h 59"/>
                    <a:gd name="T2" fmla="*/ 21 w 28"/>
                    <a:gd name="T3" fmla="*/ 36 h 59"/>
                    <a:gd name="T4" fmla="*/ 23 w 28"/>
                    <a:gd name="T5" fmla="*/ 32 h 59"/>
                    <a:gd name="T6" fmla="*/ 25 w 28"/>
                    <a:gd name="T7" fmla="*/ 44 h 59"/>
                    <a:gd name="T8" fmla="*/ 27 w 28"/>
                    <a:gd name="T9" fmla="*/ 53 h 59"/>
                    <a:gd name="T10" fmla="*/ 20 w 28"/>
                    <a:gd name="T11" fmla="*/ 57 h 59"/>
                    <a:gd name="T12" fmla="*/ 17 w 28"/>
                    <a:gd name="T13" fmla="*/ 51 h 59"/>
                    <a:gd name="T14" fmla="*/ 16 w 28"/>
                    <a:gd name="T15" fmla="*/ 45 h 59"/>
                    <a:gd name="T16" fmla="*/ 16 w 28"/>
                    <a:gd name="T17" fmla="*/ 49 h 59"/>
                    <a:gd name="T18" fmla="*/ 13 w 28"/>
                    <a:gd name="T19" fmla="*/ 47 h 59"/>
                    <a:gd name="T20" fmla="*/ 9 w 28"/>
                    <a:gd name="T21" fmla="*/ 40 h 59"/>
                    <a:gd name="T22" fmla="*/ 6 w 28"/>
                    <a:gd name="T23" fmla="*/ 44 h 59"/>
                    <a:gd name="T24" fmla="*/ 3 w 28"/>
                    <a:gd name="T25" fmla="*/ 41 h 59"/>
                    <a:gd name="T26" fmla="*/ 0 w 28"/>
                    <a:gd name="T27" fmla="*/ 34 h 59"/>
                    <a:gd name="T28" fmla="*/ 2 w 28"/>
                    <a:gd name="T29" fmla="*/ 27 h 59"/>
                    <a:gd name="T30" fmla="*/ 0 w 28"/>
                    <a:gd name="T31" fmla="*/ 16 h 59"/>
                    <a:gd name="T32" fmla="*/ 1 w 28"/>
                    <a:gd name="T33" fmla="*/ 14 h 59"/>
                    <a:gd name="T34" fmla="*/ 3 w 28"/>
                    <a:gd name="T35" fmla="*/ 12 h 59"/>
                    <a:gd name="T36" fmla="*/ 8 w 28"/>
                    <a:gd name="T37" fmla="*/ 6 h 59"/>
                    <a:gd name="T38" fmla="*/ 10 w 28"/>
                    <a:gd name="T39" fmla="*/ 0 h 59"/>
                    <a:gd name="T40" fmla="*/ 13 w 28"/>
                    <a:gd name="T41" fmla="*/ 7 h 59"/>
                    <a:gd name="T42" fmla="*/ 13 w 28"/>
                    <a:gd name="T43" fmla="*/ 15 h 59"/>
                    <a:gd name="T44" fmla="*/ 16 w 28"/>
                    <a:gd name="T45" fmla="*/ 24 h 59"/>
                    <a:gd name="T46" fmla="*/ 17 w 28"/>
                    <a:gd name="T47" fmla="*/ 30 h 59"/>
                    <a:gd name="T48" fmla="*/ 18 w 28"/>
                    <a:gd name="T49" fmla="*/ 36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8" h="59">
                      <a:moveTo>
                        <a:pt x="18" y="36"/>
                      </a:moveTo>
                      <a:cubicBezTo>
                        <a:pt x="19" y="39"/>
                        <a:pt x="20" y="34"/>
                        <a:pt x="21" y="36"/>
                      </a:cubicBezTo>
                      <a:cubicBezTo>
                        <a:pt x="25" y="37"/>
                        <a:pt x="21" y="32"/>
                        <a:pt x="23" y="32"/>
                      </a:cubicBezTo>
                      <a:cubicBezTo>
                        <a:pt x="25" y="36"/>
                        <a:pt x="25" y="40"/>
                        <a:pt x="25" y="44"/>
                      </a:cubicBezTo>
                      <a:cubicBezTo>
                        <a:pt x="25" y="47"/>
                        <a:pt x="28" y="50"/>
                        <a:pt x="27" y="53"/>
                      </a:cubicBezTo>
                      <a:cubicBezTo>
                        <a:pt x="27" y="56"/>
                        <a:pt x="23" y="59"/>
                        <a:pt x="20" y="57"/>
                      </a:cubicBezTo>
                      <a:cubicBezTo>
                        <a:pt x="18" y="55"/>
                        <a:pt x="17" y="53"/>
                        <a:pt x="17" y="51"/>
                      </a:cubicBezTo>
                      <a:cubicBezTo>
                        <a:pt x="16" y="49"/>
                        <a:pt x="17" y="46"/>
                        <a:pt x="16" y="45"/>
                      </a:cubicBezTo>
                      <a:cubicBezTo>
                        <a:pt x="13" y="45"/>
                        <a:pt x="16" y="48"/>
                        <a:pt x="16" y="49"/>
                      </a:cubicBezTo>
                      <a:cubicBezTo>
                        <a:pt x="14" y="52"/>
                        <a:pt x="13" y="48"/>
                        <a:pt x="13" y="47"/>
                      </a:cubicBezTo>
                      <a:cubicBezTo>
                        <a:pt x="11" y="45"/>
                        <a:pt x="10" y="43"/>
                        <a:pt x="9" y="40"/>
                      </a:cubicBezTo>
                      <a:cubicBezTo>
                        <a:pt x="6" y="40"/>
                        <a:pt x="5" y="43"/>
                        <a:pt x="6" y="44"/>
                      </a:cubicBezTo>
                      <a:cubicBezTo>
                        <a:pt x="5" y="47"/>
                        <a:pt x="3" y="43"/>
                        <a:pt x="3" y="41"/>
                      </a:cubicBezTo>
                      <a:cubicBezTo>
                        <a:pt x="0" y="40"/>
                        <a:pt x="1" y="37"/>
                        <a:pt x="0" y="34"/>
                      </a:cubicBezTo>
                      <a:cubicBezTo>
                        <a:pt x="0" y="32"/>
                        <a:pt x="2" y="29"/>
                        <a:pt x="2" y="27"/>
                      </a:cubicBezTo>
                      <a:cubicBezTo>
                        <a:pt x="0" y="23"/>
                        <a:pt x="0" y="20"/>
                        <a:pt x="0" y="16"/>
                      </a:cubicBezTo>
                      <a:cubicBezTo>
                        <a:pt x="0" y="15"/>
                        <a:pt x="0" y="15"/>
                        <a:pt x="1" y="14"/>
                      </a:cubicBezTo>
                      <a:cubicBezTo>
                        <a:pt x="1" y="14"/>
                        <a:pt x="3" y="14"/>
                        <a:pt x="3" y="12"/>
                      </a:cubicBezTo>
                      <a:cubicBezTo>
                        <a:pt x="5" y="11"/>
                        <a:pt x="8" y="9"/>
                        <a:pt x="8" y="6"/>
                      </a:cubicBezTo>
                      <a:cubicBezTo>
                        <a:pt x="9" y="4"/>
                        <a:pt x="7" y="0"/>
                        <a:pt x="10" y="0"/>
                      </a:cubicBezTo>
                      <a:cubicBezTo>
                        <a:pt x="12" y="2"/>
                        <a:pt x="13" y="5"/>
                        <a:pt x="13" y="7"/>
                      </a:cubicBezTo>
                      <a:cubicBezTo>
                        <a:pt x="13" y="10"/>
                        <a:pt x="12" y="13"/>
                        <a:pt x="13" y="15"/>
                      </a:cubicBezTo>
                      <a:cubicBezTo>
                        <a:pt x="14" y="18"/>
                        <a:pt x="15" y="21"/>
                        <a:pt x="16" y="24"/>
                      </a:cubicBezTo>
                      <a:cubicBezTo>
                        <a:pt x="18" y="26"/>
                        <a:pt x="17" y="28"/>
                        <a:pt x="17" y="30"/>
                      </a:cubicBezTo>
                      <a:cubicBezTo>
                        <a:pt x="18" y="32"/>
                        <a:pt x="16" y="35"/>
                        <a:pt x="18" y="36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36" name="Tanzania"/>
                <p:cNvSpPr>
                  <a:spLocks/>
                </p:cNvSpPr>
                <p:nvPr/>
              </p:nvSpPr>
              <p:spPr bwMode="auto">
                <a:xfrm>
                  <a:off x="5018398" y="4588098"/>
                  <a:ext cx="296080" cy="358004"/>
                </a:xfrm>
                <a:custGeom>
                  <a:avLst/>
                  <a:gdLst>
                    <a:gd name="T0" fmla="*/ 114 w 814"/>
                    <a:gd name="T1" fmla="*/ 0 h 831"/>
                    <a:gd name="T2" fmla="*/ 346 w 814"/>
                    <a:gd name="T3" fmla="*/ 1 h 831"/>
                    <a:gd name="T4" fmla="*/ 350 w 814"/>
                    <a:gd name="T5" fmla="*/ 0 h 831"/>
                    <a:gd name="T6" fmla="*/ 609 w 814"/>
                    <a:gd name="T7" fmla="*/ 148 h 831"/>
                    <a:gd name="T8" fmla="*/ 630 w 814"/>
                    <a:gd name="T9" fmla="*/ 196 h 831"/>
                    <a:gd name="T10" fmla="*/ 747 w 814"/>
                    <a:gd name="T11" fmla="*/ 292 h 831"/>
                    <a:gd name="T12" fmla="*/ 743 w 814"/>
                    <a:gd name="T13" fmla="*/ 307 h 831"/>
                    <a:gd name="T14" fmla="*/ 712 w 814"/>
                    <a:gd name="T15" fmla="*/ 393 h 831"/>
                    <a:gd name="T16" fmla="*/ 729 w 814"/>
                    <a:gd name="T17" fmla="*/ 428 h 831"/>
                    <a:gd name="T18" fmla="*/ 756 w 814"/>
                    <a:gd name="T19" fmla="*/ 458 h 831"/>
                    <a:gd name="T20" fmla="*/ 752 w 814"/>
                    <a:gd name="T21" fmla="*/ 490 h 831"/>
                    <a:gd name="T22" fmla="*/ 750 w 814"/>
                    <a:gd name="T23" fmla="*/ 526 h 831"/>
                    <a:gd name="T24" fmla="*/ 744 w 814"/>
                    <a:gd name="T25" fmla="*/ 555 h 831"/>
                    <a:gd name="T26" fmla="*/ 745 w 814"/>
                    <a:gd name="T27" fmla="*/ 592 h 831"/>
                    <a:gd name="T28" fmla="*/ 750 w 814"/>
                    <a:gd name="T29" fmla="*/ 614 h 831"/>
                    <a:gd name="T30" fmla="*/ 762 w 814"/>
                    <a:gd name="T31" fmla="*/ 656 h 831"/>
                    <a:gd name="T32" fmla="*/ 772 w 814"/>
                    <a:gd name="T33" fmla="*/ 682 h 831"/>
                    <a:gd name="T34" fmla="*/ 788 w 814"/>
                    <a:gd name="T35" fmla="*/ 706 h 831"/>
                    <a:gd name="T36" fmla="*/ 810 w 814"/>
                    <a:gd name="T37" fmla="*/ 725 h 831"/>
                    <a:gd name="T38" fmla="*/ 813 w 814"/>
                    <a:gd name="T39" fmla="*/ 729 h 831"/>
                    <a:gd name="T40" fmla="*/ 805 w 814"/>
                    <a:gd name="T41" fmla="*/ 738 h 831"/>
                    <a:gd name="T42" fmla="*/ 751 w 814"/>
                    <a:gd name="T43" fmla="*/ 769 h 831"/>
                    <a:gd name="T44" fmla="*/ 661 w 814"/>
                    <a:gd name="T45" fmla="*/ 803 h 831"/>
                    <a:gd name="T46" fmla="*/ 595 w 814"/>
                    <a:gd name="T47" fmla="*/ 820 h 831"/>
                    <a:gd name="T48" fmla="*/ 537 w 814"/>
                    <a:gd name="T49" fmla="*/ 816 h 831"/>
                    <a:gd name="T50" fmla="*/ 479 w 814"/>
                    <a:gd name="T51" fmla="*/ 807 h 831"/>
                    <a:gd name="T52" fmla="*/ 405 w 814"/>
                    <a:gd name="T53" fmla="*/ 809 h 831"/>
                    <a:gd name="T54" fmla="*/ 386 w 814"/>
                    <a:gd name="T55" fmla="*/ 782 h 831"/>
                    <a:gd name="T56" fmla="*/ 377 w 814"/>
                    <a:gd name="T57" fmla="*/ 691 h 831"/>
                    <a:gd name="T58" fmla="*/ 335 w 814"/>
                    <a:gd name="T59" fmla="*/ 665 h 831"/>
                    <a:gd name="T60" fmla="*/ 269 w 814"/>
                    <a:gd name="T61" fmla="*/ 642 h 831"/>
                    <a:gd name="T62" fmla="*/ 237 w 814"/>
                    <a:gd name="T63" fmla="*/ 632 h 831"/>
                    <a:gd name="T64" fmla="*/ 190 w 814"/>
                    <a:gd name="T65" fmla="*/ 613 h 831"/>
                    <a:gd name="T66" fmla="*/ 128 w 814"/>
                    <a:gd name="T67" fmla="*/ 580 h 831"/>
                    <a:gd name="T68" fmla="*/ 102 w 814"/>
                    <a:gd name="T69" fmla="*/ 548 h 831"/>
                    <a:gd name="T70" fmla="*/ 82 w 814"/>
                    <a:gd name="T71" fmla="*/ 499 h 831"/>
                    <a:gd name="T72" fmla="*/ 23 w 814"/>
                    <a:gd name="T73" fmla="*/ 412 h 831"/>
                    <a:gd name="T74" fmla="*/ 15 w 814"/>
                    <a:gd name="T75" fmla="*/ 330 h 831"/>
                    <a:gd name="T76" fmla="*/ 11 w 814"/>
                    <a:gd name="T77" fmla="*/ 263 h 831"/>
                    <a:gd name="T78" fmla="*/ 37 w 814"/>
                    <a:gd name="T79" fmla="*/ 261 h 831"/>
                    <a:gd name="T80" fmla="*/ 85 w 814"/>
                    <a:gd name="T81" fmla="*/ 209 h 831"/>
                    <a:gd name="T82" fmla="*/ 118 w 814"/>
                    <a:gd name="T83" fmla="*/ 161 h 831"/>
                    <a:gd name="T84" fmla="*/ 90 w 814"/>
                    <a:gd name="T85" fmla="*/ 146 h 831"/>
                    <a:gd name="T86" fmla="*/ 97 w 814"/>
                    <a:gd name="T87" fmla="*/ 109 h 831"/>
                    <a:gd name="T88" fmla="*/ 97 w 814"/>
                    <a:gd name="T89" fmla="*/ 108 h 831"/>
                    <a:gd name="T90" fmla="*/ 99 w 814"/>
                    <a:gd name="T91" fmla="*/ 106 h 831"/>
                    <a:gd name="T92" fmla="*/ 119 w 814"/>
                    <a:gd name="T93" fmla="*/ 102 h 831"/>
                    <a:gd name="T94" fmla="*/ 119 w 814"/>
                    <a:gd name="T95" fmla="*/ 102 h 831"/>
                    <a:gd name="T96" fmla="*/ 105 w 814"/>
                    <a:gd name="T97" fmla="*/ 29 h 831"/>
                    <a:gd name="T98" fmla="*/ 92 w 814"/>
                    <a:gd name="T99" fmla="*/ 5 h 8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814" h="831">
                      <a:moveTo>
                        <a:pt x="92" y="5"/>
                      </a:moveTo>
                      <a:cubicBezTo>
                        <a:pt x="100" y="5"/>
                        <a:pt x="108" y="6"/>
                        <a:pt x="114" y="0"/>
                      </a:cubicBezTo>
                      <a:cubicBezTo>
                        <a:pt x="165" y="0"/>
                        <a:pt x="215" y="0"/>
                        <a:pt x="266" y="0"/>
                      </a:cubicBezTo>
                      <a:cubicBezTo>
                        <a:pt x="293" y="1"/>
                        <a:pt x="320" y="0"/>
                        <a:pt x="346" y="1"/>
                      </a:cubicBezTo>
                      <a:cubicBezTo>
                        <a:pt x="347" y="0"/>
                        <a:pt x="347" y="0"/>
                        <a:pt x="347" y="0"/>
                      </a:cubicBezTo>
                      <a:cubicBezTo>
                        <a:pt x="350" y="0"/>
                        <a:pt x="350" y="0"/>
                        <a:pt x="350" y="0"/>
                      </a:cubicBezTo>
                      <a:cubicBezTo>
                        <a:pt x="365" y="2"/>
                        <a:pt x="376" y="14"/>
                        <a:pt x="390" y="20"/>
                      </a:cubicBezTo>
                      <a:cubicBezTo>
                        <a:pt x="463" y="62"/>
                        <a:pt x="536" y="106"/>
                        <a:pt x="609" y="148"/>
                      </a:cubicBezTo>
                      <a:cubicBezTo>
                        <a:pt x="623" y="152"/>
                        <a:pt x="632" y="166"/>
                        <a:pt x="628" y="180"/>
                      </a:cubicBezTo>
                      <a:cubicBezTo>
                        <a:pt x="619" y="185"/>
                        <a:pt x="619" y="194"/>
                        <a:pt x="630" y="196"/>
                      </a:cubicBezTo>
                      <a:cubicBezTo>
                        <a:pt x="635" y="209"/>
                        <a:pt x="648" y="215"/>
                        <a:pt x="658" y="224"/>
                      </a:cubicBezTo>
                      <a:cubicBezTo>
                        <a:pt x="684" y="244"/>
                        <a:pt x="721" y="271"/>
                        <a:pt x="747" y="292"/>
                      </a:cubicBezTo>
                      <a:cubicBezTo>
                        <a:pt x="747" y="292"/>
                        <a:pt x="747" y="292"/>
                        <a:pt x="747" y="292"/>
                      </a:cubicBezTo>
                      <a:cubicBezTo>
                        <a:pt x="746" y="297"/>
                        <a:pt x="744" y="302"/>
                        <a:pt x="743" y="307"/>
                      </a:cubicBezTo>
                      <a:cubicBezTo>
                        <a:pt x="740" y="319"/>
                        <a:pt x="738" y="331"/>
                        <a:pt x="732" y="341"/>
                      </a:cubicBezTo>
                      <a:cubicBezTo>
                        <a:pt x="727" y="359"/>
                        <a:pt x="720" y="376"/>
                        <a:pt x="712" y="393"/>
                      </a:cubicBezTo>
                      <a:cubicBezTo>
                        <a:pt x="712" y="401"/>
                        <a:pt x="713" y="409"/>
                        <a:pt x="715" y="417"/>
                      </a:cubicBezTo>
                      <a:cubicBezTo>
                        <a:pt x="719" y="421"/>
                        <a:pt x="724" y="425"/>
                        <a:pt x="729" y="428"/>
                      </a:cubicBezTo>
                      <a:cubicBezTo>
                        <a:pt x="734" y="431"/>
                        <a:pt x="738" y="435"/>
                        <a:pt x="740" y="440"/>
                      </a:cubicBezTo>
                      <a:cubicBezTo>
                        <a:pt x="743" y="447"/>
                        <a:pt x="752" y="451"/>
                        <a:pt x="756" y="458"/>
                      </a:cubicBezTo>
                      <a:cubicBezTo>
                        <a:pt x="758" y="465"/>
                        <a:pt x="764" y="471"/>
                        <a:pt x="763" y="479"/>
                      </a:cubicBezTo>
                      <a:cubicBezTo>
                        <a:pt x="758" y="481"/>
                        <a:pt x="755" y="486"/>
                        <a:pt x="752" y="490"/>
                      </a:cubicBezTo>
                      <a:cubicBezTo>
                        <a:pt x="750" y="497"/>
                        <a:pt x="751" y="505"/>
                        <a:pt x="748" y="513"/>
                      </a:cubicBezTo>
                      <a:cubicBezTo>
                        <a:pt x="745" y="517"/>
                        <a:pt x="748" y="522"/>
                        <a:pt x="750" y="526"/>
                      </a:cubicBezTo>
                      <a:cubicBezTo>
                        <a:pt x="749" y="533"/>
                        <a:pt x="752" y="539"/>
                        <a:pt x="750" y="546"/>
                      </a:cubicBezTo>
                      <a:cubicBezTo>
                        <a:pt x="749" y="550"/>
                        <a:pt x="751" y="557"/>
                        <a:pt x="744" y="555"/>
                      </a:cubicBezTo>
                      <a:cubicBezTo>
                        <a:pt x="739" y="554"/>
                        <a:pt x="740" y="561"/>
                        <a:pt x="738" y="565"/>
                      </a:cubicBezTo>
                      <a:cubicBezTo>
                        <a:pt x="739" y="574"/>
                        <a:pt x="742" y="583"/>
                        <a:pt x="745" y="592"/>
                      </a:cubicBezTo>
                      <a:cubicBezTo>
                        <a:pt x="746" y="597"/>
                        <a:pt x="751" y="600"/>
                        <a:pt x="753" y="604"/>
                      </a:cubicBezTo>
                      <a:cubicBezTo>
                        <a:pt x="755" y="609"/>
                        <a:pt x="744" y="609"/>
                        <a:pt x="750" y="614"/>
                      </a:cubicBezTo>
                      <a:cubicBezTo>
                        <a:pt x="753" y="620"/>
                        <a:pt x="758" y="627"/>
                        <a:pt x="761" y="634"/>
                      </a:cubicBezTo>
                      <a:cubicBezTo>
                        <a:pt x="767" y="640"/>
                        <a:pt x="764" y="649"/>
                        <a:pt x="762" y="656"/>
                      </a:cubicBezTo>
                      <a:cubicBezTo>
                        <a:pt x="765" y="660"/>
                        <a:pt x="770" y="662"/>
                        <a:pt x="771" y="667"/>
                      </a:cubicBezTo>
                      <a:cubicBezTo>
                        <a:pt x="773" y="672"/>
                        <a:pt x="770" y="678"/>
                        <a:pt x="772" y="682"/>
                      </a:cubicBezTo>
                      <a:cubicBezTo>
                        <a:pt x="777" y="686"/>
                        <a:pt x="775" y="691"/>
                        <a:pt x="775" y="696"/>
                      </a:cubicBezTo>
                      <a:cubicBezTo>
                        <a:pt x="777" y="701"/>
                        <a:pt x="783" y="703"/>
                        <a:pt x="788" y="706"/>
                      </a:cubicBezTo>
                      <a:cubicBezTo>
                        <a:pt x="791" y="710"/>
                        <a:pt x="793" y="715"/>
                        <a:pt x="795" y="719"/>
                      </a:cubicBezTo>
                      <a:cubicBezTo>
                        <a:pt x="800" y="721"/>
                        <a:pt x="806" y="722"/>
                        <a:pt x="810" y="725"/>
                      </a:cubicBezTo>
                      <a:cubicBezTo>
                        <a:pt x="812" y="726"/>
                        <a:pt x="813" y="727"/>
                        <a:pt x="814" y="729"/>
                      </a:cubicBezTo>
                      <a:cubicBezTo>
                        <a:pt x="813" y="729"/>
                        <a:pt x="813" y="729"/>
                        <a:pt x="813" y="729"/>
                      </a:cubicBezTo>
                      <a:cubicBezTo>
                        <a:pt x="807" y="737"/>
                        <a:pt x="807" y="737"/>
                        <a:pt x="807" y="737"/>
                      </a:cubicBezTo>
                      <a:cubicBezTo>
                        <a:pt x="805" y="738"/>
                        <a:pt x="805" y="738"/>
                        <a:pt x="805" y="738"/>
                      </a:cubicBezTo>
                      <a:cubicBezTo>
                        <a:pt x="795" y="743"/>
                        <a:pt x="786" y="749"/>
                        <a:pt x="778" y="757"/>
                      </a:cubicBezTo>
                      <a:cubicBezTo>
                        <a:pt x="768" y="760"/>
                        <a:pt x="761" y="767"/>
                        <a:pt x="751" y="769"/>
                      </a:cubicBezTo>
                      <a:cubicBezTo>
                        <a:pt x="734" y="770"/>
                        <a:pt x="724" y="791"/>
                        <a:pt x="706" y="785"/>
                      </a:cubicBezTo>
                      <a:cubicBezTo>
                        <a:pt x="689" y="785"/>
                        <a:pt x="675" y="795"/>
                        <a:pt x="661" y="803"/>
                      </a:cubicBezTo>
                      <a:cubicBezTo>
                        <a:pt x="649" y="796"/>
                        <a:pt x="636" y="785"/>
                        <a:pt x="620" y="794"/>
                      </a:cubicBezTo>
                      <a:cubicBezTo>
                        <a:pt x="613" y="804"/>
                        <a:pt x="612" y="819"/>
                        <a:pt x="595" y="820"/>
                      </a:cubicBezTo>
                      <a:cubicBezTo>
                        <a:pt x="586" y="827"/>
                        <a:pt x="576" y="824"/>
                        <a:pt x="566" y="822"/>
                      </a:cubicBezTo>
                      <a:cubicBezTo>
                        <a:pt x="557" y="817"/>
                        <a:pt x="548" y="809"/>
                        <a:pt x="537" y="816"/>
                      </a:cubicBezTo>
                      <a:cubicBezTo>
                        <a:pt x="530" y="831"/>
                        <a:pt x="516" y="820"/>
                        <a:pt x="505" y="822"/>
                      </a:cubicBezTo>
                      <a:cubicBezTo>
                        <a:pt x="490" y="828"/>
                        <a:pt x="494" y="806"/>
                        <a:pt x="479" y="807"/>
                      </a:cubicBezTo>
                      <a:cubicBezTo>
                        <a:pt x="470" y="789"/>
                        <a:pt x="458" y="813"/>
                        <a:pt x="447" y="813"/>
                      </a:cubicBezTo>
                      <a:cubicBezTo>
                        <a:pt x="433" y="809"/>
                        <a:pt x="418" y="814"/>
                        <a:pt x="405" y="809"/>
                      </a:cubicBezTo>
                      <a:cubicBezTo>
                        <a:pt x="405" y="808"/>
                        <a:pt x="404" y="808"/>
                        <a:pt x="404" y="808"/>
                      </a:cubicBezTo>
                      <a:cubicBezTo>
                        <a:pt x="404" y="793"/>
                        <a:pt x="388" y="795"/>
                        <a:pt x="386" y="782"/>
                      </a:cubicBezTo>
                      <a:cubicBezTo>
                        <a:pt x="372" y="771"/>
                        <a:pt x="387" y="757"/>
                        <a:pt x="385" y="744"/>
                      </a:cubicBezTo>
                      <a:cubicBezTo>
                        <a:pt x="377" y="728"/>
                        <a:pt x="382" y="709"/>
                        <a:pt x="377" y="691"/>
                      </a:cubicBezTo>
                      <a:cubicBezTo>
                        <a:pt x="370" y="676"/>
                        <a:pt x="358" y="664"/>
                        <a:pt x="347" y="652"/>
                      </a:cubicBezTo>
                      <a:cubicBezTo>
                        <a:pt x="335" y="645"/>
                        <a:pt x="339" y="661"/>
                        <a:pt x="335" y="665"/>
                      </a:cubicBezTo>
                      <a:cubicBezTo>
                        <a:pt x="325" y="656"/>
                        <a:pt x="311" y="659"/>
                        <a:pt x="299" y="659"/>
                      </a:cubicBezTo>
                      <a:cubicBezTo>
                        <a:pt x="294" y="643"/>
                        <a:pt x="276" y="656"/>
                        <a:pt x="269" y="642"/>
                      </a:cubicBezTo>
                      <a:cubicBezTo>
                        <a:pt x="267" y="643"/>
                        <a:pt x="265" y="642"/>
                        <a:pt x="263" y="642"/>
                      </a:cubicBezTo>
                      <a:cubicBezTo>
                        <a:pt x="253" y="640"/>
                        <a:pt x="247" y="631"/>
                        <a:pt x="237" y="632"/>
                      </a:cubicBezTo>
                      <a:cubicBezTo>
                        <a:pt x="230" y="627"/>
                        <a:pt x="224" y="618"/>
                        <a:pt x="214" y="621"/>
                      </a:cubicBezTo>
                      <a:cubicBezTo>
                        <a:pt x="206" y="614"/>
                        <a:pt x="197" y="617"/>
                        <a:pt x="190" y="613"/>
                      </a:cubicBezTo>
                      <a:cubicBezTo>
                        <a:pt x="193" y="595"/>
                        <a:pt x="166" y="611"/>
                        <a:pt x="164" y="595"/>
                      </a:cubicBezTo>
                      <a:cubicBezTo>
                        <a:pt x="161" y="578"/>
                        <a:pt x="141" y="579"/>
                        <a:pt x="128" y="580"/>
                      </a:cubicBezTo>
                      <a:cubicBezTo>
                        <a:pt x="115" y="575"/>
                        <a:pt x="109" y="561"/>
                        <a:pt x="105" y="548"/>
                      </a:cubicBezTo>
                      <a:cubicBezTo>
                        <a:pt x="102" y="548"/>
                        <a:pt x="102" y="548"/>
                        <a:pt x="102" y="548"/>
                      </a:cubicBezTo>
                      <a:cubicBezTo>
                        <a:pt x="102" y="547"/>
                        <a:pt x="103" y="547"/>
                        <a:pt x="104" y="547"/>
                      </a:cubicBezTo>
                      <a:cubicBezTo>
                        <a:pt x="104" y="529"/>
                        <a:pt x="88" y="516"/>
                        <a:pt x="82" y="499"/>
                      </a:cubicBezTo>
                      <a:cubicBezTo>
                        <a:pt x="81" y="479"/>
                        <a:pt x="71" y="459"/>
                        <a:pt x="55" y="445"/>
                      </a:cubicBezTo>
                      <a:cubicBezTo>
                        <a:pt x="41" y="438"/>
                        <a:pt x="27" y="429"/>
                        <a:pt x="23" y="412"/>
                      </a:cubicBezTo>
                      <a:cubicBezTo>
                        <a:pt x="15" y="399"/>
                        <a:pt x="9" y="378"/>
                        <a:pt x="23" y="366"/>
                      </a:cubicBezTo>
                      <a:cubicBezTo>
                        <a:pt x="29" y="354"/>
                        <a:pt x="17" y="342"/>
                        <a:pt x="15" y="330"/>
                      </a:cubicBezTo>
                      <a:cubicBezTo>
                        <a:pt x="14" y="319"/>
                        <a:pt x="6" y="311"/>
                        <a:pt x="5" y="300"/>
                      </a:cubicBezTo>
                      <a:cubicBezTo>
                        <a:pt x="0" y="287"/>
                        <a:pt x="14" y="276"/>
                        <a:pt x="11" y="263"/>
                      </a:cubicBezTo>
                      <a:cubicBezTo>
                        <a:pt x="12" y="261"/>
                        <a:pt x="12" y="261"/>
                        <a:pt x="12" y="261"/>
                      </a:cubicBezTo>
                      <a:cubicBezTo>
                        <a:pt x="18" y="265"/>
                        <a:pt x="31" y="263"/>
                        <a:pt x="37" y="261"/>
                      </a:cubicBezTo>
                      <a:cubicBezTo>
                        <a:pt x="46" y="254"/>
                        <a:pt x="58" y="250"/>
                        <a:pt x="64" y="238"/>
                      </a:cubicBezTo>
                      <a:cubicBezTo>
                        <a:pt x="71" y="229"/>
                        <a:pt x="76" y="212"/>
                        <a:pt x="85" y="209"/>
                      </a:cubicBezTo>
                      <a:cubicBezTo>
                        <a:pt x="82" y="194"/>
                        <a:pt x="100" y="192"/>
                        <a:pt x="104" y="182"/>
                      </a:cubicBezTo>
                      <a:cubicBezTo>
                        <a:pt x="103" y="174"/>
                        <a:pt x="126" y="175"/>
                        <a:pt x="118" y="161"/>
                      </a:cubicBezTo>
                      <a:cubicBezTo>
                        <a:pt x="114" y="155"/>
                        <a:pt x="121" y="149"/>
                        <a:pt x="112" y="152"/>
                      </a:cubicBezTo>
                      <a:cubicBezTo>
                        <a:pt x="104" y="147"/>
                        <a:pt x="83" y="146"/>
                        <a:pt x="90" y="146"/>
                      </a:cubicBezTo>
                      <a:cubicBezTo>
                        <a:pt x="85" y="138"/>
                        <a:pt x="91" y="128"/>
                        <a:pt x="93" y="127"/>
                      </a:cubicBezTo>
                      <a:cubicBezTo>
                        <a:pt x="84" y="129"/>
                        <a:pt x="97" y="110"/>
                        <a:pt x="97" y="109"/>
                      </a:cubicBezTo>
                      <a:cubicBezTo>
                        <a:pt x="97" y="109"/>
                        <a:pt x="97" y="109"/>
                        <a:pt x="97" y="109"/>
                      </a:cubicBezTo>
                      <a:cubicBezTo>
                        <a:pt x="97" y="108"/>
                        <a:pt x="97" y="108"/>
                        <a:pt x="97" y="108"/>
                      </a:cubicBezTo>
                      <a:cubicBezTo>
                        <a:pt x="99" y="107"/>
                        <a:pt x="99" y="107"/>
                        <a:pt x="99" y="107"/>
                      </a:cubicBezTo>
                      <a:cubicBezTo>
                        <a:pt x="99" y="106"/>
                        <a:pt x="99" y="106"/>
                        <a:pt x="99" y="106"/>
                      </a:cubicBezTo>
                      <a:cubicBezTo>
                        <a:pt x="105" y="105"/>
                        <a:pt x="115" y="103"/>
                        <a:pt x="119" y="102"/>
                      </a:cubicBezTo>
                      <a:cubicBezTo>
                        <a:pt x="119" y="102"/>
                        <a:pt x="119" y="102"/>
                        <a:pt x="119" y="102"/>
                      </a:cubicBezTo>
                      <a:cubicBezTo>
                        <a:pt x="119" y="102"/>
                        <a:pt x="120" y="102"/>
                        <a:pt x="120" y="102"/>
                      </a:cubicBezTo>
                      <a:cubicBezTo>
                        <a:pt x="120" y="102"/>
                        <a:pt x="119" y="102"/>
                        <a:pt x="119" y="102"/>
                      </a:cubicBezTo>
                      <a:cubicBezTo>
                        <a:pt x="120" y="91"/>
                        <a:pt x="124" y="80"/>
                        <a:pt x="117" y="69"/>
                      </a:cubicBezTo>
                      <a:cubicBezTo>
                        <a:pt x="120" y="55"/>
                        <a:pt x="116" y="37"/>
                        <a:pt x="105" y="29"/>
                      </a:cubicBezTo>
                      <a:cubicBezTo>
                        <a:pt x="96" y="25"/>
                        <a:pt x="95" y="14"/>
                        <a:pt x="91" y="7"/>
                      </a:cubicBezTo>
                      <a:cubicBezTo>
                        <a:pt x="92" y="5"/>
                        <a:pt x="92" y="5"/>
                        <a:pt x="92" y="5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443" name="Taiwan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7324116" y="3755065"/>
                <a:ext cx="32786" cy="100066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0"/>
                  </a:cxn>
                  <a:cxn ang="0">
                    <a:pos x="2" y="5"/>
                  </a:cxn>
                  <a:cxn ang="0">
                    <a:pos x="0" y="7"/>
                  </a:cxn>
                  <a:cxn ang="0">
                    <a:pos x="0" y="9"/>
                  </a:cxn>
                </a:cxnLst>
                <a:rect l="0" t="0" r="r" b="b"/>
                <a:pathLst>
                  <a:path w="6" h="18">
                    <a:moveTo>
                      <a:pt x="0" y="9"/>
                    </a:moveTo>
                    <a:lnTo>
                      <a:pt x="2" y="16"/>
                    </a:lnTo>
                    <a:lnTo>
                      <a:pt x="6" y="18"/>
                    </a:lnTo>
                    <a:lnTo>
                      <a:pt x="6" y="0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176" name="Syria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5137997" y="3365033"/>
                <a:ext cx="160877" cy="178350"/>
              </a:xfrm>
              <a:custGeom>
                <a:avLst/>
                <a:gdLst>
                  <a:gd name="T0" fmla="*/ 160877 w 29"/>
                  <a:gd name="T1" fmla="*/ 0 h 32"/>
                  <a:gd name="T2" fmla="*/ 116497 w 29"/>
                  <a:gd name="T3" fmla="*/ 11147 h 32"/>
                  <a:gd name="T4" fmla="*/ 77665 w 29"/>
                  <a:gd name="T5" fmla="*/ 11147 h 32"/>
                  <a:gd name="T6" fmla="*/ 66570 w 29"/>
                  <a:gd name="T7" fmla="*/ 11147 h 32"/>
                  <a:gd name="T8" fmla="*/ 22190 w 29"/>
                  <a:gd name="T9" fmla="*/ 11147 h 32"/>
                  <a:gd name="T10" fmla="*/ 22190 w 29"/>
                  <a:gd name="T11" fmla="*/ 39014 h 32"/>
                  <a:gd name="T12" fmla="*/ 0 w 29"/>
                  <a:gd name="T13" fmla="*/ 50161 h 32"/>
                  <a:gd name="T14" fmla="*/ 0 w 29"/>
                  <a:gd name="T15" fmla="*/ 100322 h 32"/>
                  <a:gd name="T16" fmla="*/ 22190 w 29"/>
                  <a:gd name="T17" fmla="*/ 100322 h 32"/>
                  <a:gd name="T18" fmla="*/ 0 w 29"/>
                  <a:gd name="T19" fmla="*/ 139336 h 32"/>
                  <a:gd name="T20" fmla="*/ 0 w 29"/>
                  <a:gd name="T21" fmla="*/ 150483 h 32"/>
                  <a:gd name="T22" fmla="*/ 22190 w 29"/>
                  <a:gd name="T23" fmla="*/ 178350 h 32"/>
                  <a:gd name="T24" fmla="*/ 77665 w 29"/>
                  <a:gd name="T25" fmla="*/ 139336 h 32"/>
                  <a:gd name="T26" fmla="*/ 127592 w 29"/>
                  <a:gd name="T27" fmla="*/ 100322 h 32"/>
                  <a:gd name="T28" fmla="*/ 127592 w 29"/>
                  <a:gd name="T29" fmla="*/ 39014 h 32"/>
                  <a:gd name="T30" fmla="*/ 138687 w 29"/>
                  <a:gd name="T31" fmla="*/ 27867 h 32"/>
                  <a:gd name="T32" fmla="*/ 160877 w 29"/>
                  <a:gd name="T33" fmla="*/ 0 h 32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9"/>
                  <a:gd name="T52" fmla="*/ 0 h 32"/>
                  <a:gd name="T53" fmla="*/ 29 w 29"/>
                  <a:gd name="T54" fmla="*/ 32 h 32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9" h="32">
                    <a:moveTo>
                      <a:pt x="29" y="0"/>
                    </a:moveTo>
                    <a:lnTo>
                      <a:pt x="21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4" y="2"/>
                    </a:lnTo>
                    <a:lnTo>
                      <a:pt x="4" y="7"/>
                    </a:lnTo>
                    <a:lnTo>
                      <a:pt x="0" y="9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0" y="25"/>
                    </a:lnTo>
                    <a:lnTo>
                      <a:pt x="0" y="27"/>
                    </a:lnTo>
                    <a:lnTo>
                      <a:pt x="4" y="32"/>
                    </a:lnTo>
                    <a:lnTo>
                      <a:pt x="14" y="25"/>
                    </a:lnTo>
                    <a:lnTo>
                      <a:pt x="23" y="18"/>
                    </a:lnTo>
                    <a:lnTo>
                      <a:pt x="23" y="7"/>
                    </a:lnTo>
                    <a:lnTo>
                      <a:pt x="25" y="5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34177" name="Switzerland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05727" y="3041773"/>
                <a:ext cx="105402" cy="50161"/>
              </a:xfrm>
              <a:custGeom>
                <a:avLst/>
                <a:gdLst>
                  <a:gd name="T0" fmla="*/ 22190 w 19"/>
                  <a:gd name="T1" fmla="*/ 50161 h 9"/>
                  <a:gd name="T2" fmla="*/ 11095 w 19"/>
                  <a:gd name="T3" fmla="*/ 33441 h 9"/>
                  <a:gd name="T4" fmla="*/ 11095 w 19"/>
                  <a:gd name="T5" fmla="*/ 50161 h 9"/>
                  <a:gd name="T6" fmla="*/ 0 w 19"/>
                  <a:gd name="T7" fmla="*/ 33441 h 9"/>
                  <a:gd name="T8" fmla="*/ 22190 w 19"/>
                  <a:gd name="T9" fmla="*/ 0 h 9"/>
                  <a:gd name="T10" fmla="*/ 49927 w 19"/>
                  <a:gd name="T11" fmla="*/ 0 h 9"/>
                  <a:gd name="T12" fmla="*/ 94307 w 19"/>
                  <a:gd name="T13" fmla="*/ 0 h 9"/>
                  <a:gd name="T14" fmla="*/ 94307 w 19"/>
                  <a:gd name="T15" fmla="*/ 22294 h 9"/>
                  <a:gd name="T16" fmla="*/ 105402 w 19"/>
                  <a:gd name="T17" fmla="*/ 22294 h 9"/>
                  <a:gd name="T18" fmla="*/ 94307 w 19"/>
                  <a:gd name="T19" fmla="*/ 33441 h 9"/>
                  <a:gd name="T20" fmla="*/ 72117 w 19"/>
                  <a:gd name="T21" fmla="*/ 33441 h 9"/>
                  <a:gd name="T22" fmla="*/ 72117 w 19"/>
                  <a:gd name="T23" fmla="*/ 50161 h 9"/>
                  <a:gd name="T24" fmla="*/ 61022 w 19"/>
                  <a:gd name="T25" fmla="*/ 33441 h 9"/>
                  <a:gd name="T26" fmla="*/ 38832 w 19"/>
                  <a:gd name="T27" fmla="*/ 50161 h 9"/>
                  <a:gd name="T28" fmla="*/ 22190 w 19"/>
                  <a:gd name="T29" fmla="*/ 50161 h 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9"/>
                  <a:gd name="T46" fmla="*/ 0 h 9"/>
                  <a:gd name="T47" fmla="*/ 19 w 19"/>
                  <a:gd name="T48" fmla="*/ 9 h 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9" h="9">
                    <a:moveTo>
                      <a:pt x="4" y="9"/>
                    </a:moveTo>
                    <a:lnTo>
                      <a:pt x="2" y="6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17" y="0"/>
                    </a:lnTo>
                    <a:lnTo>
                      <a:pt x="17" y="4"/>
                    </a:lnTo>
                    <a:lnTo>
                      <a:pt x="19" y="4"/>
                    </a:lnTo>
                    <a:lnTo>
                      <a:pt x="17" y="6"/>
                    </a:lnTo>
                    <a:lnTo>
                      <a:pt x="13" y="6"/>
                    </a:lnTo>
                    <a:lnTo>
                      <a:pt x="13" y="9"/>
                    </a:lnTo>
                    <a:lnTo>
                      <a:pt x="11" y="6"/>
                    </a:lnTo>
                    <a:lnTo>
                      <a:pt x="7" y="9"/>
                    </a:lnTo>
                    <a:lnTo>
                      <a:pt x="4" y="9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447" name="Sweden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905" y="2412804"/>
                <a:ext cx="243302" cy="389912"/>
              </a:xfrm>
              <a:custGeom>
                <a:avLst/>
                <a:gdLst/>
                <a:ahLst/>
                <a:cxnLst>
                  <a:cxn ang="0">
                    <a:pos x="2" y="47"/>
                  </a:cxn>
                  <a:cxn ang="0">
                    <a:pos x="4" y="47"/>
                  </a:cxn>
                  <a:cxn ang="0">
                    <a:pos x="2" y="41"/>
                  </a:cxn>
                  <a:cxn ang="0">
                    <a:pos x="4" y="41"/>
                  </a:cxn>
                  <a:cxn ang="0">
                    <a:pos x="2" y="32"/>
                  </a:cxn>
                  <a:cxn ang="0">
                    <a:pos x="2" y="25"/>
                  </a:cxn>
                  <a:cxn ang="0">
                    <a:pos x="11" y="25"/>
                  </a:cxn>
                  <a:cxn ang="0">
                    <a:pos x="9" y="23"/>
                  </a:cxn>
                  <a:cxn ang="0">
                    <a:pos x="11" y="14"/>
                  </a:cxn>
                  <a:cxn ang="0">
                    <a:pos x="17" y="9"/>
                  </a:cxn>
                  <a:cxn ang="0">
                    <a:pos x="19" y="5"/>
                  </a:cxn>
                  <a:cxn ang="0">
                    <a:pos x="21" y="5"/>
                  </a:cxn>
                  <a:cxn ang="0">
                    <a:pos x="25" y="0"/>
                  </a:cxn>
                  <a:cxn ang="0">
                    <a:pos x="29" y="5"/>
                  </a:cxn>
                  <a:cxn ang="0">
                    <a:pos x="29" y="0"/>
                  </a:cxn>
                  <a:cxn ang="0">
                    <a:pos x="42" y="5"/>
                  </a:cxn>
                  <a:cxn ang="0">
                    <a:pos x="44" y="16"/>
                  </a:cxn>
                  <a:cxn ang="0">
                    <a:pos x="40" y="16"/>
                  </a:cxn>
                  <a:cxn ang="0">
                    <a:pos x="36" y="23"/>
                  </a:cxn>
                  <a:cxn ang="0">
                    <a:pos x="21" y="34"/>
                  </a:cxn>
                  <a:cxn ang="0">
                    <a:pos x="21" y="41"/>
                  </a:cxn>
                  <a:cxn ang="0">
                    <a:pos x="27" y="47"/>
                  </a:cxn>
                  <a:cxn ang="0">
                    <a:pos x="25" y="50"/>
                  </a:cxn>
                  <a:cxn ang="0">
                    <a:pos x="27" y="50"/>
                  </a:cxn>
                  <a:cxn ang="0">
                    <a:pos x="21" y="52"/>
                  </a:cxn>
                  <a:cxn ang="0">
                    <a:pos x="19" y="65"/>
                  </a:cxn>
                  <a:cxn ang="0">
                    <a:pos x="13" y="65"/>
                  </a:cxn>
                  <a:cxn ang="0">
                    <a:pos x="11" y="70"/>
                  </a:cxn>
                  <a:cxn ang="0">
                    <a:pos x="9" y="70"/>
                  </a:cxn>
                  <a:cxn ang="0">
                    <a:pos x="4" y="65"/>
                  </a:cxn>
                  <a:cxn ang="0">
                    <a:pos x="0" y="50"/>
                  </a:cxn>
                  <a:cxn ang="0">
                    <a:pos x="2" y="47"/>
                  </a:cxn>
                </a:cxnLst>
                <a:rect l="0" t="0" r="r" b="b"/>
                <a:pathLst>
                  <a:path w="44" h="70">
                    <a:moveTo>
                      <a:pt x="2" y="47"/>
                    </a:moveTo>
                    <a:lnTo>
                      <a:pt x="4" y="47"/>
                    </a:lnTo>
                    <a:lnTo>
                      <a:pt x="2" y="41"/>
                    </a:lnTo>
                    <a:lnTo>
                      <a:pt x="4" y="41"/>
                    </a:lnTo>
                    <a:lnTo>
                      <a:pt x="2" y="32"/>
                    </a:lnTo>
                    <a:lnTo>
                      <a:pt x="2" y="25"/>
                    </a:lnTo>
                    <a:lnTo>
                      <a:pt x="11" y="25"/>
                    </a:lnTo>
                    <a:lnTo>
                      <a:pt x="9" y="23"/>
                    </a:lnTo>
                    <a:lnTo>
                      <a:pt x="11" y="14"/>
                    </a:lnTo>
                    <a:lnTo>
                      <a:pt x="17" y="9"/>
                    </a:lnTo>
                    <a:lnTo>
                      <a:pt x="19" y="5"/>
                    </a:lnTo>
                    <a:lnTo>
                      <a:pt x="21" y="5"/>
                    </a:lnTo>
                    <a:lnTo>
                      <a:pt x="25" y="0"/>
                    </a:lnTo>
                    <a:lnTo>
                      <a:pt x="29" y="5"/>
                    </a:lnTo>
                    <a:lnTo>
                      <a:pt x="29" y="0"/>
                    </a:lnTo>
                    <a:lnTo>
                      <a:pt x="42" y="5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36" y="23"/>
                    </a:lnTo>
                    <a:lnTo>
                      <a:pt x="21" y="34"/>
                    </a:lnTo>
                    <a:lnTo>
                      <a:pt x="21" y="41"/>
                    </a:lnTo>
                    <a:lnTo>
                      <a:pt x="27" y="47"/>
                    </a:lnTo>
                    <a:lnTo>
                      <a:pt x="25" y="50"/>
                    </a:lnTo>
                    <a:lnTo>
                      <a:pt x="27" y="50"/>
                    </a:lnTo>
                    <a:lnTo>
                      <a:pt x="21" y="52"/>
                    </a:lnTo>
                    <a:lnTo>
                      <a:pt x="19" y="65"/>
                    </a:lnTo>
                    <a:lnTo>
                      <a:pt x="13" y="65"/>
                    </a:lnTo>
                    <a:lnTo>
                      <a:pt x="11" y="70"/>
                    </a:lnTo>
                    <a:lnTo>
                      <a:pt x="9" y="70"/>
                    </a:lnTo>
                    <a:lnTo>
                      <a:pt x="4" y="65"/>
                    </a:lnTo>
                    <a:lnTo>
                      <a:pt x="0" y="50"/>
                    </a:lnTo>
                    <a:lnTo>
                      <a:pt x="2" y="4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50" name="Swaziland"/>
              <p:cNvSpPr>
                <a:spLocks/>
              </p:cNvSpPr>
              <p:nvPr/>
            </p:nvSpPr>
            <p:spPr bwMode="auto">
              <a:xfrm>
                <a:off x="5023961" y="5413052"/>
                <a:ext cx="37962" cy="53484"/>
              </a:xfrm>
              <a:custGeom>
                <a:avLst/>
                <a:gdLst>
                  <a:gd name="T0" fmla="*/ 60 w 105"/>
                  <a:gd name="T1" fmla="*/ 9 h 123"/>
                  <a:gd name="T2" fmla="*/ 85 w 105"/>
                  <a:gd name="T3" fmla="*/ 22 h 123"/>
                  <a:gd name="T4" fmla="*/ 87 w 105"/>
                  <a:gd name="T5" fmla="*/ 22 h 123"/>
                  <a:gd name="T6" fmla="*/ 93 w 105"/>
                  <a:gd name="T7" fmla="*/ 61 h 123"/>
                  <a:gd name="T8" fmla="*/ 88 w 105"/>
                  <a:gd name="T9" fmla="*/ 87 h 123"/>
                  <a:gd name="T10" fmla="*/ 85 w 105"/>
                  <a:gd name="T11" fmla="*/ 86 h 123"/>
                  <a:gd name="T12" fmla="*/ 76 w 105"/>
                  <a:gd name="T13" fmla="*/ 122 h 123"/>
                  <a:gd name="T14" fmla="*/ 39 w 105"/>
                  <a:gd name="T15" fmla="*/ 119 h 123"/>
                  <a:gd name="T16" fmla="*/ 14 w 105"/>
                  <a:gd name="T17" fmla="*/ 101 h 123"/>
                  <a:gd name="T18" fmla="*/ 1 w 105"/>
                  <a:gd name="T19" fmla="*/ 80 h 123"/>
                  <a:gd name="T20" fmla="*/ 12 w 105"/>
                  <a:gd name="T21" fmla="*/ 45 h 123"/>
                  <a:gd name="T22" fmla="*/ 34 w 105"/>
                  <a:gd name="T23" fmla="*/ 14 h 123"/>
                  <a:gd name="T24" fmla="*/ 60 w 105"/>
                  <a:gd name="T25" fmla="*/ 9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5" h="123">
                    <a:moveTo>
                      <a:pt x="60" y="9"/>
                    </a:moveTo>
                    <a:cubicBezTo>
                      <a:pt x="67" y="13"/>
                      <a:pt x="78" y="27"/>
                      <a:pt x="85" y="22"/>
                    </a:cubicBezTo>
                    <a:cubicBezTo>
                      <a:pt x="87" y="22"/>
                      <a:pt x="87" y="22"/>
                      <a:pt x="87" y="22"/>
                    </a:cubicBezTo>
                    <a:cubicBezTo>
                      <a:pt x="105" y="29"/>
                      <a:pt x="85" y="48"/>
                      <a:pt x="93" y="61"/>
                    </a:cubicBezTo>
                    <a:cubicBezTo>
                      <a:pt x="92" y="68"/>
                      <a:pt x="96" y="86"/>
                      <a:pt x="88" y="87"/>
                    </a:cubicBezTo>
                    <a:cubicBezTo>
                      <a:pt x="87" y="87"/>
                      <a:pt x="86" y="87"/>
                      <a:pt x="85" y="86"/>
                    </a:cubicBezTo>
                    <a:cubicBezTo>
                      <a:pt x="78" y="97"/>
                      <a:pt x="79" y="111"/>
                      <a:pt x="76" y="122"/>
                    </a:cubicBezTo>
                    <a:cubicBezTo>
                      <a:pt x="64" y="122"/>
                      <a:pt x="50" y="123"/>
                      <a:pt x="39" y="119"/>
                    </a:cubicBezTo>
                    <a:cubicBezTo>
                      <a:pt x="28" y="116"/>
                      <a:pt x="20" y="109"/>
                      <a:pt x="14" y="101"/>
                    </a:cubicBezTo>
                    <a:cubicBezTo>
                      <a:pt x="10" y="93"/>
                      <a:pt x="12" y="79"/>
                      <a:pt x="1" y="80"/>
                    </a:cubicBezTo>
                    <a:cubicBezTo>
                      <a:pt x="3" y="68"/>
                      <a:pt x="0" y="53"/>
                      <a:pt x="12" y="45"/>
                    </a:cubicBezTo>
                    <a:cubicBezTo>
                      <a:pt x="22" y="37"/>
                      <a:pt x="25" y="23"/>
                      <a:pt x="34" y="14"/>
                    </a:cubicBezTo>
                    <a:cubicBezTo>
                      <a:pt x="40" y="6"/>
                      <a:pt x="52" y="0"/>
                      <a:pt x="60" y="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51" name="Suriname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2730707" y="4384789"/>
                <a:ext cx="88003" cy="12249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2" y="0"/>
                  </a:cxn>
                  <a:cxn ang="0">
                    <a:pos x="2" y="0"/>
                  </a:cxn>
                  <a:cxn ang="0">
                    <a:pos x="0" y="11"/>
                  </a:cxn>
                  <a:cxn ang="0">
                    <a:pos x="4" y="22"/>
                  </a:cxn>
                  <a:cxn ang="0">
                    <a:pos x="8" y="22"/>
                  </a:cxn>
                  <a:cxn ang="0">
                    <a:pos x="8" y="20"/>
                  </a:cxn>
                  <a:cxn ang="0">
                    <a:pos x="16" y="22"/>
                  </a:cxn>
                  <a:cxn ang="0">
                    <a:pos x="16" y="13"/>
                  </a:cxn>
                  <a:cxn ang="0">
                    <a:pos x="16" y="6"/>
                  </a:cxn>
                  <a:cxn ang="0">
                    <a:pos x="16" y="4"/>
                  </a:cxn>
                  <a:cxn ang="0">
                    <a:pos x="16" y="0"/>
                  </a:cxn>
                </a:cxnLst>
                <a:rect l="0" t="0" r="r" b="b"/>
                <a:pathLst>
                  <a:path w="16" h="22">
                    <a:moveTo>
                      <a:pt x="16" y="0"/>
                    </a:moveTo>
                    <a:lnTo>
                      <a:pt x="12" y="0"/>
                    </a:lnTo>
                    <a:lnTo>
                      <a:pt x="2" y="0"/>
                    </a:lnTo>
                    <a:lnTo>
                      <a:pt x="0" y="11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16" y="22"/>
                    </a:lnTo>
                    <a:lnTo>
                      <a:pt x="16" y="13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3334181" name="Sudan"/>
              <p:cNvGrpSpPr>
                <a:grpSpLocks/>
              </p:cNvGrpSpPr>
              <p:nvPr/>
            </p:nvGrpSpPr>
            <p:grpSpPr bwMode="auto">
              <a:xfrm>
                <a:off x="4812503" y="3818527"/>
                <a:ext cx="435163" cy="640117"/>
                <a:chOff x="4812503" y="3799438"/>
                <a:chExt cx="435163" cy="640117"/>
              </a:xfrm>
            </p:grpSpPr>
            <p:sp>
              <p:nvSpPr>
                <p:cNvPr id="831" name="Sudan"/>
                <p:cNvSpPr>
                  <a:spLocks/>
                </p:cNvSpPr>
                <p:nvPr/>
              </p:nvSpPr>
              <p:spPr bwMode="auto">
                <a:xfrm>
                  <a:off x="4877289" y="4160393"/>
                  <a:ext cx="303696" cy="279494"/>
                </a:xfrm>
                <a:custGeom>
                  <a:avLst/>
                  <a:gdLst>
                    <a:gd name="T0" fmla="*/ 773 w 833"/>
                    <a:gd name="T1" fmla="*/ 556 h 647"/>
                    <a:gd name="T2" fmla="*/ 741 w 833"/>
                    <a:gd name="T3" fmla="*/ 591 h 647"/>
                    <a:gd name="T4" fmla="*/ 681 w 833"/>
                    <a:gd name="T5" fmla="*/ 626 h 647"/>
                    <a:gd name="T6" fmla="*/ 608 w 833"/>
                    <a:gd name="T7" fmla="*/ 644 h 647"/>
                    <a:gd name="T8" fmla="*/ 554 w 833"/>
                    <a:gd name="T9" fmla="*/ 633 h 647"/>
                    <a:gd name="T10" fmla="*/ 509 w 833"/>
                    <a:gd name="T11" fmla="*/ 646 h 647"/>
                    <a:gd name="T12" fmla="*/ 480 w 833"/>
                    <a:gd name="T13" fmla="*/ 619 h 647"/>
                    <a:gd name="T14" fmla="*/ 428 w 833"/>
                    <a:gd name="T15" fmla="*/ 579 h 647"/>
                    <a:gd name="T16" fmla="*/ 382 w 833"/>
                    <a:gd name="T17" fmla="*/ 582 h 647"/>
                    <a:gd name="T18" fmla="*/ 325 w 833"/>
                    <a:gd name="T19" fmla="*/ 588 h 647"/>
                    <a:gd name="T20" fmla="*/ 291 w 833"/>
                    <a:gd name="T21" fmla="*/ 567 h 647"/>
                    <a:gd name="T22" fmla="*/ 252 w 833"/>
                    <a:gd name="T23" fmla="*/ 533 h 647"/>
                    <a:gd name="T24" fmla="*/ 244 w 833"/>
                    <a:gd name="T25" fmla="*/ 521 h 647"/>
                    <a:gd name="T26" fmla="*/ 207 w 833"/>
                    <a:gd name="T27" fmla="*/ 467 h 647"/>
                    <a:gd name="T28" fmla="*/ 181 w 833"/>
                    <a:gd name="T29" fmla="*/ 445 h 647"/>
                    <a:gd name="T30" fmla="*/ 153 w 833"/>
                    <a:gd name="T31" fmla="*/ 399 h 647"/>
                    <a:gd name="T32" fmla="*/ 86 w 833"/>
                    <a:gd name="T33" fmla="*/ 348 h 647"/>
                    <a:gd name="T34" fmla="*/ 65 w 833"/>
                    <a:gd name="T35" fmla="*/ 311 h 647"/>
                    <a:gd name="T36" fmla="*/ 0 w 833"/>
                    <a:gd name="T37" fmla="*/ 276 h 647"/>
                    <a:gd name="T38" fmla="*/ 7 w 833"/>
                    <a:gd name="T39" fmla="*/ 256 h 647"/>
                    <a:gd name="T40" fmla="*/ 35 w 833"/>
                    <a:gd name="T41" fmla="*/ 224 h 647"/>
                    <a:gd name="T42" fmla="*/ 47 w 833"/>
                    <a:gd name="T43" fmla="*/ 204 h 647"/>
                    <a:gd name="T44" fmla="*/ 59 w 833"/>
                    <a:gd name="T45" fmla="*/ 174 h 647"/>
                    <a:gd name="T46" fmla="*/ 127 w 833"/>
                    <a:gd name="T47" fmla="*/ 134 h 647"/>
                    <a:gd name="T48" fmla="*/ 155 w 833"/>
                    <a:gd name="T49" fmla="*/ 168 h 647"/>
                    <a:gd name="T50" fmla="*/ 197 w 833"/>
                    <a:gd name="T51" fmla="*/ 204 h 647"/>
                    <a:gd name="T52" fmla="*/ 281 w 833"/>
                    <a:gd name="T53" fmla="*/ 198 h 647"/>
                    <a:gd name="T54" fmla="*/ 349 w 833"/>
                    <a:gd name="T55" fmla="*/ 214 h 647"/>
                    <a:gd name="T56" fmla="*/ 403 w 833"/>
                    <a:gd name="T57" fmla="*/ 184 h 647"/>
                    <a:gd name="T58" fmla="*/ 431 w 833"/>
                    <a:gd name="T59" fmla="*/ 142 h 647"/>
                    <a:gd name="T60" fmla="*/ 527 w 833"/>
                    <a:gd name="T61" fmla="*/ 184 h 647"/>
                    <a:gd name="T62" fmla="*/ 581 w 833"/>
                    <a:gd name="T63" fmla="*/ 118 h 647"/>
                    <a:gd name="T64" fmla="*/ 615 w 833"/>
                    <a:gd name="T65" fmla="*/ 70 h 647"/>
                    <a:gd name="T66" fmla="*/ 595 w 833"/>
                    <a:gd name="T67" fmla="*/ 22 h 647"/>
                    <a:gd name="T68" fmla="*/ 637 w 833"/>
                    <a:gd name="T69" fmla="*/ 0 h 647"/>
                    <a:gd name="T70" fmla="*/ 671 w 833"/>
                    <a:gd name="T71" fmla="*/ 50 h 647"/>
                    <a:gd name="T72" fmla="*/ 701 w 833"/>
                    <a:gd name="T73" fmla="*/ 122 h 647"/>
                    <a:gd name="T74" fmla="*/ 725 w 833"/>
                    <a:gd name="T75" fmla="*/ 154 h 647"/>
                    <a:gd name="T76" fmla="*/ 723 w 833"/>
                    <a:gd name="T77" fmla="*/ 190 h 647"/>
                    <a:gd name="T78" fmla="*/ 737 w 833"/>
                    <a:gd name="T79" fmla="*/ 202 h 647"/>
                    <a:gd name="T80" fmla="*/ 741 w 833"/>
                    <a:gd name="T81" fmla="*/ 226 h 647"/>
                    <a:gd name="T82" fmla="*/ 707 w 833"/>
                    <a:gd name="T83" fmla="*/ 268 h 647"/>
                    <a:gd name="T84" fmla="*/ 662 w 833"/>
                    <a:gd name="T85" fmla="*/ 304 h 647"/>
                    <a:gd name="T86" fmla="*/ 725 w 833"/>
                    <a:gd name="T87" fmla="*/ 338 h 647"/>
                    <a:gd name="T88" fmla="*/ 773 w 833"/>
                    <a:gd name="T89" fmla="*/ 387 h 647"/>
                    <a:gd name="T90" fmla="*/ 811 w 833"/>
                    <a:gd name="T91" fmla="*/ 455 h 647"/>
                    <a:gd name="T92" fmla="*/ 833 w 833"/>
                    <a:gd name="T93" fmla="*/ 492 h 6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833" h="647">
                      <a:moveTo>
                        <a:pt x="772" y="555"/>
                      </a:moveTo>
                      <a:cubicBezTo>
                        <a:pt x="773" y="556"/>
                        <a:pt x="773" y="556"/>
                        <a:pt x="773" y="556"/>
                      </a:cubicBezTo>
                      <a:cubicBezTo>
                        <a:pt x="772" y="558"/>
                        <a:pt x="771" y="559"/>
                        <a:pt x="770" y="561"/>
                      </a:cubicBezTo>
                      <a:cubicBezTo>
                        <a:pt x="760" y="571"/>
                        <a:pt x="751" y="581"/>
                        <a:pt x="741" y="591"/>
                      </a:cubicBezTo>
                      <a:cubicBezTo>
                        <a:pt x="735" y="598"/>
                        <a:pt x="728" y="605"/>
                        <a:pt x="721" y="612"/>
                      </a:cubicBezTo>
                      <a:cubicBezTo>
                        <a:pt x="712" y="627"/>
                        <a:pt x="697" y="630"/>
                        <a:pt x="681" y="626"/>
                      </a:cubicBezTo>
                      <a:cubicBezTo>
                        <a:pt x="672" y="613"/>
                        <a:pt x="661" y="622"/>
                        <a:pt x="650" y="626"/>
                      </a:cubicBezTo>
                      <a:cubicBezTo>
                        <a:pt x="636" y="629"/>
                        <a:pt x="611" y="625"/>
                        <a:pt x="608" y="644"/>
                      </a:cubicBezTo>
                      <a:cubicBezTo>
                        <a:pt x="600" y="646"/>
                        <a:pt x="590" y="639"/>
                        <a:pt x="587" y="632"/>
                      </a:cubicBezTo>
                      <a:cubicBezTo>
                        <a:pt x="579" y="613"/>
                        <a:pt x="567" y="641"/>
                        <a:pt x="554" y="633"/>
                      </a:cubicBezTo>
                      <a:cubicBezTo>
                        <a:pt x="541" y="619"/>
                        <a:pt x="521" y="626"/>
                        <a:pt x="512" y="640"/>
                      </a:cubicBezTo>
                      <a:cubicBezTo>
                        <a:pt x="511" y="644"/>
                        <a:pt x="510" y="646"/>
                        <a:pt x="509" y="646"/>
                      </a:cubicBezTo>
                      <a:cubicBezTo>
                        <a:pt x="506" y="646"/>
                        <a:pt x="504" y="630"/>
                        <a:pt x="496" y="637"/>
                      </a:cubicBezTo>
                      <a:cubicBezTo>
                        <a:pt x="480" y="647"/>
                        <a:pt x="493" y="620"/>
                        <a:pt x="480" y="619"/>
                      </a:cubicBezTo>
                      <a:cubicBezTo>
                        <a:pt x="462" y="617"/>
                        <a:pt x="454" y="604"/>
                        <a:pt x="443" y="593"/>
                      </a:cubicBezTo>
                      <a:cubicBezTo>
                        <a:pt x="441" y="583"/>
                        <a:pt x="432" y="586"/>
                        <a:pt x="428" y="579"/>
                      </a:cubicBezTo>
                      <a:cubicBezTo>
                        <a:pt x="433" y="565"/>
                        <a:pt x="417" y="560"/>
                        <a:pt x="406" y="559"/>
                      </a:cubicBezTo>
                      <a:cubicBezTo>
                        <a:pt x="401" y="565"/>
                        <a:pt x="395" y="585"/>
                        <a:pt x="382" y="582"/>
                      </a:cubicBezTo>
                      <a:cubicBezTo>
                        <a:pt x="374" y="570"/>
                        <a:pt x="358" y="577"/>
                        <a:pt x="350" y="568"/>
                      </a:cubicBezTo>
                      <a:cubicBezTo>
                        <a:pt x="343" y="576"/>
                        <a:pt x="334" y="583"/>
                        <a:pt x="325" y="588"/>
                      </a:cubicBezTo>
                      <a:cubicBezTo>
                        <a:pt x="329" y="594"/>
                        <a:pt x="307" y="586"/>
                        <a:pt x="303" y="578"/>
                      </a:cubicBezTo>
                      <a:cubicBezTo>
                        <a:pt x="294" y="580"/>
                        <a:pt x="299" y="567"/>
                        <a:pt x="291" y="567"/>
                      </a:cubicBezTo>
                      <a:cubicBezTo>
                        <a:pt x="278" y="573"/>
                        <a:pt x="278" y="556"/>
                        <a:pt x="273" y="551"/>
                      </a:cubicBezTo>
                      <a:cubicBezTo>
                        <a:pt x="269" y="541"/>
                        <a:pt x="258" y="542"/>
                        <a:pt x="252" y="533"/>
                      </a:cubicBezTo>
                      <a:cubicBezTo>
                        <a:pt x="251" y="531"/>
                        <a:pt x="251" y="531"/>
                        <a:pt x="251" y="531"/>
                      </a:cubicBezTo>
                      <a:cubicBezTo>
                        <a:pt x="253" y="531"/>
                        <a:pt x="249" y="522"/>
                        <a:pt x="244" y="521"/>
                      </a:cubicBezTo>
                      <a:cubicBezTo>
                        <a:pt x="231" y="513"/>
                        <a:pt x="240" y="496"/>
                        <a:pt x="235" y="488"/>
                      </a:cubicBezTo>
                      <a:cubicBezTo>
                        <a:pt x="232" y="475"/>
                        <a:pt x="217" y="471"/>
                        <a:pt x="207" y="467"/>
                      </a:cubicBezTo>
                      <a:cubicBezTo>
                        <a:pt x="202" y="454"/>
                        <a:pt x="187" y="462"/>
                        <a:pt x="181" y="453"/>
                      </a:cubicBezTo>
                      <a:cubicBezTo>
                        <a:pt x="172" y="453"/>
                        <a:pt x="177" y="449"/>
                        <a:pt x="181" y="445"/>
                      </a:cubicBezTo>
                      <a:cubicBezTo>
                        <a:pt x="178" y="435"/>
                        <a:pt x="157" y="432"/>
                        <a:pt x="166" y="419"/>
                      </a:cubicBezTo>
                      <a:cubicBezTo>
                        <a:pt x="178" y="407"/>
                        <a:pt x="159" y="406"/>
                        <a:pt x="153" y="399"/>
                      </a:cubicBezTo>
                      <a:cubicBezTo>
                        <a:pt x="146" y="388"/>
                        <a:pt x="138" y="380"/>
                        <a:pt x="126" y="373"/>
                      </a:cubicBezTo>
                      <a:cubicBezTo>
                        <a:pt x="112" y="366"/>
                        <a:pt x="95" y="362"/>
                        <a:pt x="86" y="348"/>
                      </a:cubicBezTo>
                      <a:cubicBezTo>
                        <a:pt x="71" y="343"/>
                        <a:pt x="87" y="337"/>
                        <a:pt x="87" y="330"/>
                      </a:cubicBezTo>
                      <a:cubicBezTo>
                        <a:pt x="88" y="315"/>
                        <a:pt x="72" y="318"/>
                        <a:pt x="65" y="311"/>
                      </a:cubicBezTo>
                      <a:cubicBezTo>
                        <a:pt x="60" y="298"/>
                        <a:pt x="47" y="289"/>
                        <a:pt x="33" y="293"/>
                      </a:cubicBezTo>
                      <a:cubicBezTo>
                        <a:pt x="23" y="285"/>
                        <a:pt x="1" y="294"/>
                        <a:pt x="0" y="276"/>
                      </a:cubicBezTo>
                      <a:cubicBezTo>
                        <a:pt x="5" y="271"/>
                        <a:pt x="11" y="259"/>
                        <a:pt x="4" y="256"/>
                      </a:cubicBezTo>
                      <a:cubicBezTo>
                        <a:pt x="7" y="256"/>
                        <a:pt x="7" y="256"/>
                        <a:pt x="7" y="256"/>
                      </a:cubicBezTo>
                      <a:cubicBezTo>
                        <a:pt x="35" y="242"/>
                        <a:pt x="35" y="242"/>
                        <a:pt x="35" y="242"/>
                      </a:cubicBezTo>
                      <a:cubicBezTo>
                        <a:pt x="35" y="224"/>
                        <a:pt x="35" y="224"/>
                        <a:pt x="35" y="224"/>
                      </a:cubicBezTo>
                      <a:cubicBezTo>
                        <a:pt x="35" y="208"/>
                        <a:pt x="35" y="208"/>
                        <a:pt x="35" y="208"/>
                      </a:cubicBezTo>
                      <a:cubicBezTo>
                        <a:pt x="47" y="204"/>
                        <a:pt x="47" y="204"/>
                        <a:pt x="47" y="204"/>
                      </a:cubicBezTo>
                      <a:cubicBezTo>
                        <a:pt x="47" y="178"/>
                        <a:pt x="47" y="178"/>
                        <a:pt x="47" y="178"/>
                      </a:cubicBezTo>
                      <a:cubicBezTo>
                        <a:pt x="59" y="174"/>
                        <a:pt x="59" y="174"/>
                        <a:pt x="59" y="174"/>
                      </a:cubicBezTo>
                      <a:cubicBezTo>
                        <a:pt x="69" y="146"/>
                        <a:pt x="69" y="146"/>
                        <a:pt x="69" y="146"/>
                      </a:cubicBezTo>
                      <a:cubicBezTo>
                        <a:pt x="127" y="134"/>
                        <a:pt x="127" y="134"/>
                        <a:pt x="127" y="134"/>
                      </a:cubicBezTo>
                      <a:cubicBezTo>
                        <a:pt x="137" y="152"/>
                        <a:pt x="137" y="152"/>
                        <a:pt x="137" y="152"/>
                      </a:cubicBezTo>
                      <a:cubicBezTo>
                        <a:pt x="155" y="168"/>
                        <a:pt x="155" y="168"/>
                        <a:pt x="155" y="168"/>
                      </a:cubicBezTo>
                      <a:cubicBezTo>
                        <a:pt x="167" y="198"/>
                        <a:pt x="167" y="198"/>
                        <a:pt x="167" y="198"/>
                      </a:cubicBezTo>
                      <a:cubicBezTo>
                        <a:pt x="197" y="204"/>
                        <a:pt x="197" y="204"/>
                        <a:pt x="197" y="204"/>
                      </a:cubicBezTo>
                      <a:cubicBezTo>
                        <a:pt x="211" y="192"/>
                        <a:pt x="211" y="192"/>
                        <a:pt x="211" y="192"/>
                      </a:cubicBezTo>
                      <a:cubicBezTo>
                        <a:pt x="281" y="198"/>
                        <a:pt x="281" y="198"/>
                        <a:pt x="281" y="198"/>
                      </a:cubicBezTo>
                      <a:cubicBezTo>
                        <a:pt x="289" y="212"/>
                        <a:pt x="289" y="212"/>
                        <a:pt x="289" y="212"/>
                      </a:cubicBezTo>
                      <a:cubicBezTo>
                        <a:pt x="349" y="214"/>
                        <a:pt x="349" y="214"/>
                        <a:pt x="349" y="214"/>
                      </a:cubicBezTo>
                      <a:cubicBezTo>
                        <a:pt x="367" y="188"/>
                        <a:pt x="367" y="188"/>
                        <a:pt x="367" y="188"/>
                      </a:cubicBezTo>
                      <a:cubicBezTo>
                        <a:pt x="403" y="184"/>
                        <a:pt x="403" y="184"/>
                        <a:pt x="403" y="184"/>
                      </a:cubicBezTo>
                      <a:cubicBezTo>
                        <a:pt x="405" y="166"/>
                        <a:pt x="405" y="166"/>
                        <a:pt x="405" y="166"/>
                      </a:cubicBezTo>
                      <a:cubicBezTo>
                        <a:pt x="431" y="142"/>
                        <a:pt x="431" y="142"/>
                        <a:pt x="431" y="142"/>
                      </a:cubicBezTo>
                      <a:cubicBezTo>
                        <a:pt x="495" y="182"/>
                        <a:pt x="495" y="182"/>
                        <a:pt x="495" y="182"/>
                      </a:cubicBezTo>
                      <a:cubicBezTo>
                        <a:pt x="527" y="184"/>
                        <a:pt x="527" y="184"/>
                        <a:pt x="527" y="184"/>
                      </a:cubicBezTo>
                      <a:cubicBezTo>
                        <a:pt x="569" y="142"/>
                        <a:pt x="569" y="142"/>
                        <a:pt x="569" y="142"/>
                      </a:cubicBezTo>
                      <a:cubicBezTo>
                        <a:pt x="581" y="118"/>
                        <a:pt x="581" y="118"/>
                        <a:pt x="581" y="118"/>
                      </a:cubicBezTo>
                      <a:cubicBezTo>
                        <a:pt x="623" y="84"/>
                        <a:pt x="623" y="84"/>
                        <a:pt x="623" y="84"/>
                      </a:cubicBezTo>
                      <a:cubicBezTo>
                        <a:pt x="615" y="70"/>
                        <a:pt x="615" y="70"/>
                        <a:pt x="615" y="70"/>
                      </a:cubicBezTo>
                      <a:cubicBezTo>
                        <a:pt x="615" y="42"/>
                        <a:pt x="615" y="42"/>
                        <a:pt x="615" y="42"/>
                      </a:cubicBezTo>
                      <a:cubicBezTo>
                        <a:pt x="595" y="22"/>
                        <a:pt x="595" y="22"/>
                        <a:pt x="595" y="22"/>
                      </a:cubicBezTo>
                      <a:cubicBezTo>
                        <a:pt x="637" y="18"/>
                        <a:pt x="637" y="18"/>
                        <a:pt x="637" y="18"/>
                      </a:cubicBezTo>
                      <a:cubicBezTo>
                        <a:pt x="637" y="0"/>
                        <a:pt x="637" y="0"/>
                        <a:pt x="637" y="0"/>
                      </a:cubicBezTo>
                      <a:cubicBezTo>
                        <a:pt x="677" y="0"/>
                        <a:pt x="677" y="0"/>
                        <a:pt x="677" y="0"/>
                      </a:cubicBezTo>
                      <a:cubicBezTo>
                        <a:pt x="671" y="50"/>
                        <a:pt x="671" y="50"/>
                        <a:pt x="671" y="50"/>
                      </a:cubicBezTo>
                      <a:cubicBezTo>
                        <a:pt x="679" y="112"/>
                        <a:pt x="679" y="112"/>
                        <a:pt x="679" y="112"/>
                      </a:cubicBezTo>
                      <a:cubicBezTo>
                        <a:pt x="701" y="122"/>
                        <a:pt x="701" y="122"/>
                        <a:pt x="701" y="122"/>
                      </a:cubicBezTo>
                      <a:cubicBezTo>
                        <a:pt x="717" y="154"/>
                        <a:pt x="717" y="154"/>
                        <a:pt x="717" y="154"/>
                      </a:cubicBezTo>
                      <a:cubicBezTo>
                        <a:pt x="725" y="154"/>
                        <a:pt x="725" y="154"/>
                        <a:pt x="725" y="154"/>
                      </a:cubicBezTo>
                      <a:cubicBezTo>
                        <a:pt x="721" y="178"/>
                        <a:pt x="721" y="178"/>
                        <a:pt x="721" y="178"/>
                      </a:cubicBezTo>
                      <a:cubicBezTo>
                        <a:pt x="723" y="190"/>
                        <a:pt x="723" y="190"/>
                        <a:pt x="723" y="190"/>
                      </a:cubicBezTo>
                      <a:cubicBezTo>
                        <a:pt x="725" y="200"/>
                        <a:pt x="725" y="200"/>
                        <a:pt x="725" y="200"/>
                      </a:cubicBezTo>
                      <a:cubicBezTo>
                        <a:pt x="737" y="202"/>
                        <a:pt x="737" y="202"/>
                        <a:pt x="737" y="202"/>
                      </a:cubicBezTo>
                      <a:cubicBezTo>
                        <a:pt x="738" y="202"/>
                        <a:pt x="738" y="202"/>
                        <a:pt x="738" y="202"/>
                      </a:cubicBezTo>
                      <a:cubicBezTo>
                        <a:pt x="739" y="210"/>
                        <a:pt x="740" y="218"/>
                        <a:pt x="741" y="226"/>
                      </a:cubicBezTo>
                      <a:cubicBezTo>
                        <a:pt x="740" y="238"/>
                        <a:pt x="746" y="254"/>
                        <a:pt x="736" y="264"/>
                      </a:cubicBezTo>
                      <a:cubicBezTo>
                        <a:pt x="727" y="268"/>
                        <a:pt x="713" y="280"/>
                        <a:pt x="707" y="268"/>
                      </a:cubicBezTo>
                      <a:cubicBezTo>
                        <a:pt x="695" y="269"/>
                        <a:pt x="674" y="262"/>
                        <a:pt x="671" y="277"/>
                      </a:cubicBezTo>
                      <a:cubicBezTo>
                        <a:pt x="677" y="287"/>
                        <a:pt x="669" y="296"/>
                        <a:pt x="662" y="304"/>
                      </a:cubicBezTo>
                      <a:cubicBezTo>
                        <a:pt x="653" y="320"/>
                        <a:pt x="675" y="317"/>
                        <a:pt x="682" y="323"/>
                      </a:cubicBezTo>
                      <a:cubicBezTo>
                        <a:pt x="699" y="321"/>
                        <a:pt x="713" y="328"/>
                        <a:pt x="725" y="338"/>
                      </a:cubicBezTo>
                      <a:cubicBezTo>
                        <a:pt x="740" y="343"/>
                        <a:pt x="734" y="363"/>
                        <a:pt x="748" y="366"/>
                      </a:cubicBezTo>
                      <a:cubicBezTo>
                        <a:pt x="751" y="380"/>
                        <a:pt x="764" y="381"/>
                        <a:pt x="773" y="387"/>
                      </a:cubicBezTo>
                      <a:cubicBezTo>
                        <a:pt x="773" y="402"/>
                        <a:pt x="795" y="398"/>
                        <a:pt x="795" y="414"/>
                      </a:cubicBezTo>
                      <a:cubicBezTo>
                        <a:pt x="799" y="428"/>
                        <a:pt x="807" y="441"/>
                        <a:pt x="811" y="455"/>
                      </a:cubicBezTo>
                      <a:cubicBezTo>
                        <a:pt x="812" y="467"/>
                        <a:pt x="819" y="476"/>
                        <a:pt x="825" y="485"/>
                      </a:cubicBezTo>
                      <a:cubicBezTo>
                        <a:pt x="830" y="486"/>
                        <a:pt x="832" y="489"/>
                        <a:pt x="833" y="492"/>
                      </a:cubicBezTo>
                      <a:lnTo>
                        <a:pt x="772" y="555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32" name="Sudan"/>
                <p:cNvSpPr>
                  <a:spLocks/>
                </p:cNvSpPr>
                <p:nvPr/>
              </p:nvSpPr>
              <p:spPr bwMode="auto">
                <a:xfrm>
                  <a:off x="4811718" y="3799811"/>
                  <a:ext cx="436564" cy="471000"/>
                </a:xfrm>
                <a:custGeom>
                  <a:avLst/>
                  <a:gdLst>
                    <a:gd name="T0" fmla="*/ 1080 w 1200"/>
                    <a:gd name="T1" fmla="*/ 117 h 1036"/>
                    <a:gd name="T2" fmla="*/ 1103 w 1200"/>
                    <a:gd name="T3" fmla="*/ 236 h 1036"/>
                    <a:gd name="T4" fmla="*/ 1136 w 1200"/>
                    <a:gd name="T5" fmla="*/ 265 h 1036"/>
                    <a:gd name="T6" fmla="*/ 1164 w 1200"/>
                    <a:gd name="T7" fmla="*/ 286 h 1036"/>
                    <a:gd name="T8" fmla="*/ 1185 w 1200"/>
                    <a:gd name="T9" fmla="*/ 293 h 1036"/>
                    <a:gd name="T10" fmla="*/ 1200 w 1200"/>
                    <a:gd name="T11" fmla="*/ 311 h 1036"/>
                    <a:gd name="T12" fmla="*/ 1182 w 1200"/>
                    <a:gd name="T13" fmla="*/ 341 h 1036"/>
                    <a:gd name="T14" fmla="*/ 1147 w 1200"/>
                    <a:gd name="T15" fmla="*/ 353 h 1036"/>
                    <a:gd name="T16" fmla="*/ 1103 w 1200"/>
                    <a:gd name="T17" fmla="*/ 388 h 1036"/>
                    <a:gd name="T18" fmla="*/ 1092 w 1200"/>
                    <a:gd name="T19" fmla="*/ 453 h 1036"/>
                    <a:gd name="T20" fmla="*/ 1064 w 1200"/>
                    <a:gd name="T21" fmla="*/ 533 h 1036"/>
                    <a:gd name="T22" fmla="*/ 1076 w 1200"/>
                    <a:gd name="T23" fmla="*/ 600 h 1036"/>
                    <a:gd name="T24" fmla="*/ 1060 w 1200"/>
                    <a:gd name="T25" fmla="*/ 668 h 1036"/>
                    <a:gd name="T26" fmla="*/ 1021 w 1200"/>
                    <a:gd name="T27" fmla="*/ 729 h 1036"/>
                    <a:gd name="T28" fmla="*/ 980 w 1200"/>
                    <a:gd name="T29" fmla="*/ 796 h 1036"/>
                    <a:gd name="T30" fmla="*/ 972 w 1200"/>
                    <a:gd name="T31" fmla="*/ 868 h 1036"/>
                    <a:gd name="T32" fmla="*/ 928 w 1200"/>
                    <a:gd name="T33" fmla="*/ 888 h 1036"/>
                    <a:gd name="T34" fmla="*/ 917 w 1200"/>
                    <a:gd name="T35" fmla="*/ 961 h 1036"/>
                    <a:gd name="T36" fmla="*/ 918 w 1200"/>
                    <a:gd name="T37" fmla="*/ 982 h 1036"/>
                    <a:gd name="T38" fmla="*/ 904 w 1200"/>
                    <a:gd name="T39" fmla="*/ 970 h 1036"/>
                    <a:gd name="T40" fmla="*/ 906 w 1200"/>
                    <a:gd name="T41" fmla="*/ 934 h 1036"/>
                    <a:gd name="T42" fmla="*/ 882 w 1200"/>
                    <a:gd name="T43" fmla="*/ 902 h 1036"/>
                    <a:gd name="T44" fmla="*/ 852 w 1200"/>
                    <a:gd name="T45" fmla="*/ 830 h 1036"/>
                    <a:gd name="T46" fmla="*/ 818 w 1200"/>
                    <a:gd name="T47" fmla="*/ 780 h 1036"/>
                    <a:gd name="T48" fmla="*/ 776 w 1200"/>
                    <a:gd name="T49" fmla="*/ 802 h 1036"/>
                    <a:gd name="T50" fmla="*/ 796 w 1200"/>
                    <a:gd name="T51" fmla="*/ 850 h 1036"/>
                    <a:gd name="T52" fmla="*/ 762 w 1200"/>
                    <a:gd name="T53" fmla="*/ 898 h 1036"/>
                    <a:gd name="T54" fmla="*/ 708 w 1200"/>
                    <a:gd name="T55" fmla="*/ 964 h 1036"/>
                    <a:gd name="T56" fmla="*/ 612 w 1200"/>
                    <a:gd name="T57" fmla="*/ 922 h 1036"/>
                    <a:gd name="T58" fmla="*/ 584 w 1200"/>
                    <a:gd name="T59" fmla="*/ 964 h 1036"/>
                    <a:gd name="T60" fmla="*/ 538 w 1200"/>
                    <a:gd name="T61" fmla="*/ 958 h 1036"/>
                    <a:gd name="T62" fmla="*/ 458 w 1200"/>
                    <a:gd name="T63" fmla="*/ 938 h 1036"/>
                    <a:gd name="T64" fmla="*/ 392 w 1200"/>
                    <a:gd name="T65" fmla="*/ 972 h 1036"/>
                    <a:gd name="T66" fmla="*/ 348 w 1200"/>
                    <a:gd name="T67" fmla="*/ 978 h 1036"/>
                    <a:gd name="T68" fmla="*/ 318 w 1200"/>
                    <a:gd name="T69" fmla="*/ 932 h 1036"/>
                    <a:gd name="T70" fmla="*/ 250 w 1200"/>
                    <a:gd name="T71" fmla="*/ 926 h 1036"/>
                    <a:gd name="T72" fmla="*/ 228 w 1200"/>
                    <a:gd name="T73" fmla="*/ 958 h 1036"/>
                    <a:gd name="T74" fmla="*/ 216 w 1200"/>
                    <a:gd name="T75" fmla="*/ 988 h 1036"/>
                    <a:gd name="T76" fmla="*/ 216 w 1200"/>
                    <a:gd name="T77" fmla="*/ 1022 h 1036"/>
                    <a:gd name="T78" fmla="*/ 185 w 1200"/>
                    <a:gd name="T79" fmla="*/ 1036 h 1036"/>
                    <a:gd name="T80" fmla="*/ 133 w 1200"/>
                    <a:gd name="T81" fmla="*/ 1032 h 1036"/>
                    <a:gd name="T82" fmla="*/ 143 w 1200"/>
                    <a:gd name="T83" fmla="*/ 982 h 1036"/>
                    <a:gd name="T84" fmla="*/ 116 w 1200"/>
                    <a:gd name="T85" fmla="*/ 904 h 1036"/>
                    <a:gd name="T86" fmla="*/ 78 w 1200"/>
                    <a:gd name="T87" fmla="*/ 867 h 1036"/>
                    <a:gd name="T88" fmla="*/ 76 w 1200"/>
                    <a:gd name="T89" fmla="*/ 830 h 1036"/>
                    <a:gd name="T90" fmla="*/ 53 w 1200"/>
                    <a:gd name="T91" fmla="*/ 783 h 1036"/>
                    <a:gd name="T92" fmla="*/ 22 w 1200"/>
                    <a:gd name="T93" fmla="*/ 739 h 1036"/>
                    <a:gd name="T94" fmla="*/ 31 w 1200"/>
                    <a:gd name="T95" fmla="*/ 675 h 1036"/>
                    <a:gd name="T96" fmla="*/ 54 w 1200"/>
                    <a:gd name="T97" fmla="*/ 621 h 1036"/>
                    <a:gd name="T98" fmla="*/ 50 w 1200"/>
                    <a:gd name="T99" fmla="*/ 588 h 1036"/>
                    <a:gd name="T100" fmla="*/ 84 w 1200"/>
                    <a:gd name="T101" fmla="*/ 537 h 1036"/>
                    <a:gd name="T102" fmla="*/ 124 w 1200"/>
                    <a:gd name="T103" fmla="*/ 505 h 1036"/>
                    <a:gd name="T104" fmla="*/ 146 w 1200"/>
                    <a:gd name="T105" fmla="*/ 223 h 1036"/>
                    <a:gd name="T106" fmla="*/ 145 w 1200"/>
                    <a:gd name="T107" fmla="*/ 186 h 1036"/>
                    <a:gd name="T108" fmla="*/ 209 w 1200"/>
                    <a:gd name="T109" fmla="*/ 36 h 1036"/>
                    <a:gd name="T110" fmla="*/ 669 w 1200"/>
                    <a:gd name="T111" fmla="*/ 12 h 1036"/>
                    <a:gd name="T112" fmla="*/ 788 w 1200"/>
                    <a:gd name="T113" fmla="*/ 21 h 1036"/>
                    <a:gd name="T114" fmla="*/ 815 w 1200"/>
                    <a:gd name="T115" fmla="*/ 40 h 1036"/>
                    <a:gd name="T116" fmla="*/ 851 w 1200"/>
                    <a:gd name="T117" fmla="*/ 19 h 1036"/>
                    <a:gd name="T118" fmla="*/ 1044 w 1200"/>
                    <a:gd name="T119" fmla="*/ 12 h 1036"/>
                    <a:gd name="T120" fmla="*/ 1053 w 1200"/>
                    <a:gd name="T121" fmla="*/ 48 h 1036"/>
                    <a:gd name="T122" fmla="*/ 1075 w 1200"/>
                    <a:gd name="T123" fmla="*/ 79 h 1036"/>
                    <a:gd name="connsiteX0" fmla="*/ 8922 w 9964"/>
                    <a:gd name="connsiteY0" fmla="*/ 685 h 9922"/>
                    <a:gd name="connsiteX1" fmla="*/ 8964 w 9964"/>
                    <a:gd name="connsiteY1" fmla="*/ 1051 h 9922"/>
                    <a:gd name="connsiteX2" fmla="*/ 9039 w 9964"/>
                    <a:gd name="connsiteY2" fmla="*/ 1698 h 9922"/>
                    <a:gd name="connsiteX3" fmla="*/ 9156 w 9964"/>
                    <a:gd name="connsiteY3" fmla="*/ 2200 h 9922"/>
                    <a:gd name="connsiteX4" fmla="*/ 9239 w 9964"/>
                    <a:gd name="connsiteY4" fmla="*/ 2374 h 9922"/>
                    <a:gd name="connsiteX5" fmla="*/ 9431 w 9964"/>
                    <a:gd name="connsiteY5" fmla="*/ 2480 h 9922"/>
                    <a:gd name="connsiteX6" fmla="*/ 9589 w 9964"/>
                    <a:gd name="connsiteY6" fmla="*/ 2557 h 9922"/>
                    <a:gd name="connsiteX7" fmla="*/ 9664 w 9964"/>
                    <a:gd name="connsiteY7" fmla="*/ 2683 h 9922"/>
                    <a:gd name="connsiteX8" fmla="*/ 9739 w 9964"/>
                    <a:gd name="connsiteY8" fmla="*/ 2721 h 9922"/>
                    <a:gd name="connsiteX9" fmla="*/ 9839 w 9964"/>
                    <a:gd name="connsiteY9" fmla="*/ 2750 h 9922"/>
                    <a:gd name="connsiteX10" fmla="*/ 9881 w 9964"/>
                    <a:gd name="connsiteY10" fmla="*/ 2856 h 9922"/>
                    <a:gd name="connsiteX11" fmla="*/ 9964 w 9964"/>
                    <a:gd name="connsiteY11" fmla="*/ 2924 h 9922"/>
                    <a:gd name="connsiteX12" fmla="*/ 9964 w 9964"/>
                    <a:gd name="connsiteY12" fmla="*/ 2924 h 9922"/>
                    <a:gd name="connsiteX13" fmla="*/ 9814 w 9964"/>
                    <a:gd name="connsiteY13" fmla="*/ 3214 h 9922"/>
                    <a:gd name="connsiteX14" fmla="*/ 9714 w 9964"/>
                    <a:gd name="connsiteY14" fmla="*/ 3310 h 9922"/>
                    <a:gd name="connsiteX15" fmla="*/ 9522 w 9964"/>
                    <a:gd name="connsiteY15" fmla="*/ 3329 h 9922"/>
                    <a:gd name="connsiteX16" fmla="*/ 9372 w 9964"/>
                    <a:gd name="connsiteY16" fmla="*/ 3474 h 9922"/>
                    <a:gd name="connsiteX17" fmla="*/ 9156 w 9964"/>
                    <a:gd name="connsiteY17" fmla="*/ 3667 h 9922"/>
                    <a:gd name="connsiteX18" fmla="*/ 9089 w 9964"/>
                    <a:gd name="connsiteY18" fmla="*/ 3870 h 9922"/>
                    <a:gd name="connsiteX19" fmla="*/ 9064 w 9964"/>
                    <a:gd name="connsiteY19" fmla="*/ 4295 h 9922"/>
                    <a:gd name="connsiteX20" fmla="*/ 8939 w 9964"/>
                    <a:gd name="connsiteY20" fmla="*/ 4710 h 9922"/>
                    <a:gd name="connsiteX21" fmla="*/ 8831 w 9964"/>
                    <a:gd name="connsiteY21" fmla="*/ 5067 h 9922"/>
                    <a:gd name="connsiteX22" fmla="*/ 8914 w 9964"/>
                    <a:gd name="connsiteY22" fmla="*/ 5617 h 9922"/>
                    <a:gd name="connsiteX23" fmla="*/ 8931 w 9964"/>
                    <a:gd name="connsiteY23" fmla="*/ 5714 h 9922"/>
                    <a:gd name="connsiteX24" fmla="*/ 8914 w 9964"/>
                    <a:gd name="connsiteY24" fmla="*/ 6032 h 9922"/>
                    <a:gd name="connsiteX25" fmla="*/ 8797 w 9964"/>
                    <a:gd name="connsiteY25" fmla="*/ 6370 h 9922"/>
                    <a:gd name="connsiteX26" fmla="*/ 8764 w 9964"/>
                    <a:gd name="connsiteY26" fmla="*/ 6843 h 9922"/>
                    <a:gd name="connsiteX27" fmla="*/ 8472 w 9964"/>
                    <a:gd name="connsiteY27" fmla="*/ 6959 h 9922"/>
                    <a:gd name="connsiteX28" fmla="*/ 8314 w 9964"/>
                    <a:gd name="connsiteY28" fmla="*/ 7297 h 9922"/>
                    <a:gd name="connsiteX29" fmla="*/ 8131 w 9964"/>
                    <a:gd name="connsiteY29" fmla="*/ 7605 h 9922"/>
                    <a:gd name="connsiteX30" fmla="*/ 8114 w 9964"/>
                    <a:gd name="connsiteY30" fmla="*/ 8059 h 9922"/>
                    <a:gd name="connsiteX31" fmla="*/ 8064 w 9964"/>
                    <a:gd name="connsiteY31" fmla="*/ 8300 h 9922"/>
                    <a:gd name="connsiteX32" fmla="*/ 7914 w 9964"/>
                    <a:gd name="connsiteY32" fmla="*/ 8252 h 9922"/>
                    <a:gd name="connsiteX33" fmla="*/ 7697 w 9964"/>
                    <a:gd name="connsiteY33" fmla="*/ 8493 h 9922"/>
                    <a:gd name="connsiteX34" fmla="*/ 7697 w 9964"/>
                    <a:gd name="connsiteY34" fmla="*/ 8851 h 9922"/>
                    <a:gd name="connsiteX35" fmla="*/ 7606 w 9964"/>
                    <a:gd name="connsiteY35" fmla="*/ 9198 h 9922"/>
                    <a:gd name="connsiteX36" fmla="*/ 7622 w 9964"/>
                    <a:gd name="connsiteY36" fmla="*/ 9401 h 9922"/>
                    <a:gd name="connsiteX37" fmla="*/ 7614 w 9964"/>
                    <a:gd name="connsiteY37" fmla="*/ 9401 h 9922"/>
                    <a:gd name="connsiteX38" fmla="*/ 7514 w 9964"/>
                    <a:gd name="connsiteY38" fmla="*/ 9381 h 9922"/>
                    <a:gd name="connsiteX39" fmla="*/ 7497 w 9964"/>
                    <a:gd name="connsiteY39" fmla="*/ 9285 h 9922"/>
                    <a:gd name="connsiteX40" fmla="*/ 7481 w 9964"/>
                    <a:gd name="connsiteY40" fmla="*/ 9169 h 9922"/>
                    <a:gd name="connsiteX41" fmla="*/ 7514 w 9964"/>
                    <a:gd name="connsiteY41" fmla="*/ 8937 h 9922"/>
                    <a:gd name="connsiteX42" fmla="*/ 7447 w 9964"/>
                    <a:gd name="connsiteY42" fmla="*/ 8937 h 9922"/>
                    <a:gd name="connsiteX43" fmla="*/ 7314 w 9964"/>
                    <a:gd name="connsiteY43" fmla="*/ 8629 h 9922"/>
                    <a:gd name="connsiteX44" fmla="*/ 7131 w 9964"/>
                    <a:gd name="connsiteY44" fmla="*/ 8532 h 9922"/>
                    <a:gd name="connsiteX45" fmla="*/ 7064 w 9964"/>
                    <a:gd name="connsiteY45" fmla="*/ 7934 h 9922"/>
                    <a:gd name="connsiteX46" fmla="*/ 7114 w 9964"/>
                    <a:gd name="connsiteY46" fmla="*/ 7451 h 9922"/>
                    <a:gd name="connsiteX47" fmla="*/ 6781 w 9964"/>
                    <a:gd name="connsiteY47" fmla="*/ 7451 h 9922"/>
                    <a:gd name="connsiteX48" fmla="*/ 6781 w 9964"/>
                    <a:gd name="connsiteY48" fmla="*/ 7625 h 9922"/>
                    <a:gd name="connsiteX49" fmla="*/ 6431 w 9964"/>
                    <a:gd name="connsiteY49" fmla="*/ 7663 h 9922"/>
                    <a:gd name="connsiteX50" fmla="*/ 6597 w 9964"/>
                    <a:gd name="connsiteY50" fmla="*/ 7856 h 9922"/>
                    <a:gd name="connsiteX51" fmla="*/ 6597 w 9964"/>
                    <a:gd name="connsiteY51" fmla="*/ 8127 h 9922"/>
                    <a:gd name="connsiteX52" fmla="*/ 6664 w 9964"/>
                    <a:gd name="connsiteY52" fmla="*/ 8262 h 9922"/>
                    <a:gd name="connsiteX53" fmla="*/ 6314 w 9964"/>
                    <a:gd name="connsiteY53" fmla="*/ 8590 h 9922"/>
                    <a:gd name="connsiteX54" fmla="*/ 6214 w 9964"/>
                    <a:gd name="connsiteY54" fmla="*/ 8822 h 9922"/>
                    <a:gd name="connsiteX55" fmla="*/ 5864 w 9964"/>
                    <a:gd name="connsiteY55" fmla="*/ 9227 h 9922"/>
                    <a:gd name="connsiteX56" fmla="*/ 5597 w 9964"/>
                    <a:gd name="connsiteY56" fmla="*/ 9208 h 9922"/>
                    <a:gd name="connsiteX57" fmla="*/ 5064 w 9964"/>
                    <a:gd name="connsiteY57" fmla="*/ 8822 h 9922"/>
                    <a:gd name="connsiteX58" fmla="*/ 4847 w 9964"/>
                    <a:gd name="connsiteY58" fmla="*/ 9053 h 9922"/>
                    <a:gd name="connsiteX59" fmla="*/ 4831 w 9964"/>
                    <a:gd name="connsiteY59" fmla="*/ 9227 h 9922"/>
                    <a:gd name="connsiteX60" fmla="*/ 4531 w 9964"/>
                    <a:gd name="connsiteY60" fmla="*/ 9266 h 9922"/>
                    <a:gd name="connsiteX61" fmla="*/ 4447 w 9964"/>
                    <a:gd name="connsiteY61" fmla="*/ 9169 h 9922"/>
                    <a:gd name="connsiteX62" fmla="*/ 4431 w 9964"/>
                    <a:gd name="connsiteY62" fmla="*/ 8957 h 9922"/>
                    <a:gd name="connsiteX63" fmla="*/ 3814 w 9964"/>
                    <a:gd name="connsiteY63" fmla="*/ 9362 h 9922"/>
                    <a:gd name="connsiteX64" fmla="*/ 3231 w 9964"/>
                    <a:gd name="connsiteY64" fmla="*/ 9304 h 9922"/>
                    <a:gd name="connsiteX65" fmla="*/ 3114 w 9964"/>
                    <a:gd name="connsiteY65" fmla="*/ 9420 h 9922"/>
                    <a:gd name="connsiteX66" fmla="*/ 2864 w 9964"/>
                    <a:gd name="connsiteY66" fmla="*/ 9362 h 9922"/>
                    <a:gd name="connsiteX67" fmla="*/ 2764 w 9964"/>
                    <a:gd name="connsiteY67" fmla="*/ 9073 h 9922"/>
                    <a:gd name="connsiteX68" fmla="*/ 2614 w 9964"/>
                    <a:gd name="connsiteY68" fmla="*/ 8918 h 9922"/>
                    <a:gd name="connsiteX69" fmla="*/ 2531 w 9964"/>
                    <a:gd name="connsiteY69" fmla="*/ 8744 h 9922"/>
                    <a:gd name="connsiteX70" fmla="*/ 2047 w 9964"/>
                    <a:gd name="connsiteY70" fmla="*/ 8860 h 9922"/>
                    <a:gd name="connsiteX71" fmla="*/ 1964 w 9964"/>
                    <a:gd name="connsiteY71" fmla="*/ 9130 h 9922"/>
                    <a:gd name="connsiteX72" fmla="*/ 1864 w 9964"/>
                    <a:gd name="connsiteY72" fmla="*/ 9169 h 9922"/>
                    <a:gd name="connsiteX73" fmla="*/ 1864 w 9964"/>
                    <a:gd name="connsiteY73" fmla="*/ 9420 h 9922"/>
                    <a:gd name="connsiteX74" fmla="*/ 1764 w 9964"/>
                    <a:gd name="connsiteY74" fmla="*/ 9459 h 9922"/>
                    <a:gd name="connsiteX75" fmla="*/ 1764 w 9964"/>
                    <a:gd name="connsiteY75" fmla="*/ 9613 h 9922"/>
                    <a:gd name="connsiteX76" fmla="*/ 1764 w 9964"/>
                    <a:gd name="connsiteY76" fmla="*/ 9787 h 9922"/>
                    <a:gd name="connsiteX77" fmla="*/ 1531 w 9964"/>
                    <a:gd name="connsiteY77" fmla="*/ 9922 h 9922"/>
                    <a:gd name="connsiteX78" fmla="*/ 1506 w 9964"/>
                    <a:gd name="connsiteY78" fmla="*/ 9922 h 9922"/>
                    <a:gd name="connsiteX79" fmla="*/ 1456 w 9964"/>
                    <a:gd name="connsiteY79" fmla="*/ 9922 h 9922"/>
                    <a:gd name="connsiteX80" fmla="*/ 1072 w 9964"/>
                    <a:gd name="connsiteY80" fmla="*/ 9883 h 9922"/>
                    <a:gd name="connsiteX81" fmla="*/ 1056 w 9964"/>
                    <a:gd name="connsiteY81" fmla="*/ 9729 h 9922"/>
                    <a:gd name="connsiteX82" fmla="*/ 1156 w 9964"/>
                    <a:gd name="connsiteY82" fmla="*/ 9401 h 9922"/>
                    <a:gd name="connsiteX83" fmla="*/ 1156 w 9964"/>
                    <a:gd name="connsiteY83" fmla="*/ 9073 h 9922"/>
                    <a:gd name="connsiteX84" fmla="*/ 931 w 9964"/>
                    <a:gd name="connsiteY84" fmla="*/ 8648 h 9922"/>
                    <a:gd name="connsiteX85" fmla="*/ 656 w 9964"/>
                    <a:gd name="connsiteY85" fmla="*/ 8300 h 9922"/>
                    <a:gd name="connsiteX86" fmla="*/ 614 w 9964"/>
                    <a:gd name="connsiteY86" fmla="*/ 8291 h 9922"/>
                    <a:gd name="connsiteX87" fmla="*/ 689 w 9964"/>
                    <a:gd name="connsiteY87" fmla="*/ 8185 h 9922"/>
                    <a:gd name="connsiteX88" fmla="*/ 597 w 9964"/>
                    <a:gd name="connsiteY88" fmla="*/ 7934 h 9922"/>
                    <a:gd name="connsiteX89" fmla="*/ 464 w 9964"/>
                    <a:gd name="connsiteY89" fmla="*/ 7634 h 9922"/>
                    <a:gd name="connsiteX90" fmla="*/ 406 w 9964"/>
                    <a:gd name="connsiteY90" fmla="*/ 7480 h 9922"/>
                    <a:gd name="connsiteX91" fmla="*/ 372 w 9964"/>
                    <a:gd name="connsiteY91" fmla="*/ 7094 h 9922"/>
                    <a:gd name="connsiteX92" fmla="*/ 147 w 9964"/>
                    <a:gd name="connsiteY92" fmla="*/ 7055 h 9922"/>
                    <a:gd name="connsiteX93" fmla="*/ 64 w 9964"/>
                    <a:gd name="connsiteY93" fmla="*/ 6737 h 9922"/>
                    <a:gd name="connsiteX94" fmla="*/ 222 w 9964"/>
                    <a:gd name="connsiteY94" fmla="*/ 6437 h 9922"/>
                    <a:gd name="connsiteX95" fmla="*/ 197 w 9964"/>
                    <a:gd name="connsiteY95" fmla="*/ 6129 h 9922"/>
                    <a:gd name="connsiteX96" fmla="*/ 414 w 9964"/>
                    <a:gd name="connsiteY96" fmla="*/ 5916 h 9922"/>
                    <a:gd name="connsiteX97" fmla="*/ 347 w 9964"/>
                    <a:gd name="connsiteY97" fmla="*/ 5771 h 9922"/>
                    <a:gd name="connsiteX98" fmla="*/ 381 w 9964"/>
                    <a:gd name="connsiteY98" fmla="*/ 5598 h 9922"/>
                    <a:gd name="connsiteX99" fmla="*/ 472 w 9964"/>
                    <a:gd name="connsiteY99" fmla="*/ 5463 h 9922"/>
                    <a:gd name="connsiteX100" fmla="*/ 664 w 9964"/>
                    <a:gd name="connsiteY100" fmla="*/ 5105 h 9922"/>
                    <a:gd name="connsiteX101" fmla="*/ 672 w 9964"/>
                    <a:gd name="connsiteY101" fmla="*/ 4893 h 9922"/>
                    <a:gd name="connsiteX102" fmla="*/ 997 w 9964"/>
                    <a:gd name="connsiteY102" fmla="*/ 4797 h 9922"/>
                    <a:gd name="connsiteX103" fmla="*/ 1264 w 9964"/>
                    <a:gd name="connsiteY103" fmla="*/ 4787 h 9922"/>
                    <a:gd name="connsiteX104" fmla="*/ 1181 w 9964"/>
                    <a:gd name="connsiteY104" fmla="*/ 2075 h 9922"/>
                    <a:gd name="connsiteX105" fmla="*/ 1181 w 9964"/>
                    <a:gd name="connsiteY105" fmla="*/ 2075 h 9922"/>
                    <a:gd name="connsiteX106" fmla="*/ 1172 w 9964"/>
                    <a:gd name="connsiteY106" fmla="*/ 1717 h 9922"/>
                    <a:gd name="connsiteX107" fmla="*/ 1764 w 9964"/>
                    <a:gd name="connsiteY107" fmla="*/ 1708 h 9922"/>
                    <a:gd name="connsiteX108" fmla="*/ 1706 w 9964"/>
                    <a:gd name="connsiteY108" fmla="*/ 269 h 9922"/>
                    <a:gd name="connsiteX109" fmla="*/ 5414 w 9964"/>
                    <a:gd name="connsiteY109" fmla="*/ 163 h 9922"/>
                    <a:gd name="connsiteX110" fmla="*/ 5539 w 9964"/>
                    <a:gd name="connsiteY110" fmla="*/ 38 h 9922"/>
                    <a:gd name="connsiteX111" fmla="*/ 5606 w 9964"/>
                    <a:gd name="connsiteY111" fmla="*/ 163 h 9922"/>
                    <a:gd name="connsiteX112" fmla="*/ 6531 w 9964"/>
                    <a:gd name="connsiteY112" fmla="*/ 125 h 9922"/>
                    <a:gd name="connsiteX113" fmla="*/ 6531 w 9964"/>
                    <a:gd name="connsiteY113" fmla="*/ 125 h 9922"/>
                    <a:gd name="connsiteX114" fmla="*/ 6756 w 9964"/>
                    <a:gd name="connsiteY114" fmla="*/ 308 h 9922"/>
                    <a:gd name="connsiteX115" fmla="*/ 6997 w 9964"/>
                    <a:gd name="connsiteY115" fmla="*/ 289 h 9922"/>
                    <a:gd name="connsiteX116" fmla="*/ 7056 w 9964"/>
                    <a:gd name="connsiteY116" fmla="*/ 105 h 9922"/>
                    <a:gd name="connsiteX117" fmla="*/ 8664 w 9964"/>
                    <a:gd name="connsiteY117" fmla="*/ 38 h 9922"/>
                    <a:gd name="connsiteX118" fmla="*/ 8664 w 9964"/>
                    <a:gd name="connsiteY118" fmla="*/ 38 h 9922"/>
                    <a:gd name="connsiteX119" fmla="*/ 8697 w 9964"/>
                    <a:gd name="connsiteY119" fmla="*/ 144 h 9922"/>
                    <a:gd name="connsiteX120" fmla="*/ 8739 w 9964"/>
                    <a:gd name="connsiteY120" fmla="*/ 385 h 9922"/>
                    <a:gd name="connsiteX121" fmla="*/ 8922 w 9964"/>
                    <a:gd name="connsiteY121" fmla="*/ 607 h 9922"/>
                    <a:gd name="connsiteX122" fmla="*/ 8922 w 9964"/>
                    <a:gd name="connsiteY122" fmla="*/ 685 h 9922"/>
                    <a:gd name="connsiteX0" fmla="*/ 8954 w 10000"/>
                    <a:gd name="connsiteY0" fmla="*/ 690 h 10000"/>
                    <a:gd name="connsiteX1" fmla="*/ 8996 w 10000"/>
                    <a:gd name="connsiteY1" fmla="*/ 1059 h 10000"/>
                    <a:gd name="connsiteX2" fmla="*/ 9072 w 10000"/>
                    <a:gd name="connsiteY2" fmla="*/ 1711 h 10000"/>
                    <a:gd name="connsiteX3" fmla="*/ 9189 w 10000"/>
                    <a:gd name="connsiteY3" fmla="*/ 2217 h 10000"/>
                    <a:gd name="connsiteX4" fmla="*/ 9272 w 10000"/>
                    <a:gd name="connsiteY4" fmla="*/ 2393 h 10000"/>
                    <a:gd name="connsiteX5" fmla="*/ 9465 w 10000"/>
                    <a:gd name="connsiteY5" fmla="*/ 2499 h 10000"/>
                    <a:gd name="connsiteX6" fmla="*/ 9624 w 10000"/>
                    <a:gd name="connsiteY6" fmla="*/ 2577 h 10000"/>
                    <a:gd name="connsiteX7" fmla="*/ 9699 w 10000"/>
                    <a:gd name="connsiteY7" fmla="*/ 2704 h 10000"/>
                    <a:gd name="connsiteX8" fmla="*/ 9774 w 10000"/>
                    <a:gd name="connsiteY8" fmla="*/ 2742 h 10000"/>
                    <a:gd name="connsiteX9" fmla="*/ 9875 w 10000"/>
                    <a:gd name="connsiteY9" fmla="*/ 2772 h 10000"/>
                    <a:gd name="connsiteX10" fmla="*/ 9917 w 10000"/>
                    <a:gd name="connsiteY10" fmla="*/ 2878 h 10000"/>
                    <a:gd name="connsiteX11" fmla="*/ 10000 w 10000"/>
                    <a:gd name="connsiteY11" fmla="*/ 2947 h 10000"/>
                    <a:gd name="connsiteX12" fmla="*/ 10000 w 10000"/>
                    <a:gd name="connsiteY12" fmla="*/ 2947 h 10000"/>
                    <a:gd name="connsiteX13" fmla="*/ 9849 w 10000"/>
                    <a:gd name="connsiteY13" fmla="*/ 3239 h 10000"/>
                    <a:gd name="connsiteX14" fmla="*/ 9749 w 10000"/>
                    <a:gd name="connsiteY14" fmla="*/ 3336 h 10000"/>
                    <a:gd name="connsiteX15" fmla="*/ 9556 w 10000"/>
                    <a:gd name="connsiteY15" fmla="*/ 3355 h 10000"/>
                    <a:gd name="connsiteX16" fmla="*/ 9406 w 10000"/>
                    <a:gd name="connsiteY16" fmla="*/ 3501 h 10000"/>
                    <a:gd name="connsiteX17" fmla="*/ 9189 w 10000"/>
                    <a:gd name="connsiteY17" fmla="*/ 3696 h 10000"/>
                    <a:gd name="connsiteX18" fmla="*/ 9122 w 10000"/>
                    <a:gd name="connsiteY18" fmla="*/ 3900 h 10000"/>
                    <a:gd name="connsiteX19" fmla="*/ 9097 w 10000"/>
                    <a:gd name="connsiteY19" fmla="*/ 4329 h 10000"/>
                    <a:gd name="connsiteX20" fmla="*/ 8971 w 10000"/>
                    <a:gd name="connsiteY20" fmla="*/ 4747 h 10000"/>
                    <a:gd name="connsiteX21" fmla="*/ 8863 w 10000"/>
                    <a:gd name="connsiteY21" fmla="*/ 5107 h 10000"/>
                    <a:gd name="connsiteX22" fmla="*/ 8946 w 10000"/>
                    <a:gd name="connsiteY22" fmla="*/ 5661 h 10000"/>
                    <a:gd name="connsiteX23" fmla="*/ 8963 w 10000"/>
                    <a:gd name="connsiteY23" fmla="*/ 5759 h 10000"/>
                    <a:gd name="connsiteX24" fmla="*/ 8946 w 10000"/>
                    <a:gd name="connsiteY24" fmla="*/ 6079 h 10000"/>
                    <a:gd name="connsiteX25" fmla="*/ 8829 w 10000"/>
                    <a:gd name="connsiteY25" fmla="*/ 6420 h 10000"/>
                    <a:gd name="connsiteX26" fmla="*/ 8796 w 10000"/>
                    <a:gd name="connsiteY26" fmla="*/ 6897 h 10000"/>
                    <a:gd name="connsiteX27" fmla="*/ 8503 w 10000"/>
                    <a:gd name="connsiteY27" fmla="*/ 7014 h 10000"/>
                    <a:gd name="connsiteX28" fmla="*/ 8344 w 10000"/>
                    <a:gd name="connsiteY28" fmla="*/ 7354 h 10000"/>
                    <a:gd name="connsiteX29" fmla="*/ 8160 w 10000"/>
                    <a:gd name="connsiteY29" fmla="*/ 7665 h 10000"/>
                    <a:gd name="connsiteX30" fmla="*/ 8143 w 10000"/>
                    <a:gd name="connsiteY30" fmla="*/ 8122 h 10000"/>
                    <a:gd name="connsiteX31" fmla="*/ 8093 w 10000"/>
                    <a:gd name="connsiteY31" fmla="*/ 8365 h 10000"/>
                    <a:gd name="connsiteX32" fmla="*/ 7943 w 10000"/>
                    <a:gd name="connsiteY32" fmla="*/ 8317 h 10000"/>
                    <a:gd name="connsiteX33" fmla="*/ 7725 w 10000"/>
                    <a:gd name="connsiteY33" fmla="*/ 8560 h 10000"/>
                    <a:gd name="connsiteX34" fmla="*/ 7725 w 10000"/>
                    <a:gd name="connsiteY34" fmla="*/ 8921 h 10000"/>
                    <a:gd name="connsiteX35" fmla="*/ 7633 w 10000"/>
                    <a:gd name="connsiteY35" fmla="*/ 9270 h 10000"/>
                    <a:gd name="connsiteX36" fmla="*/ 7650 w 10000"/>
                    <a:gd name="connsiteY36" fmla="*/ 9475 h 10000"/>
                    <a:gd name="connsiteX37" fmla="*/ 7642 w 10000"/>
                    <a:gd name="connsiteY37" fmla="*/ 9475 h 10000"/>
                    <a:gd name="connsiteX38" fmla="*/ 7541 w 10000"/>
                    <a:gd name="connsiteY38" fmla="*/ 9455 h 10000"/>
                    <a:gd name="connsiteX39" fmla="*/ 7524 w 10000"/>
                    <a:gd name="connsiteY39" fmla="*/ 9358 h 10000"/>
                    <a:gd name="connsiteX40" fmla="*/ 7508 w 10000"/>
                    <a:gd name="connsiteY40" fmla="*/ 9241 h 10000"/>
                    <a:gd name="connsiteX41" fmla="*/ 7541 w 10000"/>
                    <a:gd name="connsiteY41" fmla="*/ 9007 h 10000"/>
                    <a:gd name="connsiteX42" fmla="*/ 7474 w 10000"/>
                    <a:gd name="connsiteY42" fmla="*/ 9007 h 10000"/>
                    <a:gd name="connsiteX43" fmla="*/ 7340 w 10000"/>
                    <a:gd name="connsiteY43" fmla="*/ 8697 h 10000"/>
                    <a:gd name="connsiteX44" fmla="*/ 7157 w 10000"/>
                    <a:gd name="connsiteY44" fmla="*/ 8599 h 10000"/>
                    <a:gd name="connsiteX45" fmla="*/ 7090 w 10000"/>
                    <a:gd name="connsiteY45" fmla="*/ 7996 h 10000"/>
                    <a:gd name="connsiteX46" fmla="*/ 7140 w 10000"/>
                    <a:gd name="connsiteY46" fmla="*/ 7510 h 10000"/>
                    <a:gd name="connsiteX47" fmla="*/ 6805 w 10000"/>
                    <a:gd name="connsiteY47" fmla="*/ 7510 h 10000"/>
                    <a:gd name="connsiteX48" fmla="*/ 6805 w 10000"/>
                    <a:gd name="connsiteY48" fmla="*/ 7685 h 10000"/>
                    <a:gd name="connsiteX49" fmla="*/ 6454 w 10000"/>
                    <a:gd name="connsiteY49" fmla="*/ 7723 h 10000"/>
                    <a:gd name="connsiteX50" fmla="*/ 6621 w 10000"/>
                    <a:gd name="connsiteY50" fmla="*/ 7918 h 10000"/>
                    <a:gd name="connsiteX51" fmla="*/ 6621 w 10000"/>
                    <a:gd name="connsiteY51" fmla="*/ 8191 h 10000"/>
                    <a:gd name="connsiteX52" fmla="*/ 6688 w 10000"/>
                    <a:gd name="connsiteY52" fmla="*/ 8327 h 10000"/>
                    <a:gd name="connsiteX53" fmla="*/ 6337 w 10000"/>
                    <a:gd name="connsiteY53" fmla="*/ 8658 h 10000"/>
                    <a:gd name="connsiteX54" fmla="*/ 6236 w 10000"/>
                    <a:gd name="connsiteY54" fmla="*/ 8891 h 10000"/>
                    <a:gd name="connsiteX55" fmla="*/ 5885 w 10000"/>
                    <a:gd name="connsiteY55" fmla="*/ 9300 h 10000"/>
                    <a:gd name="connsiteX56" fmla="*/ 5617 w 10000"/>
                    <a:gd name="connsiteY56" fmla="*/ 9280 h 10000"/>
                    <a:gd name="connsiteX57" fmla="*/ 5082 w 10000"/>
                    <a:gd name="connsiteY57" fmla="*/ 8891 h 10000"/>
                    <a:gd name="connsiteX58" fmla="*/ 4865 w 10000"/>
                    <a:gd name="connsiteY58" fmla="*/ 9124 h 10000"/>
                    <a:gd name="connsiteX59" fmla="*/ 4848 w 10000"/>
                    <a:gd name="connsiteY59" fmla="*/ 9300 h 10000"/>
                    <a:gd name="connsiteX60" fmla="*/ 4547 w 10000"/>
                    <a:gd name="connsiteY60" fmla="*/ 9339 h 10000"/>
                    <a:gd name="connsiteX61" fmla="*/ 4463 w 10000"/>
                    <a:gd name="connsiteY61" fmla="*/ 9241 h 10000"/>
                    <a:gd name="connsiteX62" fmla="*/ 3828 w 10000"/>
                    <a:gd name="connsiteY62" fmla="*/ 9436 h 10000"/>
                    <a:gd name="connsiteX63" fmla="*/ 3243 w 10000"/>
                    <a:gd name="connsiteY63" fmla="*/ 9377 h 10000"/>
                    <a:gd name="connsiteX64" fmla="*/ 3125 w 10000"/>
                    <a:gd name="connsiteY64" fmla="*/ 9494 h 10000"/>
                    <a:gd name="connsiteX65" fmla="*/ 2874 w 10000"/>
                    <a:gd name="connsiteY65" fmla="*/ 9436 h 10000"/>
                    <a:gd name="connsiteX66" fmla="*/ 2774 w 10000"/>
                    <a:gd name="connsiteY66" fmla="*/ 9144 h 10000"/>
                    <a:gd name="connsiteX67" fmla="*/ 2623 w 10000"/>
                    <a:gd name="connsiteY67" fmla="*/ 8988 h 10000"/>
                    <a:gd name="connsiteX68" fmla="*/ 2540 w 10000"/>
                    <a:gd name="connsiteY68" fmla="*/ 8813 h 10000"/>
                    <a:gd name="connsiteX69" fmla="*/ 2054 w 10000"/>
                    <a:gd name="connsiteY69" fmla="*/ 8930 h 10000"/>
                    <a:gd name="connsiteX70" fmla="*/ 1971 w 10000"/>
                    <a:gd name="connsiteY70" fmla="*/ 9202 h 10000"/>
                    <a:gd name="connsiteX71" fmla="*/ 1871 w 10000"/>
                    <a:gd name="connsiteY71" fmla="*/ 9241 h 10000"/>
                    <a:gd name="connsiteX72" fmla="*/ 1871 w 10000"/>
                    <a:gd name="connsiteY72" fmla="*/ 9494 h 10000"/>
                    <a:gd name="connsiteX73" fmla="*/ 1770 w 10000"/>
                    <a:gd name="connsiteY73" fmla="*/ 9533 h 10000"/>
                    <a:gd name="connsiteX74" fmla="*/ 1770 w 10000"/>
                    <a:gd name="connsiteY74" fmla="*/ 9689 h 10000"/>
                    <a:gd name="connsiteX75" fmla="*/ 1770 w 10000"/>
                    <a:gd name="connsiteY75" fmla="*/ 9864 h 10000"/>
                    <a:gd name="connsiteX76" fmla="*/ 1537 w 10000"/>
                    <a:gd name="connsiteY76" fmla="*/ 10000 h 10000"/>
                    <a:gd name="connsiteX77" fmla="*/ 1511 w 10000"/>
                    <a:gd name="connsiteY77" fmla="*/ 10000 h 10000"/>
                    <a:gd name="connsiteX78" fmla="*/ 1461 w 10000"/>
                    <a:gd name="connsiteY78" fmla="*/ 10000 h 10000"/>
                    <a:gd name="connsiteX79" fmla="*/ 1076 w 10000"/>
                    <a:gd name="connsiteY79" fmla="*/ 9961 h 10000"/>
                    <a:gd name="connsiteX80" fmla="*/ 1060 w 10000"/>
                    <a:gd name="connsiteY80" fmla="*/ 9805 h 10000"/>
                    <a:gd name="connsiteX81" fmla="*/ 1160 w 10000"/>
                    <a:gd name="connsiteY81" fmla="*/ 9475 h 10000"/>
                    <a:gd name="connsiteX82" fmla="*/ 1160 w 10000"/>
                    <a:gd name="connsiteY82" fmla="*/ 9144 h 10000"/>
                    <a:gd name="connsiteX83" fmla="*/ 934 w 10000"/>
                    <a:gd name="connsiteY83" fmla="*/ 8716 h 10000"/>
                    <a:gd name="connsiteX84" fmla="*/ 658 w 10000"/>
                    <a:gd name="connsiteY84" fmla="*/ 8365 h 10000"/>
                    <a:gd name="connsiteX85" fmla="*/ 616 w 10000"/>
                    <a:gd name="connsiteY85" fmla="*/ 8356 h 10000"/>
                    <a:gd name="connsiteX86" fmla="*/ 691 w 10000"/>
                    <a:gd name="connsiteY86" fmla="*/ 8249 h 10000"/>
                    <a:gd name="connsiteX87" fmla="*/ 599 w 10000"/>
                    <a:gd name="connsiteY87" fmla="*/ 7996 h 10000"/>
                    <a:gd name="connsiteX88" fmla="*/ 466 w 10000"/>
                    <a:gd name="connsiteY88" fmla="*/ 7694 h 10000"/>
                    <a:gd name="connsiteX89" fmla="*/ 407 w 10000"/>
                    <a:gd name="connsiteY89" fmla="*/ 7539 h 10000"/>
                    <a:gd name="connsiteX90" fmla="*/ 373 w 10000"/>
                    <a:gd name="connsiteY90" fmla="*/ 7150 h 10000"/>
                    <a:gd name="connsiteX91" fmla="*/ 148 w 10000"/>
                    <a:gd name="connsiteY91" fmla="*/ 7110 h 10000"/>
                    <a:gd name="connsiteX92" fmla="*/ 64 w 10000"/>
                    <a:gd name="connsiteY92" fmla="*/ 6790 h 10000"/>
                    <a:gd name="connsiteX93" fmla="*/ 223 w 10000"/>
                    <a:gd name="connsiteY93" fmla="*/ 6488 h 10000"/>
                    <a:gd name="connsiteX94" fmla="*/ 198 w 10000"/>
                    <a:gd name="connsiteY94" fmla="*/ 6177 h 10000"/>
                    <a:gd name="connsiteX95" fmla="*/ 415 w 10000"/>
                    <a:gd name="connsiteY95" fmla="*/ 5963 h 10000"/>
                    <a:gd name="connsiteX96" fmla="*/ 348 w 10000"/>
                    <a:gd name="connsiteY96" fmla="*/ 5816 h 10000"/>
                    <a:gd name="connsiteX97" fmla="*/ 382 w 10000"/>
                    <a:gd name="connsiteY97" fmla="*/ 5642 h 10000"/>
                    <a:gd name="connsiteX98" fmla="*/ 474 w 10000"/>
                    <a:gd name="connsiteY98" fmla="*/ 5506 h 10000"/>
                    <a:gd name="connsiteX99" fmla="*/ 666 w 10000"/>
                    <a:gd name="connsiteY99" fmla="*/ 5145 h 10000"/>
                    <a:gd name="connsiteX100" fmla="*/ 674 w 10000"/>
                    <a:gd name="connsiteY100" fmla="*/ 4931 h 10000"/>
                    <a:gd name="connsiteX101" fmla="*/ 1001 w 10000"/>
                    <a:gd name="connsiteY101" fmla="*/ 4835 h 10000"/>
                    <a:gd name="connsiteX102" fmla="*/ 1269 w 10000"/>
                    <a:gd name="connsiteY102" fmla="*/ 4825 h 10000"/>
                    <a:gd name="connsiteX103" fmla="*/ 1185 w 10000"/>
                    <a:gd name="connsiteY103" fmla="*/ 2091 h 10000"/>
                    <a:gd name="connsiteX104" fmla="*/ 1185 w 10000"/>
                    <a:gd name="connsiteY104" fmla="*/ 2091 h 10000"/>
                    <a:gd name="connsiteX105" fmla="*/ 1176 w 10000"/>
                    <a:gd name="connsiteY105" fmla="*/ 1730 h 10000"/>
                    <a:gd name="connsiteX106" fmla="*/ 1770 w 10000"/>
                    <a:gd name="connsiteY106" fmla="*/ 1721 h 10000"/>
                    <a:gd name="connsiteX107" fmla="*/ 1712 w 10000"/>
                    <a:gd name="connsiteY107" fmla="*/ 271 h 10000"/>
                    <a:gd name="connsiteX108" fmla="*/ 5434 w 10000"/>
                    <a:gd name="connsiteY108" fmla="*/ 164 h 10000"/>
                    <a:gd name="connsiteX109" fmla="*/ 5559 w 10000"/>
                    <a:gd name="connsiteY109" fmla="*/ 38 h 10000"/>
                    <a:gd name="connsiteX110" fmla="*/ 5626 w 10000"/>
                    <a:gd name="connsiteY110" fmla="*/ 164 h 10000"/>
                    <a:gd name="connsiteX111" fmla="*/ 6555 w 10000"/>
                    <a:gd name="connsiteY111" fmla="*/ 126 h 10000"/>
                    <a:gd name="connsiteX112" fmla="*/ 6555 w 10000"/>
                    <a:gd name="connsiteY112" fmla="*/ 126 h 10000"/>
                    <a:gd name="connsiteX113" fmla="*/ 6780 w 10000"/>
                    <a:gd name="connsiteY113" fmla="*/ 310 h 10000"/>
                    <a:gd name="connsiteX114" fmla="*/ 7022 w 10000"/>
                    <a:gd name="connsiteY114" fmla="*/ 291 h 10000"/>
                    <a:gd name="connsiteX115" fmla="*/ 7081 w 10000"/>
                    <a:gd name="connsiteY115" fmla="*/ 106 h 10000"/>
                    <a:gd name="connsiteX116" fmla="*/ 8695 w 10000"/>
                    <a:gd name="connsiteY116" fmla="*/ 38 h 10000"/>
                    <a:gd name="connsiteX117" fmla="*/ 8695 w 10000"/>
                    <a:gd name="connsiteY117" fmla="*/ 38 h 10000"/>
                    <a:gd name="connsiteX118" fmla="*/ 8728 w 10000"/>
                    <a:gd name="connsiteY118" fmla="*/ 145 h 10000"/>
                    <a:gd name="connsiteX119" fmla="*/ 8771 w 10000"/>
                    <a:gd name="connsiteY119" fmla="*/ 388 h 10000"/>
                    <a:gd name="connsiteX120" fmla="*/ 8954 w 10000"/>
                    <a:gd name="connsiteY120" fmla="*/ 612 h 10000"/>
                    <a:gd name="connsiteX121" fmla="*/ 8954 w 10000"/>
                    <a:gd name="connsiteY121" fmla="*/ 690 h 10000"/>
                    <a:gd name="connsiteX0" fmla="*/ 8954 w 10000"/>
                    <a:gd name="connsiteY0" fmla="*/ 690 h 10000"/>
                    <a:gd name="connsiteX1" fmla="*/ 8996 w 10000"/>
                    <a:gd name="connsiteY1" fmla="*/ 1059 h 10000"/>
                    <a:gd name="connsiteX2" fmla="*/ 9072 w 10000"/>
                    <a:gd name="connsiteY2" fmla="*/ 1711 h 10000"/>
                    <a:gd name="connsiteX3" fmla="*/ 9189 w 10000"/>
                    <a:gd name="connsiteY3" fmla="*/ 2217 h 10000"/>
                    <a:gd name="connsiteX4" fmla="*/ 9272 w 10000"/>
                    <a:gd name="connsiteY4" fmla="*/ 2393 h 10000"/>
                    <a:gd name="connsiteX5" fmla="*/ 9465 w 10000"/>
                    <a:gd name="connsiteY5" fmla="*/ 2499 h 10000"/>
                    <a:gd name="connsiteX6" fmla="*/ 9624 w 10000"/>
                    <a:gd name="connsiteY6" fmla="*/ 2577 h 10000"/>
                    <a:gd name="connsiteX7" fmla="*/ 9699 w 10000"/>
                    <a:gd name="connsiteY7" fmla="*/ 2704 h 10000"/>
                    <a:gd name="connsiteX8" fmla="*/ 9774 w 10000"/>
                    <a:gd name="connsiteY8" fmla="*/ 2742 h 10000"/>
                    <a:gd name="connsiteX9" fmla="*/ 9875 w 10000"/>
                    <a:gd name="connsiteY9" fmla="*/ 2772 h 10000"/>
                    <a:gd name="connsiteX10" fmla="*/ 9917 w 10000"/>
                    <a:gd name="connsiteY10" fmla="*/ 2878 h 10000"/>
                    <a:gd name="connsiteX11" fmla="*/ 10000 w 10000"/>
                    <a:gd name="connsiteY11" fmla="*/ 2947 h 10000"/>
                    <a:gd name="connsiteX12" fmla="*/ 10000 w 10000"/>
                    <a:gd name="connsiteY12" fmla="*/ 2947 h 10000"/>
                    <a:gd name="connsiteX13" fmla="*/ 9849 w 10000"/>
                    <a:gd name="connsiteY13" fmla="*/ 3239 h 10000"/>
                    <a:gd name="connsiteX14" fmla="*/ 9749 w 10000"/>
                    <a:gd name="connsiteY14" fmla="*/ 3336 h 10000"/>
                    <a:gd name="connsiteX15" fmla="*/ 9556 w 10000"/>
                    <a:gd name="connsiteY15" fmla="*/ 3355 h 10000"/>
                    <a:gd name="connsiteX16" fmla="*/ 9406 w 10000"/>
                    <a:gd name="connsiteY16" fmla="*/ 3501 h 10000"/>
                    <a:gd name="connsiteX17" fmla="*/ 9189 w 10000"/>
                    <a:gd name="connsiteY17" fmla="*/ 3696 h 10000"/>
                    <a:gd name="connsiteX18" fmla="*/ 9122 w 10000"/>
                    <a:gd name="connsiteY18" fmla="*/ 3900 h 10000"/>
                    <a:gd name="connsiteX19" fmla="*/ 9097 w 10000"/>
                    <a:gd name="connsiteY19" fmla="*/ 4329 h 10000"/>
                    <a:gd name="connsiteX20" fmla="*/ 8971 w 10000"/>
                    <a:gd name="connsiteY20" fmla="*/ 4747 h 10000"/>
                    <a:gd name="connsiteX21" fmla="*/ 8863 w 10000"/>
                    <a:gd name="connsiteY21" fmla="*/ 5107 h 10000"/>
                    <a:gd name="connsiteX22" fmla="*/ 8946 w 10000"/>
                    <a:gd name="connsiteY22" fmla="*/ 5661 h 10000"/>
                    <a:gd name="connsiteX23" fmla="*/ 8963 w 10000"/>
                    <a:gd name="connsiteY23" fmla="*/ 5759 h 10000"/>
                    <a:gd name="connsiteX24" fmla="*/ 8946 w 10000"/>
                    <a:gd name="connsiteY24" fmla="*/ 6079 h 10000"/>
                    <a:gd name="connsiteX25" fmla="*/ 8829 w 10000"/>
                    <a:gd name="connsiteY25" fmla="*/ 6420 h 10000"/>
                    <a:gd name="connsiteX26" fmla="*/ 8796 w 10000"/>
                    <a:gd name="connsiteY26" fmla="*/ 6897 h 10000"/>
                    <a:gd name="connsiteX27" fmla="*/ 8503 w 10000"/>
                    <a:gd name="connsiteY27" fmla="*/ 7014 h 10000"/>
                    <a:gd name="connsiteX28" fmla="*/ 8344 w 10000"/>
                    <a:gd name="connsiteY28" fmla="*/ 7354 h 10000"/>
                    <a:gd name="connsiteX29" fmla="*/ 8160 w 10000"/>
                    <a:gd name="connsiteY29" fmla="*/ 7665 h 10000"/>
                    <a:gd name="connsiteX30" fmla="*/ 8143 w 10000"/>
                    <a:gd name="connsiteY30" fmla="*/ 8122 h 10000"/>
                    <a:gd name="connsiteX31" fmla="*/ 8093 w 10000"/>
                    <a:gd name="connsiteY31" fmla="*/ 8365 h 10000"/>
                    <a:gd name="connsiteX32" fmla="*/ 7943 w 10000"/>
                    <a:gd name="connsiteY32" fmla="*/ 8317 h 10000"/>
                    <a:gd name="connsiteX33" fmla="*/ 7725 w 10000"/>
                    <a:gd name="connsiteY33" fmla="*/ 8560 h 10000"/>
                    <a:gd name="connsiteX34" fmla="*/ 7725 w 10000"/>
                    <a:gd name="connsiteY34" fmla="*/ 8921 h 10000"/>
                    <a:gd name="connsiteX35" fmla="*/ 7633 w 10000"/>
                    <a:gd name="connsiteY35" fmla="*/ 9270 h 10000"/>
                    <a:gd name="connsiteX36" fmla="*/ 7650 w 10000"/>
                    <a:gd name="connsiteY36" fmla="*/ 9475 h 10000"/>
                    <a:gd name="connsiteX37" fmla="*/ 7642 w 10000"/>
                    <a:gd name="connsiteY37" fmla="*/ 9475 h 10000"/>
                    <a:gd name="connsiteX38" fmla="*/ 7541 w 10000"/>
                    <a:gd name="connsiteY38" fmla="*/ 9455 h 10000"/>
                    <a:gd name="connsiteX39" fmla="*/ 7524 w 10000"/>
                    <a:gd name="connsiteY39" fmla="*/ 9358 h 10000"/>
                    <a:gd name="connsiteX40" fmla="*/ 7508 w 10000"/>
                    <a:gd name="connsiteY40" fmla="*/ 9241 h 10000"/>
                    <a:gd name="connsiteX41" fmla="*/ 7541 w 10000"/>
                    <a:gd name="connsiteY41" fmla="*/ 9007 h 10000"/>
                    <a:gd name="connsiteX42" fmla="*/ 7474 w 10000"/>
                    <a:gd name="connsiteY42" fmla="*/ 9007 h 10000"/>
                    <a:gd name="connsiteX43" fmla="*/ 7340 w 10000"/>
                    <a:gd name="connsiteY43" fmla="*/ 8697 h 10000"/>
                    <a:gd name="connsiteX44" fmla="*/ 7157 w 10000"/>
                    <a:gd name="connsiteY44" fmla="*/ 8599 h 10000"/>
                    <a:gd name="connsiteX45" fmla="*/ 7090 w 10000"/>
                    <a:gd name="connsiteY45" fmla="*/ 7996 h 10000"/>
                    <a:gd name="connsiteX46" fmla="*/ 7140 w 10000"/>
                    <a:gd name="connsiteY46" fmla="*/ 7510 h 10000"/>
                    <a:gd name="connsiteX47" fmla="*/ 6805 w 10000"/>
                    <a:gd name="connsiteY47" fmla="*/ 7510 h 10000"/>
                    <a:gd name="connsiteX48" fmla="*/ 6805 w 10000"/>
                    <a:gd name="connsiteY48" fmla="*/ 7685 h 10000"/>
                    <a:gd name="connsiteX49" fmla="*/ 6454 w 10000"/>
                    <a:gd name="connsiteY49" fmla="*/ 7723 h 10000"/>
                    <a:gd name="connsiteX50" fmla="*/ 6621 w 10000"/>
                    <a:gd name="connsiteY50" fmla="*/ 7918 h 10000"/>
                    <a:gd name="connsiteX51" fmla="*/ 6621 w 10000"/>
                    <a:gd name="connsiteY51" fmla="*/ 8191 h 10000"/>
                    <a:gd name="connsiteX52" fmla="*/ 6688 w 10000"/>
                    <a:gd name="connsiteY52" fmla="*/ 8327 h 10000"/>
                    <a:gd name="connsiteX53" fmla="*/ 6337 w 10000"/>
                    <a:gd name="connsiteY53" fmla="*/ 8658 h 10000"/>
                    <a:gd name="connsiteX54" fmla="*/ 6236 w 10000"/>
                    <a:gd name="connsiteY54" fmla="*/ 8891 h 10000"/>
                    <a:gd name="connsiteX55" fmla="*/ 5885 w 10000"/>
                    <a:gd name="connsiteY55" fmla="*/ 9300 h 10000"/>
                    <a:gd name="connsiteX56" fmla="*/ 5617 w 10000"/>
                    <a:gd name="connsiteY56" fmla="*/ 9280 h 10000"/>
                    <a:gd name="connsiteX57" fmla="*/ 5082 w 10000"/>
                    <a:gd name="connsiteY57" fmla="*/ 8891 h 10000"/>
                    <a:gd name="connsiteX58" fmla="*/ 4865 w 10000"/>
                    <a:gd name="connsiteY58" fmla="*/ 9124 h 10000"/>
                    <a:gd name="connsiteX59" fmla="*/ 4848 w 10000"/>
                    <a:gd name="connsiteY59" fmla="*/ 9300 h 10000"/>
                    <a:gd name="connsiteX60" fmla="*/ 4547 w 10000"/>
                    <a:gd name="connsiteY60" fmla="*/ 9339 h 10000"/>
                    <a:gd name="connsiteX61" fmla="*/ 4520 w 10000"/>
                    <a:gd name="connsiteY61" fmla="*/ 9573 h 10000"/>
                    <a:gd name="connsiteX62" fmla="*/ 3828 w 10000"/>
                    <a:gd name="connsiteY62" fmla="*/ 9436 h 10000"/>
                    <a:gd name="connsiteX63" fmla="*/ 3243 w 10000"/>
                    <a:gd name="connsiteY63" fmla="*/ 9377 h 10000"/>
                    <a:gd name="connsiteX64" fmla="*/ 3125 w 10000"/>
                    <a:gd name="connsiteY64" fmla="*/ 9494 h 10000"/>
                    <a:gd name="connsiteX65" fmla="*/ 2874 w 10000"/>
                    <a:gd name="connsiteY65" fmla="*/ 9436 h 10000"/>
                    <a:gd name="connsiteX66" fmla="*/ 2774 w 10000"/>
                    <a:gd name="connsiteY66" fmla="*/ 9144 h 10000"/>
                    <a:gd name="connsiteX67" fmla="*/ 2623 w 10000"/>
                    <a:gd name="connsiteY67" fmla="*/ 8988 h 10000"/>
                    <a:gd name="connsiteX68" fmla="*/ 2540 w 10000"/>
                    <a:gd name="connsiteY68" fmla="*/ 8813 h 10000"/>
                    <a:gd name="connsiteX69" fmla="*/ 2054 w 10000"/>
                    <a:gd name="connsiteY69" fmla="*/ 8930 h 10000"/>
                    <a:gd name="connsiteX70" fmla="*/ 1971 w 10000"/>
                    <a:gd name="connsiteY70" fmla="*/ 9202 h 10000"/>
                    <a:gd name="connsiteX71" fmla="*/ 1871 w 10000"/>
                    <a:gd name="connsiteY71" fmla="*/ 9241 h 10000"/>
                    <a:gd name="connsiteX72" fmla="*/ 1871 w 10000"/>
                    <a:gd name="connsiteY72" fmla="*/ 9494 h 10000"/>
                    <a:gd name="connsiteX73" fmla="*/ 1770 w 10000"/>
                    <a:gd name="connsiteY73" fmla="*/ 9533 h 10000"/>
                    <a:gd name="connsiteX74" fmla="*/ 1770 w 10000"/>
                    <a:gd name="connsiteY74" fmla="*/ 9689 h 10000"/>
                    <a:gd name="connsiteX75" fmla="*/ 1770 w 10000"/>
                    <a:gd name="connsiteY75" fmla="*/ 9864 h 10000"/>
                    <a:gd name="connsiteX76" fmla="*/ 1537 w 10000"/>
                    <a:gd name="connsiteY76" fmla="*/ 10000 h 10000"/>
                    <a:gd name="connsiteX77" fmla="*/ 1511 w 10000"/>
                    <a:gd name="connsiteY77" fmla="*/ 10000 h 10000"/>
                    <a:gd name="connsiteX78" fmla="*/ 1461 w 10000"/>
                    <a:gd name="connsiteY78" fmla="*/ 10000 h 10000"/>
                    <a:gd name="connsiteX79" fmla="*/ 1076 w 10000"/>
                    <a:gd name="connsiteY79" fmla="*/ 9961 h 10000"/>
                    <a:gd name="connsiteX80" fmla="*/ 1060 w 10000"/>
                    <a:gd name="connsiteY80" fmla="*/ 9805 h 10000"/>
                    <a:gd name="connsiteX81" fmla="*/ 1160 w 10000"/>
                    <a:gd name="connsiteY81" fmla="*/ 9475 h 10000"/>
                    <a:gd name="connsiteX82" fmla="*/ 1160 w 10000"/>
                    <a:gd name="connsiteY82" fmla="*/ 9144 h 10000"/>
                    <a:gd name="connsiteX83" fmla="*/ 934 w 10000"/>
                    <a:gd name="connsiteY83" fmla="*/ 8716 h 10000"/>
                    <a:gd name="connsiteX84" fmla="*/ 658 w 10000"/>
                    <a:gd name="connsiteY84" fmla="*/ 8365 h 10000"/>
                    <a:gd name="connsiteX85" fmla="*/ 616 w 10000"/>
                    <a:gd name="connsiteY85" fmla="*/ 8356 h 10000"/>
                    <a:gd name="connsiteX86" fmla="*/ 691 w 10000"/>
                    <a:gd name="connsiteY86" fmla="*/ 8249 h 10000"/>
                    <a:gd name="connsiteX87" fmla="*/ 599 w 10000"/>
                    <a:gd name="connsiteY87" fmla="*/ 7996 h 10000"/>
                    <a:gd name="connsiteX88" fmla="*/ 466 w 10000"/>
                    <a:gd name="connsiteY88" fmla="*/ 7694 h 10000"/>
                    <a:gd name="connsiteX89" fmla="*/ 407 w 10000"/>
                    <a:gd name="connsiteY89" fmla="*/ 7539 h 10000"/>
                    <a:gd name="connsiteX90" fmla="*/ 373 w 10000"/>
                    <a:gd name="connsiteY90" fmla="*/ 7150 h 10000"/>
                    <a:gd name="connsiteX91" fmla="*/ 148 w 10000"/>
                    <a:gd name="connsiteY91" fmla="*/ 7110 h 10000"/>
                    <a:gd name="connsiteX92" fmla="*/ 64 w 10000"/>
                    <a:gd name="connsiteY92" fmla="*/ 6790 h 10000"/>
                    <a:gd name="connsiteX93" fmla="*/ 223 w 10000"/>
                    <a:gd name="connsiteY93" fmla="*/ 6488 h 10000"/>
                    <a:gd name="connsiteX94" fmla="*/ 198 w 10000"/>
                    <a:gd name="connsiteY94" fmla="*/ 6177 h 10000"/>
                    <a:gd name="connsiteX95" fmla="*/ 415 w 10000"/>
                    <a:gd name="connsiteY95" fmla="*/ 5963 h 10000"/>
                    <a:gd name="connsiteX96" fmla="*/ 348 w 10000"/>
                    <a:gd name="connsiteY96" fmla="*/ 5816 h 10000"/>
                    <a:gd name="connsiteX97" fmla="*/ 382 w 10000"/>
                    <a:gd name="connsiteY97" fmla="*/ 5642 h 10000"/>
                    <a:gd name="connsiteX98" fmla="*/ 474 w 10000"/>
                    <a:gd name="connsiteY98" fmla="*/ 5506 h 10000"/>
                    <a:gd name="connsiteX99" fmla="*/ 666 w 10000"/>
                    <a:gd name="connsiteY99" fmla="*/ 5145 h 10000"/>
                    <a:gd name="connsiteX100" fmla="*/ 674 w 10000"/>
                    <a:gd name="connsiteY100" fmla="*/ 4931 h 10000"/>
                    <a:gd name="connsiteX101" fmla="*/ 1001 w 10000"/>
                    <a:gd name="connsiteY101" fmla="*/ 4835 h 10000"/>
                    <a:gd name="connsiteX102" fmla="*/ 1269 w 10000"/>
                    <a:gd name="connsiteY102" fmla="*/ 4825 h 10000"/>
                    <a:gd name="connsiteX103" fmla="*/ 1185 w 10000"/>
                    <a:gd name="connsiteY103" fmla="*/ 2091 h 10000"/>
                    <a:gd name="connsiteX104" fmla="*/ 1185 w 10000"/>
                    <a:gd name="connsiteY104" fmla="*/ 2091 h 10000"/>
                    <a:gd name="connsiteX105" fmla="*/ 1176 w 10000"/>
                    <a:gd name="connsiteY105" fmla="*/ 1730 h 10000"/>
                    <a:gd name="connsiteX106" fmla="*/ 1770 w 10000"/>
                    <a:gd name="connsiteY106" fmla="*/ 1721 h 10000"/>
                    <a:gd name="connsiteX107" fmla="*/ 1712 w 10000"/>
                    <a:gd name="connsiteY107" fmla="*/ 271 h 10000"/>
                    <a:gd name="connsiteX108" fmla="*/ 5434 w 10000"/>
                    <a:gd name="connsiteY108" fmla="*/ 164 h 10000"/>
                    <a:gd name="connsiteX109" fmla="*/ 5559 w 10000"/>
                    <a:gd name="connsiteY109" fmla="*/ 38 h 10000"/>
                    <a:gd name="connsiteX110" fmla="*/ 5626 w 10000"/>
                    <a:gd name="connsiteY110" fmla="*/ 164 h 10000"/>
                    <a:gd name="connsiteX111" fmla="*/ 6555 w 10000"/>
                    <a:gd name="connsiteY111" fmla="*/ 126 h 10000"/>
                    <a:gd name="connsiteX112" fmla="*/ 6555 w 10000"/>
                    <a:gd name="connsiteY112" fmla="*/ 126 h 10000"/>
                    <a:gd name="connsiteX113" fmla="*/ 6780 w 10000"/>
                    <a:gd name="connsiteY113" fmla="*/ 310 h 10000"/>
                    <a:gd name="connsiteX114" fmla="*/ 7022 w 10000"/>
                    <a:gd name="connsiteY114" fmla="*/ 291 h 10000"/>
                    <a:gd name="connsiteX115" fmla="*/ 7081 w 10000"/>
                    <a:gd name="connsiteY115" fmla="*/ 106 h 10000"/>
                    <a:gd name="connsiteX116" fmla="*/ 8695 w 10000"/>
                    <a:gd name="connsiteY116" fmla="*/ 38 h 10000"/>
                    <a:gd name="connsiteX117" fmla="*/ 8695 w 10000"/>
                    <a:gd name="connsiteY117" fmla="*/ 38 h 10000"/>
                    <a:gd name="connsiteX118" fmla="*/ 8728 w 10000"/>
                    <a:gd name="connsiteY118" fmla="*/ 145 h 10000"/>
                    <a:gd name="connsiteX119" fmla="*/ 8771 w 10000"/>
                    <a:gd name="connsiteY119" fmla="*/ 388 h 10000"/>
                    <a:gd name="connsiteX120" fmla="*/ 8954 w 10000"/>
                    <a:gd name="connsiteY120" fmla="*/ 612 h 10000"/>
                    <a:gd name="connsiteX121" fmla="*/ 8954 w 10000"/>
                    <a:gd name="connsiteY121" fmla="*/ 690 h 10000"/>
                    <a:gd name="connsiteX0" fmla="*/ 8954 w 10000"/>
                    <a:gd name="connsiteY0" fmla="*/ 690 h 10000"/>
                    <a:gd name="connsiteX1" fmla="*/ 8996 w 10000"/>
                    <a:gd name="connsiteY1" fmla="*/ 1059 h 10000"/>
                    <a:gd name="connsiteX2" fmla="*/ 9072 w 10000"/>
                    <a:gd name="connsiteY2" fmla="*/ 1711 h 10000"/>
                    <a:gd name="connsiteX3" fmla="*/ 9189 w 10000"/>
                    <a:gd name="connsiteY3" fmla="*/ 2217 h 10000"/>
                    <a:gd name="connsiteX4" fmla="*/ 9272 w 10000"/>
                    <a:gd name="connsiteY4" fmla="*/ 2393 h 10000"/>
                    <a:gd name="connsiteX5" fmla="*/ 9465 w 10000"/>
                    <a:gd name="connsiteY5" fmla="*/ 2499 h 10000"/>
                    <a:gd name="connsiteX6" fmla="*/ 9624 w 10000"/>
                    <a:gd name="connsiteY6" fmla="*/ 2577 h 10000"/>
                    <a:gd name="connsiteX7" fmla="*/ 9699 w 10000"/>
                    <a:gd name="connsiteY7" fmla="*/ 2704 h 10000"/>
                    <a:gd name="connsiteX8" fmla="*/ 9774 w 10000"/>
                    <a:gd name="connsiteY8" fmla="*/ 2742 h 10000"/>
                    <a:gd name="connsiteX9" fmla="*/ 9875 w 10000"/>
                    <a:gd name="connsiteY9" fmla="*/ 2772 h 10000"/>
                    <a:gd name="connsiteX10" fmla="*/ 9917 w 10000"/>
                    <a:gd name="connsiteY10" fmla="*/ 2878 h 10000"/>
                    <a:gd name="connsiteX11" fmla="*/ 10000 w 10000"/>
                    <a:gd name="connsiteY11" fmla="*/ 2947 h 10000"/>
                    <a:gd name="connsiteX12" fmla="*/ 10000 w 10000"/>
                    <a:gd name="connsiteY12" fmla="*/ 2947 h 10000"/>
                    <a:gd name="connsiteX13" fmla="*/ 9849 w 10000"/>
                    <a:gd name="connsiteY13" fmla="*/ 3239 h 10000"/>
                    <a:gd name="connsiteX14" fmla="*/ 9749 w 10000"/>
                    <a:gd name="connsiteY14" fmla="*/ 3336 h 10000"/>
                    <a:gd name="connsiteX15" fmla="*/ 9556 w 10000"/>
                    <a:gd name="connsiteY15" fmla="*/ 3355 h 10000"/>
                    <a:gd name="connsiteX16" fmla="*/ 9406 w 10000"/>
                    <a:gd name="connsiteY16" fmla="*/ 3501 h 10000"/>
                    <a:gd name="connsiteX17" fmla="*/ 9189 w 10000"/>
                    <a:gd name="connsiteY17" fmla="*/ 3696 h 10000"/>
                    <a:gd name="connsiteX18" fmla="*/ 9122 w 10000"/>
                    <a:gd name="connsiteY18" fmla="*/ 3900 h 10000"/>
                    <a:gd name="connsiteX19" fmla="*/ 9097 w 10000"/>
                    <a:gd name="connsiteY19" fmla="*/ 4329 h 10000"/>
                    <a:gd name="connsiteX20" fmla="*/ 8971 w 10000"/>
                    <a:gd name="connsiteY20" fmla="*/ 4747 h 10000"/>
                    <a:gd name="connsiteX21" fmla="*/ 8863 w 10000"/>
                    <a:gd name="connsiteY21" fmla="*/ 5107 h 10000"/>
                    <a:gd name="connsiteX22" fmla="*/ 8946 w 10000"/>
                    <a:gd name="connsiteY22" fmla="*/ 5661 h 10000"/>
                    <a:gd name="connsiteX23" fmla="*/ 8963 w 10000"/>
                    <a:gd name="connsiteY23" fmla="*/ 5759 h 10000"/>
                    <a:gd name="connsiteX24" fmla="*/ 8946 w 10000"/>
                    <a:gd name="connsiteY24" fmla="*/ 6079 h 10000"/>
                    <a:gd name="connsiteX25" fmla="*/ 8829 w 10000"/>
                    <a:gd name="connsiteY25" fmla="*/ 6420 h 10000"/>
                    <a:gd name="connsiteX26" fmla="*/ 8796 w 10000"/>
                    <a:gd name="connsiteY26" fmla="*/ 6897 h 10000"/>
                    <a:gd name="connsiteX27" fmla="*/ 8503 w 10000"/>
                    <a:gd name="connsiteY27" fmla="*/ 7014 h 10000"/>
                    <a:gd name="connsiteX28" fmla="*/ 8344 w 10000"/>
                    <a:gd name="connsiteY28" fmla="*/ 7354 h 10000"/>
                    <a:gd name="connsiteX29" fmla="*/ 8160 w 10000"/>
                    <a:gd name="connsiteY29" fmla="*/ 7665 h 10000"/>
                    <a:gd name="connsiteX30" fmla="*/ 8143 w 10000"/>
                    <a:gd name="connsiteY30" fmla="*/ 8122 h 10000"/>
                    <a:gd name="connsiteX31" fmla="*/ 8093 w 10000"/>
                    <a:gd name="connsiteY31" fmla="*/ 8365 h 10000"/>
                    <a:gd name="connsiteX32" fmla="*/ 7943 w 10000"/>
                    <a:gd name="connsiteY32" fmla="*/ 8317 h 10000"/>
                    <a:gd name="connsiteX33" fmla="*/ 7725 w 10000"/>
                    <a:gd name="connsiteY33" fmla="*/ 8560 h 10000"/>
                    <a:gd name="connsiteX34" fmla="*/ 7725 w 10000"/>
                    <a:gd name="connsiteY34" fmla="*/ 8921 h 10000"/>
                    <a:gd name="connsiteX35" fmla="*/ 7633 w 10000"/>
                    <a:gd name="connsiteY35" fmla="*/ 9270 h 10000"/>
                    <a:gd name="connsiteX36" fmla="*/ 7650 w 10000"/>
                    <a:gd name="connsiteY36" fmla="*/ 9475 h 10000"/>
                    <a:gd name="connsiteX37" fmla="*/ 7642 w 10000"/>
                    <a:gd name="connsiteY37" fmla="*/ 9475 h 10000"/>
                    <a:gd name="connsiteX38" fmla="*/ 7541 w 10000"/>
                    <a:gd name="connsiteY38" fmla="*/ 9455 h 10000"/>
                    <a:gd name="connsiteX39" fmla="*/ 7524 w 10000"/>
                    <a:gd name="connsiteY39" fmla="*/ 9358 h 10000"/>
                    <a:gd name="connsiteX40" fmla="*/ 7508 w 10000"/>
                    <a:gd name="connsiteY40" fmla="*/ 9241 h 10000"/>
                    <a:gd name="connsiteX41" fmla="*/ 7541 w 10000"/>
                    <a:gd name="connsiteY41" fmla="*/ 9007 h 10000"/>
                    <a:gd name="connsiteX42" fmla="*/ 7474 w 10000"/>
                    <a:gd name="connsiteY42" fmla="*/ 9007 h 10000"/>
                    <a:gd name="connsiteX43" fmla="*/ 7340 w 10000"/>
                    <a:gd name="connsiteY43" fmla="*/ 8697 h 10000"/>
                    <a:gd name="connsiteX44" fmla="*/ 7157 w 10000"/>
                    <a:gd name="connsiteY44" fmla="*/ 8599 h 10000"/>
                    <a:gd name="connsiteX45" fmla="*/ 7090 w 10000"/>
                    <a:gd name="connsiteY45" fmla="*/ 7996 h 10000"/>
                    <a:gd name="connsiteX46" fmla="*/ 7140 w 10000"/>
                    <a:gd name="connsiteY46" fmla="*/ 7510 h 10000"/>
                    <a:gd name="connsiteX47" fmla="*/ 6805 w 10000"/>
                    <a:gd name="connsiteY47" fmla="*/ 7510 h 10000"/>
                    <a:gd name="connsiteX48" fmla="*/ 6805 w 10000"/>
                    <a:gd name="connsiteY48" fmla="*/ 7685 h 10000"/>
                    <a:gd name="connsiteX49" fmla="*/ 6454 w 10000"/>
                    <a:gd name="connsiteY49" fmla="*/ 7723 h 10000"/>
                    <a:gd name="connsiteX50" fmla="*/ 6621 w 10000"/>
                    <a:gd name="connsiteY50" fmla="*/ 7918 h 10000"/>
                    <a:gd name="connsiteX51" fmla="*/ 6621 w 10000"/>
                    <a:gd name="connsiteY51" fmla="*/ 8191 h 10000"/>
                    <a:gd name="connsiteX52" fmla="*/ 6688 w 10000"/>
                    <a:gd name="connsiteY52" fmla="*/ 8327 h 10000"/>
                    <a:gd name="connsiteX53" fmla="*/ 6337 w 10000"/>
                    <a:gd name="connsiteY53" fmla="*/ 8658 h 10000"/>
                    <a:gd name="connsiteX54" fmla="*/ 6236 w 10000"/>
                    <a:gd name="connsiteY54" fmla="*/ 8891 h 10000"/>
                    <a:gd name="connsiteX55" fmla="*/ 5885 w 10000"/>
                    <a:gd name="connsiteY55" fmla="*/ 9300 h 10000"/>
                    <a:gd name="connsiteX56" fmla="*/ 5617 w 10000"/>
                    <a:gd name="connsiteY56" fmla="*/ 9280 h 10000"/>
                    <a:gd name="connsiteX57" fmla="*/ 5082 w 10000"/>
                    <a:gd name="connsiteY57" fmla="*/ 8891 h 10000"/>
                    <a:gd name="connsiteX58" fmla="*/ 4865 w 10000"/>
                    <a:gd name="connsiteY58" fmla="*/ 9124 h 10000"/>
                    <a:gd name="connsiteX59" fmla="*/ 4848 w 10000"/>
                    <a:gd name="connsiteY59" fmla="*/ 9300 h 10000"/>
                    <a:gd name="connsiteX60" fmla="*/ 4547 w 10000"/>
                    <a:gd name="connsiteY60" fmla="*/ 9339 h 10000"/>
                    <a:gd name="connsiteX61" fmla="*/ 4520 w 10000"/>
                    <a:gd name="connsiteY61" fmla="*/ 9573 h 10000"/>
                    <a:gd name="connsiteX62" fmla="*/ 3931 w 10000"/>
                    <a:gd name="connsiteY62" fmla="*/ 9576 h 10000"/>
                    <a:gd name="connsiteX63" fmla="*/ 3828 w 10000"/>
                    <a:gd name="connsiteY63" fmla="*/ 9436 h 10000"/>
                    <a:gd name="connsiteX64" fmla="*/ 3243 w 10000"/>
                    <a:gd name="connsiteY64" fmla="*/ 9377 h 10000"/>
                    <a:gd name="connsiteX65" fmla="*/ 3125 w 10000"/>
                    <a:gd name="connsiteY65" fmla="*/ 9494 h 10000"/>
                    <a:gd name="connsiteX66" fmla="*/ 2874 w 10000"/>
                    <a:gd name="connsiteY66" fmla="*/ 9436 h 10000"/>
                    <a:gd name="connsiteX67" fmla="*/ 2774 w 10000"/>
                    <a:gd name="connsiteY67" fmla="*/ 9144 h 10000"/>
                    <a:gd name="connsiteX68" fmla="*/ 2623 w 10000"/>
                    <a:gd name="connsiteY68" fmla="*/ 8988 h 10000"/>
                    <a:gd name="connsiteX69" fmla="*/ 2540 w 10000"/>
                    <a:gd name="connsiteY69" fmla="*/ 8813 h 10000"/>
                    <a:gd name="connsiteX70" fmla="*/ 2054 w 10000"/>
                    <a:gd name="connsiteY70" fmla="*/ 8930 h 10000"/>
                    <a:gd name="connsiteX71" fmla="*/ 1971 w 10000"/>
                    <a:gd name="connsiteY71" fmla="*/ 9202 h 10000"/>
                    <a:gd name="connsiteX72" fmla="*/ 1871 w 10000"/>
                    <a:gd name="connsiteY72" fmla="*/ 9241 h 10000"/>
                    <a:gd name="connsiteX73" fmla="*/ 1871 w 10000"/>
                    <a:gd name="connsiteY73" fmla="*/ 9494 h 10000"/>
                    <a:gd name="connsiteX74" fmla="*/ 1770 w 10000"/>
                    <a:gd name="connsiteY74" fmla="*/ 9533 h 10000"/>
                    <a:gd name="connsiteX75" fmla="*/ 1770 w 10000"/>
                    <a:gd name="connsiteY75" fmla="*/ 9689 h 10000"/>
                    <a:gd name="connsiteX76" fmla="*/ 1770 w 10000"/>
                    <a:gd name="connsiteY76" fmla="*/ 9864 h 10000"/>
                    <a:gd name="connsiteX77" fmla="*/ 1537 w 10000"/>
                    <a:gd name="connsiteY77" fmla="*/ 10000 h 10000"/>
                    <a:gd name="connsiteX78" fmla="*/ 1511 w 10000"/>
                    <a:gd name="connsiteY78" fmla="*/ 10000 h 10000"/>
                    <a:gd name="connsiteX79" fmla="*/ 1461 w 10000"/>
                    <a:gd name="connsiteY79" fmla="*/ 10000 h 10000"/>
                    <a:gd name="connsiteX80" fmla="*/ 1076 w 10000"/>
                    <a:gd name="connsiteY80" fmla="*/ 9961 h 10000"/>
                    <a:gd name="connsiteX81" fmla="*/ 1060 w 10000"/>
                    <a:gd name="connsiteY81" fmla="*/ 9805 h 10000"/>
                    <a:gd name="connsiteX82" fmla="*/ 1160 w 10000"/>
                    <a:gd name="connsiteY82" fmla="*/ 9475 h 10000"/>
                    <a:gd name="connsiteX83" fmla="*/ 1160 w 10000"/>
                    <a:gd name="connsiteY83" fmla="*/ 9144 h 10000"/>
                    <a:gd name="connsiteX84" fmla="*/ 934 w 10000"/>
                    <a:gd name="connsiteY84" fmla="*/ 8716 h 10000"/>
                    <a:gd name="connsiteX85" fmla="*/ 658 w 10000"/>
                    <a:gd name="connsiteY85" fmla="*/ 8365 h 10000"/>
                    <a:gd name="connsiteX86" fmla="*/ 616 w 10000"/>
                    <a:gd name="connsiteY86" fmla="*/ 8356 h 10000"/>
                    <a:gd name="connsiteX87" fmla="*/ 691 w 10000"/>
                    <a:gd name="connsiteY87" fmla="*/ 8249 h 10000"/>
                    <a:gd name="connsiteX88" fmla="*/ 599 w 10000"/>
                    <a:gd name="connsiteY88" fmla="*/ 7996 h 10000"/>
                    <a:gd name="connsiteX89" fmla="*/ 466 w 10000"/>
                    <a:gd name="connsiteY89" fmla="*/ 7694 h 10000"/>
                    <a:gd name="connsiteX90" fmla="*/ 407 w 10000"/>
                    <a:gd name="connsiteY90" fmla="*/ 7539 h 10000"/>
                    <a:gd name="connsiteX91" fmla="*/ 373 w 10000"/>
                    <a:gd name="connsiteY91" fmla="*/ 7150 h 10000"/>
                    <a:gd name="connsiteX92" fmla="*/ 148 w 10000"/>
                    <a:gd name="connsiteY92" fmla="*/ 7110 h 10000"/>
                    <a:gd name="connsiteX93" fmla="*/ 64 w 10000"/>
                    <a:gd name="connsiteY93" fmla="*/ 6790 h 10000"/>
                    <a:gd name="connsiteX94" fmla="*/ 223 w 10000"/>
                    <a:gd name="connsiteY94" fmla="*/ 6488 h 10000"/>
                    <a:gd name="connsiteX95" fmla="*/ 198 w 10000"/>
                    <a:gd name="connsiteY95" fmla="*/ 6177 h 10000"/>
                    <a:gd name="connsiteX96" fmla="*/ 415 w 10000"/>
                    <a:gd name="connsiteY96" fmla="*/ 5963 h 10000"/>
                    <a:gd name="connsiteX97" fmla="*/ 348 w 10000"/>
                    <a:gd name="connsiteY97" fmla="*/ 5816 h 10000"/>
                    <a:gd name="connsiteX98" fmla="*/ 382 w 10000"/>
                    <a:gd name="connsiteY98" fmla="*/ 5642 h 10000"/>
                    <a:gd name="connsiteX99" fmla="*/ 474 w 10000"/>
                    <a:gd name="connsiteY99" fmla="*/ 5506 h 10000"/>
                    <a:gd name="connsiteX100" fmla="*/ 666 w 10000"/>
                    <a:gd name="connsiteY100" fmla="*/ 5145 h 10000"/>
                    <a:gd name="connsiteX101" fmla="*/ 674 w 10000"/>
                    <a:gd name="connsiteY101" fmla="*/ 4931 h 10000"/>
                    <a:gd name="connsiteX102" fmla="*/ 1001 w 10000"/>
                    <a:gd name="connsiteY102" fmla="*/ 4835 h 10000"/>
                    <a:gd name="connsiteX103" fmla="*/ 1269 w 10000"/>
                    <a:gd name="connsiteY103" fmla="*/ 4825 h 10000"/>
                    <a:gd name="connsiteX104" fmla="*/ 1185 w 10000"/>
                    <a:gd name="connsiteY104" fmla="*/ 2091 h 10000"/>
                    <a:gd name="connsiteX105" fmla="*/ 1185 w 10000"/>
                    <a:gd name="connsiteY105" fmla="*/ 2091 h 10000"/>
                    <a:gd name="connsiteX106" fmla="*/ 1176 w 10000"/>
                    <a:gd name="connsiteY106" fmla="*/ 1730 h 10000"/>
                    <a:gd name="connsiteX107" fmla="*/ 1770 w 10000"/>
                    <a:gd name="connsiteY107" fmla="*/ 1721 h 10000"/>
                    <a:gd name="connsiteX108" fmla="*/ 1712 w 10000"/>
                    <a:gd name="connsiteY108" fmla="*/ 271 h 10000"/>
                    <a:gd name="connsiteX109" fmla="*/ 5434 w 10000"/>
                    <a:gd name="connsiteY109" fmla="*/ 164 h 10000"/>
                    <a:gd name="connsiteX110" fmla="*/ 5559 w 10000"/>
                    <a:gd name="connsiteY110" fmla="*/ 38 h 10000"/>
                    <a:gd name="connsiteX111" fmla="*/ 5626 w 10000"/>
                    <a:gd name="connsiteY111" fmla="*/ 164 h 10000"/>
                    <a:gd name="connsiteX112" fmla="*/ 6555 w 10000"/>
                    <a:gd name="connsiteY112" fmla="*/ 126 h 10000"/>
                    <a:gd name="connsiteX113" fmla="*/ 6555 w 10000"/>
                    <a:gd name="connsiteY113" fmla="*/ 126 h 10000"/>
                    <a:gd name="connsiteX114" fmla="*/ 6780 w 10000"/>
                    <a:gd name="connsiteY114" fmla="*/ 310 h 10000"/>
                    <a:gd name="connsiteX115" fmla="*/ 7022 w 10000"/>
                    <a:gd name="connsiteY115" fmla="*/ 291 h 10000"/>
                    <a:gd name="connsiteX116" fmla="*/ 7081 w 10000"/>
                    <a:gd name="connsiteY116" fmla="*/ 106 h 10000"/>
                    <a:gd name="connsiteX117" fmla="*/ 8695 w 10000"/>
                    <a:gd name="connsiteY117" fmla="*/ 38 h 10000"/>
                    <a:gd name="connsiteX118" fmla="*/ 8695 w 10000"/>
                    <a:gd name="connsiteY118" fmla="*/ 38 h 10000"/>
                    <a:gd name="connsiteX119" fmla="*/ 8728 w 10000"/>
                    <a:gd name="connsiteY119" fmla="*/ 145 h 10000"/>
                    <a:gd name="connsiteX120" fmla="*/ 8771 w 10000"/>
                    <a:gd name="connsiteY120" fmla="*/ 388 h 10000"/>
                    <a:gd name="connsiteX121" fmla="*/ 8954 w 10000"/>
                    <a:gd name="connsiteY121" fmla="*/ 612 h 10000"/>
                    <a:gd name="connsiteX122" fmla="*/ 8954 w 10000"/>
                    <a:gd name="connsiteY122" fmla="*/ 690 h 10000"/>
                    <a:gd name="connsiteX0" fmla="*/ 8954 w 10000"/>
                    <a:gd name="connsiteY0" fmla="*/ 690 h 10000"/>
                    <a:gd name="connsiteX1" fmla="*/ 8996 w 10000"/>
                    <a:gd name="connsiteY1" fmla="*/ 1059 h 10000"/>
                    <a:gd name="connsiteX2" fmla="*/ 9072 w 10000"/>
                    <a:gd name="connsiteY2" fmla="*/ 1711 h 10000"/>
                    <a:gd name="connsiteX3" fmla="*/ 9189 w 10000"/>
                    <a:gd name="connsiteY3" fmla="*/ 2217 h 10000"/>
                    <a:gd name="connsiteX4" fmla="*/ 9272 w 10000"/>
                    <a:gd name="connsiteY4" fmla="*/ 2393 h 10000"/>
                    <a:gd name="connsiteX5" fmla="*/ 9465 w 10000"/>
                    <a:gd name="connsiteY5" fmla="*/ 2499 h 10000"/>
                    <a:gd name="connsiteX6" fmla="*/ 9624 w 10000"/>
                    <a:gd name="connsiteY6" fmla="*/ 2577 h 10000"/>
                    <a:gd name="connsiteX7" fmla="*/ 9699 w 10000"/>
                    <a:gd name="connsiteY7" fmla="*/ 2704 h 10000"/>
                    <a:gd name="connsiteX8" fmla="*/ 9774 w 10000"/>
                    <a:gd name="connsiteY8" fmla="*/ 2742 h 10000"/>
                    <a:gd name="connsiteX9" fmla="*/ 9875 w 10000"/>
                    <a:gd name="connsiteY9" fmla="*/ 2772 h 10000"/>
                    <a:gd name="connsiteX10" fmla="*/ 9917 w 10000"/>
                    <a:gd name="connsiteY10" fmla="*/ 2878 h 10000"/>
                    <a:gd name="connsiteX11" fmla="*/ 10000 w 10000"/>
                    <a:gd name="connsiteY11" fmla="*/ 2947 h 10000"/>
                    <a:gd name="connsiteX12" fmla="*/ 10000 w 10000"/>
                    <a:gd name="connsiteY12" fmla="*/ 2947 h 10000"/>
                    <a:gd name="connsiteX13" fmla="*/ 9849 w 10000"/>
                    <a:gd name="connsiteY13" fmla="*/ 3239 h 10000"/>
                    <a:gd name="connsiteX14" fmla="*/ 9749 w 10000"/>
                    <a:gd name="connsiteY14" fmla="*/ 3336 h 10000"/>
                    <a:gd name="connsiteX15" fmla="*/ 9556 w 10000"/>
                    <a:gd name="connsiteY15" fmla="*/ 3355 h 10000"/>
                    <a:gd name="connsiteX16" fmla="*/ 9406 w 10000"/>
                    <a:gd name="connsiteY16" fmla="*/ 3501 h 10000"/>
                    <a:gd name="connsiteX17" fmla="*/ 9189 w 10000"/>
                    <a:gd name="connsiteY17" fmla="*/ 3696 h 10000"/>
                    <a:gd name="connsiteX18" fmla="*/ 9122 w 10000"/>
                    <a:gd name="connsiteY18" fmla="*/ 3900 h 10000"/>
                    <a:gd name="connsiteX19" fmla="*/ 9097 w 10000"/>
                    <a:gd name="connsiteY19" fmla="*/ 4329 h 10000"/>
                    <a:gd name="connsiteX20" fmla="*/ 8971 w 10000"/>
                    <a:gd name="connsiteY20" fmla="*/ 4747 h 10000"/>
                    <a:gd name="connsiteX21" fmla="*/ 8863 w 10000"/>
                    <a:gd name="connsiteY21" fmla="*/ 5107 h 10000"/>
                    <a:gd name="connsiteX22" fmla="*/ 8946 w 10000"/>
                    <a:gd name="connsiteY22" fmla="*/ 5661 h 10000"/>
                    <a:gd name="connsiteX23" fmla="*/ 8963 w 10000"/>
                    <a:gd name="connsiteY23" fmla="*/ 5759 h 10000"/>
                    <a:gd name="connsiteX24" fmla="*/ 8946 w 10000"/>
                    <a:gd name="connsiteY24" fmla="*/ 6079 h 10000"/>
                    <a:gd name="connsiteX25" fmla="*/ 8829 w 10000"/>
                    <a:gd name="connsiteY25" fmla="*/ 6420 h 10000"/>
                    <a:gd name="connsiteX26" fmla="*/ 8796 w 10000"/>
                    <a:gd name="connsiteY26" fmla="*/ 6897 h 10000"/>
                    <a:gd name="connsiteX27" fmla="*/ 8503 w 10000"/>
                    <a:gd name="connsiteY27" fmla="*/ 7014 h 10000"/>
                    <a:gd name="connsiteX28" fmla="*/ 8344 w 10000"/>
                    <a:gd name="connsiteY28" fmla="*/ 7354 h 10000"/>
                    <a:gd name="connsiteX29" fmla="*/ 8160 w 10000"/>
                    <a:gd name="connsiteY29" fmla="*/ 7665 h 10000"/>
                    <a:gd name="connsiteX30" fmla="*/ 8143 w 10000"/>
                    <a:gd name="connsiteY30" fmla="*/ 8122 h 10000"/>
                    <a:gd name="connsiteX31" fmla="*/ 8093 w 10000"/>
                    <a:gd name="connsiteY31" fmla="*/ 8365 h 10000"/>
                    <a:gd name="connsiteX32" fmla="*/ 7943 w 10000"/>
                    <a:gd name="connsiteY32" fmla="*/ 8317 h 10000"/>
                    <a:gd name="connsiteX33" fmla="*/ 7725 w 10000"/>
                    <a:gd name="connsiteY33" fmla="*/ 8560 h 10000"/>
                    <a:gd name="connsiteX34" fmla="*/ 7725 w 10000"/>
                    <a:gd name="connsiteY34" fmla="*/ 8921 h 10000"/>
                    <a:gd name="connsiteX35" fmla="*/ 7633 w 10000"/>
                    <a:gd name="connsiteY35" fmla="*/ 9270 h 10000"/>
                    <a:gd name="connsiteX36" fmla="*/ 7650 w 10000"/>
                    <a:gd name="connsiteY36" fmla="*/ 9475 h 10000"/>
                    <a:gd name="connsiteX37" fmla="*/ 7642 w 10000"/>
                    <a:gd name="connsiteY37" fmla="*/ 9475 h 10000"/>
                    <a:gd name="connsiteX38" fmla="*/ 7541 w 10000"/>
                    <a:gd name="connsiteY38" fmla="*/ 9455 h 10000"/>
                    <a:gd name="connsiteX39" fmla="*/ 7524 w 10000"/>
                    <a:gd name="connsiteY39" fmla="*/ 9358 h 10000"/>
                    <a:gd name="connsiteX40" fmla="*/ 7508 w 10000"/>
                    <a:gd name="connsiteY40" fmla="*/ 9241 h 10000"/>
                    <a:gd name="connsiteX41" fmla="*/ 7541 w 10000"/>
                    <a:gd name="connsiteY41" fmla="*/ 9007 h 10000"/>
                    <a:gd name="connsiteX42" fmla="*/ 7474 w 10000"/>
                    <a:gd name="connsiteY42" fmla="*/ 9007 h 10000"/>
                    <a:gd name="connsiteX43" fmla="*/ 7340 w 10000"/>
                    <a:gd name="connsiteY43" fmla="*/ 8697 h 10000"/>
                    <a:gd name="connsiteX44" fmla="*/ 7157 w 10000"/>
                    <a:gd name="connsiteY44" fmla="*/ 8599 h 10000"/>
                    <a:gd name="connsiteX45" fmla="*/ 7090 w 10000"/>
                    <a:gd name="connsiteY45" fmla="*/ 7996 h 10000"/>
                    <a:gd name="connsiteX46" fmla="*/ 7140 w 10000"/>
                    <a:gd name="connsiteY46" fmla="*/ 7510 h 10000"/>
                    <a:gd name="connsiteX47" fmla="*/ 6805 w 10000"/>
                    <a:gd name="connsiteY47" fmla="*/ 7510 h 10000"/>
                    <a:gd name="connsiteX48" fmla="*/ 6805 w 10000"/>
                    <a:gd name="connsiteY48" fmla="*/ 7685 h 10000"/>
                    <a:gd name="connsiteX49" fmla="*/ 6454 w 10000"/>
                    <a:gd name="connsiteY49" fmla="*/ 7723 h 10000"/>
                    <a:gd name="connsiteX50" fmla="*/ 6621 w 10000"/>
                    <a:gd name="connsiteY50" fmla="*/ 7918 h 10000"/>
                    <a:gd name="connsiteX51" fmla="*/ 6621 w 10000"/>
                    <a:gd name="connsiteY51" fmla="*/ 8191 h 10000"/>
                    <a:gd name="connsiteX52" fmla="*/ 6688 w 10000"/>
                    <a:gd name="connsiteY52" fmla="*/ 8327 h 10000"/>
                    <a:gd name="connsiteX53" fmla="*/ 6337 w 10000"/>
                    <a:gd name="connsiteY53" fmla="*/ 8658 h 10000"/>
                    <a:gd name="connsiteX54" fmla="*/ 6236 w 10000"/>
                    <a:gd name="connsiteY54" fmla="*/ 8891 h 10000"/>
                    <a:gd name="connsiteX55" fmla="*/ 5885 w 10000"/>
                    <a:gd name="connsiteY55" fmla="*/ 9300 h 10000"/>
                    <a:gd name="connsiteX56" fmla="*/ 5617 w 10000"/>
                    <a:gd name="connsiteY56" fmla="*/ 9280 h 10000"/>
                    <a:gd name="connsiteX57" fmla="*/ 5082 w 10000"/>
                    <a:gd name="connsiteY57" fmla="*/ 8891 h 10000"/>
                    <a:gd name="connsiteX58" fmla="*/ 4865 w 10000"/>
                    <a:gd name="connsiteY58" fmla="*/ 9124 h 10000"/>
                    <a:gd name="connsiteX59" fmla="*/ 4848 w 10000"/>
                    <a:gd name="connsiteY59" fmla="*/ 9300 h 10000"/>
                    <a:gd name="connsiteX60" fmla="*/ 4547 w 10000"/>
                    <a:gd name="connsiteY60" fmla="*/ 9339 h 10000"/>
                    <a:gd name="connsiteX61" fmla="*/ 4520 w 10000"/>
                    <a:gd name="connsiteY61" fmla="*/ 9573 h 10000"/>
                    <a:gd name="connsiteX62" fmla="*/ 3931 w 10000"/>
                    <a:gd name="connsiteY62" fmla="*/ 9576 h 10000"/>
                    <a:gd name="connsiteX63" fmla="*/ 3828 w 10000"/>
                    <a:gd name="connsiteY63" fmla="*/ 9436 h 10000"/>
                    <a:gd name="connsiteX64" fmla="*/ 3243 w 10000"/>
                    <a:gd name="connsiteY64" fmla="*/ 9377 h 10000"/>
                    <a:gd name="connsiteX65" fmla="*/ 3125 w 10000"/>
                    <a:gd name="connsiteY65" fmla="*/ 9494 h 10000"/>
                    <a:gd name="connsiteX66" fmla="*/ 2874 w 10000"/>
                    <a:gd name="connsiteY66" fmla="*/ 9436 h 10000"/>
                    <a:gd name="connsiteX67" fmla="*/ 2774 w 10000"/>
                    <a:gd name="connsiteY67" fmla="*/ 9144 h 10000"/>
                    <a:gd name="connsiteX68" fmla="*/ 2623 w 10000"/>
                    <a:gd name="connsiteY68" fmla="*/ 8988 h 10000"/>
                    <a:gd name="connsiteX69" fmla="*/ 2540 w 10000"/>
                    <a:gd name="connsiteY69" fmla="*/ 8813 h 10000"/>
                    <a:gd name="connsiteX70" fmla="*/ 2054 w 10000"/>
                    <a:gd name="connsiteY70" fmla="*/ 8930 h 10000"/>
                    <a:gd name="connsiteX71" fmla="*/ 1971 w 10000"/>
                    <a:gd name="connsiteY71" fmla="*/ 9202 h 10000"/>
                    <a:gd name="connsiteX72" fmla="*/ 1871 w 10000"/>
                    <a:gd name="connsiteY72" fmla="*/ 9241 h 10000"/>
                    <a:gd name="connsiteX73" fmla="*/ 1871 w 10000"/>
                    <a:gd name="connsiteY73" fmla="*/ 9494 h 10000"/>
                    <a:gd name="connsiteX74" fmla="*/ 1770 w 10000"/>
                    <a:gd name="connsiteY74" fmla="*/ 9533 h 10000"/>
                    <a:gd name="connsiteX75" fmla="*/ 1770 w 10000"/>
                    <a:gd name="connsiteY75" fmla="*/ 9689 h 10000"/>
                    <a:gd name="connsiteX76" fmla="*/ 1770 w 10000"/>
                    <a:gd name="connsiteY76" fmla="*/ 9864 h 10000"/>
                    <a:gd name="connsiteX77" fmla="*/ 1537 w 10000"/>
                    <a:gd name="connsiteY77" fmla="*/ 10000 h 10000"/>
                    <a:gd name="connsiteX78" fmla="*/ 1511 w 10000"/>
                    <a:gd name="connsiteY78" fmla="*/ 10000 h 10000"/>
                    <a:gd name="connsiteX79" fmla="*/ 1461 w 10000"/>
                    <a:gd name="connsiteY79" fmla="*/ 10000 h 10000"/>
                    <a:gd name="connsiteX80" fmla="*/ 1076 w 10000"/>
                    <a:gd name="connsiteY80" fmla="*/ 9961 h 10000"/>
                    <a:gd name="connsiteX81" fmla="*/ 1060 w 10000"/>
                    <a:gd name="connsiteY81" fmla="*/ 9805 h 10000"/>
                    <a:gd name="connsiteX82" fmla="*/ 1160 w 10000"/>
                    <a:gd name="connsiteY82" fmla="*/ 9475 h 10000"/>
                    <a:gd name="connsiteX83" fmla="*/ 1160 w 10000"/>
                    <a:gd name="connsiteY83" fmla="*/ 9144 h 10000"/>
                    <a:gd name="connsiteX84" fmla="*/ 934 w 10000"/>
                    <a:gd name="connsiteY84" fmla="*/ 8716 h 10000"/>
                    <a:gd name="connsiteX85" fmla="*/ 658 w 10000"/>
                    <a:gd name="connsiteY85" fmla="*/ 8365 h 10000"/>
                    <a:gd name="connsiteX86" fmla="*/ 616 w 10000"/>
                    <a:gd name="connsiteY86" fmla="*/ 8356 h 10000"/>
                    <a:gd name="connsiteX87" fmla="*/ 691 w 10000"/>
                    <a:gd name="connsiteY87" fmla="*/ 8249 h 10000"/>
                    <a:gd name="connsiteX88" fmla="*/ 599 w 10000"/>
                    <a:gd name="connsiteY88" fmla="*/ 7996 h 10000"/>
                    <a:gd name="connsiteX89" fmla="*/ 466 w 10000"/>
                    <a:gd name="connsiteY89" fmla="*/ 7694 h 10000"/>
                    <a:gd name="connsiteX90" fmla="*/ 407 w 10000"/>
                    <a:gd name="connsiteY90" fmla="*/ 7539 h 10000"/>
                    <a:gd name="connsiteX91" fmla="*/ 373 w 10000"/>
                    <a:gd name="connsiteY91" fmla="*/ 7150 h 10000"/>
                    <a:gd name="connsiteX92" fmla="*/ 148 w 10000"/>
                    <a:gd name="connsiteY92" fmla="*/ 7110 h 10000"/>
                    <a:gd name="connsiteX93" fmla="*/ 64 w 10000"/>
                    <a:gd name="connsiteY93" fmla="*/ 6790 h 10000"/>
                    <a:gd name="connsiteX94" fmla="*/ 223 w 10000"/>
                    <a:gd name="connsiteY94" fmla="*/ 6488 h 10000"/>
                    <a:gd name="connsiteX95" fmla="*/ 198 w 10000"/>
                    <a:gd name="connsiteY95" fmla="*/ 6177 h 10000"/>
                    <a:gd name="connsiteX96" fmla="*/ 415 w 10000"/>
                    <a:gd name="connsiteY96" fmla="*/ 5963 h 10000"/>
                    <a:gd name="connsiteX97" fmla="*/ 348 w 10000"/>
                    <a:gd name="connsiteY97" fmla="*/ 5816 h 10000"/>
                    <a:gd name="connsiteX98" fmla="*/ 382 w 10000"/>
                    <a:gd name="connsiteY98" fmla="*/ 5642 h 10000"/>
                    <a:gd name="connsiteX99" fmla="*/ 474 w 10000"/>
                    <a:gd name="connsiteY99" fmla="*/ 5506 h 10000"/>
                    <a:gd name="connsiteX100" fmla="*/ 666 w 10000"/>
                    <a:gd name="connsiteY100" fmla="*/ 5145 h 10000"/>
                    <a:gd name="connsiteX101" fmla="*/ 674 w 10000"/>
                    <a:gd name="connsiteY101" fmla="*/ 4931 h 10000"/>
                    <a:gd name="connsiteX102" fmla="*/ 1001 w 10000"/>
                    <a:gd name="connsiteY102" fmla="*/ 4835 h 10000"/>
                    <a:gd name="connsiteX103" fmla="*/ 1269 w 10000"/>
                    <a:gd name="connsiteY103" fmla="*/ 4825 h 10000"/>
                    <a:gd name="connsiteX104" fmla="*/ 1185 w 10000"/>
                    <a:gd name="connsiteY104" fmla="*/ 2091 h 10000"/>
                    <a:gd name="connsiteX105" fmla="*/ 1185 w 10000"/>
                    <a:gd name="connsiteY105" fmla="*/ 2091 h 10000"/>
                    <a:gd name="connsiteX106" fmla="*/ 1176 w 10000"/>
                    <a:gd name="connsiteY106" fmla="*/ 1730 h 10000"/>
                    <a:gd name="connsiteX107" fmla="*/ 1770 w 10000"/>
                    <a:gd name="connsiteY107" fmla="*/ 1721 h 10000"/>
                    <a:gd name="connsiteX108" fmla="*/ 1712 w 10000"/>
                    <a:gd name="connsiteY108" fmla="*/ 271 h 10000"/>
                    <a:gd name="connsiteX109" fmla="*/ 5434 w 10000"/>
                    <a:gd name="connsiteY109" fmla="*/ 164 h 10000"/>
                    <a:gd name="connsiteX110" fmla="*/ 5559 w 10000"/>
                    <a:gd name="connsiteY110" fmla="*/ 38 h 10000"/>
                    <a:gd name="connsiteX111" fmla="*/ 5626 w 10000"/>
                    <a:gd name="connsiteY111" fmla="*/ 164 h 10000"/>
                    <a:gd name="connsiteX112" fmla="*/ 6555 w 10000"/>
                    <a:gd name="connsiteY112" fmla="*/ 126 h 10000"/>
                    <a:gd name="connsiteX113" fmla="*/ 6555 w 10000"/>
                    <a:gd name="connsiteY113" fmla="*/ 126 h 10000"/>
                    <a:gd name="connsiteX114" fmla="*/ 7022 w 10000"/>
                    <a:gd name="connsiteY114" fmla="*/ 291 h 10000"/>
                    <a:gd name="connsiteX115" fmla="*/ 7081 w 10000"/>
                    <a:gd name="connsiteY115" fmla="*/ 106 h 10000"/>
                    <a:gd name="connsiteX116" fmla="*/ 8695 w 10000"/>
                    <a:gd name="connsiteY116" fmla="*/ 38 h 10000"/>
                    <a:gd name="connsiteX117" fmla="*/ 8695 w 10000"/>
                    <a:gd name="connsiteY117" fmla="*/ 38 h 10000"/>
                    <a:gd name="connsiteX118" fmla="*/ 8728 w 10000"/>
                    <a:gd name="connsiteY118" fmla="*/ 145 h 10000"/>
                    <a:gd name="connsiteX119" fmla="*/ 8771 w 10000"/>
                    <a:gd name="connsiteY119" fmla="*/ 388 h 10000"/>
                    <a:gd name="connsiteX120" fmla="*/ 8954 w 10000"/>
                    <a:gd name="connsiteY120" fmla="*/ 612 h 10000"/>
                    <a:gd name="connsiteX121" fmla="*/ 8954 w 10000"/>
                    <a:gd name="connsiteY121" fmla="*/ 690 h 10000"/>
                    <a:gd name="connsiteX0" fmla="*/ 8954 w 10000"/>
                    <a:gd name="connsiteY0" fmla="*/ 690 h 10000"/>
                    <a:gd name="connsiteX1" fmla="*/ 8996 w 10000"/>
                    <a:gd name="connsiteY1" fmla="*/ 1059 h 10000"/>
                    <a:gd name="connsiteX2" fmla="*/ 9072 w 10000"/>
                    <a:gd name="connsiteY2" fmla="*/ 1711 h 10000"/>
                    <a:gd name="connsiteX3" fmla="*/ 9189 w 10000"/>
                    <a:gd name="connsiteY3" fmla="*/ 2217 h 10000"/>
                    <a:gd name="connsiteX4" fmla="*/ 9272 w 10000"/>
                    <a:gd name="connsiteY4" fmla="*/ 2393 h 10000"/>
                    <a:gd name="connsiteX5" fmla="*/ 9465 w 10000"/>
                    <a:gd name="connsiteY5" fmla="*/ 2499 h 10000"/>
                    <a:gd name="connsiteX6" fmla="*/ 9624 w 10000"/>
                    <a:gd name="connsiteY6" fmla="*/ 2577 h 10000"/>
                    <a:gd name="connsiteX7" fmla="*/ 9699 w 10000"/>
                    <a:gd name="connsiteY7" fmla="*/ 2704 h 10000"/>
                    <a:gd name="connsiteX8" fmla="*/ 9774 w 10000"/>
                    <a:gd name="connsiteY8" fmla="*/ 2742 h 10000"/>
                    <a:gd name="connsiteX9" fmla="*/ 9875 w 10000"/>
                    <a:gd name="connsiteY9" fmla="*/ 2772 h 10000"/>
                    <a:gd name="connsiteX10" fmla="*/ 9917 w 10000"/>
                    <a:gd name="connsiteY10" fmla="*/ 2878 h 10000"/>
                    <a:gd name="connsiteX11" fmla="*/ 10000 w 10000"/>
                    <a:gd name="connsiteY11" fmla="*/ 2947 h 10000"/>
                    <a:gd name="connsiteX12" fmla="*/ 10000 w 10000"/>
                    <a:gd name="connsiteY12" fmla="*/ 2947 h 10000"/>
                    <a:gd name="connsiteX13" fmla="*/ 9849 w 10000"/>
                    <a:gd name="connsiteY13" fmla="*/ 3239 h 10000"/>
                    <a:gd name="connsiteX14" fmla="*/ 9749 w 10000"/>
                    <a:gd name="connsiteY14" fmla="*/ 3336 h 10000"/>
                    <a:gd name="connsiteX15" fmla="*/ 9556 w 10000"/>
                    <a:gd name="connsiteY15" fmla="*/ 3355 h 10000"/>
                    <a:gd name="connsiteX16" fmla="*/ 9406 w 10000"/>
                    <a:gd name="connsiteY16" fmla="*/ 3501 h 10000"/>
                    <a:gd name="connsiteX17" fmla="*/ 9189 w 10000"/>
                    <a:gd name="connsiteY17" fmla="*/ 3696 h 10000"/>
                    <a:gd name="connsiteX18" fmla="*/ 9122 w 10000"/>
                    <a:gd name="connsiteY18" fmla="*/ 3900 h 10000"/>
                    <a:gd name="connsiteX19" fmla="*/ 9097 w 10000"/>
                    <a:gd name="connsiteY19" fmla="*/ 4329 h 10000"/>
                    <a:gd name="connsiteX20" fmla="*/ 8971 w 10000"/>
                    <a:gd name="connsiteY20" fmla="*/ 4747 h 10000"/>
                    <a:gd name="connsiteX21" fmla="*/ 8863 w 10000"/>
                    <a:gd name="connsiteY21" fmla="*/ 5107 h 10000"/>
                    <a:gd name="connsiteX22" fmla="*/ 8946 w 10000"/>
                    <a:gd name="connsiteY22" fmla="*/ 5661 h 10000"/>
                    <a:gd name="connsiteX23" fmla="*/ 8963 w 10000"/>
                    <a:gd name="connsiteY23" fmla="*/ 5759 h 10000"/>
                    <a:gd name="connsiteX24" fmla="*/ 8946 w 10000"/>
                    <a:gd name="connsiteY24" fmla="*/ 6079 h 10000"/>
                    <a:gd name="connsiteX25" fmla="*/ 8829 w 10000"/>
                    <a:gd name="connsiteY25" fmla="*/ 6420 h 10000"/>
                    <a:gd name="connsiteX26" fmla="*/ 8796 w 10000"/>
                    <a:gd name="connsiteY26" fmla="*/ 6897 h 10000"/>
                    <a:gd name="connsiteX27" fmla="*/ 8503 w 10000"/>
                    <a:gd name="connsiteY27" fmla="*/ 7014 h 10000"/>
                    <a:gd name="connsiteX28" fmla="*/ 8344 w 10000"/>
                    <a:gd name="connsiteY28" fmla="*/ 7354 h 10000"/>
                    <a:gd name="connsiteX29" fmla="*/ 8160 w 10000"/>
                    <a:gd name="connsiteY29" fmla="*/ 7665 h 10000"/>
                    <a:gd name="connsiteX30" fmla="*/ 8143 w 10000"/>
                    <a:gd name="connsiteY30" fmla="*/ 8122 h 10000"/>
                    <a:gd name="connsiteX31" fmla="*/ 8093 w 10000"/>
                    <a:gd name="connsiteY31" fmla="*/ 8365 h 10000"/>
                    <a:gd name="connsiteX32" fmla="*/ 7943 w 10000"/>
                    <a:gd name="connsiteY32" fmla="*/ 8317 h 10000"/>
                    <a:gd name="connsiteX33" fmla="*/ 7725 w 10000"/>
                    <a:gd name="connsiteY33" fmla="*/ 8560 h 10000"/>
                    <a:gd name="connsiteX34" fmla="*/ 7725 w 10000"/>
                    <a:gd name="connsiteY34" fmla="*/ 8921 h 10000"/>
                    <a:gd name="connsiteX35" fmla="*/ 7633 w 10000"/>
                    <a:gd name="connsiteY35" fmla="*/ 9270 h 10000"/>
                    <a:gd name="connsiteX36" fmla="*/ 7650 w 10000"/>
                    <a:gd name="connsiteY36" fmla="*/ 9475 h 10000"/>
                    <a:gd name="connsiteX37" fmla="*/ 7642 w 10000"/>
                    <a:gd name="connsiteY37" fmla="*/ 9475 h 10000"/>
                    <a:gd name="connsiteX38" fmla="*/ 7541 w 10000"/>
                    <a:gd name="connsiteY38" fmla="*/ 9455 h 10000"/>
                    <a:gd name="connsiteX39" fmla="*/ 7524 w 10000"/>
                    <a:gd name="connsiteY39" fmla="*/ 9358 h 10000"/>
                    <a:gd name="connsiteX40" fmla="*/ 7508 w 10000"/>
                    <a:gd name="connsiteY40" fmla="*/ 9241 h 10000"/>
                    <a:gd name="connsiteX41" fmla="*/ 7541 w 10000"/>
                    <a:gd name="connsiteY41" fmla="*/ 9007 h 10000"/>
                    <a:gd name="connsiteX42" fmla="*/ 7474 w 10000"/>
                    <a:gd name="connsiteY42" fmla="*/ 9007 h 10000"/>
                    <a:gd name="connsiteX43" fmla="*/ 7340 w 10000"/>
                    <a:gd name="connsiteY43" fmla="*/ 8697 h 10000"/>
                    <a:gd name="connsiteX44" fmla="*/ 7157 w 10000"/>
                    <a:gd name="connsiteY44" fmla="*/ 8599 h 10000"/>
                    <a:gd name="connsiteX45" fmla="*/ 7090 w 10000"/>
                    <a:gd name="connsiteY45" fmla="*/ 7996 h 10000"/>
                    <a:gd name="connsiteX46" fmla="*/ 7140 w 10000"/>
                    <a:gd name="connsiteY46" fmla="*/ 7510 h 10000"/>
                    <a:gd name="connsiteX47" fmla="*/ 6805 w 10000"/>
                    <a:gd name="connsiteY47" fmla="*/ 7510 h 10000"/>
                    <a:gd name="connsiteX48" fmla="*/ 6805 w 10000"/>
                    <a:gd name="connsiteY48" fmla="*/ 7685 h 10000"/>
                    <a:gd name="connsiteX49" fmla="*/ 6454 w 10000"/>
                    <a:gd name="connsiteY49" fmla="*/ 7723 h 10000"/>
                    <a:gd name="connsiteX50" fmla="*/ 6621 w 10000"/>
                    <a:gd name="connsiteY50" fmla="*/ 7918 h 10000"/>
                    <a:gd name="connsiteX51" fmla="*/ 6621 w 10000"/>
                    <a:gd name="connsiteY51" fmla="*/ 8191 h 10000"/>
                    <a:gd name="connsiteX52" fmla="*/ 6688 w 10000"/>
                    <a:gd name="connsiteY52" fmla="*/ 8327 h 10000"/>
                    <a:gd name="connsiteX53" fmla="*/ 6337 w 10000"/>
                    <a:gd name="connsiteY53" fmla="*/ 8658 h 10000"/>
                    <a:gd name="connsiteX54" fmla="*/ 6236 w 10000"/>
                    <a:gd name="connsiteY54" fmla="*/ 8891 h 10000"/>
                    <a:gd name="connsiteX55" fmla="*/ 5885 w 10000"/>
                    <a:gd name="connsiteY55" fmla="*/ 9300 h 10000"/>
                    <a:gd name="connsiteX56" fmla="*/ 5617 w 10000"/>
                    <a:gd name="connsiteY56" fmla="*/ 9280 h 10000"/>
                    <a:gd name="connsiteX57" fmla="*/ 5082 w 10000"/>
                    <a:gd name="connsiteY57" fmla="*/ 8891 h 10000"/>
                    <a:gd name="connsiteX58" fmla="*/ 4865 w 10000"/>
                    <a:gd name="connsiteY58" fmla="*/ 9124 h 10000"/>
                    <a:gd name="connsiteX59" fmla="*/ 4848 w 10000"/>
                    <a:gd name="connsiteY59" fmla="*/ 9300 h 10000"/>
                    <a:gd name="connsiteX60" fmla="*/ 4547 w 10000"/>
                    <a:gd name="connsiteY60" fmla="*/ 9339 h 10000"/>
                    <a:gd name="connsiteX61" fmla="*/ 4520 w 10000"/>
                    <a:gd name="connsiteY61" fmla="*/ 9573 h 10000"/>
                    <a:gd name="connsiteX62" fmla="*/ 3931 w 10000"/>
                    <a:gd name="connsiteY62" fmla="*/ 9576 h 10000"/>
                    <a:gd name="connsiteX63" fmla="*/ 3828 w 10000"/>
                    <a:gd name="connsiteY63" fmla="*/ 9436 h 10000"/>
                    <a:gd name="connsiteX64" fmla="*/ 3243 w 10000"/>
                    <a:gd name="connsiteY64" fmla="*/ 9377 h 10000"/>
                    <a:gd name="connsiteX65" fmla="*/ 3125 w 10000"/>
                    <a:gd name="connsiteY65" fmla="*/ 9494 h 10000"/>
                    <a:gd name="connsiteX66" fmla="*/ 2874 w 10000"/>
                    <a:gd name="connsiteY66" fmla="*/ 9436 h 10000"/>
                    <a:gd name="connsiteX67" fmla="*/ 2774 w 10000"/>
                    <a:gd name="connsiteY67" fmla="*/ 9144 h 10000"/>
                    <a:gd name="connsiteX68" fmla="*/ 2623 w 10000"/>
                    <a:gd name="connsiteY68" fmla="*/ 8988 h 10000"/>
                    <a:gd name="connsiteX69" fmla="*/ 2540 w 10000"/>
                    <a:gd name="connsiteY69" fmla="*/ 8813 h 10000"/>
                    <a:gd name="connsiteX70" fmla="*/ 2054 w 10000"/>
                    <a:gd name="connsiteY70" fmla="*/ 8930 h 10000"/>
                    <a:gd name="connsiteX71" fmla="*/ 1971 w 10000"/>
                    <a:gd name="connsiteY71" fmla="*/ 9202 h 10000"/>
                    <a:gd name="connsiteX72" fmla="*/ 1871 w 10000"/>
                    <a:gd name="connsiteY72" fmla="*/ 9241 h 10000"/>
                    <a:gd name="connsiteX73" fmla="*/ 1871 w 10000"/>
                    <a:gd name="connsiteY73" fmla="*/ 9494 h 10000"/>
                    <a:gd name="connsiteX74" fmla="*/ 1770 w 10000"/>
                    <a:gd name="connsiteY74" fmla="*/ 9533 h 10000"/>
                    <a:gd name="connsiteX75" fmla="*/ 1770 w 10000"/>
                    <a:gd name="connsiteY75" fmla="*/ 9689 h 10000"/>
                    <a:gd name="connsiteX76" fmla="*/ 1770 w 10000"/>
                    <a:gd name="connsiteY76" fmla="*/ 9864 h 10000"/>
                    <a:gd name="connsiteX77" fmla="*/ 1537 w 10000"/>
                    <a:gd name="connsiteY77" fmla="*/ 10000 h 10000"/>
                    <a:gd name="connsiteX78" fmla="*/ 1511 w 10000"/>
                    <a:gd name="connsiteY78" fmla="*/ 10000 h 10000"/>
                    <a:gd name="connsiteX79" fmla="*/ 1461 w 10000"/>
                    <a:gd name="connsiteY79" fmla="*/ 10000 h 10000"/>
                    <a:gd name="connsiteX80" fmla="*/ 1076 w 10000"/>
                    <a:gd name="connsiteY80" fmla="*/ 9961 h 10000"/>
                    <a:gd name="connsiteX81" fmla="*/ 1060 w 10000"/>
                    <a:gd name="connsiteY81" fmla="*/ 9805 h 10000"/>
                    <a:gd name="connsiteX82" fmla="*/ 1160 w 10000"/>
                    <a:gd name="connsiteY82" fmla="*/ 9475 h 10000"/>
                    <a:gd name="connsiteX83" fmla="*/ 1160 w 10000"/>
                    <a:gd name="connsiteY83" fmla="*/ 9144 h 10000"/>
                    <a:gd name="connsiteX84" fmla="*/ 934 w 10000"/>
                    <a:gd name="connsiteY84" fmla="*/ 8716 h 10000"/>
                    <a:gd name="connsiteX85" fmla="*/ 658 w 10000"/>
                    <a:gd name="connsiteY85" fmla="*/ 8365 h 10000"/>
                    <a:gd name="connsiteX86" fmla="*/ 616 w 10000"/>
                    <a:gd name="connsiteY86" fmla="*/ 8356 h 10000"/>
                    <a:gd name="connsiteX87" fmla="*/ 691 w 10000"/>
                    <a:gd name="connsiteY87" fmla="*/ 8249 h 10000"/>
                    <a:gd name="connsiteX88" fmla="*/ 599 w 10000"/>
                    <a:gd name="connsiteY88" fmla="*/ 7996 h 10000"/>
                    <a:gd name="connsiteX89" fmla="*/ 466 w 10000"/>
                    <a:gd name="connsiteY89" fmla="*/ 7694 h 10000"/>
                    <a:gd name="connsiteX90" fmla="*/ 407 w 10000"/>
                    <a:gd name="connsiteY90" fmla="*/ 7539 h 10000"/>
                    <a:gd name="connsiteX91" fmla="*/ 373 w 10000"/>
                    <a:gd name="connsiteY91" fmla="*/ 7150 h 10000"/>
                    <a:gd name="connsiteX92" fmla="*/ 148 w 10000"/>
                    <a:gd name="connsiteY92" fmla="*/ 7110 h 10000"/>
                    <a:gd name="connsiteX93" fmla="*/ 64 w 10000"/>
                    <a:gd name="connsiteY93" fmla="*/ 6790 h 10000"/>
                    <a:gd name="connsiteX94" fmla="*/ 223 w 10000"/>
                    <a:gd name="connsiteY94" fmla="*/ 6488 h 10000"/>
                    <a:gd name="connsiteX95" fmla="*/ 198 w 10000"/>
                    <a:gd name="connsiteY95" fmla="*/ 6177 h 10000"/>
                    <a:gd name="connsiteX96" fmla="*/ 415 w 10000"/>
                    <a:gd name="connsiteY96" fmla="*/ 5963 h 10000"/>
                    <a:gd name="connsiteX97" fmla="*/ 348 w 10000"/>
                    <a:gd name="connsiteY97" fmla="*/ 5816 h 10000"/>
                    <a:gd name="connsiteX98" fmla="*/ 382 w 10000"/>
                    <a:gd name="connsiteY98" fmla="*/ 5642 h 10000"/>
                    <a:gd name="connsiteX99" fmla="*/ 474 w 10000"/>
                    <a:gd name="connsiteY99" fmla="*/ 5506 h 10000"/>
                    <a:gd name="connsiteX100" fmla="*/ 666 w 10000"/>
                    <a:gd name="connsiteY100" fmla="*/ 5145 h 10000"/>
                    <a:gd name="connsiteX101" fmla="*/ 674 w 10000"/>
                    <a:gd name="connsiteY101" fmla="*/ 4931 h 10000"/>
                    <a:gd name="connsiteX102" fmla="*/ 1001 w 10000"/>
                    <a:gd name="connsiteY102" fmla="*/ 4835 h 10000"/>
                    <a:gd name="connsiteX103" fmla="*/ 1269 w 10000"/>
                    <a:gd name="connsiteY103" fmla="*/ 4825 h 10000"/>
                    <a:gd name="connsiteX104" fmla="*/ 1185 w 10000"/>
                    <a:gd name="connsiteY104" fmla="*/ 2091 h 10000"/>
                    <a:gd name="connsiteX105" fmla="*/ 1185 w 10000"/>
                    <a:gd name="connsiteY105" fmla="*/ 2091 h 10000"/>
                    <a:gd name="connsiteX106" fmla="*/ 1176 w 10000"/>
                    <a:gd name="connsiteY106" fmla="*/ 1730 h 10000"/>
                    <a:gd name="connsiteX107" fmla="*/ 1770 w 10000"/>
                    <a:gd name="connsiteY107" fmla="*/ 1721 h 10000"/>
                    <a:gd name="connsiteX108" fmla="*/ 1712 w 10000"/>
                    <a:gd name="connsiteY108" fmla="*/ 271 h 10000"/>
                    <a:gd name="connsiteX109" fmla="*/ 5434 w 10000"/>
                    <a:gd name="connsiteY109" fmla="*/ 164 h 10000"/>
                    <a:gd name="connsiteX110" fmla="*/ 5559 w 10000"/>
                    <a:gd name="connsiteY110" fmla="*/ 38 h 10000"/>
                    <a:gd name="connsiteX111" fmla="*/ 5626 w 10000"/>
                    <a:gd name="connsiteY111" fmla="*/ 164 h 10000"/>
                    <a:gd name="connsiteX112" fmla="*/ 6555 w 10000"/>
                    <a:gd name="connsiteY112" fmla="*/ 126 h 10000"/>
                    <a:gd name="connsiteX113" fmla="*/ 6555 w 10000"/>
                    <a:gd name="connsiteY113" fmla="*/ 126 h 10000"/>
                    <a:gd name="connsiteX114" fmla="*/ 7081 w 10000"/>
                    <a:gd name="connsiteY114" fmla="*/ 106 h 10000"/>
                    <a:gd name="connsiteX115" fmla="*/ 8695 w 10000"/>
                    <a:gd name="connsiteY115" fmla="*/ 38 h 10000"/>
                    <a:gd name="connsiteX116" fmla="*/ 8695 w 10000"/>
                    <a:gd name="connsiteY116" fmla="*/ 38 h 10000"/>
                    <a:gd name="connsiteX117" fmla="*/ 8728 w 10000"/>
                    <a:gd name="connsiteY117" fmla="*/ 145 h 10000"/>
                    <a:gd name="connsiteX118" fmla="*/ 8771 w 10000"/>
                    <a:gd name="connsiteY118" fmla="*/ 388 h 10000"/>
                    <a:gd name="connsiteX119" fmla="*/ 8954 w 10000"/>
                    <a:gd name="connsiteY119" fmla="*/ 612 h 10000"/>
                    <a:gd name="connsiteX120" fmla="*/ 8954 w 10000"/>
                    <a:gd name="connsiteY120" fmla="*/ 690 h 10000"/>
                    <a:gd name="connsiteX0" fmla="*/ 8954 w 10000"/>
                    <a:gd name="connsiteY0" fmla="*/ 860 h 10170"/>
                    <a:gd name="connsiteX1" fmla="*/ 8996 w 10000"/>
                    <a:gd name="connsiteY1" fmla="*/ 1229 h 10170"/>
                    <a:gd name="connsiteX2" fmla="*/ 9072 w 10000"/>
                    <a:gd name="connsiteY2" fmla="*/ 1881 h 10170"/>
                    <a:gd name="connsiteX3" fmla="*/ 9189 w 10000"/>
                    <a:gd name="connsiteY3" fmla="*/ 2387 h 10170"/>
                    <a:gd name="connsiteX4" fmla="*/ 9272 w 10000"/>
                    <a:gd name="connsiteY4" fmla="*/ 2563 h 10170"/>
                    <a:gd name="connsiteX5" fmla="*/ 9465 w 10000"/>
                    <a:gd name="connsiteY5" fmla="*/ 2669 h 10170"/>
                    <a:gd name="connsiteX6" fmla="*/ 9624 w 10000"/>
                    <a:gd name="connsiteY6" fmla="*/ 2747 h 10170"/>
                    <a:gd name="connsiteX7" fmla="*/ 9699 w 10000"/>
                    <a:gd name="connsiteY7" fmla="*/ 2874 h 10170"/>
                    <a:gd name="connsiteX8" fmla="*/ 9774 w 10000"/>
                    <a:gd name="connsiteY8" fmla="*/ 2912 h 10170"/>
                    <a:gd name="connsiteX9" fmla="*/ 9875 w 10000"/>
                    <a:gd name="connsiteY9" fmla="*/ 2942 h 10170"/>
                    <a:gd name="connsiteX10" fmla="*/ 9917 w 10000"/>
                    <a:gd name="connsiteY10" fmla="*/ 3048 h 10170"/>
                    <a:gd name="connsiteX11" fmla="*/ 10000 w 10000"/>
                    <a:gd name="connsiteY11" fmla="*/ 3117 h 10170"/>
                    <a:gd name="connsiteX12" fmla="*/ 10000 w 10000"/>
                    <a:gd name="connsiteY12" fmla="*/ 3117 h 10170"/>
                    <a:gd name="connsiteX13" fmla="*/ 9849 w 10000"/>
                    <a:gd name="connsiteY13" fmla="*/ 3409 h 10170"/>
                    <a:gd name="connsiteX14" fmla="*/ 9749 w 10000"/>
                    <a:gd name="connsiteY14" fmla="*/ 3506 h 10170"/>
                    <a:gd name="connsiteX15" fmla="*/ 9556 w 10000"/>
                    <a:gd name="connsiteY15" fmla="*/ 3525 h 10170"/>
                    <a:gd name="connsiteX16" fmla="*/ 9406 w 10000"/>
                    <a:gd name="connsiteY16" fmla="*/ 3671 h 10170"/>
                    <a:gd name="connsiteX17" fmla="*/ 9189 w 10000"/>
                    <a:gd name="connsiteY17" fmla="*/ 3866 h 10170"/>
                    <a:gd name="connsiteX18" fmla="*/ 9122 w 10000"/>
                    <a:gd name="connsiteY18" fmla="*/ 4070 h 10170"/>
                    <a:gd name="connsiteX19" fmla="*/ 9097 w 10000"/>
                    <a:gd name="connsiteY19" fmla="*/ 4499 h 10170"/>
                    <a:gd name="connsiteX20" fmla="*/ 8971 w 10000"/>
                    <a:gd name="connsiteY20" fmla="*/ 4917 h 10170"/>
                    <a:gd name="connsiteX21" fmla="*/ 8863 w 10000"/>
                    <a:gd name="connsiteY21" fmla="*/ 5277 h 10170"/>
                    <a:gd name="connsiteX22" fmla="*/ 8946 w 10000"/>
                    <a:gd name="connsiteY22" fmla="*/ 5831 h 10170"/>
                    <a:gd name="connsiteX23" fmla="*/ 8963 w 10000"/>
                    <a:gd name="connsiteY23" fmla="*/ 5929 h 10170"/>
                    <a:gd name="connsiteX24" fmla="*/ 8946 w 10000"/>
                    <a:gd name="connsiteY24" fmla="*/ 6249 h 10170"/>
                    <a:gd name="connsiteX25" fmla="*/ 8829 w 10000"/>
                    <a:gd name="connsiteY25" fmla="*/ 6590 h 10170"/>
                    <a:gd name="connsiteX26" fmla="*/ 8796 w 10000"/>
                    <a:gd name="connsiteY26" fmla="*/ 7067 h 10170"/>
                    <a:gd name="connsiteX27" fmla="*/ 8503 w 10000"/>
                    <a:gd name="connsiteY27" fmla="*/ 7184 h 10170"/>
                    <a:gd name="connsiteX28" fmla="*/ 8344 w 10000"/>
                    <a:gd name="connsiteY28" fmla="*/ 7524 h 10170"/>
                    <a:gd name="connsiteX29" fmla="*/ 8160 w 10000"/>
                    <a:gd name="connsiteY29" fmla="*/ 7835 h 10170"/>
                    <a:gd name="connsiteX30" fmla="*/ 8143 w 10000"/>
                    <a:gd name="connsiteY30" fmla="*/ 8292 h 10170"/>
                    <a:gd name="connsiteX31" fmla="*/ 8093 w 10000"/>
                    <a:gd name="connsiteY31" fmla="*/ 8535 h 10170"/>
                    <a:gd name="connsiteX32" fmla="*/ 7943 w 10000"/>
                    <a:gd name="connsiteY32" fmla="*/ 8487 h 10170"/>
                    <a:gd name="connsiteX33" fmla="*/ 7725 w 10000"/>
                    <a:gd name="connsiteY33" fmla="*/ 8730 h 10170"/>
                    <a:gd name="connsiteX34" fmla="*/ 7725 w 10000"/>
                    <a:gd name="connsiteY34" fmla="*/ 9091 h 10170"/>
                    <a:gd name="connsiteX35" fmla="*/ 7633 w 10000"/>
                    <a:gd name="connsiteY35" fmla="*/ 9440 h 10170"/>
                    <a:gd name="connsiteX36" fmla="*/ 7650 w 10000"/>
                    <a:gd name="connsiteY36" fmla="*/ 9645 h 10170"/>
                    <a:gd name="connsiteX37" fmla="*/ 7642 w 10000"/>
                    <a:gd name="connsiteY37" fmla="*/ 9645 h 10170"/>
                    <a:gd name="connsiteX38" fmla="*/ 7541 w 10000"/>
                    <a:gd name="connsiteY38" fmla="*/ 9625 h 10170"/>
                    <a:gd name="connsiteX39" fmla="*/ 7524 w 10000"/>
                    <a:gd name="connsiteY39" fmla="*/ 9528 h 10170"/>
                    <a:gd name="connsiteX40" fmla="*/ 7508 w 10000"/>
                    <a:gd name="connsiteY40" fmla="*/ 9411 h 10170"/>
                    <a:gd name="connsiteX41" fmla="*/ 7541 w 10000"/>
                    <a:gd name="connsiteY41" fmla="*/ 9177 h 10170"/>
                    <a:gd name="connsiteX42" fmla="*/ 7474 w 10000"/>
                    <a:gd name="connsiteY42" fmla="*/ 9177 h 10170"/>
                    <a:gd name="connsiteX43" fmla="*/ 7340 w 10000"/>
                    <a:gd name="connsiteY43" fmla="*/ 8867 h 10170"/>
                    <a:gd name="connsiteX44" fmla="*/ 7157 w 10000"/>
                    <a:gd name="connsiteY44" fmla="*/ 8769 h 10170"/>
                    <a:gd name="connsiteX45" fmla="*/ 7090 w 10000"/>
                    <a:gd name="connsiteY45" fmla="*/ 8166 h 10170"/>
                    <a:gd name="connsiteX46" fmla="*/ 7140 w 10000"/>
                    <a:gd name="connsiteY46" fmla="*/ 7680 h 10170"/>
                    <a:gd name="connsiteX47" fmla="*/ 6805 w 10000"/>
                    <a:gd name="connsiteY47" fmla="*/ 7680 h 10170"/>
                    <a:gd name="connsiteX48" fmla="*/ 6805 w 10000"/>
                    <a:gd name="connsiteY48" fmla="*/ 7855 h 10170"/>
                    <a:gd name="connsiteX49" fmla="*/ 6454 w 10000"/>
                    <a:gd name="connsiteY49" fmla="*/ 7893 h 10170"/>
                    <a:gd name="connsiteX50" fmla="*/ 6621 w 10000"/>
                    <a:gd name="connsiteY50" fmla="*/ 8088 h 10170"/>
                    <a:gd name="connsiteX51" fmla="*/ 6621 w 10000"/>
                    <a:gd name="connsiteY51" fmla="*/ 8361 h 10170"/>
                    <a:gd name="connsiteX52" fmla="*/ 6688 w 10000"/>
                    <a:gd name="connsiteY52" fmla="*/ 8497 h 10170"/>
                    <a:gd name="connsiteX53" fmla="*/ 6337 w 10000"/>
                    <a:gd name="connsiteY53" fmla="*/ 8828 h 10170"/>
                    <a:gd name="connsiteX54" fmla="*/ 6236 w 10000"/>
                    <a:gd name="connsiteY54" fmla="*/ 9061 h 10170"/>
                    <a:gd name="connsiteX55" fmla="*/ 5885 w 10000"/>
                    <a:gd name="connsiteY55" fmla="*/ 9470 h 10170"/>
                    <a:gd name="connsiteX56" fmla="*/ 5617 w 10000"/>
                    <a:gd name="connsiteY56" fmla="*/ 9450 h 10170"/>
                    <a:gd name="connsiteX57" fmla="*/ 5082 w 10000"/>
                    <a:gd name="connsiteY57" fmla="*/ 9061 h 10170"/>
                    <a:gd name="connsiteX58" fmla="*/ 4865 w 10000"/>
                    <a:gd name="connsiteY58" fmla="*/ 9294 h 10170"/>
                    <a:gd name="connsiteX59" fmla="*/ 4848 w 10000"/>
                    <a:gd name="connsiteY59" fmla="*/ 9470 h 10170"/>
                    <a:gd name="connsiteX60" fmla="*/ 4547 w 10000"/>
                    <a:gd name="connsiteY60" fmla="*/ 9509 h 10170"/>
                    <a:gd name="connsiteX61" fmla="*/ 4520 w 10000"/>
                    <a:gd name="connsiteY61" fmla="*/ 9743 h 10170"/>
                    <a:gd name="connsiteX62" fmla="*/ 3931 w 10000"/>
                    <a:gd name="connsiteY62" fmla="*/ 9746 h 10170"/>
                    <a:gd name="connsiteX63" fmla="*/ 3828 w 10000"/>
                    <a:gd name="connsiteY63" fmla="*/ 9606 h 10170"/>
                    <a:gd name="connsiteX64" fmla="*/ 3243 w 10000"/>
                    <a:gd name="connsiteY64" fmla="*/ 9547 h 10170"/>
                    <a:gd name="connsiteX65" fmla="*/ 3125 w 10000"/>
                    <a:gd name="connsiteY65" fmla="*/ 9664 h 10170"/>
                    <a:gd name="connsiteX66" fmla="*/ 2874 w 10000"/>
                    <a:gd name="connsiteY66" fmla="*/ 9606 h 10170"/>
                    <a:gd name="connsiteX67" fmla="*/ 2774 w 10000"/>
                    <a:gd name="connsiteY67" fmla="*/ 9314 h 10170"/>
                    <a:gd name="connsiteX68" fmla="*/ 2623 w 10000"/>
                    <a:gd name="connsiteY68" fmla="*/ 9158 h 10170"/>
                    <a:gd name="connsiteX69" fmla="*/ 2540 w 10000"/>
                    <a:gd name="connsiteY69" fmla="*/ 8983 h 10170"/>
                    <a:gd name="connsiteX70" fmla="*/ 2054 w 10000"/>
                    <a:gd name="connsiteY70" fmla="*/ 9100 h 10170"/>
                    <a:gd name="connsiteX71" fmla="*/ 1971 w 10000"/>
                    <a:gd name="connsiteY71" fmla="*/ 9372 h 10170"/>
                    <a:gd name="connsiteX72" fmla="*/ 1871 w 10000"/>
                    <a:gd name="connsiteY72" fmla="*/ 9411 h 10170"/>
                    <a:gd name="connsiteX73" fmla="*/ 1871 w 10000"/>
                    <a:gd name="connsiteY73" fmla="*/ 9664 h 10170"/>
                    <a:gd name="connsiteX74" fmla="*/ 1770 w 10000"/>
                    <a:gd name="connsiteY74" fmla="*/ 9703 h 10170"/>
                    <a:gd name="connsiteX75" fmla="*/ 1770 w 10000"/>
                    <a:gd name="connsiteY75" fmla="*/ 9859 h 10170"/>
                    <a:gd name="connsiteX76" fmla="*/ 1770 w 10000"/>
                    <a:gd name="connsiteY76" fmla="*/ 10034 h 10170"/>
                    <a:gd name="connsiteX77" fmla="*/ 1537 w 10000"/>
                    <a:gd name="connsiteY77" fmla="*/ 10170 h 10170"/>
                    <a:gd name="connsiteX78" fmla="*/ 1511 w 10000"/>
                    <a:gd name="connsiteY78" fmla="*/ 10170 h 10170"/>
                    <a:gd name="connsiteX79" fmla="*/ 1461 w 10000"/>
                    <a:gd name="connsiteY79" fmla="*/ 10170 h 10170"/>
                    <a:gd name="connsiteX80" fmla="*/ 1076 w 10000"/>
                    <a:gd name="connsiteY80" fmla="*/ 10131 h 10170"/>
                    <a:gd name="connsiteX81" fmla="*/ 1060 w 10000"/>
                    <a:gd name="connsiteY81" fmla="*/ 9975 h 10170"/>
                    <a:gd name="connsiteX82" fmla="*/ 1160 w 10000"/>
                    <a:gd name="connsiteY82" fmla="*/ 9645 h 10170"/>
                    <a:gd name="connsiteX83" fmla="*/ 1160 w 10000"/>
                    <a:gd name="connsiteY83" fmla="*/ 9314 h 10170"/>
                    <a:gd name="connsiteX84" fmla="*/ 934 w 10000"/>
                    <a:gd name="connsiteY84" fmla="*/ 8886 h 10170"/>
                    <a:gd name="connsiteX85" fmla="*/ 658 w 10000"/>
                    <a:gd name="connsiteY85" fmla="*/ 8535 h 10170"/>
                    <a:gd name="connsiteX86" fmla="*/ 616 w 10000"/>
                    <a:gd name="connsiteY86" fmla="*/ 8526 h 10170"/>
                    <a:gd name="connsiteX87" fmla="*/ 691 w 10000"/>
                    <a:gd name="connsiteY87" fmla="*/ 8419 h 10170"/>
                    <a:gd name="connsiteX88" fmla="*/ 599 w 10000"/>
                    <a:gd name="connsiteY88" fmla="*/ 8166 h 10170"/>
                    <a:gd name="connsiteX89" fmla="*/ 466 w 10000"/>
                    <a:gd name="connsiteY89" fmla="*/ 7864 h 10170"/>
                    <a:gd name="connsiteX90" fmla="*/ 407 w 10000"/>
                    <a:gd name="connsiteY90" fmla="*/ 7709 h 10170"/>
                    <a:gd name="connsiteX91" fmla="*/ 373 w 10000"/>
                    <a:gd name="connsiteY91" fmla="*/ 7320 h 10170"/>
                    <a:gd name="connsiteX92" fmla="*/ 148 w 10000"/>
                    <a:gd name="connsiteY92" fmla="*/ 7280 h 10170"/>
                    <a:gd name="connsiteX93" fmla="*/ 64 w 10000"/>
                    <a:gd name="connsiteY93" fmla="*/ 6960 h 10170"/>
                    <a:gd name="connsiteX94" fmla="*/ 223 w 10000"/>
                    <a:gd name="connsiteY94" fmla="*/ 6658 h 10170"/>
                    <a:gd name="connsiteX95" fmla="*/ 198 w 10000"/>
                    <a:gd name="connsiteY95" fmla="*/ 6347 h 10170"/>
                    <a:gd name="connsiteX96" fmla="*/ 415 w 10000"/>
                    <a:gd name="connsiteY96" fmla="*/ 6133 h 10170"/>
                    <a:gd name="connsiteX97" fmla="*/ 348 w 10000"/>
                    <a:gd name="connsiteY97" fmla="*/ 5986 h 10170"/>
                    <a:gd name="connsiteX98" fmla="*/ 382 w 10000"/>
                    <a:gd name="connsiteY98" fmla="*/ 5812 h 10170"/>
                    <a:gd name="connsiteX99" fmla="*/ 474 w 10000"/>
                    <a:gd name="connsiteY99" fmla="*/ 5676 h 10170"/>
                    <a:gd name="connsiteX100" fmla="*/ 666 w 10000"/>
                    <a:gd name="connsiteY100" fmla="*/ 5315 h 10170"/>
                    <a:gd name="connsiteX101" fmla="*/ 674 w 10000"/>
                    <a:gd name="connsiteY101" fmla="*/ 5101 h 10170"/>
                    <a:gd name="connsiteX102" fmla="*/ 1001 w 10000"/>
                    <a:gd name="connsiteY102" fmla="*/ 5005 h 10170"/>
                    <a:gd name="connsiteX103" fmla="*/ 1269 w 10000"/>
                    <a:gd name="connsiteY103" fmla="*/ 4995 h 10170"/>
                    <a:gd name="connsiteX104" fmla="*/ 1185 w 10000"/>
                    <a:gd name="connsiteY104" fmla="*/ 2261 h 10170"/>
                    <a:gd name="connsiteX105" fmla="*/ 1185 w 10000"/>
                    <a:gd name="connsiteY105" fmla="*/ 2261 h 10170"/>
                    <a:gd name="connsiteX106" fmla="*/ 1176 w 10000"/>
                    <a:gd name="connsiteY106" fmla="*/ 1900 h 10170"/>
                    <a:gd name="connsiteX107" fmla="*/ 1770 w 10000"/>
                    <a:gd name="connsiteY107" fmla="*/ 1891 h 10170"/>
                    <a:gd name="connsiteX108" fmla="*/ 1712 w 10000"/>
                    <a:gd name="connsiteY108" fmla="*/ 441 h 10170"/>
                    <a:gd name="connsiteX109" fmla="*/ 5434 w 10000"/>
                    <a:gd name="connsiteY109" fmla="*/ 334 h 10170"/>
                    <a:gd name="connsiteX110" fmla="*/ 5559 w 10000"/>
                    <a:gd name="connsiteY110" fmla="*/ 208 h 10170"/>
                    <a:gd name="connsiteX111" fmla="*/ 5626 w 10000"/>
                    <a:gd name="connsiteY111" fmla="*/ 334 h 10170"/>
                    <a:gd name="connsiteX112" fmla="*/ 6555 w 10000"/>
                    <a:gd name="connsiteY112" fmla="*/ 296 h 10170"/>
                    <a:gd name="connsiteX113" fmla="*/ 6555 w 10000"/>
                    <a:gd name="connsiteY113" fmla="*/ 296 h 10170"/>
                    <a:gd name="connsiteX114" fmla="*/ 7081 w 10000"/>
                    <a:gd name="connsiteY114" fmla="*/ 276 h 10170"/>
                    <a:gd name="connsiteX115" fmla="*/ 7657 w 10000"/>
                    <a:gd name="connsiteY115" fmla="*/ 0 h 10170"/>
                    <a:gd name="connsiteX116" fmla="*/ 8695 w 10000"/>
                    <a:gd name="connsiteY116" fmla="*/ 208 h 10170"/>
                    <a:gd name="connsiteX117" fmla="*/ 8695 w 10000"/>
                    <a:gd name="connsiteY117" fmla="*/ 208 h 10170"/>
                    <a:gd name="connsiteX118" fmla="*/ 8728 w 10000"/>
                    <a:gd name="connsiteY118" fmla="*/ 315 h 10170"/>
                    <a:gd name="connsiteX119" fmla="*/ 8771 w 10000"/>
                    <a:gd name="connsiteY119" fmla="*/ 558 h 10170"/>
                    <a:gd name="connsiteX120" fmla="*/ 8954 w 10000"/>
                    <a:gd name="connsiteY120" fmla="*/ 782 h 10170"/>
                    <a:gd name="connsiteX121" fmla="*/ 8954 w 10000"/>
                    <a:gd name="connsiteY121" fmla="*/ 860 h 10170"/>
                    <a:gd name="connsiteX0" fmla="*/ 8954 w 10000"/>
                    <a:gd name="connsiteY0" fmla="*/ 956 h 10266"/>
                    <a:gd name="connsiteX1" fmla="*/ 8996 w 10000"/>
                    <a:gd name="connsiteY1" fmla="*/ 1325 h 10266"/>
                    <a:gd name="connsiteX2" fmla="*/ 9072 w 10000"/>
                    <a:gd name="connsiteY2" fmla="*/ 1977 h 10266"/>
                    <a:gd name="connsiteX3" fmla="*/ 9189 w 10000"/>
                    <a:gd name="connsiteY3" fmla="*/ 2483 h 10266"/>
                    <a:gd name="connsiteX4" fmla="*/ 9272 w 10000"/>
                    <a:gd name="connsiteY4" fmla="*/ 2659 h 10266"/>
                    <a:gd name="connsiteX5" fmla="*/ 9465 w 10000"/>
                    <a:gd name="connsiteY5" fmla="*/ 2765 h 10266"/>
                    <a:gd name="connsiteX6" fmla="*/ 9624 w 10000"/>
                    <a:gd name="connsiteY6" fmla="*/ 2843 h 10266"/>
                    <a:gd name="connsiteX7" fmla="*/ 9699 w 10000"/>
                    <a:gd name="connsiteY7" fmla="*/ 2970 h 10266"/>
                    <a:gd name="connsiteX8" fmla="*/ 9774 w 10000"/>
                    <a:gd name="connsiteY8" fmla="*/ 3008 h 10266"/>
                    <a:gd name="connsiteX9" fmla="*/ 9875 w 10000"/>
                    <a:gd name="connsiteY9" fmla="*/ 3038 h 10266"/>
                    <a:gd name="connsiteX10" fmla="*/ 9917 w 10000"/>
                    <a:gd name="connsiteY10" fmla="*/ 3144 h 10266"/>
                    <a:gd name="connsiteX11" fmla="*/ 10000 w 10000"/>
                    <a:gd name="connsiteY11" fmla="*/ 3213 h 10266"/>
                    <a:gd name="connsiteX12" fmla="*/ 10000 w 10000"/>
                    <a:gd name="connsiteY12" fmla="*/ 3213 h 10266"/>
                    <a:gd name="connsiteX13" fmla="*/ 9849 w 10000"/>
                    <a:gd name="connsiteY13" fmla="*/ 3505 h 10266"/>
                    <a:gd name="connsiteX14" fmla="*/ 9749 w 10000"/>
                    <a:gd name="connsiteY14" fmla="*/ 3602 h 10266"/>
                    <a:gd name="connsiteX15" fmla="*/ 9556 w 10000"/>
                    <a:gd name="connsiteY15" fmla="*/ 3621 h 10266"/>
                    <a:gd name="connsiteX16" fmla="*/ 9406 w 10000"/>
                    <a:gd name="connsiteY16" fmla="*/ 3767 h 10266"/>
                    <a:gd name="connsiteX17" fmla="*/ 9189 w 10000"/>
                    <a:gd name="connsiteY17" fmla="*/ 3962 h 10266"/>
                    <a:gd name="connsiteX18" fmla="*/ 9122 w 10000"/>
                    <a:gd name="connsiteY18" fmla="*/ 4166 h 10266"/>
                    <a:gd name="connsiteX19" fmla="*/ 9097 w 10000"/>
                    <a:gd name="connsiteY19" fmla="*/ 4595 h 10266"/>
                    <a:gd name="connsiteX20" fmla="*/ 8971 w 10000"/>
                    <a:gd name="connsiteY20" fmla="*/ 5013 h 10266"/>
                    <a:gd name="connsiteX21" fmla="*/ 8863 w 10000"/>
                    <a:gd name="connsiteY21" fmla="*/ 5373 h 10266"/>
                    <a:gd name="connsiteX22" fmla="*/ 8946 w 10000"/>
                    <a:gd name="connsiteY22" fmla="*/ 5927 h 10266"/>
                    <a:gd name="connsiteX23" fmla="*/ 8963 w 10000"/>
                    <a:gd name="connsiteY23" fmla="*/ 6025 h 10266"/>
                    <a:gd name="connsiteX24" fmla="*/ 8946 w 10000"/>
                    <a:gd name="connsiteY24" fmla="*/ 6345 h 10266"/>
                    <a:gd name="connsiteX25" fmla="*/ 8829 w 10000"/>
                    <a:gd name="connsiteY25" fmla="*/ 6686 h 10266"/>
                    <a:gd name="connsiteX26" fmla="*/ 8796 w 10000"/>
                    <a:gd name="connsiteY26" fmla="*/ 7163 h 10266"/>
                    <a:gd name="connsiteX27" fmla="*/ 8503 w 10000"/>
                    <a:gd name="connsiteY27" fmla="*/ 7280 h 10266"/>
                    <a:gd name="connsiteX28" fmla="*/ 8344 w 10000"/>
                    <a:gd name="connsiteY28" fmla="*/ 7620 h 10266"/>
                    <a:gd name="connsiteX29" fmla="*/ 8160 w 10000"/>
                    <a:gd name="connsiteY29" fmla="*/ 7931 h 10266"/>
                    <a:gd name="connsiteX30" fmla="*/ 8143 w 10000"/>
                    <a:gd name="connsiteY30" fmla="*/ 8388 h 10266"/>
                    <a:gd name="connsiteX31" fmla="*/ 8093 w 10000"/>
                    <a:gd name="connsiteY31" fmla="*/ 8631 h 10266"/>
                    <a:gd name="connsiteX32" fmla="*/ 7943 w 10000"/>
                    <a:gd name="connsiteY32" fmla="*/ 8583 h 10266"/>
                    <a:gd name="connsiteX33" fmla="*/ 7725 w 10000"/>
                    <a:gd name="connsiteY33" fmla="*/ 8826 h 10266"/>
                    <a:gd name="connsiteX34" fmla="*/ 7725 w 10000"/>
                    <a:gd name="connsiteY34" fmla="*/ 9187 h 10266"/>
                    <a:gd name="connsiteX35" fmla="*/ 7633 w 10000"/>
                    <a:gd name="connsiteY35" fmla="*/ 9536 h 10266"/>
                    <a:gd name="connsiteX36" fmla="*/ 7650 w 10000"/>
                    <a:gd name="connsiteY36" fmla="*/ 9741 h 10266"/>
                    <a:gd name="connsiteX37" fmla="*/ 7642 w 10000"/>
                    <a:gd name="connsiteY37" fmla="*/ 9741 h 10266"/>
                    <a:gd name="connsiteX38" fmla="*/ 7541 w 10000"/>
                    <a:gd name="connsiteY38" fmla="*/ 9721 h 10266"/>
                    <a:gd name="connsiteX39" fmla="*/ 7524 w 10000"/>
                    <a:gd name="connsiteY39" fmla="*/ 9624 h 10266"/>
                    <a:gd name="connsiteX40" fmla="*/ 7508 w 10000"/>
                    <a:gd name="connsiteY40" fmla="*/ 9507 h 10266"/>
                    <a:gd name="connsiteX41" fmla="*/ 7541 w 10000"/>
                    <a:gd name="connsiteY41" fmla="*/ 9273 h 10266"/>
                    <a:gd name="connsiteX42" fmla="*/ 7474 w 10000"/>
                    <a:gd name="connsiteY42" fmla="*/ 9273 h 10266"/>
                    <a:gd name="connsiteX43" fmla="*/ 7340 w 10000"/>
                    <a:gd name="connsiteY43" fmla="*/ 8963 h 10266"/>
                    <a:gd name="connsiteX44" fmla="*/ 7157 w 10000"/>
                    <a:gd name="connsiteY44" fmla="*/ 8865 h 10266"/>
                    <a:gd name="connsiteX45" fmla="*/ 7090 w 10000"/>
                    <a:gd name="connsiteY45" fmla="*/ 8262 h 10266"/>
                    <a:gd name="connsiteX46" fmla="*/ 7140 w 10000"/>
                    <a:gd name="connsiteY46" fmla="*/ 7776 h 10266"/>
                    <a:gd name="connsiteX47" fmla="*/ 6805 w 10000"/>
                    <a:gd name="connsiteY47" fmla="*/ 7776 h 10266"/>
                    <a:gd name="connsiteX48" fmla="*/ 6805 w 10000"/>
                    <a:gd name="connsiteY48" fmla="*/ 7951 h 10266"/>
                    <a:gd name="connsiteX49" fmla="*/ 6454 w 10000"/>
                    <a:gd name="connsiteY49" fmla="*/ 7989 h 10266"/>
                    <a:gd name="connsiteX50" fmla="*/ 6621 w 10000"/>
                    <a:gd name="connsiteY50" fmla="*/ 8184 h 10266"/>
                    <a:gd name="connsiteX51" fmla="*/ 6621 w 10000"/>
                    <a:gd name="connsiteY51" fmla="*/ 8457 h 10266"/>
                    <a:gd name="connsiteX52" fmla="*/ 6688 w 10000"/>
                    <a:gd name="connsiteY52" fmla="*/ 8593 h 10266"/>
                    <a:gd name="connsiteX53" fmla="*/ 6337 w 10000"/>
                    <a:gd name="connsiteY53" fmla="*/ 8924 h 10266"/>
                    <a:gd name="connsiteX54" fmla="*/ 6236 w 10000"/>
                    <a:gd name="connsiteY54" fmla="*/ 9157 h 10266"/>
                    <a:gd name="connsiteX55" fmla="*/ 5885 w 10000"/>
                    <a:gd name="connsiteY55" fmla="*/ 9566 h 10266"/>
                    <a:gd name="connsiteX56" fmla="*/ 5617 w 10000"/>
                    <a:gd name="connsiteY56" fmla="*/ 9546 h 10266"/>
                    <a:gd name="connsiteX57" fmla="*/ 5082 w 10000"/>
                    <a:gd name="connsiteY57" fmla="*/ 9157 h 10266"/>
                    <a:gd name="connsiteX58" fmla="*/ 4865 w 10000"/>
                    <a:gd name="connsiteY58" fmla="*/ 9390 h 10266"/>
                    <a:gd name="connsiteX59" fmla="*/ 4848 w 10000"/>
                    <a:gd name="connsiteY59" fmla="*/ 9566 h 10266"/>
                    <a:gd name="connsiteX60" fmla="*/ 4547 w 10000"/>
                    <a:gd name="connsiteY60" fmla="*/ 9605 h 10266"/>
                    <a:gd name="connsiteX61" fmla="*/ 4520 w 10000"/>
                    <a:gd name="connsiteY61" fmla="*/ 9839 h 10266"/>
                    <a:gd name="connsiteX62" fmla="*/ 3931 w 10000"/>
                    <a:gd name="connsiteY62" fmla="*/ 9842 h 10266"/>
                    <a:gd name="connsiteX63" fmla="*/ 3828 w 10000"/>
                    <a:gd name="connsiteY63" fmla="*/ 9702 h 10266"/>
                    <a:gd name="connsiteX64" fmla="*/ 3243 w 10000"/>
                    <a:gd name="connsiteY64" fmla="*/ 9643 h 10266"/>
                    <a:gd name="connsiteX65" fmla="*/ 3125 w 10000"/>
                    <a:gd name="connsiteY65" fmla="*/ 9760 h 10266"/>
                    <a:gd name="connsiteX66" fmla="*/ 2874 w 10000"/>
                    <a:gd name="connsiteY66" fmla="*/ 9702 h 10266"/>
                    <a:gd name="connsiteX67" fmla="*/ 2774 w 10000"/>
                    <a:gd name="connsiteY67" fmla="*/ 9410 h 10266"/>
                    <a:gd name="connsiteX68" fmla="*/ 2623 w 10000"/>
                    <a:gd name="connsiteY68" fmla="*/ 9254 h 10266"/>
                    <a:gd name="connsiteX69" fmla="*/ 2540 w 10000"/>
                    <a:gd name="connsiteY69" fmla="*/ 9079 h 10266"/>
                    <a:gd name="connsiteX70" fmla="*/ 2054 w 10000"/>
                    <a:gd name="connsiteY70" fmla="*/ 9196 h 10266"/>
                    <a:gd name="connsiteX71" fmla="*/ 1971 w 10000"/>
                    <a:gd name="connsiteY71" fmla="*/ 9468 h 10266"/>
                    <a:gd name="connsiteX72" fmla="*/ 1871 w 10000"/>
                    <a:gd name="connsiteY72" fmla="*/ 9507 h 10266"/>
                    <a:gd name="connsiteX73" fmla="*/ 1871 w 10000"/>
                    <a:gd name="connsiteY73" fmla="*/ 9760 h 10266"/>
                    <a:gd name="connsiteX74" fmla="*/ 1770 w 10000"/>
                    <a:gd name="connsiteY74" fmla="*/ 9799 h 10266"/>
                    <a:gd name="connsiteX75" fmla="*/ 1770 w 10000"/>
                    <a:gd name="connsiteY75" fmla="*/ 9955 h 10266"/>
                    <a:gd name="connsiteX76" fmla="*/ 1770 w 10000"/>
                    <a:gd name="connsiteY76" fmla="*/ 10130 h 10266"/>
                    <a:gd name="connsiteX77" fmla="*/ 1537 w 10000"/>
                    <a:gd name="connsiteY77" fmla="*/ 10266 h 10266"/>
                    <a:gd name="connsiteX78" fmla="*/ 1511 w 10000"/>
                    <a:gd name="connsiteY78" fmla="*/ 10266 h 10266"/>
                    <a:gd name="connsiteX79" fmla="*/ 1461 w 10000"/>
                    <a:gd name="connsiteY79" fmla="*/ 10266 h 10266"/>
                    <a:gd name="connsiteX80" fmla="*/ 1076 w 10000"/>
                    <a:gd name="connsiteY80" fmla="*/ 10227 h 10266"/>
                    <a:gd name="connsiteX81" fmla="*/ 1060 w 10000"/>
                    <a:gd name="connsiteY81" fmla="*/ 10071 h 10266"/>
                    <a:gd name="connsiteX82" fmla="*/ 1160 w 10000"/>
                    <a:gd name="connsiteY82" fmla="*/ 9741 h 10266"/>
                    <a:gd name="connsiteX83" fmla="*/ 1160 w 10000"/>
                    <a:gd name="connsiteY83" fmla="*/ 9410 h 10266"/>
                    <a:gd name="connsiteX84" fmla="*/ 934 w 10000"/>
                    <a:gd name="connsiteY84" fmla="*/ 8982 h 10266"/>
                    <a:gd name="connsiteX85" fmla="*/ 658 w 10000"/>
                    <a:gd name="connsiteY85" fmla="*/ 8631 h 10266"/>
                    <a:gd name="connsiteX86" fmla="*/ 616 w 10000"/>
                    <a:gd name="connsiteY86" fmla="*/ 8622 h 10266"/>
                    <a:gd name="connsiteX87" fmla="*/ 691 w 10000"/>
                    <a:gd name="connsiteY87" fmla="*/ 8515 h 10266"/>
                    <a:gd name="connsiteX88" fmla="*/ 599 w 10000"/>
                    <a:gd name="connsiteY88" fmla="*/ 8262 h 10266"/>
                    <a:gd name="connsiteX89" fmla="*/ 466 w 10000"/>
                    <a:gd name="connsiteY89" fmla="*/ 7960 h 10266"/>
                    <a:gd name="connsiteX90" fmla="*/ 407 w 10000"/>
                    <a:gd name="connsiteY90" fmla="*/ 7805 h 10266"/>
                    <a:gd name="connsiteX91" fmla="*/ 373 w 10000"/>
                    <a:gd name="connsiteY91" fmla="*/ 7416 h 10266"/>
                    <a:gd name="connsiteX92" fmla="*/ 148 w 10000"/>
                    <a:gd name="connsiteY92" fmla="*/ 7376 h 10266"/>
                    <a:gd name="connsiteX93" fmla="*/ 64 w 10000"/>
                    <a:gd name="connsiteY93" fmla="*/ 7056 h 10266"/>
                    <a:gd name="connsiteX94" fmla="*/ 223 w 10000"/>
                    <a:gd name="connsiteY94" fmla="*/ 6754 h 10266"/>
                    <a:gd name="connsiteX95" fmla="*/ 198 w 10000"/>
                    <a:gd name="connsiteY95" fmla="*/ 6443 h 10266"/>
                    <a:gd name="connsiteX96" fmla="*/ 415 w 10000"/>
                    <a:gd name="connsiteY96" fmla="*/ 6229 h 10266"/>
                    <a:gd name="connsiteX97" fmla="*/ 348 w 10000"/>
                    <a:gd name="connsiteY97" fmla="*/ 6082 h 10266"/>
                    <a:gd name="connsiteX98" fmla="*/ 382 w 10000"/>
                    <a:gd name="connsiteY98" fmla="*/ 5908 h 10266"/>
                    <a:gd name="connsiteX99" fmla="*/ 474 w 10000"/>
                    <a:gd name="connsiteY99" fmla="*/ 5772 h 10266"/>
                    <a:gd name="connsiteX100" fmla="*/ 666 w 10000"/>
                    <a:gd name="connsiteY100" fmla="*/ 5411 h 10266"/>
                    <a:gd name="connsiteX101" fmla="*/ 674 w 10000"/>
                    <a:gd name="connsiteY101" fmla="*/ 5197 h 10266"/>
                    <a:gd name="connsiteX102" fmla="*/ 1001 w 10000"/>
                    <a:gd name="connsiteY102" fmla="*/ 5101 h 10266"/>
                    <a:gd name="connsiteX103" fmla="*/ 1269 w 10000"/>
                    <a:gd name="connsiteY103" fmla="*/ 5091 h 10266"/>
                    <a:gd name="connsiteX104" fmla="*/ 1185 w 10000"/>
                    <a:gd name="connsiteY104" fmla="*/ 2357 h 10266"/>
                    <a:gd name="connsiteX105" fmla="*/ 1185 w 10000"/>
                    <a:gd name="connsiteY105" fmla="*/ 2357 h 10266"/>
                    <a:gd name="connsiteX106" fmla="*/ 1176 w 10000"/>
                    <a:gd name="connsiteY106" fmla="*/ 1996 h 10266"/>
                    <a:gd name="connsiteX107" fmla="*/ 1770 w 10000"/>
                    <a:gd name="connsiteY107" fmla="*/ 1987 h 10266"/>
                    <a:gd name="connsiteX108" fmla="*/ 1712 w 10000"/>
                    <a:gd name="connsiteY108" fmla="*/ 537 h 10266"/>
                    <a:gd name="connsiteX109" fmla="*/ 5434 w 10000"/>
                    <a:gd name="connsiteY109" fmla="*/ 430 h 10266"/>
                    <a:gd name="connsiteX110" fmla="*/ 5559 w 10000"/>
                    <a:gd name="connsiteY110" fmla="*/ 304 h 10266"/>
                    <a:gd name="connsiteX111" fmla="*/ 5626 w 10000"/>
                    <a:gd name="connsiteY111" fmla="*/ 430 h 10266"/>
                    <a:gd name="connsiteX112" fmla="*/ 6555 w 10000"/>
                    <a:gd name="connsiteY112" fmla="*/ 392 h 10266"/>
                    <a:gd name="connsiteX113" fmla="*/ 6555 w 10000"/>
                    <a:gd name="connsiteY113" fmla="*/ 392 h 10266"/>
                    <a:gd name="connsiteX114" fmla="*/ 7081 w 10000"/>
                    <a:gd name="connsiteY114" fmla="*/ 372 h 10266"/>
                    <a:gd name="connsiteX115" fmla="*/ 7657 w 10000"/>
                    <a:gd name="connsiteY115" fmla="*/ 96 h 10266"/>
                    <a:gd name="connsiteX116" fmla="*/ 8327 w 10000"/>
                    <a:gd name="connsiteY116" fmla="*/ 6 h 10266"/>
                    <a:gd name="connsiteX117" fmla="*/ 8695 w 10000"/>
                    <a:gd name="connsiteY117" fmla="*/ 304 h 10266"/>
                    <a:gd name="connsiteX118" fmla="*/ 8695 w 10000"/>
                    <a:gd name="connsiteY118" fmla="*/ 304 h 10266"/>
                    <a:gd name="connsiteX119" fmla="*/ 8728 w 10000"/>
                    <a:gd name="connsiteY119" fmla="*/ 411 h 10266"/>
                    <a:gd name="connsiteX120" fmla="*/ 8771 w 10000"/>
                    <a:gd name="connsiteY120" fmla="*/ 654 h 10266"/>
                    <a:gd name="connsiteX121" fmla="*/ 8954 w 10000"/>
                    <a:gd name="connsiteY121" fmla="*/ 878 h 10266"/>
                    <a:gd name="connsiteX122" fmla="*/ 8954 w 10000"/>
                    <a:gd name="connsiteY122" fmla="*/ 956 h 10266"/>
                    <a:gd name="connsiteX0" fmla="*/ 8954 w 10000"/>
                    <a:gd name="connsiteY0" fmla="*/ 1113 h 10423"/>
                    <a:gd name="connsiteX1" fmla="*/ 8996 w 10000"/>
                    <a:gd name="connsiteY1" fmla="*/ 1482 h 10423"/>
                    <a:gd name="connsiteX2" fmla="*/ 9072 w 10000"/>
                    <a:gd name="connsiteY2" fmla="*/ 2134 h 10423"/>
                    <a:gd name="connsiteX3" fmla="*/ 9189 w 10000"/>
                    <a:gd name="connsiteY3" fmla="*/ 2640 h 10423"/>
                    <a:gd name="connsiteX4" fmla="*/ 9272 w 10000"/>
                    <a:gd name="connsiteY4" fmla="*/ 2816 h 10423"/>
                    <a:gd name="connsiteX5" fmla="*/ 9465 w 10000"/>
                    <a:gd name="connsiteY5" fmla="*/ 2922 h 10423"/>
                    <a:gd name="connsiteX6" fmla="*/ 9624 w 10000"/>
                    <a:gd name="connsiteY6" fmla="*/ 3000 h 10423"/>
                    <a:gd name="connsiteX7" fmla="*/ 9699 w 10000"/>
                    <a:gd name="connsiteY7" fmla="*/ 3127 h 10423"/>
                    <a:gd name="connsiteX8" fmla="*/ 9774 w 10000"/>
                    <a:gd name="connsiteY8" fmla="*/ 3165 h 10423"/>
                    <a:gd name="connsiteX9" fmla="*/ 9875 w 10000"/>
                    <a:gd name="connsiteY9" fmla="*/ 3195 h 10423"/>
                    <a:gd name="connsiteX10" fmla="*/ 9917 w 10000"/>
                    <a:gd name="connsiteY10" fmla="*/ 3301 h 10423"/>
                    <a:gd name="connsiteX11" fmla="*/ 10000 w 10000"/>
                    <a:gd name="connsiteY11" fmla="*/ 3370 h 10423"/>
                    <a:gd name="connsiteX12" fmla="*/ 10000 w 10000"/>
                    <a:gd name="connsiteY12" fmla="*/ 3370 h 10423"/>
                    <a:gd name="connsiteX13" fmla="*/ 9849 w 10000"/>
                    <a:gd name="connsiteY13" fmla="*/ 3662 h 10423"/>
                    <a:gd name="connsiteX14" fmla="*/ 9749 w 10000"/>
                    <a:gd name="connsiteY14" fmla="*/ 3759 h 10423"/>
                    <a:gd name="connsiteX15" fmla="*/ 9556 w 10000"/>
                    <a:gd name="connsiteY15" fmla="*/ 3778 h 10423"/>
                    <a:gd name="connsiteX16" fmla="*/ 9406 w 10000"/>
                    <a:gd name="connsiteY16" fmla="*/ 3924 h 10423"/>
                    <a:gd name="connsiteX17" fmla="*/ 9189 w 10000"/>
                    <a:gd name="connsiteY17" fmla="*/ 4119 h 10423"/>
                    <a:gd name="connsiteX18" fmla="*/ 9122 w 10000"/>
                    <a:gd name="connsiteY18" fmla="*/ 4323 h 10423"/>
                    <a:gd name="connsiteX19" fmla="*/ 9097 w 10000"/>
                    <a:gd name="connsiteY19" fmla="*/ 4752 h 10423"/>
                    <a:gd name="connsiteX20" fmla="*/ 8971 w 10000"/>
                    <a:gd name="connsiteY20" fmla="*/ 5170 h 10423"/>
                    <a:gd name="connsiteX21" fmla="*/ 8863 w 10000"/>
                    <a:gd name="connsiteY21" fmla="*/ 5530 h 10423"/>
                    <a:gd name="connsiteX22" fmla="*/ 8946 w 10000"/>
                    <a:gd name="connsiteY22" fmla="*/ 6084 h 10423"/>
                    <a:gd name="connsiteX23" fmla="*/ 8963 w 10000"/>
                    <a:gd name="connsiteY23" fmla="*/ 6182 h 10423"/>
                    <a:gd name="connsiteX24" fmla="*/ 8946 w 10000"/>
                    <a:gd name="connsiteY24" fmla="*/ 6502 h 10423"/>
                    <a:gd name="connsiteX25" fmla="*/ 8829 w 10000"/>
                    <a:gd name="connsiteY25" fmla="*/ 6843 h 10423"/>
                    <a:gd name="connsiteX26" fmla="*/ 8796 w 10000"/>
                    <a:gd name="connsiteY26" fmla="*/ 7320 h 10423"/>
                    <a:gd name="connsiteX27" fmla="*/ 8503 w 10000"/>
                    <a:gd name="connsiteY27" fmla="*/ 7437 h 10423"/>
                    <a:gd name="connsiteX28" fmla="*/ 8344 w 10000"/>
                    <a:gd name="connsiteY28" fmla="*/ 7777 h 10423"/>
                    <a:gd name="connsiteX29" fmla="*/ 8160 w 10000"/>
                    <a:gd name="connsiteY29" fmla="*/ 8088 h 10423"/>
                    <a:gd name="connsiteX30" fmla="*/ 8143 w 10000"/>
                    <a:gd name="connsiteY30" fmla="*/ 8545 h 10423"/>
                    <a:gd name="connsiteX31" fmla="*/ 8093 w 10000"/>
                    <a:gd name="connsiteY31" fmla="*/ 8788 h 10423"/>
                    <a:gd name="connsiteX32" fmla="*/ 7943 w 10000"/>
                    <a:gd name="connsiteY32" fmla="*/ 8740 h 10423"/>
                    <a:gd name="connsiteX33" fmla="*/ 7725 w 10000"/>
                    <a:gd name="connsiteY33" fmla="*/ 8983 h 10423"/>
                    <a:gd name="connsiteX34" fmla="*/ 7725 w 10000"/>
                    <a:gd name="connsiteY34" fmla="*/ 9344 h 10423"/>
                    <a:gd name="connsiteX35" fmla="*/ 7633 w 10000"/>
                    <a:gd name="connsiteY35" fmla="*/ 9693 h 10423"/>
                    <a:gd name="connsiteX36" fmla="*/ 7650 w 10000"/>
                    <a:gd name="connsiteY36" fmla="*/ 9898 h 10423"/>
                    <a:gd name="connsiteX37" fmla="*/ 7642 w 10000"/>
                    <a:gd name="connsiteY37" fmla="*/ 9898 h 10423"/>
                    <a:gd name="connsiteX38" fmla="*/ 7541 w 10000"/>
                    <a:gd name="connsiteY38" fmla="*/ 9878 h 10423"/>
                    <a:gd name="connsiteX39" fmla="*/ 7524 w 10000"/>
                    <a:gd name="connsiteY39" fmla="*/ 9781 h 10423"/>
                    <a:gd name="connsiteX40" fmla="*/ 7508 w 10000"/>
                    <a:gd name="connsiteY40" fmla="*/ 9664 h 10423"/>
                    <a:gd name="connsiteX41" fmla="*/ 7541 w 10000"/>
                    <a:gd name="connsiteY41" fmla="*/ 9430 h 10423"/>
                    <a:gd name="connsiteX42" fmla="*/ 7474 w 10000"/>
                    <a:gd name="connsiteY42" fmla="*/ 9430 h 10423"/>
                    <a:gd name="connsiteX43" fmla="*/ 7340 w 10000"/>
                    <a:gd name="connsiteY43" fmla="*/ 9120 h 10423"/>
                    <a:gd name="connsiteX44" fmla="*/ 7157 w 10000"/>
                    <a:gd name="connsiteY44" fmla="*/ 9022 h 10423"/>
                    <a:gd name="connsiteX45" fmla="*/ 7090 w 10000"/>
                    <a:gd name="connsiteY45" fmla="*/ 8419 h 10423"/>
                    <a:gd name="connsiteX46" fmla="*/ 7140 w 10000"/>
                    <a:gd name="connsiteY46" fmla="*/ 7933 h 10423"/>
                    <a:gd name="connsiteX47" fmla="*/ 6805 w 10000"/>
                    <a:gd name="connsiteY47" fmla="*/ 7933 h 10423"/>
                    <a:gd name="connsiteX48" fmla="*/ 6805 w 10000"/>
                    <a:gd name="connsiteY48" fmla="*/ 8108 h 10423"/>
                    <a:gd name="connsiteX49" fmla="*/ 6454 w 10000"/>
                    <a:gd name="connsiteY49" fmla="*/ 8146 h 10423"/>
                    <a:gd name="connsiteX50" fmla="*/ 6621 w 10000"/>
                    <a:gd name="connsiteY50" fmla="*/ 8341 h 10423"/>
                    <a:gd name="connsiteX51" fmla="*/ 6621 w 10000"/>
                    <a:gd name="connsiteY51" fmla="*/ 8614 h 10423"/>
                    <a:gd name="connsiteX52" fmla="*/ 6688 w 10000"/>
                    <a:gd name="connsiteY52" fmla="*/ 8750 h 10423"/>
                    <a:gd name="connsiteX53" fmla="*/ 6337 w 10000"/>
                    <a:gd name="connsiteY53" fmla="*/ 9081 h 10423"/>
                    <a:gd name="connsiteX54" fmla="*/ 6236 w 10000"/>
                    <a:gd name="connsiteY54" fmla="*/ 9314 h 10423"/>
                    <a:gd name="connsiteX55" fmla="*/ 5885 w 10000"/>
                    <a:gd name="connsiteY55" fmla="*/ 9723 h 10423"/>
                    <a:gd name="connsiteX56" fmla="*/ 5617 w 10000"/>
                    <a:gd name="connsiteY56" fmla="*/ 9703 h 10423"/>
                    <a:gd name="connsiteX57" fmla="*/ 5082 w 10000"/>
                    <a:gd name="connsiteY57" fmla="*/ 9314 h 10423"/>
                    <a:gd name="connsiteX58" fmla="*/ 4865 w 10000"/>
                    <a:gd name="connsiteY58" fmla="*/ 9547 h 10423"/>
                    <a:gd name="connsiteX59" fmla="*/ 4848 w 10000"/>
                    <a:gd name="connsiteY59" fmla="*/ 9723 h 10423"/>
                    <a:gd name="connsiteX60" fmla="*/ 4547 w 10000"/>
                    <a:gd name="connsiteY60" fmla="*/ 9762 h 10423"/>
                    <a:gd name="connsiteX61" fmla="*/ 4520 w 10000"/>
                    <a:gd name="connsiteY61" fmla="*/ 9996 h 10423"/>
                    <a:gd name="connsiteX62" fmla="*/ 3931 w 10000"/>
                    <a:gd name="connsiteY62" fmla="*/ 9999 h 10423"/>
                    <a:gd name="connsiteX63" fmla="*/ 3828 w 10000"/>
                    <a:gd name="connsiteY63" fmla="*/ 9859 h 10423"/>
                    <a:gd name="connsiteX64" fmla="*/ 3243 w 10000"/>
                    <a:gd name="connsiteY64" fmla="*/ 9800 h 10423"/>
                    <a:gd name="connsiteX65" fmla="*/ 3125 w 10000"/>
                    <a:gd name="connsiteY65" fmla="*/ 9917 h 10423"/>
                    <a:gd name="connsiteX66" fmla="*/ 2874 w 10000"/>
                    <a:gd name="connsiteY66" fmla="*/ 9859 h 10423"/>
                    <a:gd name="connsiteX67" fmla="*/ 2774 w 10000"/>
                    <a:gd name="connsiteY67" fmla="*/ 9567 h 10423"/>
                    <a:gd name="connsiteX68" fmla="*/ 2623 w 10000"/>
                    <a:gd name="connsiteY68" fmla="*/ 9411 h 10423"/>
                    <a:gd name="connsiteX69" fmla="*/ 2540 w 10000"/>
                    <a:gd name="connsiteY69" fmla="*/ 9236 h 10423"/>
                    <a:gd name="connsiteX70" fmla="*/ 2054 w 10000"/>
                    <a:gd name="connsiteY70" fmla="*/ 9353 h 10423"/>
                    <a:gd name="connsiteX71" fmla="*/ 1971 w 10000"/>
                    <a:gd name="connsiteY71" fmla="*/ 9625 h 10423"/>
                    <a:gd name="connsiteX72" fmla="*/ 1871 w 10000"/>
                    <a:gd name="connsiteY72" fmla="*/ 9664 h 10423"/>
                    <a:gd name="connsiteX73" fmla="*/ 1871 w 10000"/>
                    <a:gd name="connsiteY73" fmla="*/ 9917 h 10423"/>
                    <a:gd name="connsiteX74" fmla="*/ 1770 w 10000"/>
                    <a:gd name="connsiteY74" fmla="*/ 9956 h 10423"/>
                    <a:gd name="connsiteX75" fmla="*/ 1770 w 10000"/>
                    <a:gd name="connsiteY75" fmla="*/ 10112 h 10423"/>
                    <a:gd name="connsiteX76" fmla="*/ 1770 w 10000"/>
                    <a:gd name="connsiteY76" fmla="*/ 10287 h 10423"/>
                    <a:gd name="connsiteX77" fmla="*/ 1537 w 10000"/>
                    <a:gd name="connsiteY77" fmla="*/ 10423 h 10423"/>
                    <a:gd name="connsiteX78" fmla="*/ 1511 w 10000"/>
                    <a:gd name="connsiteY78" fmla="*/ 10423 h 10423"/>
                    <a:gd name="connsiteX79" fmla="*/ 1461 w 10000"/>
                    <a:gd name="connsiteY79" fmla="*/ 10423 h 10423"/>
                    <a:gd name="connsiteX80" fmla="*/ 1076 w 10000"/>
                    <a:gd name="connsiteY80" fmla="*/ 10384 h 10423"/>
                    <a:gd name="connsiteX81" fmla="*/ 1060 w 10000"/>
                    <a:gd name="connsiteY81" fmla="*/ 10228 h 10423"/>
                    <a:gd name="connsiteX82" fmla="*/ 1160 w 10000"/>
                    <a:gd name="connsiteY82" fmla="*/ 9898 h 10423"/>
                    <a:gd name="connsiteX83" fmla="*/ 1160 w 10000"/>
                    <a:gd name="connsiteY83" fmla="*/ 9567 h 10423"/>
                    <a:gd name="connsiteX84" fmla="*/ 934 w 10000"/>
                    <a:gd name="connsiteY84" fmla="*/ 9139 h 10423"/>
                    <a:gd name="connsiteX85" fmla="*/ 658 w 10000"/>
                    <a:gd name="connsiteY85" fmla="*/ 8788 h 10423"/>
                    <a:gd name="connsiteX86" fmla="*/ 616 w 10000"/>
                    <a:gd name="connsiteY86" fmla="*/ 8779 h 10423"/>
                    <a:gd name="connsiteX87" fmla="*/ 691 w 10000"/>
                    <a:gd name="connsiteY87" fmla="*/ 8672 h 10423"/>
                    <a:gd name="connsiteX88" fmla="*/ 599 w 10000"/>
                    <a:gd name="connsiteY88" fmla="*/ 8419 h 10423"/>
                    <a:gd name="connsiteX89" fmla="*/ 466 w 10000"/>
                    <a:gd name="connsiteY89" fmla="*/ 8117 h 10423"/>
                    <a:gd name="connsiteX90" fmla="*/ 407 w 10000"/>
                    <a:gd name="connsiteY90" fmla="*/ 7962 h 10423"/>
                    <a:gd name="connsiteX91" fmla="*/ 373 w 10000"/>
                    <a:gd name="connsiteY91" fmla="*/ 7573 h 10423"/>
                    <a:gd name="connsiteX92" fmla="*/ 148 w 10000"/>
                    <a:gd name="connsiteY92" fmla="*/ 7533 h 10423"/>
                    <a:gd name="connsiteX93" fmla="*/ 64 w 10000"/>
                    <a:gd name="connsiteY93" fmla="*/ 7213 h 10423"/>
                    <a:gd name="connsiteX94" fmla="*/ 223 w 10000"/>
                    <a:gd name="connsiteY94" fmla="*/ 6911 h 10423"/>
                    <a:gd name="connsiteX95" fmla="*/ 198 w 10000"/>
                    <a:gd name="connsiteY95" fmla="*/ 6600 h 10423"/>
                    <a:gd name="connsiteX96" fmla="*/ 415 w 10000"/>
                    <a:gd name="connsiteY96" fmla="*/ 6386 h 10423"/>
                    <a:gd name="connsiteX97" fmla="*/ 348 w 10000"/>
                    <a:gd name="connsiteY97" fmla="*/ 6239 h 10423"/>
                    <a:gd name="connsiteX98" fmla="*/ 382 w 10000"/>
                    <a:gd name="connsiteY98" fmla="*/ 6065 h 10423"/>
                    <a:gd name="connsiteX99" fmla="*/ 474 w 10000"/>
                    <a:gd name="connsiteY99" fmla="*/ 5929 h 10423"/>
                    <a:gd name="connsiteX100" fmla="*/ 666 w 10000"/>
                    <a:gd name="connsiteY100" fmla="*/ 5568 h 10423"/>
                    <a:gd name="connsiteX101" fmla="*/ 674 w 10000"/>
                    <a:gd name="connsiteY101" fmla="*/ 5354 h 10423"/>
                    <a:gd name="connsiteX102" fmla="*/ 1001 w 10000"/>
                    <a:gd name="connsiteY102" fmla="*/ 5258 h 10423"/>
                    <a:gd name="connsiteX103" fmla="*/ 1269 w 10000"/>
                    <a:gd name="connsiteY103" fmla="*/ 5248 h 10423"/>
                    <a:gd name="connsiteX104" fmla="*/ 1185 w 10000"/>
                    <a:gd name="connsiteY104" fmla="*/ 2514 h 10423"/>
                    <a:gd name="connsiteX105" fmla="*/ 1185 w 10000"/>
                    <a:gd name="connsiteY105" fmla="*/ 2514 h 10423"/>
                    <a:gd name="connsiteX106" fmla="*/ 1176 w 10000"/>
                    <a:gd name="connsiteY106" fmla="*/ 2153 h 10423"/>
                    <a:gd name="connsiteX107" fmla="*/ 1770 w 10000"/>
                    <a:gd name="connsiteY107" fmla="*/ 2144 h 10423"/>
                    <a:gd name="connsiteX108" fmla="*/ 1712 w 10000"/>
                    <a:gd name="connsiteY108" fmla="*/ 694 h 10423"/>
                    <a:gd name="connsiteX109" fmla="*/ 5434 w 10000"/>
                    <a:gd name="connsiteY109" fmla="*/ 587 h 10423"/>
                    <a:gd name="connsiteX110" fmla="*/ 5559 w 10000"/>
                    <a:gd name="connsiteY110" fmla="*/ 461 h 10423"/>
                    <a:gd name="connsiteX111" fmla="*/ 5626 w 10000"/>
                    <a:gd name="connsiteY111" fmla="*/ 587 h 10423"/>
                    <a:gd name="connsiteX112" fmla="*/ 6555 w 10000"/>
                    <a:gd name="connsiteY112" fmla="*/ 549 h 10423"/>
                    <a:gd name="connsiteX113" fmla="*/ 6555 w 10000"/>
                    <a:gd name="connsiteY113" fmla="*/ 549 h 10423"/>
                    <a:gd name="connsiteX114" fmla="*/ 7081 w 10000"/>
                    <a:gd name="connsiteY114" fmla="*/ 529 h 10423"/>
                    <a:gd name="connsiteX115" fmla="*/ 7657 w 10000"/>
                    <a:gd name="connsiteY115" fmla="*/ 253 h 10423"/>
                    <a:gd name="connsiteX116" fmla="*/ 8327 w 10000"/>
                    <a:gd name="connsiteY116" fmla="*/ 163 h 10423"/>
                    <a:gd name="connsiteX117" fmla="*/ 8695 w 10000"/>
                    <a:gd name="connsiteY117" fmla="*/ 461 h 10423"/>
                    <a:gd name="connsiteX118" fmla="*/ 8695 w 10000"/>
                    <a:gd name="connsiteY118" fmla="*/ 461 h 10423"/>
                    <a:gd name="connsiteX119" fmla="*/ 8728 w 10000"/>
                    <a:gd name="connsiteY119" fmla="*/ 568 h 10423"/>
                    <a:gd name="connsiteX120" fmla="*/ 8771 w 10000"/>
                    <a:gd name="connsiteY120" fmla="*/ 811 h 10423"/>
                    <a:gd name="connsiteX121" fmla="*/ 8954 w 10000"/>
                    <a:gd name="connsiteY121" fmla="*/ 1035 h 10423"/>
                    <a:gd name="connsiteX122" fmla="*/ 8954 w 10000"/>
                    <a:gd name="connsiteY122" fmla="*/ 1113 h 10423"/>
                    <a:gd name="connsiteX0" fmla="*/ 8954 w 10000"/>
                    <a:gd name="connsiteY0" fmla="*/ 1161 h 10471"/>
                    <a:gd name="connsiteX1" fmla="*/ 8996 w 10000"/>
                    <a:gd name="connsiteY1" fmla="*/ 1530 h 10471"/>
                    <a:gd name="connsiteX2" fmla="*/ 9072 w 10000"/>
                    <a:gd name="connsiteY2" fmla="*/ 2182 h 10471"/>
                    <a:gd name="connsiteX3" fmla="*/ 9189 w 10000"/>
                    <a:gd name="connsiteY3" fmla="*/ 2688 h 10471"/>
                    <a:gd name="connsiteX4" fmla="*/ 9272 w 10000"/>
                    <a:gd name="connsiteY4" fmla="*/ 2864 h 10471"/>
                    <a:gd name="connsiteX5" fmla="*/ 9465 w 10000"/>
                    <a:gd name="connsiteY5" fmla="*/ 2970 h 10471"/>
                    <a:gd name="connsiteX6" fmla="*/ 9624 w 10000"/>
                    <a:gd name="connsiteY6" fmla="*/ 3048 h 10471"/>
                    <a:gd name="connsiteX7" fmla="*/ 9699 w 10000"/>
                    <a:gd name="connsiteY7" fmla="*/ 3175 h 10471"/>
                    <a:gd name="connsiteX8" fmla="*/ 9774 w 10000"/>
                    <a:gd name="connsiteY8" fmla="*/ 3213 h 10471"/>
                    <a:gd name="connsiteX9" fmla="*/ 9875 w 10000"/>
                    <a:gd name="connsiteY9" fmla="*/ 3243 h 10471"/>
                    <a:gd name="connsiteX10" fmla="*/ 9917 w 10000"/>
                    <a:gd name="connsiteY10" fmla="*/ 3349 h 10471"/>
                    <a:gd name="connsiteX11" fmla="*/ 10000 w 10000"/>
                    <a:gd name="connsiteY11" fmla="*/ 3418 h 10471"/>
                    <a:gd name="connsiteX12" fmla="*/ 10000 w 10000"/>
                    <a:gd name="connsiteY12" fmla="*/ 3418 h 10471"/>
                    <a:gd name="connsiteX13" fmla="*/ 9849 w 10000"/>
                    <a:gd name="connsiteY13" fmla="*/ 3710 h 10471"/>
                    <a:gd name="connsiteX14" fmla="*/ 9749 w 10000"/>
                    <a:gd name="connsiteY14" fmla="*/ 3807 h 10471"/>
                    <a:gd name="connsiteX15" fmla="*/ 9556 w 10000"/>
                    <a:gd name="connsiteY15" fmla="*/ 3826 h 10471"/>
                    <a:gd name="connsiteX16" fmla="*/ 9406 w 10000"/>
                    <a:gd name="connsiteY16" fmla="*/ 3972 h 10471"/>
                    <a:gd name="connsiteX17" fmla="*/ 9189 w 10000"/>
                    <a:gd name="connsiteY17" fmla="*/ 4167 h 10471"/>
                    <a:gd name="connsiteX18" fmla="*/ 9122 w 10000"/>
                    <a:gd name="connsiteY18" fmla="*/ 4371 h 10471"/>
                    <a:gd name="connsiteX19" fmla="*/ 9097 w 10000"/>
                    <a:gd name="connsiteY19" fmla="*/ 4800 h 10471"/>
                    <a:gd name="connsiteX20" fmla="*/ 8971 w 10000"/>
                    <a:gd name="connsiteY20" fmla="*/ 5218 h 10471"/>
                    <a:gd name="connsiteX21" fmla="*/ 8863 w 10000"/>
                    <a:gd name="connsiteY21" fmla="*/ 5578 h 10471"/>
                    <a:gd name="connsiteX22" fmla="*/ 8946 w 10000"/>
                    <a:gd name="connsiteY22" fmla="*/ 6132 h 10471"/>
                    <a:gd name="connsiteX23" fmla="*/ 8963 w 10000"/>
                    <a:gd name="connsiteY23" fmla="*/ 6230 h 10471"/>
                    <a:gd name="connsiteX24" fmla="*/ 8946 w 10000"/>
                    <a:gd name="connsiteY24" fmla="*/ 6550 h 10471"/>
                    <a:gd name="connsiteX25" fmla="*/ 8829 w 10000"/>
                    <a:gd name="connsiteY25" fmla="*/ 6891 h 10471"/>
                    <a:gd name="connsiteX26" fmla="*/ 8796 w 10000"/>
                    <a:gd name="connsiteY26" fmla="*/ 7368 h 10471"/>
                    <a:gd name="connsiteX27" fmla="*/ 8503 w 10000"/>
                    <a:gd name="connsiteY27" fmla="*/ 7485 h 10471"/>
                    <a:gd name="connsiteX28" fmla="*/ 8344 w 10000"/>
                    <a:gd name="connsiteY28" fmla="*/ 7825 h 10471"/>
                    <a:gd name="connsiteX29" fmla="*/ 8160 w 10000"/>
                    <a:gd name="connsiteY29" fmla="*/ 8136 h 10471"/>
                    <a:gd name="connsiteX30" fmla="*/ 8143 w 10000"/>
                    <a:gd name="connsiteY30" fmla="*/ 8593 h 10471"/>
                    <a:gd name="connsiteX31" fmla="*/ 8093 w 10000"/>
                    <a:gd name="connsiteY31" fmla="*/ 8836 h 10471"/>
                    <a:gd name="connsiteX32" fmla="*/ 7943 w 10000"/>
                    <a:gd name="connsiteY32" fmla="*/ 8788 h 10471"/>
                    <a:gd name="connsiteX33" fmla="*/ 7725 w 10000"/>
                    <a:gd name="connsiteY33" fmla="*/ 9031 h 10471"/>
                    <a:gd name="connsiteX34" fmla="*/ 7725 w 10000"/>
                    <a:gd name="connsiteY34" fmla="*/ 9392 h 10471"/>
                    <a:gd name="connsiteX35" fmla="*/ 7633 w 10000"/>
                    <a:gd name="connsiteY35" fmla="*/ 9741 h 10471"/>
                    <a:gd name="connsiteX36" fmla="*/ 7650 w 10000"/>
                    <a:gd name="connsiteY36" fmla="*/ 9946 h 10471"/>
                    <a:gd name="connsiteX37" fmla="*/ 7642 w 10000"/>
                    <a:gd name="connsiteY37" fmla="*/ 9946 h 10471"/>
                    <a:gd name="connsiteX38" fmla="*/ 7541 w 10000"/>
                    <a:gd name="connsiteY38" fmla="*/ 9926 h 10471"/>
                    <a:gd name="connsiteX39" fmla="*/ 7524 w 10000"/>
                    <a:gd name="connsiteY39" fmla="*/ 9829 h 10471"/>
                    <a:gd name="connsiteX40" fmla="*/ 7508 w 10000"/>
                    <a:gd name="connsiteY40" fmla="*/ 9712 h 10471"/>
                    <a:gd name="connsiteX41" fmla="*/ 7541 w 10000"/>
                    <a:gd name="connsiteY41" fmla="*/ 9478 h 10471"/>
                    <a:gd name="connsiteX42" fmla="*/ 7474 w 10000"/>
                    <a:gd name="connsiteY42" fmla="*/ 9478 h 10471"/>
                    <a:gd name="connsiteX43" fmla="*/ 7340 w 10000"/>
                    <a:gd name="connsiteY43" fmla="*/ 9168 h 10471"/>
                    <a:gd name="connsiteX44" fmla="*/ 7157 w 10000"/>
                    <a:gd name="connsiteY44" fmla="*/ 9070 h 10471"/>
                    <a:gd name="connsiteX45" fmla="*/ 7090 w 10000"/>
                    <a:gd name="connsiteY45" fmla="*/ 8467 h 10471"/>
                    <a:gd name="connsiteX46" fmla="*/ 7140 w 10000"/>
                    <a:gd name="connsiteY46" fmla="*/ 7981 h 10471"/>
                    <a:gd name="connsiteX47" fmla="*/ 6805 w 10000"/>
                    <a:gd name="connsiteY47" fmla="*/ 7981 h 10471"/>
                    <a:gd name="connsiteX48" fmla="*/ 6805 w 10000"/>
                    <a:gd name="connsiteY48" fmla="*/ 8156 h 10471"/>
                    <a:gd name="connsiteX49" fmla="*/ 6454 w 10000"/>
                    <a:gd name="connsiteY49" fmla="*/ 8194 h 10471"/>
                    <a:gd name="connsiteX50" fmla="*/ 6621 w 10000"/>
                    <a:gd name="connsiteY50" fmla="*/ 8389 h 10471"/>
                    <a:gd name="connsiteX51" fmla="*/ 6621 w 10000"/>
                    <a:gd name="connsiteY51" fmla="*/ 8662 h 10471"/>
                    <a:gd name="connsiteX52" fmla="*/ 6688 w 10000"/>
                    <a:gd name="connsiteY52" fmla="*/ 8798 h 10471"/>
                    <a:gd name="connsiteX53" fmla="*/ 6337 w 10000"/>
                    <a:gd name="connsiteY53" fmla="*/ 9129 h 10471"/>
                    <a:gd name="connsiteX54" fmla="*/ 6236 w 10000"/>
                    <a:gd name="connsiteY54" fmla="*/ 9362 h 10471"/>
                    <a:gd name="connsiteX55" fmla="*/ 5885 w 10000"/>
                    <a:gd name="connsiteY55" fmla="*/ 9771 h 10471"/>
                    <a:gd name="connsiteX56" fmla="*/ 5617 w 10000"/>
                    <a:gd name="connsiteY56" fmla="*/ 9751 h 10471"/>
                    <a:gd name="connsiteX57" fmla="*/ 5082 w 10000"/>
                    <a:gd name="connsiteY57" fmla="*/ 9362 h 10471"/>
                    <a:gd name="connsiteX58" fmla="*/ 4865 w 10000"/>
                    <a:gd name="connsiteY58" fmla="*/ 9595 h 10471"/>
                    <a:gd name="connsiteX59" fmla="*/ 4848 w 10000"/>
                    <a:gd name="connsiteY59" fmla="*/ 9771 h 10471"/>
                    <a:gd name="connsiteX60" fmla="*/ 4547 w 10000"/>
                    <a:gd name="connsiteY60" fmla="*/ 9810 h 10471"/>
                    <a:gd name="connsiteX61" fmla="*/ 4520 w 10000"/>
                    <a:gd name="connsiteY61" fmla="*/ 10044 h 10471"/>
                    <a:gd name="connsiteX62" fmla="*/ 3931 w 10000"/>
                    <a:gd name="connsiteY62" fmla="*/ 10047 h 10471"/>
                    <a:gd name="connsiteX63" fmla="*/ 3828 w 10000"/>
                    <a:gd name="connsiteY63" fmla="*/ 9907 h 10471"/>
                    <a:gd name="connsiteX64" fmla="*/ 3243 w 10000"/>
                    <a:gd name="connsiteY64" fmla="*/ 9848 h 10471"/>
                    <a:gd name="connsiteX65" fmla="*/ 3125 w 10000"/>
                    <a:gd name="connsiteY65" fmla="*/ 9965 h 10471"/>
                    <a:gd name="connsiteX66" fmla="*/ 2874 w 10000"/>
                    <a:gd name="connsiteY66" fmla="*/ 9907 h 10471"/>
                    <a:gd name="connsiteX67" fmla="*/ 2774 w 10000"/>
                    <a:gd name="connsiteY67" fmla="*/ 9615 h 10471"/>
                    <a:gd name="connsiteX68" fmla="*/ 2623 w 10000"/>
                    <a:gd name="connsiteY68" fmla="*/ 9459 h 10471"/>
                    <a:gd name="connsiteX69" fmla="*/ 2540 w 10000"/>
                    <a:gd name="connsiteY69" fmla="*/ 9284 h 10471"/>
                    <a:gd name="connsiteX70" fmla="*/ 2054 w 10000"/>
                    <a:gd name="connsiteY70" fmla="*/ 9401 h 10471"/>
                    <a:gd name="connsiteX71" fmla="*/ 1971 w 10000"/>
                    <a:gd name="connsiteY71" fmla="*/ 9673 h 10471"/>
                    <a:gd name="connsiteX72" fmla="*/ 1871 w 10000"/>
                    <a:gd name="connsiteY72" fmla="*/ 9712 h 10471"/>
                    <a:gd name="connsiteX73" fmla="*/ 1871 w 10000"/>
                    <a:gd name="connsiteY73" fmla="*/ 9965 h 10471"/>
                    <a:gd name="connsiteX74" fmla="*/ 1770 w 10000"/>
                    <a:gd name="connsiteY74" fmla="*/ 10004 h 10471"/>
                    <a:gd name="connsiteX75" fmla="*/ 1770 w 10000"/>
                    <a:gd name="connsiteY75" fmla="*/ 10160 h 10471"/>
                    <a:gd name="connsiteX76" fmla="*/ 1770 w 10000"/>
                    <a:gd name="connsiteY76" fmla="*/ 10335 h 10471"/>
                    <a:gd name="connsiteX77" fmla="*/ 1537 w 10000"/>
                    <a:gd name="connsiteY77" fmla="*/ 10471 h 10471"/>
                    <a:gd name="connsiteX78" fmla="*/ 1511 w 10000"/>
                    <a:gd name="connsiteY78" fmla="*/ 10471 h 10471"/>
                    <a:gd name="connsiteX79" fmla="*/ 1461 w 10000"/>
                    <a:gd name="connsiteY79" fmla="*/ 10471 h 10471"/>
                    <a:gd name="connsiteX80" fmla="*/ 1076 w 10000"/>
                    <a:gd name="connsiteY80" fmla="*/ 10432 h 10471"/>
                    <a:gd name="connsiteX81" fmla="*/ 1060 w 10000"/>
                    <a:gd name="connsiteY81" fmla="*/ 10276 h 10471"/>
                    <a:gd name="connsiteX82" fmla="*/ 1160 w 10000"/>
                    <a:gd name="connsiteY82" fmla="*/ 9946 h 10471"/>
                    <a:gd name="connsiteX83" fmla="*/ 1160 w 10000"/>
                    <a:gd name="connsiteY83" fmla="*/ 9615 h 10471"/>
                    <a:gd name="connsiteX84" fmla="*/ 934 w 10000"/>
                    <a:gd name="connsiteY84" fmla="*/ 9187 h 10471"/>
                    <a:gd name="connsiteX85" fmla="*/ 658 w 10000"/>
                    <a:gd name="connsiteY85" fmla="*/ 8836 h 10471"/>
                    <a:gd name="connsiteX86" fmla="*/ 616 w 10000"/>
                    <a:gd name="connsiteY86" fmla="*/ 8827 h 10471"/>
                    <a:gd name="connsiteX87" fmla="*/ 691 w 10000"/>
                    <a:gd name="connsiteY87" fmla="*/ 8720 h 10471"/>
                    <a:gd name="connsiteX88" fmla="*/ 599 w 10000"/>
                    <a:gd name="connsiteY88" fmla="*/ 8467 h 10471"/>
                    <a:gd name="connsiteX89" fmla="*/ 466 w 10000"/>
                    <a:gd name="connsiteY89" fmla="*/ 8165 h 10471"/>
                    <a:gd name="connsiteX90" fmla="*/ 407 w 10000"/>
                    <a:gd name="connsiteY90" fmla="*/ 8010 h 10471"/>
                    <a:gd name="connsiteX91" fmla="*/ 373 w 10000"/>
                    <a:gd name="connsiteY91" fmla="*/ 7621 h 10471"/>
                    <a:gd name="connsiteX92" fmla="*/ 148 w 10000"/>
                    <a:gd name="connsiteY92" fmla="*/ 7581 h 10471"/>
                    <a:gd name="connsiteX93" fmla="*/ 64 w 10000"/>
                    <a:gd name="connsiteY93" fmla="*/ 7261 h 10471"/>
                    <a:gd name="connsiteX94" fmla="*/ 223 w 10000"/>
                    <a:gd name="connsiteY94" fmla="*/ 6959 h 10471"/>
                    <a:gd name="connsiteX95" fmla="*/ 198 w 10000"/>
                    <a:gd name="connsiteY95" fmla="*/ 6648 h 10471"/>
                    <a:gd name="connsiteX96" fmla="*/ 415 w 10000"/>
                    <a:gd name="connsiteY96" fmla="*/ 6434 h 10471"/>
                    <a:gd name="connsiteX97" fmla="*/ 348 w 10000"/>
                    <a:gd name="connsiteY97" fmla="*/ 6287 h 10471"/>
                    <a:gd name="connsiteX98" fmla="*/ 382 w 10000"/>
                    <a:gd name="connsiteY98" fmla="*/ 6113 h 10471"/>
                    <a:gd name="connsiteX99" fmla="*/ 474 w 10000"/>
                    <a:gd name="connsiteY99" fmla="*/ 5977 h 10471"/>
                    <a:gd name="connsiteX100" fmla="*/ 666 w 10000"/>
                    <a:gd name="connsiteY100" fmla="*/ 5616 h 10471"/>
                    <a:gd name="connsiteX101" fmla="*/ 674 w 10000"/>
                    <a:gd name="connsiteY101" fmla="*/ 5402 h 10471"/>
                    <a:gd name="connsiteX102" fmla="*/ 1001 w 10000"/>
                    <a:gd name="connsiteY102" fmla="*/ 5306 h 10471"/>
                    <a:gd name="connsiteX103" fmla="*/ 1269 w 10000"/>
                    <a:gd name="connsiteY103" fmla="*/ 5296 h 10471"/>
                    <a:gd name="connsiteX104" fmla="*/ 1185 w 10000"/>
                    <a:gd name="connsiteY104" fmla="*/ 2562 h 10471"/>
                    <a:gd name="connsiteX105" fmla="*/ 1185 w 10000"/>
                    <a:gd name="connsiteY105" fmla="*/ 2562 h 10471"/>
                    <a:gd name="connsiteX106" fmla="*/ 1176 w 10000"/>
                    <a:gd name="connsiteY106" fmla="*/ 2201 h 10471"/>
                    <a:gd name="connsiteX107" fmla="*/ 1770 w 10000"/>
                    <a:gd name="connsiteY107" fmla="*/ 2192 h 10471"/>
                    <a:gd name="connsiteX108" fmla="*/ 1712 w 10000"/>
                    <a:gd name="connsiteY108" fmla="*/ 742 h 10471"/>
                    <a:gd name="connsiteX109" fmla="*/ 5434 w 10000"/>
                    <a:gd name="connsiteY109" fmla="*/ 635 h 10471"/>
                    <a:gd name="connsiteX110" fmla="*/ 5559 w 10000"/>
                    <a:gd name="connsiteY110" fmla="*/ 509 h 10471"/>
                    <a:gd name="connsiteX111" fmla="*/ 5626 w 10000"/>
                    <a:gd name="connsiteY111" fmla="*/ 635 h 10471"/>
                    <a:gd name="connsiteX112" fmla="*/ 6555 w 10000"/>
                    <a:gd name="connsiteY112" fmla="*/ 597 h 10471"/>
                    <a:gd name="connsiteX113" fmla="*/ 6555 w 10000"/>
                    <a:gd name="connsiteY113" fmla="*/ 597 h 10471"/>
                    <a:gd name="connsiteX114" fmla="*/ 7081 w 10000"/>
                    <a:gd name="connsiteY114" fmla="*/ 577 h 10471"/>
                    <a:gd name="connsiteX115" fmla="*/ 7657 w 10000"/>
                    <a:gd name="connsiteY115" fmla="*/ 301 h 10471"/>
                    <a:gd name="connsiteX116" fmla="*/ 7837 w 10000"/>
                    <a:gd name="connsiteY116" fmla="*/ 1 h 10471"/>
                    <a:gd name="connsiteX117" fmla="*/ 8327 w 10000"/>
                    <a:gd name="connsiteY117" fmla="*/ 211 h 10471"/>
                    <a:gd name="connsiteX118" fmla="*/ 8695 w 10000"/>
                    <a:gd name="connsiteY118" fmla="*/ 509 h 10471"/>
                    <a:gd name="connsiteX119" fmla="*/ 8695 w 10000"/>
                    <a:gd name="connsiteY119" fmla="*/ 509 h 10471"/>
                    <a:gd name="connsiteX120" fmla="*/ 8728 w 10000"/>
                    <a:gd name="connsiteY120" fmla="*/ 616 h 10471"/>
                    <a:gd name="connsiteX121" fmla="*/ 8771 w 10000"/>
                    <a:gd name="connsiteY121" fmla="*/ 859 h 10471"/>
                    <a:gd name="connsiteX122" fmla="*/ 8954 w 10000"/>
                    <a:gd name="connsiteY122" fmla="*/ 1083 h 10471"/>
                    <a:gd name="connsiteX123" fmla="*/ 8954 w 10000"/>
                    <a:gd name="connsiteY123" fmla="*/ 1161 h 10471"/>
                    <a:gd name="connsiteX0" fmla="*/ 8954 w 10000"/>
                    <a:gd name="connsiteY0" fmla="*/ 1315 h 10625"/>
                    <a:gd name="connsiteX1" fmla="*/ 8996 w 10000"/>
                    <a:gd name="connsiteY1" fmla="*/ 1684 h 10625"/>
                    <a:gd name="connsiteX2" fmla="*/ 9072 w 10000"/>
                    <a:gd name="connsiteY2" fmla="*/ 2336 h 10625"/>
                    <a:gd name="connsiteX3" fmla="*/ 9189 w 10000"/>
                    <a:gd name="connsiteY3" fmla="*/ 2842 h 10625"/>
                    <a:gd name="connsiteX4" fmla="*/ 9272 w 10000"/>
                    <a:gd name="connsiteY4" fmla="*/ 3018 h 10625"/>
                    <a:gd name="connsiteX5" fmla="*/ 9465 w 10000"/>
                    <a:gd name="connsiteY5" fmla="*/ 3124 h 10625"/>
                    <a:gd name="connsiteX6" fmla="*/ 9624 w 10000"/>
                    <a:gd name="connsiteY6" fmla="*/ 3202 h 10625"/>
                    <a:gd name="connsiteX7" fmla="*/ 9699 w 10000"/>
                    <a:gd name="connsiteY7" fmla="*/ 3329 h 10625"/>
                    <a:gd name="connsiteX8" fmla="*/ 9774 w 10000"/>
                    <a:gd name="connsiteY8" fmla="*/ 3367 h 10625"/>
                    <a:gd name="connsiteX9" fmla="*/ 9875 w 10000"/>
                    <a:gd name="connsiteY9" fmla="*/ 3397 h 10625"/>
                    <a:gd name="connsiteX10" fmla="*/ 9917 w 10000"/>
                    <a:gd name="connsiteY10" fmla="*/ 3503 h 10625"/>
                    <a:gd name="connsiteX11" fmla="*/ 10000 w 10000"/>
                    <a:gd name="connsiteY11" fmla="*/ 3572 h 10625"/>
                    <a:gd name="connsiteX12" fmla="*/ 10000 w 10000"/>
                    <a:gd name="connsiteY12" fmla="*/ 3572 h 10625"/>
                    <a:gd name="connsiteX13" fmla="*/ 9849 w 10000"/>
                    <a:gd name="connsiteY13" fmla="*/ 3864 h 10625"/>
                    <a:gd name="connsiteX14" fmla="*/ 9749 w 10000"/>
                    <a:gd name="connsiteY14" fmla="*/ 3961 h 10625"/>
                    <a:gd name="connsiteX15" fmla="*/ 9556 w 10000"/>
                    <a:gd name="connsiteY15" fmla="*/ 3980 h 10625"/>
                    <a:gd name="connsiteX16" fmla="*/ 9406 w 10000"/>
                    <a:gd name="connsiteY16" fmla="*/ 4126 h 10625"/>
                    <a:gd name="connsiteX17" fmla="*/ 9189 w 10000"/>
                    <a:gd name="connsiteY17" fmla="*/ 4321 h 10625"/>
                    <a:gd name="connsiteX18" fmla="*/ 9122 w 10000"/>
                    <a:gd name="connsiteY18" fmla="*/ 4525 h 10625"/>
                    <a:gd name="connsiteX19" fmla="*/ 9097 w 10000"/>
                    <a:gd name="connsiteY19" fmla="*/ 4954 h 10625"/>
                    <a:gd name="connsiteX20" fmla="*/ 8971 w 10000"/>
                    <a:gd name="connsiteY20" fmla="*/ 5372 h 10625"/>
                    <a:gd name="connsiteX21" fmla="*/ 8863 w 10000"/>
                    <a:gd name="connsiteY21" fmla="*/ 5732 h 10625"/>
                    <a:gd name="connsiteX22" fmla="*/ 8946 w 10000"/>
                    <a:gd name="connsiteY22" fmla="*/ 6286 h 10625"/>
                    <a:gd name="connsiteX23" fmla="*/ 8963 w 10000"/>
                    <a:gd name="connsiteY23" fmla="*/ 6384 h 10625"/>
                    <a:gd name="connsiteX24" fmla="*/ 8946 w 10000"/>
                    <a:gd name="connsiteY24" fmla="*/ 6704 h 10625"/>
                    <a:gd name="connsiteX25" fmla="*/ 8829 w 10000"/>
                    <a:gd name="connsiteY25" fmla="*/ 7045 h 10625"/>
                    <a:gd name="connsiteX26" fmla="*/ 8796 w 10000"/>
                    <a:gd name="connsiteY26" fmla="*/ 7522 h 10625"/>
                    <a:gd name="connsiteX27" fmla="*/ 8503 w 10000"/>
                    <a:gd name="connsiteY27" fmla="*/ 7639 h 10625"/>
                    <a:gd name="connsiteX28" fmla="*/ 8344 w 10000"/>
                    <a:gd name="connsiteY28" fmla="*/ 7979 h 10625"/>
                    <a:gd name="connsiteX29" fmla="*/ 8160 w 10000"/>
                    <a:gd name="connsiteY29" fmla="*/ 8290 h 10625"/>
                    <a:gd name="connsiteX30" fmla="*/ 8143 w 10000"/>
                    <a:gd name="connsiteY30" fmla="*/ 8747 h 10625"/>
                    <a:gd name="connsiteX31" fmla="*/ 8093 w 10000"/>
                    <a:gd name="connsiteY31" fmla="*/ 8990 h 10625"/>
                    <a:gd name="connsiteX32" fmla="*/ 7943 w 10000"/>
                    <a:gd name="connsiteY32" fmla="*/ 8942 h 10625"/>
                    <a:gd name="connsiteX33" fmla="*/ 7725 w 10000"/>
                    <a:gd name="connsiteY33" fmla="*/ 9185 h 10625"/>
                    <a:gd name="connsiteX34" fmla="*/ 7725 w 10000"/>
                    <a:gd name="connsiteY34" fmla="*/ 9546 h 10625"/>
                    <a:gd name="connsiteX35" fmla="*/ 7633 w 10000"/>
                    <a:gd name="connsiteY35" fmla="*/ 9895 h 10625"/>
                    <a:gd name="connsiteX36" fmla="*/ 7650 w 10000"/>
                    <a:gd name="connsiteY36" fmla="*/ 10100 h 10625"/>
                    <a:gd name="connsiteX37" fmla="*/ 7642 w 10000"/>
                    <a:gd name="connsiteY37" fmla="*/ 10100 h 10625"/>
                    <a:gd name="connsiteX38" fmla="*/ 7541 w 10000"/>
                    <a:gd name="connsiteY38" fmla="*/ 10080 h 10625"/>
                    <a:gd name="connsiteX39" fmla="*/ 7524 w 10000"/>
                    <a:gd name="connsiteY39" fmla="*/ 9983 h 10625"/>
                    <a:gd name="connsiteX40" fmla="*/ 7508 w 10000"/>
                    <a:gd name="connsiteY40" fmla="*/ 9866 h 10625"/>
                    <a:gd name="connsiteX41" fmla="*/ 7541 w 10000"/>
                    <a:gd name="connsiteY41" fmla="*/ 9632 h 10625"/>
                    <a:gd name="connsiteX42" fmla="*/ 7474 w 10000"/>
                    <a:gd name="connsiteY42" fmla="*/ 9632 h 10625"/>
                    <a:gd name="connsiteX43" fmla="*/ 7340 w 10000"/>
                    <a:gd name="connsiteY43" fmla="*/ 9322 h 10625"/>
                    <a:gd name="connsiteX44" fmla="*/ 7157 w 10000"/>
                    <a:gd name="connsiteY44" fmla="*/ 9224 h 10625"/>
                    <a:gd name="connsiteX45" fmla="*/ 7090 w 10000"/>
                    <a:gd name="connsiteY45" fmla="*/ 8621 h 10625"/>
                    <a:gd name="connsiteX46" fmla="*/ 7140 w 10000"/>
                    <a:gd name="connsiteY46" fmla="*/ 8135 h 10625"/>
                    <a:gd name="connsiteX47" fmla="*/ 6805 w 10000"/>
                    <a:gd name="connsiteY47" fmla="*/ 8135 h 10625"/>
                    <a:gd name="connsiteX48" fmla="*/ 6805 w 10000"/>
                    <a:gd name="connsiteY48" fmla="*/ 8310 h 10625"/>
                    <a:gd name="connsiteX49" fmla="*/ 6454 w 10000"/>
                    <a:gd name="connsiteY49" fmla="*/ 8348 h 10625"/>
                    <a:gd name="connsiteX50" fmla="*/ 6621 w 10000"/>
                    <a:gd name="connsiteY50" fmla="*/ 8543 h 10625"/>
                    <a:gd name="connsiteX51" fmla="*/ 6621 w 10000"/>
                    <a:gd name="connsiteY51" fmla="*/ 8816 h 10625"/>
                    <a:gd name="connsiteX52" fmla="*/ 6688 w 10000"/>
                    <a:gd name="connsiteY52" fmla="*/ 8952 h 10625"/>
                    <a:gd name="connsiteX53" fmla="*/ 6337 w 10000"/>
                    <a:gd name="connsiteY53" fmla="*/ 9283 h 10625"/>
                    <a:gd name="connsiteX54" fmla="*/ 6236 w 10000"/>
                    <a:gd name="connsiteY54" fmla="*/ 9516 h 10625"/>
                    <a:gd name="connsiteX55" fmla="*/ 5885 w 10000"/>
                    <a:gd name="connsiteY55" fmla="*/ 9925 h 10625"/>
                    <a:gd name="connsiteX56" fmla="*/ 5617 w 10000"/>
                    <a:gd name="connsiteY56" fmla="*/ 9905 h 10625"/>
                    <a:gd name="connsiteX57" fmla="*/ 5082 w 10000"/>
                    <a:gd name="connsiteY57" fmla="*/ 9516 h 10625"/>
                    <a:gd name="connsiteX58" fmla="*/ 4865 w 10000"/>
                    <a:gd name="connsiteY58" fmla="*/ 9749 h 10625"/>
                    <a:gd name="connsiteX59" fmla="*/ 4848 w 10000"/>
                    <a:gd name="connsiteY59" fmla="*/ 9925 h 10625"/>
                    <a:gd name="connsiteX60" fmla="*/ 4547 w 10000"/>
                    <a:gd name="connsiteY60" fmla="*/ 9964 h 10625"/>
                    <a:gd name="connsiteX61" fmla="*/ 4520 w 10000"/>
                    <a:gd name="connsiteY61" fmla="*/ 10198 h 10625"/>
                    <a:gd name="connsiteX62" fmla="*/ 3931 w 10000"/>
                    <a:gd name="connsiteY62" fmla="*/ 10201 h 10625"/>
                    <a:gd name="connsiteX63" fmla="*/ 3828 w 10000"/>
                    <a:gd name="connsiteY63" fmla="*/ 10061 h 10625"/>
                    <a:gd name="connsiteX64" fmla="*/ 3243 w 10000"/>
                    <a:gd name="connsiteY64" fmla="*/ 10002 h 10625"/>
                    <a:gd name="connsiteX65" fmla="*/ 3125 w 10000"/>
                    <a:gd name="connsiteY65" fmla="*/ 10119 h 10625"/>
                    <a:gd name="connsiteX66" fmla="*/ 2874 w 10000"/>
                    <a:gd name="connsiteY66" fmla="*/ 10061 h 10625"/>
                    <a:gd name="connsiteX67" fmla="*/ 2774 w 10000"/>
                    <a:gd name="connsiteY67" fmla="*/ 9769 h 10625"/>
                    <a:gd name="connsiteX68" fmla="*/ 2623 w 10000"/>
                    <a:gd name="connsiteY68" fmla="*/ 9613 h 10625"/>
                    <a:gd name="connsiteX69" fmla="*/ 2540 w 10000"/>
                    <a:gd name="connsiteY69" fmla="*/ 9438 h 10625"/>
                    <a:gd name="connsiteX70" fmla="*/ 2054 w 10000"/>
                    <a:gd name="connsiteY70" fmla="*/ 9555 h 10625"/>
                    <a:gd name="connsiteX71" fmla="*/ 1971 w 10000"/>
                    <a:gd name="connsiteY71" fmla="*/ 9827 h 10625"/>
                    <a:gd name="connsiteX72" fmla="*/ 1871 w 10000"/>
                    <a:gd name="connsiteY72" fmla="*/ 9866 h 10625"/>
                    <a:gd name="connsiteX73" fmla="*/ 1871 w 10000"/>
                    <a:gd name="connsiteY73" fmla="*/ 10119 h 10625"/>
                    <a:gd name="connsiteX74" fmla="*/ 1770 w 10000"/>
                    <a:gd name="connsiteY74" fmla="*/ 10158 h 10625"/>
                    <a:gd name="connsiteX75" fmla="*/ 1770 w 10000"/>
                    <a:gd name="connsiteY75" fmla="*/ 10314 h 10625"/>
                    <a:gd name="connsiteX76" fmla="*/ 1770 w 10000"/>
                    <a:gd name="connsiteY76" fmla="*/ 10489 h 10625"/>
                    <a:gd name="connsiteX77" fmla="*/ 1537 w 10000"/>
                    <a:gd name="connsiteY77" fmla="*/ 10625 h 10625"/>
                    <a:gd name="connsiteX78" fmla="*/ 1511 w 10000"/>
                    <a:gd name="connsiteY78" fmla="*/ 10625 h 10625"/>
                    <a:gd name="connsiteX79" fmla="*/ 1461 w 10000"/>
                    <a:gd name="connsiteY79" fmla="*/ 10625 h 10625"/>
                    <a:gd name="connsiteX80" fmla="*/ 1076 w 10000"/>
                    <a:gd name="connsiteY80" fmla="*/ 10586 h 10625"/>
                    <a:gd name="connsiteX81" fmla="*/ 1060 w 10000"/>
                    <a:gd name="connsiteY81" fmla="*/ 10430 h 10625"/>
                    <a:gd name="connsiteX82" fmla="*/ 1160 w 10000"/>
                    <a:gd name="connsiteY82" fmla="*/ 10100 h 10625"/>
                    <a:gd name="connsiteX83" fmla="*/ 1160 w 10000"/>
                    <a:gd name="connsiteY83" fmla="*/ 9769 h 10625"/>
                    <a:gd name="connsiteX84" fmla="*/ 934 w 10000"/>
                    <a:gd name="connsiteY84" fmla="*/ 9341 h 10625"/>
                    <a:gd name="connsiteX85" fmla="*/ 658 w 10000"/>
                    <a:gd name="connsiteY85" fmla="*/ 8990 h 10625"/>
                    <a:gd name="connsiteX86" fmla="*/ 616 w 10000"/>
                    <a:gd name="connsiteY86" fmla="*/ 8981 h 10625"/>
                    <a:gd name="connsiteX87" fmla="*/ 691 w 10000"/>
                    <a:gd name="connsiteY87" fmla="*/ 8874 h 10625"/>
                    <a:gd name="connsiteX88" fmla="*/ 599 w 10000"/>
                    <a:gd name="connsiteY88" fmla="*/ 8621 h 10625"/>
                    <a:gd name="connsiteX89" fmla="*/ 466 w 10000"/>
                    <a:gd name="connsiteY89" fmla="*/ 8319 h 10625"/>
                    <a:gd name="connsiteX90" fmla="*/ 407 w 10000"/>
                    <a:gd name="connsiteY90" fmla="*/ 8164 h 10625"/>
                    <a:gd name="connsiteX91" fmla="*/ 373 w 10000"/>
                    <a:gd name="connsiteY91" fmla="*/ 7775 h 10625"/>
                    <a:gd name="connsiteX92" fmla="*/ 148 w 10000"/>
                    <a:gd name="connsiteY92" fmla="*/ 7735 h 10625"/>
                    <a:gd name="connsiteX93" fmla="*/ 64 w 10000"/>
                    <a:gd name="connsiteY93" fmla="*/ 7415 h 10625"/>
                    <a:gd name="connsiteX94" fmla="*/ 223 w 10000"/>
                    <a:gd name="connsiteY94" fmla="*/ 7113 h 10625"/>
                    <a:gd name="connsiteX95" fmla="*/ 198 w 10000"/>
                    <a:gd name="connsiteY95" fmla="*/ 6802 h 10625"/>
                    <a:gd name="connsiteX96" fmla="*/ 415 w 10000"/>
                    <a:gd name="connsiteY96" fmla="*/ 6588 h 10625"/>
                    <a:gd name="connsiteX97" fmla="*/ 348 w 10000"/>
                    <a:gd name="connsiteY97" fmla="*/ 6441 h 10625"/>
                    <a:gd name="connsiteX98" fmla="*/ 382 w 10000"/>
                    <a:gd name="connsiteY98" fmla="*/ 6267 h 10625"/>
                    <a:gd name="connsiteX99" fmla="*/ 474 w 10000"/>
                    <a:gd name="connsiteY99" fmla="*/ 6131 h 10625"/>
                    <a:gd name="connsiteX100" fmla="*/ 666 w 10000"/>
                    <a:gd name="connsiteY100" fmla="*/ 5770 h 10625"/>
                    <a:gd name="connsiteX101" fmla="*/ 674 w 10000"/>
                    <a:gd name="connsiteY101" fmla="*/ 5556 h 10625"/>
                    <a:gd name="connsiteX102" fmla="*/ 1001 w 10000"/>
                    <a:gd name="connsiteY102" fmla="*/ 5460 h 10625"/>
                    <a:gd name="connsiteX103" fmla="*/ 1269 w 10000"/>
                    <a:gd name="connsiteY103" fmla="*/ 5450 h 10625"/>
                    <a:gd name="connsiteX104" fmla="*/ 1185 w 10000"/>
                    <a:gd name="connsiteY104" fmla="*/ 2716 h 10625"/>
                    <a:gd name="connsiteX105" fmla="*/ 1185 w 10000"/>
                    <a:gd name="connsiteY105" fmla="*/ 2716 h 10625"/>
                    <a:gd name="connsiteX106" fmla="*/ 1176 w 10000"/>
                    <a:gd name="connsiteY106" fmla="*/ 2355 h 10625"/>
                    <a:gd name="connsiteX107" fmla="*/ 1770 w 10000"/>
                    <a:gd name="connsiteY107" fmla="*/ 2346 h 10625"/>
                    <a:gd name="connsiteX108" fmla="*/ 1712 w 10000"/>
                    <a:gd name="connsiteY108" fmla="*/ 896 h 10625"/>
                    <a:gd name="connsiteX109" fmla="*/ 5434 w 10000"/>
                    <a:gd name="connsiteY109" fmla="*/ 789 h 10625"/>
                    <a:gd name="connsiteX110" fmla="*/ 5559 w 10000"/>
                    <a:gd name="connsiteY110" fmla="*/ 663 h 10625"/>
                    <a:gd name="connsiteX111" fmla="*/ 5626 w 10000"/>
                    <a:gd name="connsiteY111" fmla="*/ 789 h 10625"/>
                    <a:gd name="connsiteX112" fmla="*/ 6555 w 10000"/>
                    <a:gd name="connsiteY112" fmla="*/ 751 h 10625"/>
                    <a:gd name="connsiteX113" fmla="*/ 6555 w 10000"/>
                    <a:gd name="connsiteY113" fmla="*/ 751 h 10625"/>
                    <a:gd name="connsiteX114" fmla="*/ 7081 w 10000"/>
                    <a:gd name="connsiteY114" fmla="*/ 731 h 10625"/>
                    <a:gd name="connsiteX115" fmla="*/ 7657 w 10000"/>
                    <a:gd name="connsiteY115" fmla="*/ 455 h 10625"/>
                    <a:gd name="connsiteX116" fmla="*/ 7837 w 10000"/>
                    <a:gd name="connsiteY116" fmla="*/ 155 h 10625"/>
                    <a:gd name="connsiteX117" fmla="*/ 8044 w 10000"/>
                    <a:gd name="connsiteY117" fmla="*/ 5 h 10625"/>
                    <a:gd name="connsiteX118" fmla="*/ 8327 w 10000"/>
                    <a:gd name="connsiteY118" fmla="*/ 365 h 10625"/>
                    <a:gd name="connsiteX119" fmla="*/ 8695 w 10000"/>
                    <a:gd name="connsiteY119" fmla="*/ 663 h 10625"/>
                    <a:gd name="connsiteX120" fmla="*/ 8695 w 10000"/>
                    <a:gd name="connsiteY120" fmla="*/ 663 h 10625"/>
                    <a:gd name="connsiteX121" fmla="*/ 8728 w 10000"/>
                    <a:gd name="connsiteY121" fmla="*/ 770 h 10625"/>
                    <a:gd name="connsiteX122" fmla="*/ 8771 w 10000"/>
                    <a:gd name="connsiteY122" fmla="*/ 1013 h 10625"/>
                    <a:gd name="connsiteX123" fmla="*/ 8954 w 10000"/>
                    <a:gd name="connsiteY123" fmla="*/ 1237 h 10625"/>
                    <a:gd name="connsiteX124" fmla="*/ 8954 w 10000"/>
                    <a:gd name="connsiteY124" fmla="*/ 1315 h 10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</a:cxnLst>
                  <a:rect l="l" t="t" r="r" b="b"/>
                  <a:pathLst>
                    <a:path w="10000" h="10625">
                      <a:moveTo>
                        <a:pt x="8954" y="1315"/>
                      </a:moveTo>
                      <a:cubicBezTo>
                        <a:pt x="8963" y="1431"/>
                        <a:pt x="8979" y="1558"/>
                        <a:pt x="8996" y="1684"/>
                      </a:cubicBezTo>
                      <a:cubicBezTo>
                        <a:pt x="9039" y="1899"/>
                        <a:pt x="9030" y="2123"/>
                        <a:pt x="9072" y="2336"/>
                      </a:cubicBezTo>
                      <a:cubicBezTo>
                        <a:pt x="9097" y="2512"/>
                        <a:pt x="9139" y="2677"/>
                        <a:pt x="9189" y="2842"/>
                      </a:cubicBezTo>
                      <a:cubicBezTo>
                        <a:pt x="9197" y="2911"/>
                        <a:pt x="9239" y="2968"/>
                        <a:pt x="9272" y="3018"/>
                      </a:cubicBezTo>
                      <a:cubicBezTo>
                        <a:pt x="9331" y="3076"/>
                        <a:pt x="9406" y="3095"/>
                        <a:pt x="9465" y="3124"/>
                      </a:cubicBezTo>
                      <a:cubicBezTo>
                        <a:pt x="9515" y="3164"/>
                        <a:pt x="9591" y="3144"/>
                        <a:pt x="9624" y="3202"/>
                      </a:cubicBezTo>
                      <a:cubicBezTo>
                        <a:pt x="9674" y="3221"/>
                        <a:pt x="9682" y="3280"/>
                        <a:pt x="9699" y="3329"/>
                      </a:cubicBezTo>
                      <a:cubicBezTo>
                        <a:pt x="9707" y="3367"/>
                        <a:pt x="9732" y="3407"/>
                        <a:pt x="9774" y="3367"/>
                      </a:cubicBezTo>
                      <a:cubicBezTo>
                        <a:pt x="9807" y="3358"/>
                        <a:pt x="9824" y="3426"/>
                        <a:pt x="9875" y="3397"/>
                      </a:cubicBezTo>
                      <a:cubicBezTo>
                        <a:pt x="9892" y="3416"/>
                        <a:pt x="9892" y="3474"/>
                        <a:pt x="9917" y="3503"/>
                      </a:cubicBezTo>
                      <a:cubicBezTo>
                        <a:pt x="9950" y="3503"/>
                        <a:pt x="9983" y="3533"/>
                        <a:pt x="10000" y="3572"/>
                      </a:cubicBezTo>
                      <a:lnTo>
                        <a:pt x="10000" y="3572"/>
                      </a:lnTo>
                      <a:cubicBezTo>
                        <a:pt x="9908" y="3640"/>
                        <a:pt x="9925" y="3786"/>
                        <a:pt x="9849" y="3864"/>
                      </a:cubicBezTo>
                      <a:cubicBezTo>
                        <a:pt x="9841" y="3971"/>
                        <a:pt x="9749" y="3864"/>
                        <a:pt x="9749" y="3961"/>
                      </a:cubicBezTo>
                      <a:cubicBezTo>
                        <a:pt x="9691" y="3844"/>
                        <a:pt x="9641" y="4059"/>
                        <a:pt x="9556" y="3980"/>
                      </a:cubicBezTo>
                      <a:cubicBezTo>
                        <a:pt x="9548" y="4097"/>
                        <a:pt x="9406" y="4030"/>
                        <a:pt x="9406" y="4126"/>
                      </a:cubicBezTo>
                      <a:cubicBezTo>
                        <a:pt x="9440" y="4302"/>
                        <a:pt x="9289" y="4331"/>
                        <a:pt x="9189" y="4321"/>
                      </a:cubicBezTo>
                      <a:cubicBezTo>
                        <a:pt x="9047" y="4224"/>
                        <a:pt x="9139" y="4448"/>
                        <a:pt x="9122" y="4525"/>
                      </a:cubicBezTo>
                      <a:cubicBezTo>
                        <a:pt x="8988" y="4651"/>
                        <a:pt x="9189" y="4817"/>
                        <a:pt x="9097" y="4954"/>
                      </a:cubicBezTo>
                      <a:cubicBezTo>
                        <a:pt x="9072" y="5099"/>
                        <a:pt x="9004" y="5236"/>
                        <a:pt x="8971" y="5372"/>
                      </a:cubicBezTo>
                      <a:cubicBezTo>
                        <a:pt x="8963" y="5498"/>
                        <a:pt x="8954" y="5644"/>
                        <a:pt x="8863" y="5732"/>
                      </a:cubicBezTo>
                      <a:cubicBezTo>
                        <a:pt x="8896" y="5916"/>
                        <a:pt x="8913" y="6102"/>
                        <a:pt x="8946" y="6286"/>
                      </a:cubicBezTo>
                      <a:cubicBezTo>
                        <a:pt x="8963" y="6315"/>
                        <a:pt x="8963" y="6355"/>
                        <a:pt x="8963" y="6384"/>
                      </a:cubicBezTo>
                      <a:cubicBezTo>
                        <a:pt x="8954" y="6491"/>
                        <a:pt x="8904" y="6598"/>
                        <a:pt x="8946" y="6704"/>
                      </a:cubicBezTo>
                      <a:cubicBezTo>
                        <a:pt x="8921" y="6831"/>
                        <a:pt x="8904" y="6947"/>
                        <a:pt x="8829" y="7045"/>
                      </a:cubicBezTo>
                      <a:cubicBezTo>
                        <a:pt x="8796" y="7200"/>
                        <a:pt x="8771" y="7357"/>
                        <a:pt x="8796" y="7522"/>
                      </a:cubicBezTo>
                      <a:cubicBezTo>
                        <a:pt x="8720" y="7580"/>
                        <a:pt x="8553" y="7512"/>
                        <a:pt x="8503" y="7639"/>
                      </a:cubicBezTo>
                      <a:cubicBezTo>
                        <a:pt x="8427" y="7735"/>
                        <a:pt x="8402" y="7872"/>
                        <a:pt x="8344" y="7979"/>
                      </a:cubicBezTo>
                      <a:cubicBezTo>
                        <a:pt x="8344" y="8135"/>
                        <a:pt x="8176" y="8154"/>
                        <a:pt x="8160" y="8290"/>
                      </a:cubicBezTo>
                      <a:cubicBezTo>
                        <a:pt x="8236" y="8446"/>
                        <a:pt x="8085" y="8582"/>
                        <a:pt x="8143" y="8747"/>
                      </a:cubicBezTo>
                      <a:cubicBezTo>
                        <a:pt x="8085" y="8825"/>
                        <a:pt x="8176" y="8923"/>
                        <a:pt x="8093" y="8990"/>
                      </a:cubicBezTo>
                      <a:cubicBezTo>
                        <a:pt x="8035" y="9117"/>
                        <a:pt x="8010" y="8990"/>
                        <a:pt x="7943" y="8942"/>
                      </a:cubicBezTo>
                      <a:cubicBezTo>
                        <a:pt x="7825" y="8893"/>
                        <a:pt x="7784" y="9088"/>
                        <a:pt x="7725" y="9185"/>
                      </a:cubicBezTo>
                      <a:cubicBezTo>
                        <a:pt x="7750" y="9302"/>
                        <a:pt x="7809" y="9438"/>
                        <a:pt x="7725" y="9546"/>
                      </a:cubicBezTo>
                      <a:cubicBezTo>
                        <a:pt x="7684" y="9652"/>
                        <a:pt x="7659" y="9778"/>
                        <a:pt x="7633" y="9895"/>
                      </a:cubicBezTo>
                      <a:cubicBezTo>
                        <a:pt x="7633" y="9964"/>
                        <a:pt x="7642" y="10031"/>
                        <a:pt x="7650" y="10100"/>
                      </a:cubicBezTo>
                      <a:lnTo>
                        <a:pt x="7642" y="10100"/>
                      </a:lnTo>
                      <a:lnTo>
                        <a:pt x="7541" y="10080"/>
                      </a:lnTo>
                      <a:cubicBezTo>
                        <a:pt x="7535" y="10048"/>
                        <a:pt x="7530" y="10015"/>
                        <a:pt x="7524" y="9983"/>
                      </a:cubicBezTo>
                      <a:cubicBezTo>
                        <a:pt x="7519" y="9944"/>
                        <a:pt x="7513" y="9905"/>
                        <a:pt x="7508" y="9866"/>
                      </a:cubicBezTo>
                      <a:lnTo>
                        <a:pt x="7541" y="9632"/>
                      </a:lnTo>
                      <a:lnTo>
                        <a:pt x="7474" y="9632"/>
                      </a:lnTo>
                      <a:cubicBezTo>
                        <a:pt x="7429" y="9529"/>
                        <a:pt x="7385" y="9425"/>
                        <a:pt x="7340" y="9322"/>
                      </a:cubicBezTo>
                      <a:lnTo>
                        <a:pt x="7157" y="9224"/>
                      </a:lnTo>
                      <a:cubicBezTo>
                        <a:pt x="7135" y="9023"/>
                        <a:pt x="7112" y="8822"/>
                        <a:pt x="7090" y="8621"/>
                      </a:cubicBezTo>
                      <a:cubicBezTo>
                        <a:pt x="7107" y="8459"/>
                        <a:pt x="7123" y="8297"/>
                        <a:pt x="7140" y="8135"/>
                      </a:cubicBezTo>
                      <a:lnTo>
                        <a:pt x="6805" y="8135"/>
                      </a:lnTo>
                      <a:lnTo>
                        <a:pt x="6805" y="8310"/>
                      </a:lnTo>
                      <a:lnTo>
                        <a:pt x="6454" y="8348"/>
                      </a:lnTo>
                      <a:lnTo>
                        <a:pt x="6621" y="8543"/>
                      </a:lnTo>
                      <a:lnTo>
                        <a:pt x="6621" y="8816"/>
                      </a:lnTo>
                      <a:cubicBezTo>
                        <a:pt x="6643" y="8861"/>
                        <a:pt x="6666" y="8907"/>
                        <a:pt x="6688" y="8952"/>
                      </a:cubicBezTo>
                      <a:lnTo>
                        <a:pt x="6337" y="9283"/>
                      </a:lnTo>
                      <a:cubicBezTo>
                        <a:pt x="6303" y="9361"/>
                        <a:pt x="6270" y="9438"/>
                        <a:pt x="6236" y="9516"/>
                      </a:cubicBezTo>
                      <a:lnTo>
                        <a:pt x="5885" y="9925"/>
                      </a:lnTo>
                      <a:lnTo>
                        <a:pt x="5617" y="9905"/>
                      </a:lnTo>
                      <a:lnTo>
                        <a:pt x="5082" y="9516"/>
                      </a:lnTo>
                      <a:lnTo>
                        <a:pt x="4865" y="9749"/>
                      </a:lnTo>
                      <a:cubicBezTo>
                        <a:pt x="4859" y="9808"/>
                        <a:pt x="4854" y="9866"/>
                        <a:pt x="4848" y="9925"/>
                      </a:cubicBezTo>
                      <a:cubicBezTo>
                        <a:pt x="4748" y="9938"/>
                        <a:pt x="4602" y="9919"/>
                        <a:pt x="4547" y="9964"/>
                      </a:cubicBezTo>
                      <a:cubicBezTo>
                        <a:pt x="4492" y="10009"/>
                        <a:pt x="4623" y="10159"/>
                        <a:pt x="4520" y="10198"/>
                      </a:cubicBezTo>
                      <a:cubicBezTo>
                        <a:pt x="4417" y="10237"/>
                        <a:pt x="4046" y="10224"/>
                        <a:pt x="3931" y="10201"/>
                      </a:cubicBezTo>
                      <a:cubicBezTo>
                        <a:pt x="3816" y="10178"/>
                        <a:pt x="3943" y="10094"/>
                        <a:pt x="3828" y="10061"/>
                      </a:cubicBezTo>
                      <a:cubicBezTo>
                        <a:pt x="3713" y="10028"/>
                        <a:pt x="3438" y="10022"/>
                        <a:pt x="3243" y="10002"/>
                      </a:cubicBezTo>
                      <a:lnTo>
                        <a:pt x="3125" y="10119"/>
                      </a:lnTo>
                      <a:lnTo>
                        <a:pt x="2874" y="10061"/>
                      </a:lnTo>
                      <a:cubicBezTo>
                        <a:pt x="2841" y="9964"/>
                        <a:pt x="2807" y="9866"/>
                        <a:pt x="2774" y="9769"/>
                      </a:cubicBezTo>
                      <a:lnTo>
                        <a:pt x="2623" y="9613"/>
                      </a:lnTo>
                      <a:cubicBezTo>
                        <a:pt x="2595" y="9555"/>
                        <a:pt x="2568" y="9496"/>
                        <a:pt x="2540" y="9438"/>
                      </a:cubicBezTo>
                      <a:lnTo>
                        <a:pt x="2054" y="9555"/>
                      </a:lnTo>
                      <a:cubicBezTo>
                        <a:pt x="2026" y="9646"/>
                        <a:pt x="1999" y="9736"/>
                        <a:pt x="1971" y="9827"/>
                      </a:cubicBezTo>
                      <a:lnTo>
                        <a:pt x="1871" y="9866"/>
                      </a:lnTo>
                      <a:lnTo>
                        <a:pt x="1871" y="10119"/>
                      </a:lnTo>
                      <a:lnTo>
                        <a:pt x="1770" y="10158"/>
                      </a:lnTo>
                      <a:lnTo>
                        <a:pt x="1770" y="10314"/>
                      </a:lnTo>
                      <a:lnTo>
                        <a:pt x="1770" y="10489"/>
                      </a:lnTo>
                      <a:lnTo>
                        <a:pt x="1537" y="10625"/>
                      </a:lnTo>
                      <a:lnTo>
                        <a:pt x="1511" y="10625"/>
                      </a:lnTo>
                      <a:lnTo>
                        <a:pt x="1461" y="10625"/>
                      </a:lnTo>
                      <a:cubicBezTo>
                        <a:pt x="1336" y="10596"/>
                        <a:pt x="1176" y="10625"/>
                        <a:pt x="1076" y="10586"/>
                      </a:cubicBezTo>
                      <a:cubicBezTo>
                        <a:pt x="1035" y="10625"/>
                        <a:pt x="1201" y="10382"/>
                        <a:pt x="1060" y="10430"/>
                      </a:cubicBezTo>
                      <a:cubicBezTo>
                        <a:pt x="967" y="10284"/>
                        <a:pt x="1210" y="10255"/>
                        <a:pt x="1160" y="10100"/>
                      </a:cubicBezTo>
                      <a:cubicBezTo>
                        <a:pt x="1126" y="9983"/>
                        <a:pt x="1210" y="9885"/>
                        <a:pt x="1160" y="9769"/>
                      </a:cubicBezTo>
                      <a:cubicBezTo>
                        <a:pt x="1085" y="9623"/>
                        <a:pt x="1018" y="9477"/>
                        <a:pt x="934" y="9341"/>
                      </a:cubicBezTo>
                      <a:cubicBezTo>
                        <a:pt x="842" y="9224"/>
                        <a:pt x="709" y="9146"/>
                        <a:pt x="658" y="8990"/>
                      </a:cubicBezTo>
                      <a:lnTo>
                        <a:pt x="616" y="8981"/>
                      </a:lnTo>
                      <a:cubicBezTo>
                        <a:pt x="658" y="8981"/>
                        <a:pt x="691" y="8961"/>
                        <a:pt x="691" y="8874"/>
                      </a:cubicBezTo>
                      <a:cubicBezTo>
                        <a:pt x="734" y="8767"/>
                        <a:pt x="717" y="8611"/>
                        <a:pt x="599" y="8621"/>
                      </a:cubicBezTo>
                      <a:cubicBezTo>
                        <a:pt x="499" y="8563"/>
                        <a:pt x="415" y="8465"/>
                        <a:pt x="466" y="8319"/>
                      </a:cubicBezTo>
                      <a:cubicBezTo>
                        <a:pt x="466" y="8241"/>
                        <a:pt x="533" y="8095"/>
                        <a:pt x="407" y="8164"/>
                      </a:cubicBezTo>
                      <a:cubicBezTo>
                        <a:pt x="433" y="8047"/>
                        <a:pt x="298" y="7901"/>
                        <a:pt x="373" y="7775"/>
                      </a:cubicBezTo>
                      <a:cubicBezTo>
                        <a:pt x="323" y="7687"/>
                        <a:pt x="215" y="7648"/>
                        <a:pt x="148" y="7735"/>
                      </a:cubicBezTo>
                      <a:cubicBezTo>
                        <a:pt x="-36" y="7784"/>
                        <a:pt x="-28" y="7522"/>
                        <a:pt x="64" y="7415"/>
                      </a:cubicBezTo>
                      <a:cubicBezTo>
                        <a:pt x="148" y="7346"/>
                        <a:pt x="323" y="7250"/>
                        <a:pt x="223" y="7113"/>
                      </a:cubicBezTo>
                      <a:cubicBezTo>
                        <a:pt x="198" y="7006"/>
                        <a:pt x="81" y="6889"/>
                        <a:pt x="198" y="6802"/>
                      </a:cubicBezTo>
                      <a:cubicBezTo>
                        <a:pt x="257" y="6704"/>
                        <a:pt x="407" y="6714"/>
                        <a:pt x="415" y="6588"/>
                      </a:cubicBezTo>
                      <a:cubicBezTo>
                        <a:pt x="365" y="6568"/>
                        <a:pt x="323" y="6520"/>
                        <a:pt x="348" y="6441"/>
                      </a:cubicBezTo>
                      <a:cubicBezTo>
                        <a:pt x="315" y="6374"/>
                        <a:pt x="273" y="6286"/>
                        <a:pt x="382" y="6267"/>
                      </a:cubicBezTo>
                      <a:cubicBezTo>
                        <a:pt x="458" y="6267"/>
                        <a:pt x="508" y="6218"/>
                        <a:pt x="474" y="6131"/>
                      </a:cubicBezTo>
                      <a:cubicBezTo>
                        <a:pt x="508" y="5985"/>
                        <a:pt x="674" y="5935"/>
                        <a:pt x="666" y="5770"/>
                      </a:cubicBezTo>
                      <a:cubicBezTo>
                        <a:pt x="666" y="5693"/>
                        <a:pt x="566" y="5605"/>
                        <a:pt x="674" y="5556"/>
                      </a:cubicBezTo>
                      <a:cubicBezTo>
                        <a:pt x="759" y="5420"/>
                        <a:pt x="900" y="5556"/>
                        <a:pt x="1001" y="5460"/>
                      </a:cubicBezTo>
                      <a:cubicBezTo>
                        <a:pt x="1093" y="5401"/>
                        <a:pt x="1218" y="5517"/>
                        <a:pt x="1269" y="5450"/>
                      </a:cubicBezTo>
                      <a:cubicBezTo>
                        <a:pt x="1252" y="4730"/>
                        <a:pt x="1210" y="3445"/>
                        <a:pt x="1185" y="2716"/>
                      </a:cubicBezTo>
                      <a:lnTo>
                        <a:pt x="1185" y="2716"/>
                      </a:lnTo>
                      <a:cubicBezTo>
                        <a:pt x="1185" y="2667"/>
                        <a:pt x="1176" y="2443"/>
                        <a:pt x="1176" y="2355"/>
                      </a:cubicBezTo>
                      <a:cubicBezTo>
                        <a:pt x="1369" y="2346"/>
                        <a:pt x="1578" y="2346"/>
                        <a:pt x="1770" y="2346"/>
                      </a:cubicBezTo>
                      <a:cubicBezTo>
                        <a:pt x="1753" y="1860"/>
                        <a:pt x="1737" y="1373"/>
                        <a:pt x="1712" y="896"/>
                      </a:cubicBezTo>
                      <a:lnTo>
                        <a:pt x="5434" y="789"/>
                      </a:lnTo>
                      <a:cubicBezTo>
                        <a:pt x="5442" y="731"/>
                        <a:pt x="5509" y="546"/>
                        <a:pt x="5559" y="663"/>
                      </a:cubicBezTo>
                      <a:cubicBezTo>
                        <a:pt x="5534" y="741"/>
                        <a:pt x="5542" y="829"/>
                        <a:pt x="5626" y="789"/>
                      </a:cubicBezTo>
                      <a:cubicBezTo>
                        <a:pt x="6111" y="770"/>
                        <a:pt x="6069" y="780"/>
                        <a:pt x="6555" y="751"/>
                      </a:cubicBezTo>
                      <a:lnTo>
                        <a:pt x="6555" y="751"/>
                      </a:lnTo>
                      <a:lnTo>
                        <a:pt x="7081" y="731"/>
                      </a:lnTo>
                      <a:cubicBezTo>
                        <a:pt x="7273" y="709"/>
                        <a:pt x="7465" y="477"/>
                        <a:pt x="7657" y="455"/>
                      </a:cubicBezTo>
                      <a:cubicBezTo>
                        <a:pt x="7809" y="374"/>
                        <a:pt x="7725" y="170"/>
                        <a:pt x="7837" y="155"/>
                      </a:cubicBezTo>
                      <a:cubicBezTo>
                        <a:pt x="7914" y="125"/>
                        <a:pt x="7962" y="-30"/>
                        <a:pt x="8044" y="5"/>
                      </a:cubicBezTo>
                      <a:cubicBezTo>
                        <a:pt x="8126" y="40"/>
                        <a:pt x="8231" y="300"/>
                        <a:pt x="8327" y="365"/>
                      </a:cubicBezTo>
                      <a:lnTo>
                        <a:pt x="8695" y="663"/>
                      </a:lnTo>
                      <a:lnTo>
                        <a:pt x="8695" y="663"/>
                      </a:lnTo>
                      <a:cubicBezTo>
                        <a:pt x="8712" y="693"/>
                        <a:pt x="8720" y="731"/>
                        <a:pt x="8728" y="770"/>
                      </a:cubicBezTo>
                      <a:cubicBezTo>
                        <a:pt x="8728" y="858"/>
                        <a:pt x="8754" y="935"/>
                        <a:pt x="8771" y="1013"/>
                      </a:cubicBezTo>
                      <a:cubicBezTo>
                        <a:pt x="8829" y="1101"/>
                        <a:pt x="8888" y="1169"/>
                        <a:pt x="8954" y="1237"/>
                      </a:cubicBezTo>
                      <a:cubicBezTo>
                        <a:pt x="8954" y="1266"/>
                        <a:pt x="9013" y="1335"/>
                        <a:pt x="8954" y="1315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34182" name="South Korea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7356996" y="3326018"/>
                <a:ext cx="94308" cy="139336"/>
              </a:xfrm>
              <a:custGeom>
                <a:avLst/>
                <a:gdLst>
                  <a:gd name="T0" fmla="*/ 0 w 17"/>
                  <a:gd name="T1" fmla="*/ 27867 h 25"/>
                  <a:gd name="T2" fmla="*/ 11095 w 17"/>
                  <a:gd name="T3" fmla="*/ 27867 h 25"/>
                  <a:gd name="T4" fmla="*/ 27738 w 17"/>
                  <a:gd name="T5" fmla="*/ 0 h 25"/>
                  <a:gd name="T6" fmla="*/ 61023 w 17"/>
                  <a:gd name="T7" fmla="*/ 39014 h 25"/>
                  <a:gd name="T8" fmla="*/ 94308 w 17"/>
                  <a:gd name="T9" fmla="*/ 89175 h 25"/>
                  <a:gd name="T10" fmla="*/ 94308 w 17"/>
                  <a:gd name="T11" fmla="*/ 117042 h 25"/>
                  <a:gd name="T12" fmla="*/ 49928 w 17"/>
                  <a:gd name="T13" fmla="*/ 139336 h 25"/>
                  <a:gd name="T14" fmla="*/ 11095 w 17"/>
                  <a:gd name="T15" fmla="*/ 117042 h 25"/>
                  <a:gd name="T16" fmla="*/ 27738 w 17"/>
                  <a:gd name="T17" fmla="*/ 89175 h 25"/>
                  <a:gd name="T18" fmla="*/ 0 w 17"/>
                  <a:gd name="T19" fmla="*/ 50161 h 25"/>
                  <a:gd name="T20" fmla="*/ 11095 w 17"/>
                  <a:gd name="T21" fmla="*/ 50161 h 25"/>
                  <a:gd name="T22" fmla="*/ 0 w 17"/>
                  <a:gd name="T23" fmla="*/ 39014 h 25"/>
                  <a:gd name="T24" fmla="*/ 0 w 17"/>
                  <a:gd name="T25" fmla="*/ 27867 h 2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7"/>
                  <a:gd name="T40" fmla="*/ 0 h 25"/>
                  <a:gd name="T41" fmla="*/ 17 w 17"/>
                  <a:gd name="T42" fmla="*/ 25 h 2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7" h="25">
                    <a:moveTo>
                      <a:pt x="0" y="5"/>
                    </a:moveTo>
                    <a:lnTo>
                      <a:pt x="2" y="5"/>
                    </a:lnTo>
                    <a:lnTo>
                      <a:pt x="5" y="0"/>
                    </a:lnTo>
                    <a:lnTo>
                      <a:pt x="11" y="7"/>
                    </a:lnTo>
                    <a:lnTo>
                      <a:pt x="17" y="16"/>
                    </a:lnTo>
                    <a:lnTo>
                      <a:pt x="17" y="21"/>
                    </a:lnTo>
                    <a:lnTo>
                      <a:pt x="9" y="25"/>
                    </a:lnTo>
                    <a:lnTo>
                      <a:pt x="2" y="21"/>
                    </a:lnTo>
                    <a:lnTo>
                      <a:pt x="5" y="16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0" y="7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EE8B8B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34183" name="Sri Lanka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6319615" y="4256783"/>
                <a:ext cx="66570" cy="111468"/>
              </a:xfrm>
              <a:custGeom>
                <a:avLst/>
                <a:gdLst>
                  <a:gd name="T0" fmla="*/ 0 w 12"/>
                  <a:gd name="T1" fmla="*/ 61307 h 20"/>
                  <a:gd name="T2" fmla="*/ 22190 w 12"/>
                  <a:gd name="T3" fmla="*/ 111468 h 20"/>
                  <a:gd name="T4" fmla="*/ 44380 w 12"/>
                  <a:gd name="T5" fmla="*/ 111468 h 20"/>
                  <a:gd name="T6" fmla="*/ 66570 w 12"/>
                  <a:gd name="T7" fmla="*/ 111468 h 20"/>
                  <a:gd name="T8" fmla="*/ 66570 w 12"/>
                  <a:gd name="T9" fmla="*/ 61307 h 20"/>
                  <a:gd name="T10" fmla="*/ 33285 w 12"/>
                  <a:gd name="T11" fmla="*/ 11147 h 20"/>
                  <a:gd name="T12" fmla="*/ 22190 w 12"/>
                  <a:gd name="T13" fmla="*/ 0 h 20"/>
                  <a:gd name="T14" fmla="*/ 22190 w 12"/>
                  <a:gd name="T15" fmla="*/ 11147 h 20"/>
                  <a:gd name="T16" fmla="*/ 11095 w 12"/>
                  <a:gd name="T17" fmla="*/ 39014 h 20"/>
                  <a:gd name="T18" fmla="*/ 0 w 12"/>
                  <a:gd name="T19" fmla="*/ 61307 h 2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2"/>
                  <a:gd name="T31" fmla="*/ 0 h 20"/>
                  <a:gd name="T32" fmla="*/ 12 w 12"/>
                  <a:gd name="T33" fmla="*/ 20 h 2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2" h="20">
                    <a:moveTo>
                      <a:pt x="0" y="11"/>
                    </a:moveTo>
                    <a:lnTo>
                      <a:pt x="4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2" y="11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EE8B8B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473" name="Spain"/>
              <p:cNvGrpSpPr/>
              <p:nvPr/>
            </p:nvGrpSpPr>
            <p:grpSpPr>
              <a:xfrm>
                <a:off x="4034044" y="3164389"/>
                <a:ext cx="305113" cy="250804"/>
                <a:chOff x="4034044" y="3145300"/>
                <a:chExt cx="305113" cy="250804"/>
              </a:xfrm>
              <a:solidFill>
                <a:srgbClr val="D992FF"/>
              </a:solidFill>
            </p:grpSpPr>
            <p:sp>
              <p:nvSpPr>
                <p:cNvPr id="829" name="Palma"/>
                <p:cNvSpPr>
                  <a:spLocks/>
                </p:cNvSpPr>
                <p:nvPr/>
              </p:nvSpPr>
              <p:spPr bwMode="auto">
                <a:xfrm>
                  <a:off x="4316967" y="3256768"/>
                  <a:ext cx="22190" cy="39014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4" y="7"/>
                    </a:cxn>
                    <a:cxn ang="0">
                      <a:pos x="4" y="5"/>
                    </a:cxn>
                    <a:cxn ang="0">
                      <a:pos x="2" y="0"/>
                    </a:cxn>
                    <a:cxn ang="0">
                      <a:pos x="0" y="3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4" h="7">
                      <a:moveTo>
                        <a:pt x="0" y="5"/>
                      </a:moveTo>
                      <a:lnTo>
                        <a:pt x="4" y="7"/>
                      </a:lnTo>
                      <a:lnTo>
                        <a:pt x="4" y="5"/>
                      </a:ln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30" name="Spain"/>
                <p:cNvSpPr>
                  <a:spLocks/>
                </p:cNvSpPr>
                <p:nvPr/>
              </p:nvSpPr>
              <p:spPr bwMode="auto">
                <a:xfrm>
                  <a:off x="4034044" y="3145300"/>
                  <a:ext cx="305112" cy="250804"/>
                </a:xfrm>
                <a:custGeom>
                  <a:avLst/>
                  <a:gdLst/>
                  <a:ahLst/>
                  <a:cxnLst>
                    <a:cxn ang="0">
                      <a:pos x="40" y="7"/>
                    </a:cxn>
                    <a:cxn ang="0">
                      <a:pos x="55" y="7"/>
                    </a:cxn>
                    <a:cxn ang="0">
                      <a:pos x="55" y="11"/>
                    </a:cxn>
                    <a:cxn ang="0">
                      <a:pos x="46" y="16"/>
                    </a:cxn>
                    <a:cxn ang="0">
                      <a:pos x="38" y="25"/>
                    </a:cxn>
                    <a:cxn ang="0">
                      <a:pos x="40" y="29"/>
                    </a:cxn>
                    <a:cxn ang="0">
                      <a:pos x="30" y="38"/>
                    </a:cxn>
                    <a:cxn ang="0">
                      <a:pos x="21" y="38"/>
                    </a:cxn>
                    <a:cxn ang="0">
                      <a:pos x="15" y="45"/>
                    </a:cxn>
                    <a:cxn ang="0">
                      <a:pos x="11" y="36"/>
                    </a:cxn>
                    <a:cxn ang="0">
                      <a:pos x="11" y="29"/>
                    </a:cxn>
                    <a:cxn ang="0">
                      <a:pos x="11" y="25"/>
                    </a:cxn>
                    <a:cxn ang="0">
                      <a:pos x="13" y="20"/>
                    </a:cxn>
                    <a:cxn ang="0">
                      <a:pos x="13" y="18"/>
                    </a:cxn>
                    <a:cxn ang="0">
                      <a:pos x="15" y="11"/>
                    </a:cxn>
                    <a:cxn ang="0">
                      <a:pos x="13" y="11"/>
                    </a:cxn>
                    <a:cxn ang="0">
                      <a:pos x="5" y="11"/>
                    </a:cxn>
                    <a:cxn ang="0">
                      <a:pos x="0" y="7"/>
                    </a:cxn>
                    <a:cxn ang="0">
                      <a:pos x="5" y="2"/>
                    </a:cxn>
                    <a:cxn ang="0">
                      <a:pos x="7" y="0"/>
                    </a:cxn>
                    <a:cxn ang="0">
                      <a:pos x="23" y="2"/>
                    </a:cxn>
                    <a:cxn ang="0">
                      <a:pos x="32" y="2"/>
                    </a:cxn>
                    <a:cxn ang="0">
                      <a:pos x="36" y="2"/>
                    </a:cxn>
                    <a:cxn ang="0">
                      <a:pos x="38" y="5"/>
                    </a:cxn>
                    <a:cxn ang="0">
                      <a:pos x="40" y="7"/>
                    </a:cxn>
                  </a:cxnLst>
                  <a:rect l="0" t="0" r="r" b="b"/>
                  <a:pathLst>
                    <a:path w="55" h="45">
                      <a:moveTo>
                        <a:pt x="40" y="7"/>
                      </a:moveTo>
                      <a:lnTo>
                        <a:pt x="55" y="7"/>
                      </a:lnTo>
                      <a:lnTo>
                        <a:pt x="55" y="11"/>
                      </a:lnTo>
                      <a:lnTo>
                        <a:pt x="46" y="16"/>
                      </a:lnTo>
                      <a:lnTo>
                        <a:pt x="38" y="25"/>
                      </a:lnTo>
                      <a:lnTo>
                        <a:pt x="40" y="29"/>
                      </a:lnTo>
                      <a:lnTo>
                        <a:pt x="30" y="38"/>
                      </a:lnTo>
                      <a:lnTo>
                        <a:pt x="21" y="38"/>
                      </a:lnTo>
                      <a:lnTo>
                        <a:pt x="15" y="45"/>
                      </a:lnTo>
                      <a:lnTo>
                        <a:pt x="11" y="36"/>
                      </a:lnTo>
                      <a:lnTo>
                        <a:pt x="11" y="29"/>
                      </a:lnTo>
                      <a:lnTo>
                        <a:pt x="11" y="25"/>
                      </a:lnTo>
                      <a:lnTo>
                        <a:pt x="13" y="20"/>
                      </a:lnTo>
                      <a:lnTo>
                        <a:pt x="13" y="18"/>
                      </a:lnTo>
                      <a:lnTo>
                        <a:pt x="15" y="11"/>
                      </a:lnTo>
                      <a:lnTo>
                        <a:pt x="13" y="11"/>
                      </a:lnTo>
                      <a:lnTo>
                        <a:pt x="5" y="11"/>
                      </a:lnTo>
                      <a:lnTo>
                        <a:pt x="0" y="7"/>
                      </a:lnTo>
                      <a:lnTo>
                        <a:pt x="5" y="2"/>
                      </a:lnTo>
                      <a:lnTo>
                        <a:pt x="7" y="0"/>
                      </a:lnTo>
                      <a:lnTo>
                        <a:pt x="23" y="2"/>
                      </a:lnTo>
                      <a:lnTo>
                        <a:pt x="32" y="2"/>
                      </a:lnTo>
                      <a:lnTo>
                        <a:pt x="36" y="2"/>
                      </a:lnTo>
                      <a:lnTo>
                        <a:pt x="38" y="5"/>
                      </a:lnTo>
                      <a:lnTo>
                        <a:pt x="40" y="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34185" name="South Africa"/>
              <p:cNvSpPr>
                <a:spLocks noEditPoints="1"/>
              </p:cNvSpPr>
              <p:nvPr/>
            </p:nvSpPr>
            <p:spPr bwMode="auto">
              <a:xfrm>
                <a:off x="4662540" y="5297326"/>
                <a:ext cx="412823" cy="393888"/>
              </a:xfrm>
              <a:custGeom>
                <a:avLst/>
                <a:gdLst>
                  <a:gd name="T0" fmla="*/ 0 w 1134"/>
                  <a:gd name="T1" fmla="*/ 86734314 h 913"/>
                  <a:gd name="T2" fmla="*/ 5566193 w 1134"/>
                  <a:gd name="T3" fmla="*/ 78730581 h 913"/>
                  <a:gd name="T4" fmla="*/ 11132021 w 1134"/>
                  <a:gd name="T5" fmla="*/ 88595467 h 913"/>
                  <a:gd name="T6" fmla="*/ 25975085 w 1134"/>
                  <a:gd name="T7" fmla="*/ 90642562 h 913"/>
                  <a:gd name="T8" fmla="*/ 33794328 w 1134"/>
                  <a:gd name="T9" fmla="*/ 37224792 h 913"/>
                  <a:gd name="T10" fmla="*/ 34059350 w 1134"/>
                  <a:gd name="T11" fmla="*/ 33874804 h 913"/>
                  <a:gd name="T12" fmla="*/ 40023075 w 1134"/>
                  <a:gd name="T13" fmla="*/ 46903304 h 913"/>
                  <a:gd name="T14" fmla="*/ 42010740 w 1134"/>
                  <a:gd name="T15" fmla="*/ 62351661 h 913"/>
                  <a:gd name="T16" fmla="*/ 54335733 w 1134"/>
                  <a:gd name="T17" fmla="*/ 56209499 h 913"/>
                  <a:gd name="T18" fmla="*/ 61492057 w 1134"/>
                  <a:gd name="T19" fmla="*/ 42064048 h 913"/>
                  <a:gd name="T20" fmla="*/ 75407535 w 1134"/>
                  <a:gd name="T21" fmla="*/ 48578514 h 913"/>
                  <a:gd name="T22" fmla="*/ 88395072 w 1134"/>
                  <a:gd name="T23" fmla="*/ 35177697 h 913"/>
                  <a:gd name="T24" fmla="*/ 99394603 w 1134"/>
                  <a:gd name="T25" fmla="*/ 20473549 h 913"/>
                  <a:gd name="T26" fmla="*/ 107213482 w 1134"/>
                  <a:gd name="T27" fmla="*/ 13400820 h 913"/>
                  <a:gd name="T28" fmla="*/ 118478375 w 1134"/>
                  <a:gd name="T29" fmla="*/ 3722307 h 913"/>
                  <a:gd name="T30" fmla="*/ 125502188 w 1134"/>
                  <a:gd name="T31" fmla="*/ 0 h 913"/>
                  <a:gd name="T32" fmla="*/ 140610265 w 1134"/>
                  <a:gd name="T33" fmla="*/ 3908681 h 913"/>
                  <a:gd name="T34" fmla="*/ 142995828 w 1134"/>
                  <a:gd name="T35" fmla="*/ 21032240 h 913"/>
                  <a:gd name="T36" fmla="*/ 144188427 w 1134"/>
                  <a:gd name="T37" fmla="*/ 46530987 h 913"/>
                  <a:gd name="T38" fmla="*/ 139815199 w 1134"/>
                  <a:gd name="T39" fmla="*/ 51556617 h 913"/>
                  <a:gd name="T40" fmla="*/ 131995956 w 1134"/>
                  <a:gd name="T41" fmla="*/ 64771505 h 913"/>
                  <a:gd name="T42" fmla="*/ 141935376 w 1134"/>
                  <a:gd name="T43" fmla="*/ 72588432 h 913"/>
                  <a:gd name="T44" fmla="*/ 143525872 w 1134"/>
                  <a:gd name="T45" fmla="*/ 66074398 h 913"/>
                  <a:gd name="T46" fmla="*/ 150284663 w 1134"/>
                  <a:gd name="T47" fmla="*/ 66632657 h 913"/>
                  <a:gd name="T48" fmla="*/ 147634078 w 1134"/>
                  <a:gd name="T49" fmla="*/ 77241745 h 913"/>
                  <a:gd name="T50" fmla="*/ 141935376 w 1134"/>
                  <a:gd name="T51" fmla="*/ 92317772 h 913"/>
                  <a:gd name="T52" fmla="*/ 133586453 w 1134"/>
                  <a:gd name="T53" fmla="*/ 100879764 h 913"/>
                  <a:gd name="T54" fmla="*/ 126960173 w 1134"/>
                  <a:gd name="T55" fmla="*/ 114652925 h 913"/>
                  <a:gd name="T56" fmla="*/ 115430258 w 1134"/>
                  <a:gd name="T57" fmla="*/ 130659528 h 913"/>
                  <a:gd name="T58" fmla="*/ 102575232 w 1134"/>
                  <a:gd name="T59" fmla="*/ 146852505 h 913"/>
                  <a:gd name="T60" fmla="*/ 84551525 w 1134"/>
                  <a:gd name="T61" fmla="*/ 158205796 h 913"/>
                  <a:gd name="T62" fmla="*/ 79913274 w 1134"/>
                  <a:gd name="T63" fmla="*/ 162859109 h 913"/>
                  <a:gd name="T64" fmla="*/ 72226907 w 1134"/>
                  <a:gd name="T65" fmla="*/ 164162002 h 913"/>
                  <a:gd name="T66" fmla="*/ 60962013 w 1134"/>
                  <a:gd name="T67" fmla="*/ 161183899 h 913"/>
                  <a:gd name="T68" fmla="*/ 54600756 w 1134"/>
                  <a:gd name="T69" fmla="*/ 161556215 h 913"/>
                  <a:gd name="T70" fmla="*/ 46118946 w 1134"/>
                  <a:gd name="T71" fmla="*/ 165650838 h 913"/>
                  <a:gd name="T72" fmla="*/ 37902534 w 1134"/>
                  <a:gd name="T73" fmla="*/ 165837212 h 913"/>
                  <a:gd name="T74" fmla="*/ 32203832 w 1134"/>
                  <a:gd name="T75" fmla="*/ 168814883 h 913"/>
                  <a:gd name="T76" fmla="*/ 25577552 w 1134"/>
                  <a:gd name="T77" fmla="*/ 169001258 h 913"/>
                  <a:gd name="T78" fmla="*/ 21601852 w 1134"/>
                  <a:gd name="T79" fmla="*/ 165464895 h 913"/>
                  <a:gd name="T80" fmla="*/ 18156201 w 1134"/>
                  <a:gd name="T81" fmla="*/ 161370273 h 913"/>
                  <a:gd name="T82" fmla="*/ 16168171 w 1134"/>
                  <a:gd name="T83" fmla="*/ 163417368 h 913"/>
                  <a:gd name="T84" fmla="*/ 14975572 w 1134"/>
                  <a:gd name="T85" fmla="*/ 152622338 h 913"/>
                  <a:gd name="T86" fmla="*/ 12987543 w 1134"/>
                  <a:gd name="T87" fmla="*/ 147038448 h 913"/>
                  <a:gd name="T88" fmla="*/ 14312653 w 1134"/>
                  <a:gd name="T89" fmla="*/ 143688460 h 913"/>
                  <a:gd name="T90" fmla="*/ 15638127 w 1134"/>
                  <a:gd name="T91" fmla="*/ 131590105 h 913"/>
                  <a:gd name="T92" fmla="*/ 9409378 w 1134"/>
                  <a:gd name="T93" fmla="*/ 116141761 h 913"/>
                  <a:gd name="T94" fmla="*/ 2915607 w 1134"/>
                  <a:gd name="T95" fmla="*/ 93992982 h 913"/>
                  <a:gd name="T96" fmla="*/ 116092813 w 1134"/>
                  <a:gd name="T97" fmla="*/ 101251650 h 913"/>
                  <a:gd name="T98" fmla="*/ 110792007 w 1134"/>
                  <a:gd name="T99" fmla="*/ 88781409 h 913"/>
                  <a:gd name="T100" fmla="*/ 97936981 w 1134"/>
                  <a:gd name="T101" fmla="*/ 100879764 h 913"/>
                  <a:gd name="T102" fmla="*/ 100189669 w 1134"/>
                  <a:gd name="T103" fmla="*/ 114838868 h 913"/>
                  <a:gd name="T104" fmla="*/ 111454563 w 1134"/>
                  <a:gd name="T105" fmla="*/ 109069009 h 913"/>
                  <a:gd name="T106" fmla="*/ 116092813 w 1134"/>
                  <a:gd name="T107" fmla="*/ 101251650 h 91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134"/>
                  <a:gd name="T163" fmla="*/ 0 h 913"/>
                  <a:gd name="T164" fmla="*/ 1134 w 1134"/>
                  <a:gd name="T165" fmla="*/ 913 h 91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134" h="913">
                    <a:moveTo>
                      <a:pt x="5" y="473"/>
                    </a:moveTo>
                    <a:cubicBezTo>
                      <a:pt x="4" y="471"/>
                      <a:pt x="3" y="469"/>
                      <a:pt x="0" y="467"/>
                    </a:cubicBezTo>
                    <a:cubicBezTo>
                      <a:pt x="0" y="466"/>
                      <a:pt x="0" y="466"/>
                      <a:pt x="0" y="466"/>
                    </a:cubicBezTo>
                    <a:cubicBezTo>
                      <a:pt x="8" y="461"/>
                      <a:pt x="8" y="461"/>
                      <a:pt x="8" y="461"/>
                    </a:cubicBezTo>
                    <a:cubicBezTo>
                      <a:pt x="14" y="453"/>
                      <a:pt x="30" y="456"/>
                      <a:pt x="27" y="444"/>
                    </a:cubicBezTo>
                    <a:cubicBezTo>
                      <a:pt x="29" y="437"/>
                      <a:pt x="33" y="425"/>
                      <a:pt x="42" y="423"/>
                    </a:cubicBezTo>
                    <a:cubicBezTo>
                      <a:pt x="57" y="418"/>
                      <a:pt x="51" y="442"/>
                      <a:pt x="64" y="437"/>
                    </a:cubicBezTo>
                    <a:cubicBezTo>
                      <a:pt x="76" y="445"/>
                      <a:pt x="58" y="455"/>
                      <a:pt x="69" y="463"/>
                    </a:cubicBezTo>
                    <a:cubicBezTo>
                      <a:pt x="64" y="477"/>
                      <a:pt x="82" y="466"/>
                      <a:pt x="84" y="476"/>
                    </a:cubicBezTo>
                    <a:cubicBezTo>
                      <a:pt x="97" y="473"/>
                      <a:pt x="108" y="481"/>
                      <a:pt x="120" y="486"/>
                    </a:cubicBezTo>
                    <a:cubicBezTo>
                      <a:pt x="132" y="486"/>
                      <a:pt x="144" y="486"/>
                      <a:pt x="155" y="482"/>
                    </a:cubicBezTo>
                    <a:cubicBezTo>
                      <a:pt x="171" y="478"/>
                      <a:pt x="182" y="498"/>
                      <a:pt x="196" y="487"/>
                    </a:cubicBezTo>
                    <a:cubicBezTo>
                      <a:pt x="191" y="478"/>
                      <a:pt x="199" y="473"/>
                      <a:pt x="208" y="473"/>
                    </a:cubicBezTo>
                    <a:cubicBezTo>
                      <a:pt x="214" y="457"/>
                      <a:pt x="233" y="458"/>
                      <a:pt x="247" y="451"/>
                    </a:cubicBezTo>
                    <a:cubicBezTo>
                      <a:pt x="250" y="368"/>
                      <a:pt x="252" y="284"/>
                      <a:pt x="255" y="200"/>
                    </a:cubicBezTo>
                    <a:cubicBezTo>
                      <a:pt x="255" y="200"/>
                      <a:pt x="255" y="200"/>
                      <a:pt x="255" y="200"/>
                    </a:cubicBezTo>
                    <a:cubicBezTo>
                      <a:pt x="255" y="195"/>
                      <a:pt x="255" y="189"/>
                      <a:pt x="255" y="183"/>
                    </a:cubicBezTo>
                    <a:cubicBezTo>
                      <a:pt x="257" y="182"/>
                      <a:pt x="257" y="182"/>
                      <a:pt x="257" y="182"/>
                    </a:cubicBezTo>
                    <a:cubicBezTo>
                      <a:pt x="259" y="188"/>
                      <a:pt x="263" y="193"/>
                      <a:pt x="272" y="195"/>
                    </a:cubicBezTo>
                    <a:cubicBezTo>
                      <a:pt x="282" y="201"/>
                      <a:pt x="286" y="213"/>
                      <a:pt x="291" y="222"/>
                    </a:cubicBezTo>
                    <a:cubicBezTo>
                      <a:pt x="299" y="233"/>
                      <a:pt x="300" y="239"/>
                      <a:pt x="302" y="252"/>
                    </a:cubicBezTo>
                    <a:cubicBezTo>
                      <a:pt x="310" y="265"/>
                      <a:pt x="316" y="284"/>
                      <a:pt x="305" y="297"/>
                    </a:cubicBezTo>
                    <a:cubicBezTo>
                      <a:pt x="292" y="305"/>
                      <a:pt x="294" y="318"/>
                      <a:pt x="294" y="331"/>
                    </a:cubicBezTo>
                    <a:cubicBezTo>
                      <a:pt x="296" y="347"/>
                      <a:pt x="309" y="331"/>
                      <a:pt x="317" y="335"/>
                    </a:cubicBezTo>
                    <a:cubicBezTo>
                      <a:pt x="331" y="344"/>
                      <a:pt x="347" y="332"/>
                      <a:pt x="362" y="339"/>
                    </a:cubicBezTo>
                    <a:cubicBezTo>
                      <a:pt x="375" y="342"/>
                      <a:pt x="371" y="328"/>
                      <a:pt x="378" y="325"/>
                    </a:cubicBezTo>
                    <a:cubicBezTo>
                      <a:pt x="396" y="330"/>
                      <a:pt x="399" y="308"/>
                      <a:pt x="410" y="302"/>
                    </a:cubicBezTo>
                    <a:cubicBezTo>
                      <a:pt x="419" y="294"/>
                      <a:pt x="430" y="293"/>
                      <a:pt x="437" y="282"/>
                    </a:cubicBezTo>
                    <a:cubicBezTo>
                      <a:pt x="445" y="273"/>
                      <a:pt x="442" y="264"/>
                      <a:pt x="448" y="254"/>
                    </a:cubicBezTo>
                    <a:cubicBezTo>
                      <a:pt x="450" y="244"/>
                      <a:pt x="455" y="233"/>
                      <a:pt x="464" y="226"/>
                    </a:cubicBezTo>
                    <a:cubicBezTo>
                      <a:pt x="478" y="223"/>
                      <a:pt x="493" y="220"/>
                      <a:pt x="505" y="232"/>
                    </a:cubicBezTo>
                    <a:cubicBezTo>
                      <a:pt x="518" y="240"/>
                      <a:pt x="527" y="258"/>
                      <a:pt x="545" y="251"/>
                    </a:cubicBezTo>
                    <a:cubicBezTo>
                      <a:pt x="551" y="258"/>
                      <a:pt x="558" y="262"/>
                      <a:pt x="569" y="261"/>
                    </a:cubicBezTo>
                    <a:cubicBezTo>
                      <a:pt x="581" y="272"/>
                      <a:pt x="596" y="262"/>
                      <a:pt x="608" y="261"/>
                    </a:cubicBezTo>
                    <a:cubicBezTo>
                      <a:pt x="625" y="267"/>
                      <a:pt x="645" y="256"/>
                      <a:pt x="651" y="238"/>
                    </a:cubicBezTo>
                    <a:cubicBezTo>
                      <a:pt x="656" y="222"/>
                      <a:pt x="666" y="206"/>
                      <a:pt x="667" y="189"/>
                    </a:cubicBezTo>
                    <a:cubicBezTo>
                      <a:pt x="680" y="185"/>
                      <a:pt x="693" y="181"/>
                      <a:pt x="706" y="178"/>
                    </a:cubicBezTo>
                    <a:cubicBezTo>
                      <a:pt x="714" y="168"/>
                      <a:pt x="725" y="159"/>
                      <a:pt x="737" y="153"/>
                    </a:cubicBezTo>
                    <a:cubicBezTo>
                      <a:pt x="742" y="139"/>
                      <a:pt x="744" y="124"/>
                      <a:pt x="750" y="110"/>
                    </a:cubicBezTo>
                    <a:cubicBezTo>
                      <a:pt x="757" y="111"/>
                      <a:pt x="758" y="100"/>
                      <a:pt x="765" y="99"/>
                    </a:cubicBezTo>
                    <a:cubicBezTo>
                      <a:pt x="772" y="90"/>
                      <a:pt x="784" y="93"/>
                      <a:pt x="792" y="86"/>
                    </a:cubicBezTo>
                    <a:cubicBezTo>
                      <a:pt x="791" y="73"/>
                      <a:pt x="807" y="81"/>
                      <a:pt x="809" y="72"/>
                    </a:cubicBezTo>
                    <a:cubicBezTo>
                      <a:pt x="818" y="68"/>
                      <a:pt x="821" y="59"/>
                      <a:pt x="828" y="53"/>
                    </a:cubicBezTo>
                    <a:cubicBezTo>
                      <a:pt x="837" y="44"/>
                      <a:pt x="844" y="30"/>
                      <a:pt x="859" y="31"/>
                    </a:cubicBezTo>
                    <a:cubicBezTo>
                      <a:pt x="871" y="31"/>
                      <a:pt x="883" y="25"/>
                      <a:pt x="894" y="20"/>
                    </a:cubicBezTo>
                    <a:cubicBezTo>
                      <a:pt x="896" y="5"/>
                      <a:pt x="913" y="2"/>
                      <a:pt x="926" y="4"/>
                    </a:cubicBezTo>
                    <a:cubicBezTo>
                      <a:pt x="927" y="2"/>
                      <a:pt x="927" y="2"/>
                      <a:pt x="927" y="2"/>
                    </a:cubicBezTo>
                    <a:cubicBezTo>
                      <a:pt x="933" y="3"/>
                      <a:pt x="940" y="2"/>
                      <a:pt x="947" y="0"/>
                    </a:cubicBezTo>
                    <a:cubicBezTo>
                      <a:pt x="963" y="1"/>
                      <a:pt x="975" y="12"/>
                      <a:pt x="990" y="16"/>
                    </a:cubicBezTo>
                    <a:cubicBezTo>
                      <a:pt x="1004" y="17"/>
                      <a:pt x="1018" y="14"/>
                      <a:pt x="1032" y="14"/>
                    </a:cubicBezTo>
                    <a:cubicBezTo>
                      <a:pt x="1042" y="15"/>
                      <a:pt x="1051" y="19"/>
                      <a:pt x="1061" y="21"/>
                    </a:cubicBezTo>
                    <a:cubicBezTo>
                      <a:pt x="1061" y="24"/>
                      <a:pt x="1061" y="24"/>
                      <a:pt x="1061" y="24"/>
                    </a:cubicBezTo>
                    <a:cubicBezTo>
                      <a:pt x="1065" y="42"/>
                      <a:pt x="1069" y="61"/>
                      <a:pt x="1073" y="79"/>
                    </a:cubicBezTo>
                    <a:cubicBezTo>
                      <a:pt x="1073" y="91"/>
                      <a:pt x="1068" y="104"/>
                      <a:pt x="1079" y="113"/>
                    </a:cubicBezTo>
                    <a:cubicBezTo>
                      <a:pt x="1078" y="126"/>
                      <a:pt x="1089" y="134"/>
                      <a:pt x="1091" y="146"/>
                    </a:cubicBezTo>
                    <a:cubicBezTo>
                      <a:pt x="1087" y="159"/>
                      <a:pt x="1100" y="170"/>
                      <a:pt x="1096" y="183"/>
                    </a:cubicBezTo>
                    <a:cubicBezTo>
                      <a:pt x="1091" y="205"/>
                      <a:pt x="1095" y="229"/>
                      <a:pt x="1088" y="250"/>
                    </a:cubicBezTo>
                    <a:cubicBezTo>
                      <a:pt x="1093" y="264"/>
                      <a:pt x="1077" y="273"/>
                      <a:pt x="1082" y="286"/>
                    </a:cubicBezTo>
                    <a:cubicBezTo>
                      <a:pt x="1081" y="288"/>
                      <a:pt x="1080" y="289"/>
                      <a:pt x="1080" y="290"/>
                    </a:cubicBezTo>
                    <a:cubicBezTo>
                      <a:pt x="1073" y="295"/>
                      <a:pt x="1062" y="281"/>
                      <a:pt x="1055" y="277"/>
                    </a:cubicBezTo>
                    <a:cubicBezTo>
                      <a:pt x="1047" y="268"/>
                      <a:pt x="1035" y="274"/>
                      <a:pt x="1029" y="282"/>
                    </a:cubicBezTo>
                    <a:cubicBezTo>
                      <a:pt x="1020" y="291"/>
                      <a:pt x="1017" y="305"/>
                      <a:pt x="1007" y="313"/>
                    </a:cubicBezTo>
                    <a:cubicBezTo>
                      <a:pt x="995" y="321"/>
                      <a:pt x="998" y="336"/>
                      <a:pt x="996" y="348"/>
                    </a:cubicBezTo>
                    <a:cubicBezTo>
                      <a:pt x="1007" y="347"/>
                      <a:pt x="1005" y="361"/>
                      <a:pt x="1009" y="369"/>
                    </a:cubicBezTo>
                    <a:cubicBezTo>
                      <a:pt x="1015" y="377"/>
                      <a:pt x="1023" y="384"/>
                      <a:pt x="1034" y="387"/>
                    </a:cubicBezTo>
                    <a:cubicBezTo>
                      <a:pt x="1045" y="391"/>
                      <a:pt x="1059" y="390"/>
                      <a:pt x="1071" y="390"/>
                    </a:cubicBezTo>
                    <a:cubicBezTo>
                      <a:pt x="1074" y="379"/>
                      <a:pt x="1073" y="365"/>
                      <a:pt x="1080" y="354"/>
                    </a:cubicBezTo>
                    <a:cubicBezTo>
                      <a:pt x="1081" y="355"/>
                      <a:pt x="1082" y="355"/>
                      <a:pt x="1083" y="355"/>
                    </a:cubicBezTo>
                    <a:cubicBezTo>
                      <a:pt x="1083" y="355"/>
                      <a:pt x="1083" y="355"/>
                      <a:pt x="1083" y="355"/>
                    </a:cubicBezTo>
                    <a:cubicBezTo>
                      <a:pt x="1096" y="356"/>
                      <a:pt x="1109" y="359"/>
                      <a:pt x="1122" y="358"/>
                    </a:cubicBezTo>
                    <a:cubicBezTo>
                      <a:pt x="1126" y="358"/>
                      <a:pt x="1130" y="358"/>
                      <a:pt x="1133" y="358"/>
                    </a:cubicBezTo>
                    <a:cubicBezTo>
                      <a:pt x="1134" y="358"/>
                      <a:pt x="1134" y="358"/>
                      <a:pt x="1134" y="358"/>
                    </a:cubicBezTo>
                    <a:cubicBezTo>
                      <a:pt x="1133" y="362"/>
                      <a:pt x="1132" y="365"/>
                      <a:pt x="1131" y="368"/>
                    </a:cubicBezTo>
                    <a:cubicBezTo>
                      <a:pt x="1129" y="377"/>
                      <a:pt x="1124" y="385"/>
                      <a:pt x="1119" y="392"/>
                    </a:cubicBezTo>
                    <a:cubicBezTo>
                      <a:pt x="1116" y="399"/>
                      <a:pt x="1117" y="408"/>
                      <a:pt x="1114" y="415"/>
                    </a:cubicBezTo>
                    <a:cubicBezTo>
                      <a:pt x="1112" y="423"/>
                      <a:pt x="1108" y="431"/>
                      <a:pt x="1104" y="438"/>
                    </a:cubicBezTo>
                    <a:cubicBezTo>
                      <a:pt x="1098" y="450"/>
                      <a:pt x="1095" y="463"/>
                      <a:pt x="1091" y="476"/>
                    </a:cubicBezTo>
                    <a:cubicBezTo>
                      <a:pt x="1085" y="483"/>
                      <a:pt x="1080" y="492"/>
                      <a:pt x="1071" y="496"/>
                    </a:cubicBezTo>
                    <a:cubicBezTo>
                      <a:pt x="1064" y="501"/>
                      <a:pt x="1057" y="507"/>
                      <a:pt x="1050" y="510"/>
                    </a:cubicBezTo>
                    <a:cubicBezTo>
                      <a:pt x="1043" y="512"/>
                      <a:pt x="1037" y="515"/>
                      <a:pt x="1031" y="519"/>
                    </a:cubicBezTo>
                    <a:cubicBezTo>
                      <a:pt x="1022" y="525"/>
                      <a:pt x="1016" y="534"/>
                      <a:pt x="1008" y="542"/>
                    </a:cubicBezTo>
                    <a:cubicBezTo>
                      <a:pt x="1005" y="548"/>
                      <a:pt x="1000" y="552"/>
                      <a:pt x="998" y="558"/>
                    </a:cubicBezTo>
                    <a:cubicBezTo>
                      <a:pt x="995" y="566"/>
                      <a:pt x="987" y="570"/>
                      <a:pt x="984" y="578"/>
                    </a:cubicBezTo>
                    <a:cubicBezTo>
                      <a:pt x="976" y="591"/>
                      <a:pt x="967" y="603"/>
                      <a:pt x="958" y="616"/>
                    </a:cubicBezTo>
                    <a:cubicBezTo>
                      <a:pt x="953" y="625"/>
                      <a:pt x="946" y="632"/>
                      <a:pt x="939" y="639"/>
                    </a:cubicBezTo>
                    <a:cubicBezTo>
                      <a:pt x="931" y="650"/>
                      <a:pt x="922" y="661"/>
                      <a:pt x="913" y="672"/>
                    </a:cubicBezTo>
                    <a:cubicBezTo>
                      <a:pt x="899" y="682"/>
                      <a:pt x="886" y="693"/>
                      <a:pt x="871" y="702"/>
                    </a:cubicBezTo>
                    <a:cubicBezTo>
                      <a:pt x="858" y="713"/>
                      <a:pt x="847" y="726"/>
                      <a:pt x="836" y="739"/>
                    </a:cubicBezTo>
                    <a:cubicBezTo>
                      <a:pt x="827" y="748"/>
                      <a:pt x="816" y="756"/>
                      <a:pt x="807" y="765"/>
                    </a:cubicBezTo>
                    <a:cubicBezTo>
                      <a:pt x="798" y="775"/>
                      <a:pt x="784" y="780"/>
                      <a:pt x="774" y="789"/>
                    </a:cubicBezTo>
                    <a:cubicBezTo>
                      <a:pt x="764" y="798"/>
                      <a:pt x="755" y="808"/>
                      <a:pt x="743" y="814"/>
                    </a:cubicBezTo>
                    <a:cubicBezTo>
                      <a:pt x="719" y="827"/>
                      <a:pt x="698" y="844"/>
                      <a:pt x="671" y="851"/>
                    </a:cubicBezTo>
                    <a:cubicBezTo>
                      <a:pt x="660" y="853"/>
                      <a:pt x="649" y="851"/>
                      <a:pt x="638" y="850"/>
                    </a:cubicBezTo>
                    <a:cubicBezTo>
                      <a:pt x="628" y="850"/>
                      <a:pt x="617" y="849"/>
                      <a:pt x="608" y="853"/>
                    </a:cubicBezTo>
                    <a:cubicBezTo>
                      <a:pt x="604" y="854"/>
                      <a:pt x="599" y="857"/>
                      <a:pt x="602" y="861"/>
                    </a:cubicBezTo>
                    <a:cubicBezTo>
                      <a:pt x="605" y="866"/>
                      <a:pt x="604" y="870"/>
                      <a:pt x="603" y="875"/>
                    </a:cubicBezTo>
                    <a:cubicBezTo>
                      <a:pt x="594" y="873"/>
                      <a:pt x="585" y="873"/>
                      <a:pt x="577" y="870"/>
                    </a:cubicBezTo>
                    <a:cubicBezTo>
                      <a:pt x="570" y="866"/>
                      <a:pt x="563" y="868"/>
                      <a:pt x="556" y="868"/>
                    </a:cubicBezTo>
                    <a:cubicBezTo>
                      <a:pt x="552" y="872"/>
                      <a:pt x="549" y="878"/>
                      <a:pt x="545" y="882"/>
                    </a:cubicBezTo>
                    <a:cubicBezTo>
                      <a:pt x="540" y="882"/>
                      <a:pt x="535" y="882"/>
                      <a:pt x="530" y="882"/>
                    </a:cubicBezTo>
                    <a:cubicBezTo>
                      <a:pt x="517" y="878"/>
                      <a:pt x="504" y="873"/>
                      <a:pt x="491" y="870"/>
                    </a:cubicBezTo>
                    <a:cubicBezTo>
                      <a:pt x="481" y="868"/>
                      <a:pt x="470" y="865"/>
                      <a:pt x="460" y="866"/>
                    </a:cubicBezTo>
                    <a:cubicBezTo>
                      <a:pt x="455" y="866"/>
                      <a:pt x="451" y="868"/>
                      <a:pt x="447" y="871"/>
                    </a:cubicBezTo>
                    <a:cubicBezTo>
                      <a:pt x="444" y="875"/>
                      <a:pt x="439" y="875"/>
                      <a:pt x="434" y="875"/>
                    </a:cubicBezTo>
                    <a:cubicBezTo>
                      <a:pt x="427" y="873"/>
                      <a:pt x="419" y="870"/>
                      <a:pt x="412" y="868"/>
                    </a:cubicBezTo>
                    <a:cubicBezTo>
                      <a:pt x="400" y="863"/>
                      <a:pt x="387" y="867"/>
                      <a:pt x="375" y="868"/>
                    </a:cubicBezTo>
                    <a:cubicBezTo>
                      <a:pt x="370" y="874"/>
                      <a:pt x="363" y="878"/>
                      <a:pt x="355" y="880"/>
                    </a:cubicBezTo>
                    <a:cubicBezTo>
                      <a:pt x="349" y="880"/>
                      <a:pt x="350" y="886"/>
                      <a:pt x="348" y="890"/>
                    </a:cubicBezTo>
                    <a:cubicBezTo>
                      <a:pt x="340" y="894"/>
                      <a:pt x="331" y="891"/>
                      <a:pt x="323" y="890"/>
                    </a:cubicBezTo>
                    <a:cubicBezTo>
                      <a:pt x="318" y="889"/>
                      <a:pt x="314" y="890"/>
                      <a:pt x="311" y="893"/>
                    </a:cubicBezTo>
                    <a:cubicBezTo>
                      <a:pt x="303" y="892"/>
                      <a:pt x="294" y="889"/>
                      <a:pt x="286" y="891"/>
                    </a:cubicBezTo>
                    <a:cubicBezTo>
                      <a:pt x="281" y="891"/>
                      <a:pt x="277" y="892"/>
                      <a:pt x="274" y="896"/>
                    </a:cubicBezTo>
                    <a:cubicBezTo>
                      <a:pt x="267" y="895"/>
                      <a:pt x="260" y="896"/>
                      <a:pt x="253" y="897"/>
                    </a:cubicBezTo>
                    <a:cubicBezTo>
                      <a:pt x="250" y="899"/>
                      <a:pt x="247" y="904"/>
                      <a:pt x="243" y="907"/>
                    </a:cubicBezTo>
                    <a:cubicBezTo>
                      <a:pt x="241" y="911"/>
                      <a:pt x="236" y="911"/>
                      <a:pt x="231" y="912"/>
                    </a:cubicBezTo>
                    <a:cubicBezTo>
                      <a:pt x="224" y="913"/>
                      <a:pt x="216" y="913"/>
                      <a:pt x="209" y="911"/>
                    </a:cubicBezTo>
                    <a:cubicBezTo>
                      <a:pt x="205" y="907"/>
                      <a:pt x="198" y="912"/>
                      <a:pt x="193" y="908"/>
                    </a:cubicBezTo>
                    <a:cubicBezTo>
                      <a:pt x="190" y="905"/>
                      <a:pt x="184" y="906"/>
                      <a:pt x="182" y="902"/>
                    </a:cubicBezTo>
                    <a:cubicBezTo>
                      <a:pt x="183" y="897"/>
                      <a:pt x="183" y="893"/>
                      <a:pt x="179" y="890"/>
                    </a:cubicBezTo>
                    <a:cubicBezTo>
                      <a:pt x="174" y="888"/>
                      <a:pt x="168" y="889"/>
                      <a:pt x="163" y="889"/>
                    </a:cubicBezTo>
                    <a:cubicBezTo>
                      <a:pt x="158" y="890"/>
                      <a:pt x="154" y="890"/>
                      <a:pt x="150" y="887"/>
                    </a:cubicBezTo>
                    <a:cubicBezTo>
                      <a:pt x="152" y="881"/>
                      <a:pt x="152" y="874"/>
                      <a:pt x="151" y="867"/>
                    </a:cubicBezTo>
                    <a:cubicBezTo>
                      <a:pt x="147" y="867"/>
                      <a:pt x="142" y="866"/>
                      <a:pt x="137" y="867"/>
                    </a:cubicBezTo>
                    <a:cubicBezTo>
                      <a:pt x="132" y="866"/>
                      <a:pt x="128" y="870"/>
                      <a:pt x="129" y="875"/>
                    </a:cubicBezTo>
                    <a:cubicBezTo>
                      <a:pt x="128" y="879"/>
                      <a:pt x="131" y="884"/>
                      <a:pt x="129" y="887"/>
                    </a:cubicBezTo>
                    <a:cubicBezTo>
                      <a:pt x="126" y="888"/>
                      <a:pt x="124" y="880"/>
                      <a:pt x="122" y="878"/>
                    </a:cubicBezTo>
                    <a:cubicBezTo>
                      <a:pt x="122" y="869"/>
                      <a:pt x="120" y="860"/>
                      <a:pt x="125" y="853"/>
                    </a:cubicBezTo>
                    <a:cubicBezTo>
                      <a:pt x="129" y="849"/>
                      <a:pt x="127" y="845"/>
                      <a:pt x="127" y="840"/>
                    </a:cubicBezTo>
                    <a:cubicBezTo>
                      <a:pt x="121" y="834"/>
                      <a:pt x="116" y="828"/>
                      <a:pt x="113" y="820"/>
                    </a:cubicBezTo>
                    <a:cubicBezTo>
                      <a:pt x="112" y="815"/>
                      <a:pt x="107" y="815"/>
                      <a:pt x="105" y="811"/>
                    </a:cubicBezTo>
                    <a:cubicBezTo>
                      <a:pt x="104" y="807"/>
                      <a:pt x="96" y="802"/>
                      <a:pt x="101" y="800"/>
                    </a:cubicBezTo>
                    <a:cubicBezTo>
                      <a:pt x="105" y="800"/>
                      <a:pt x="101" y="792"/>
                      <a:pt x="98" y="790"/>
                    </a:cubicBezTo>
                    <a:cubicBezTo>
                      <a:pt x="95" y="787"/>
                      <a:pt x="88" y="788"/>
                      <a:pt x="90" y="782"/>
                    </a:cubicBezTo>
                    <a:cubicBezTo>
                      <a:pt x="90" y="777"/>
                      <a:pt x="92" y="772"/>
                      <a:pt x="95" y="767"/>
                    </a:cubicBezTo>
                    <a:cubicBezTo>
                      <a:pt x="99" y="769"/>
                      <a:pt x="104" y="770"/>
                      <a:pt x="108" y="772"/>
                    </a:cubicBezTo>
                    <a:cubicBezTo>
                      <a:pt x="113" y="767"/>
                      <a:pt x="117" y="761"/>
                      <a:pt x="120" y="755"/>
                    </a:cubicBezTo>
                    <a:cubicBezTo>
                      <a:pt x="121" y="746"/>
                      <a:pt x="120" y="737"/>
                      <a:pt x="120" y="728"/>
                    </a:cubicBezTo>
                    <a:cubicBezTo>
                      <a:pt x="119" y="721"/>
                      <a:pt x="120" y="714"/>
                      <a:pt x="118" y="707"/>
                    </a:cubicBezTo>
                    <a:cubicBezTo>
                      <a:pt x="113" y="695"/>
                      <a:pt x="105" y="685"/>
                      <a:pt x="99" y="675"/>
                    </a:cubicBezTo>
                    <a:cubicBezTo>
                      <a:pt x="94" y="666"/>
                      <a:pt x="87" y="659"/>
                      <a:pt x="82" y="650"/>
                    </a:cubicBezTo>
                    <a:cubicBezTo>
                      <a:pt x="77" y="642"/>
                      <a:pt x="77" y="632"/>
                      <a:pt x="71" y="624"/>
                    </a:cubicBezTo>
                    <a:cubicBezTo>
                      <a:pt x="65" y="617"/>
                      <a:pt x="62" y="608"/>
                      <a:pt x="58" y="600"/>
                    </a:cubicBezTo>
                    <a:cubicBezTo>
                      <a:pt x="48" y="583"/>
                      <a:pt x="43" y="563"/>
                      <a:pt x="38" y="545"/>
                    </a:cubicBezTo>
                    <a:cubicBezTo>
                      <a:pt x="33" y="531"/>
                      <a:pt x="27" y="518"/>
                      <a:pt x="22" y="505"/>
                    </a:cubicBezTo>
                    <a:cubicBezTo>
                      <a:pt x="20" y="497"/>
                      <a:pt x="12" y="492"/>
                      <a:pt x="8" y="486"/>
                    </a:cubicBezTo>
                    <a:cubicBezTo>
                      <a:pt x="4" y="483"/>
                      <a:pt x="6" y="478"/>
                      <a:pt x="5" y="473"/>
                    </a:cubicBezTo>
                    <a:close/>
                    <a:moveTo>
                      <a:pt x="876" y="544"/>
                    </a:moveTo>
                    <a:cubicBezTo>
                      <a:pt x="891" y="539"/>
                      <a:pt x="882" y="525"/>
                      <a:pt x="878" y="515"/>
                    </a:cubicBezTo>
                    <a:cubicBezTo>
                      <a:pt x="868" y="512"/>
                      <a:pt x="860" y="503"/>
                      <a:pt x="853" y="495"/>
                    </a:cubicBezTo>
                    <a:cubicBezTo>
                      <a:pt x="847" y="488"/>
                      <a:pt x="840" y="483"/>
                      <a:pt x="836" y="477"/>
                    </a:cubicBezTo>
                    <a:cubicBezTo>
                      <a:pt x="823" y="477"/>
                      <a:pt x="813" y="486"/>
                      <a:pt x="800" y="486"/>
                    </a:cubicBezTo>
                    <a:cubicBezTo>
                      <a:pt x="793" y="502"/>
                      <a:pt x="775" y="493"/>
                      <a:pt x="767" y="507"/>
                    </a:cubicBezTo>
                    <a:cubicBezTo>
                      <a:pt x="759" y="520"/>
                      <a:pt x="749" y="531"/>
                      <a:pt x="739" y="542"/>
                    </a:cubicBezTo>
                    <a:cubicBezTo>
                      <a:pt x="731" y="547"/>
                      <a:pt x="712" y="548"/>
                      <a:pt x="724" y="559"/>
                    </a:cubicBezTo>
                    <a:cubicBezTo>
                      <a:pt x="726" y="572"/>
                      <a:pt x="738" y="583"/>
                      <a:pt x="740" y="593"/>
                    </a:cubicBezTo>
                    <a:cubicBezTo>
                      <a:pt x="735" y="604"/>
                      <a:pt x="754" y="605"/>
                      <a:pt x="756" y="617"/>
                    </a:cubicBezTo>
                    <a:cubicBezTo>
                      <a:pt x="765" y="627"/>
                      <a:pt x="789" y="633"/>
                      <a:pt x="791" y="614"/>
                    </a:cubicBezTo>
                    <a:cubicBezTo>
                      <a:pt x="795" y="609"/>
                      <a:pt x="798" y="593"/>
                      <a:pt x="797" y="599"/>
                    </a:cubicBezTo>
                    <a:cubicBezTo>
                      <a:pt x="810" y="587"/>
                      <a:pt x="827" y="592"/>
                      <a:pt x="841" y="586"/>
                    </a:cubicBezTo>
                    <a:cubicBezTo>
                      <a:pt x="844" y="585"/>
                      <a:pt x="847" y="583"/>
                      <a:pt x="850" y="582"/>
                    </a:cubicBezTo>
                    <a:cubicBezTo>
                      <a:pt x="861" y="580"/>
                      <a:pt x="861" y="570"/>
                      <a:pt x="861" y="562"/>
                    </a:cubicBezTo>
                    <a:cubicBezTo>
                      <a:pt x="867" y="555"/>
                      <a:pt x="874" y="553"/>
                      <a:pt x="876" y="544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3334186" name="Somalia"/>
              <p:cNvGrpSpPr>
                <a:grpSpLocks/>
              </p:cNvGrpSpPr>
              <p:nvPr/>
            </p:nvGrpSpPr>
            <p:grpSpPr bwMode="auto">
              <a:xfrm>
                <a:off x="5334169" y="4163228"/>
                <a:ext cx="261619" cy="469828"/>
                <a:chOff x="5334169" y="4144139"/>
                <a:chExt cx="261619" cy="469828"/>
              </a:xfrm>
            </p:grpSpPr>
            <p:sp>
              <p:nvSpPr>
                <p:cNvPr id="827" name="Somalia"/>
                <p:cNvSpPr>
                  <a:spLocks/>
                </p:cNvSpPr>
                <p:nvPr/>
              </p:nvSpPr>
              <p:spPr bwMode="auto">
                <a:xfrm>
                  <a:off x="5369070" y="4169019"/>
                  <a:ext cx="165653" cy="115594"/>
                </a:xfrm>
                <a:custGeom>
                  <a:avLst/>
                  <a:gdLst>
                    <a:gd name="T0" fmla="*/ 48 w 457"/>
                    <a:gd name="T1" fmla="*/ 10 h 269"/>
                    <a:gd name="T2" fmla="*/ 67 w 457"/>
                    <a:gd name="T3" fmla="*/ 28 h 269"/>
                    <a:gd name="T4" fmla="*/ 101 w 457"/>
                    <a:gd name="T5" fmla="*/ 70 h 269"/>
                    <a:gd name="T6" fmla="*/ 118 w 457"/>
                    <a:gd name="T7" fmla="*/ 81 h 269"/>
                    <a:gd name="T8" fmla="*/ 147 w 457"/>
                    <a:gd name="T9" fmla="*/ 90 h 269"/>
                    <a:gd name="T10" fmla="*/ 172 w 457"/>
                    <a:gd name="T11" fmla="*/ 89 h 269"/>
                    <a:gd name="T12" fmla="*/ 190 w 457"/>
                    <a:gd name="T13" fmla="*/ 77 h 269"/>
                    <a:gd name="T14" fmla="*/ 229 w 457"/>
                    <a:gd name="T15" fmla="*/ 49 h 269"/>
                    <a:gd name="T16" fmla="*/ 266 w 457"/>
                    <a:gd name="T17" fmla="*/ 60 h 269"/>
                    <a:gd name="T18" fmla="*/ 297 w 457"/>
                    <a:gd name="T19" fmla="*/ 60 h 269"/>
                    <a:gd name="T20" fmla="*/ 326 w 457"/>
                    <a:gd name="T21" fmla="*/ 30 h 269"/>
                    <a:gd name="T22" fmla="*/ 345 w 457"/>
                    <a:gd name="T23" fmla="*/ 14 h 269"/>
                    <a:gd name="T24" fmla="*/ 367 w 457"/>
                    <a:gd name="T25" fmla="*/ 21 h 269"/>
                    <a:gd name="T26" fmla="*/ 402 w 457"/>
                    <a:gd name="T27" fmla="*/ 22 h 269"/>
                    <a:gd name="T28" fmla="*/ 404 w 457"/>
                    <a:gd name="T29" fmla="*/ 49 h 269"/>
                    <a:gd name="T30" fmla="*/ 425 w 457"/>
                    <a:gd name="T31" fmla="*/ 11 h 269"/>
                    <a:gd name="T32" fmla="*/ 438 w 457"/>
                    <a:gd name="T33" fmla="*/ 12 h 269"/>
                    <a:gd name="T34" fmla="*/ 457 w 457"/>
                    <a:gd name="T35" fmla="*/ 11 h 269"/>
                    <a:gd name="T36" fmla="*/ 457 w 457"/>
                    <a:gd name="T37" fmla="*/ 180 h 269"/>
                    <a:gd name="T38" fmla="*/ 399 w 457"/>
                    <a:gd name="T39" fmla="*/ 265 h 269"/>
                    <a:gd name="T40" fmla="*/ 399 w 457"/>
                    <a:gd name="T41" fmla="*/ 268 h 269"/>
                    <a:gd name="T42" fmla="*/ 332 w 457"/>
                    <a:gd name="T43" fmla="*/ 269 h 269"/>
                    <a:gd name="T44" fmla="*/ 110 w 457"/>
                    <a:gd name="T45" fmla="*/ 195 h 269"/>
                    <a:gd name="T46" fmla="*/ 75 w 457"/>
                    <a:gd name="T47" fmla="*/ 169 h 269"/>
                    <a:gd name="T48" fmla="*/ 52 w 457"/>
                    <a:gd name="T49" fmla="*/ 142 h 269"/>
                    <a:gd name="T50" fmla="*/ 32 w 457"/>
                    <a:gd name="T51" fmla="*/ 112 h 269"/>
                    <a:gd name="T52" fmla="*/ 14 w 457"/>
                    <a:gd name="T53" fmla="*/ 85 h 269"/>
                    <a:gd name="T54" fmla="*/ 17 w 457"/>
                    <a:gd name="T55" fmla="*/ 53 h 269"/>
                    <a:gd name="T56" fmla="*/ 23 w 457"/>
                    <a:gd name="T57" fmla="*/ 42 h 269"/>
                    <a:gd name="T58" fmla="*/ 22 w 457"/>
                    <a:gd name="T59" fmla="*/ 41 h 269"/>
                    <a:gd name="T60" fmla="*/ 40 w 457"/>
                    <a:gd name="T61" fmla="*/ 11 h 269"/>
                    <a:gd name="T62" fmla="*/ 42 w 457"/>
                    <a:gd name="T63" fmla="*/ 7 h 269"/>
                    <a:gd name="T64" fmla="*/ 42 w 457"/>
                    <a:gd name="T65" fmla="*/ 7 h 269"/>
                    <a:gd name="T66" fmla="*/ 48 w 457"/>
                    <a:gd name="T67" fmla="*/ 10 h 2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57" h="269">
                      <a:moveTo>
                        <a:pt x="48" y="10"/>
                      </a:moveTo>
                      <a:cubicBezTo>
                        <a:pt x="56" y="14"/>
                        <a:pt x="61" y="21"/>
                        <a:pt x="67" y="28"/>
                      </a:cubicBezTo>
                      <a:cubicBezTo>
                        <a:pt x="77" y="43"/>
                        <a:pt x="88" y="57"/>
                        <a:pt x="101" y="70"/>
                      </a:cubicBezTo>
                      <a:cubicBezTo>
                        <a:pt x="105" y="76"/>
                        <a:pt x="111" y="78"/>
                        <a:pt x="118" y="81"/>
                      </a:cubicBezTo>
                      <a:cubicBezTo>
                        <a:pt x="126" y="87"/>
                        <a:pt x="137" y="87"/>
                        <a:pt x="147" y="90"/>
                      </a:cubicBezTo>
                      <a:cubicBezTo>
                        <a:pt x="155" y="93"/>
                        <a:pt x="164" y="89"/>
                        <a:pt x="172" y="89"/>
                      </a:cubicBezTo>
                      <a:cubicBezTo>
                        <a:pt x="178" y="86"/>
                        <a:pt x="184" y="81"/>
                        <a:pt x="190" y="77"/>
                      </a:cubicBezTo>
                      <a:cubicBezTo>
                        <a:pt x="203" y="68"/>
                        <a:pt x="215" y="58"/>
                        <a:pt x="229" y="49"/>
                      </a:cubicBezTo>
                      <a:cubicBezTo>
                        <a:pt x="241" y="52"/>
                        <a:pt x="254" y="56"/>
                        <a:pt x="266" y="60"/>
                      </a:cubicBezTo>
                      <a:cubicBezTo>
                        <a:pt x="276" y="61"/>
                        <a:pt x="287" y="60"/>
                        <a:pt x="297" y="60"/>
                      </a:cubicBezTo>
                      <a:cubicBezTo>
                        <a:pt x="307" y="51"/>
                        <a:pt x="317" y="41"/>
                        <a:pt x="326" y="30"/>
                      </a:cubicBezTo>
                      <a:cubicBezTo>
                        <a:pt x="331" y="23"/>
                        <a:pt x="338" y="19"/>
                        <a:pt x="345" y="14"/>
                      </a:cubicBezTo>
                      <a:cubicBezTo>
                        <a:pt x="352" y="17"/>
                        <a:pt x="360" y="19"/>
                        <a:pt x="367" y="21"/>
                      </a:cubicBezTo>
                      <a:cubicBezTo>
                        <a:pt x="379" y="22"/>
                        <a:pt x="391" y="24"/>
                        <a:pt x="402" y="22"/>
                      </a:cubicBezTo>
                      <a:cubicBezTo>
                        <a:pt x="403" y="31"/>
                        <a:pt x="404" y="40"/>
                        <a:pt x="404" y="49"/>
                      </a:cubicBezTo>
                      <a:cubicBezTo>
                        <a:pt x="411" y="37"/>
                        <a:pt x="418" y="24"/>
                        <a:pt x="425" y="11"/>
                      </a:cubicBezTo>
                      <a:cubicBezTo>
                        <a:pt x="428" y="9"/>
                        <a:pt x="434" y="12"/>
                        <a:pt x="438" y="12"/>
                      </a:cubicBezTo>
                      <a:cubicBezTo>
                        <a:pt x="444" y="12"/>
                        <a:pt x="451" y="12"/>
                        <a:pt x="457" y="11"/>
                      </a:cubicBezTo>
                      <a:cubicBezTo>
                        <a:pt x="457" y="180"/>
                        <a:pt x="457" y="180"/>
                        <a:pt x="457" y="180"/>
                      </a:cubicBezTo>
                      <a:cubicBezTo>
                        <a:pt x="399" y="265"/>
                        <a:pt x="399" y="265"/>
                        <a:pt x="399" y="265"/>
                      </a:cubicBezTo>
                      <a:cubicBezTo>
                        <a:pt x="399" y="268"/>
                        <a:pt x="399" y="268"/>
                        <a:pt x="399" y="268"/>
                      </a:cubicBezTo>
                      <a:cubicBezTo>
                        <a:pt x="377" y="268"/>
                        <a:pt x="354" y="269"/>
                        <a:pt x="332" y="269"/>
                      </a:cubicBezTo>
                      <a:cubicBezTo>
                        <a:pt x="258" y="244"/>
                        <a:pt x="185" y="219"/>
                        <a:pt x="110" y="195"/>
                      </a:cubicBezTo>
                      <a:cubicBezTo>
                        <a:pt x="98" y="187"/>
                        <a:pt x="90" y="170"/>
                        <a:pt x="75" y="169"/>
                      </a:cubicBezTo>
                      <a:cubicBezTo>
                        <a:pt x="65" y="163"/>
                        <a:pt x="61" y="150"/>
                        <a:pt x="52" y="142"/>
                      </a:cubicBezTo>
                      <a:cubicBezTo>
                        <a:pt x="54" y="125"/>
                        <a:pt x="34" y="127"/>
                        <a:pt x="32" y="112"/>
                      </a:cubicBezTo>
                      <a:cubicBezTo>
                        <a:pt x="21" y="107"/>
                        <a:pt x="17" y="96"/>
                        <a:pt x="14" y="85"/>
                      </a:cubicBezTo>
                      <a:cubicBezTo>
                        <a:pt x="0" y="76"/>
                        <a:pt x="11" y="63"/>
                        <a:pt x="17" y="53"/>
                      </a:cubicBezTo>
                      <a:cubicBezTo>
                        <a:pt x="21" y="49"/>
                        <a:pt x="22" y="47"/>
                        <a:pt x="23" y="42"/>
                      </a:cubicBezTo>
                      <a:cubicBezTo>
                        <a:pt x="22" y="41"/>
                        <a:pt x="22" y="41"/>
                        <a:pt x="22" y="41"/>
                      </a:cubicBezTo>
                      <a:cubicBezTo>
                        <a:pt x="31" y="33"/>
                        <a:pt x="34" y="20"/>
                        <a:pt x="40" y="11"/>
                      </a:cubicBezTo>
                      <a:cubicBezTo>
                        <a:pt x="41" y="9"/>
                        <a:pt x="41" y="8"/>
                        <a:pt x="42" y="7"/>
                      </a:cubicBezTo>
                      <a:cubicBezTo>
                        <a:pt x="42" y="7"/>
                        <a:pt x="42" y="7"/>
                        <a:pt x="42" y="7"/>
                      </a:cubicBezTo>
                      <a:cubicBezTo>
                        <a:pt x="39" y="0"/>
                        <a:pt x="44" y="9"/>
                        <a:pt x="48" y="10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28" name="Somalia"/>
                <p:cNvSpPr>
                  <a:spLocks/>
                </p:cNvSpPr>
                <p:nvPr/>
              </p:nvSpPr>
              <p:spPr bwMode="auto">
                <a:xfrm>
                  <a:off x="5334559" y="4144865"/>
                  <a:ext cx="260557" cy="469274"/>
                </a:xfrm>
                <a:custGeom>
                  <a:avLst/>
                  <a:gdLst>
                    <a:gd name="T0" fmla="*/ 494 w 719"/>
                    <a:gd name="T1" fmla="*/ 322 h 1088"/>
                    <a:gd name="T2" fmla="*/ 552 w 719"/>
                    <a:gd name="T3" fmla="*/ 234 h 1088"/>
                    <a:gd name="T4" fmla="*/ 569 w 719"/>
                    <a:gd name="T5" fmla="*/ 61 h 1088"/>
                    <a:gd name="T6" fmla="*/ 626 w 719"/>
                    <a:gd name="T7" fmla="*/ 41 h 1088"/>
                    <a:gd name="T8" fmla="*/ 650 w 719"/>
                    <a:gd name="T9" fmla="*/ 13 h 1088"/>
                    <a:gd name="T10" fmla="*/ 669 w 719"/>
                    <a:gd name="T11" fmla="*/ 6 h 1088"/>
                    <a:gd name="T12" fmla="*/ 699 w 719"/>
                    <a:gd name="T13" fmla="*/ 20 h 1088"/>
                    <a:gd name="T14" fmla="*/ 695 w 719"/>
                    <a:gd name="T15" fmla="*/ 48 h 1088"/>
                    <a:gd name="T16" fmla="*/ 705 w 719"/>
                    <a:gd name="T17" fmla="*/ 111 h 1088"/>
                    <a:gd name="T18" fmla="*/ 719 w 719"/>
                    <a:gd name="T19" fmla="*/ 126 h 1088"/>
                    <a:gd name="T20" fmla="*/ 691 w 719"/>
                    <a:gd name="T21" fmla="*/ 145 h 1088"/>
                    <a:gd name="T22" fmla="*/ 687 w 719"/>
                    <a:gd name="T23" fmla="*/ 205 h 1088"/>
                    <a:gd name="T24" fmla="*/ 671 w 719"/>
                    <a:gd name="T25" fmla="*/ 246 h 1088"/>
                    <a:gd name="T26" fmla="*/ 658 w 719"/>
                    <a:gd name="T27" fmla="*/ 276 h 1088"/>
                    <a:gd name="T28" fmla="*/ 642 w 719"/>
                    <a:gd name="T29" fmla="*/ 305 h 1088"/>
                    <a:gd name="T30" fmla="*/ 626 w 719"/>
                    <a:gd name="T31" fmla="*/ 350 h 1088"/>
                    <a:gd name="T32" fmla="*/ 586 w 719"/>
                    <a:gd name="T33" fmla="*/ 441 h 1088"/>
                    <a:gd name="T34" fmla="*/ 579 w 719"/>
                    <a:gd name="T35" fmla="*/ 481 h 1088"/>
                    <a:gd name="T36" fmla="*/ 552 w 719"/>
                    <a:gd name="T37" fmla="*/ 523 h 1088"/>
                    <a:gd name="T38" fmla="*/ 510 w 719"/>
                    <a:gd name="T39" fmla="*/ 596 h 1088"/>
                    <a:gd name="T40" fmla="*/ 461 w 719"/>
                    <a:gd name="T41" fmla="*/ 661 h 1088"/>
                    <a:gd name="T42" fmla="*/ 421 w 719"/>
                    <a:gd name="T43" fmla="*/ 708 h 1088"/>
                    <a:gd name="T44" fmla="*/ 393 w 719"/>
                    <a:gd name="T45" fmla="*/ 739 h 1088"/>
                    <a:gd name="T46" fmla="*/ 322 w 719"/>
                    <a:gd name="T47" fmla="*/ 801 h 1088"/>
                    <a:gd name="T48" fmla="*/ 257 w 719"/>
                    <a:gd name="T49" fmla="*/ 842 h 1088"/>
                    <a:gd name="T50" fmla="*/ 215 w 719"/>
                    <a:gd name="T51" fmla="*/ 881 h 1088"/>
                    <a:gd name="T52" fmla="*/ 147 w 719"/>
                    <a:gd name="T53" fmla="*/ 959 h 1088"/>
                    <a:gd name="T54" fmla="*/ 126 w 719"/>
                    <a:gd name="T55" fmla="*/ 969 h 1088"/>
                    <a:gd name="T56" fmla="*/ 126 w 719"/>
                    <a:gd name="T57" fmla="*/ 974 h 1088"/>
                    <a:gd name="T58" fmla="*/ 116 w 719"/>
                    <a:gd name="T59" fmla="*/ 996 h 1088"/>
                    <a:gd name="T60" fmla="*/ 63 w 719"/>
                    <a:gd name="T61" fmla="*/ 1059 h 1088"/>
                    <a:gd name="T62" fmla="*/ 49 w 719"/>
                    <a:gd name="T63" fmla="*/ 1088 h 1088"/>
                    <a:gd name="T64" fmla="*/ 48 w 719"/>
                    <a:gd name="T65" fmla="*/ 1081 h 1088"/>
                    <a:gd name="T66" fmla="*/ 5 w 719"/>
                    <a:gd name="T67" fmla="*/ 1016 h 1088"/>
                    <a:gd name="T68" fmla="*/ 25 w 719"/>
                    <a:gd name="T69" fmla="*/ 708 h 1088"/>
                    <a:gd name="T70" fmla="*/ 68 w 719"/>
                    <a:gd name="T71" fmla="*/ 642 h 1088"/>
                    <a:gd name="T72" fmla="*/ 100 w 719"/>
                    <a:gd name="T73" fmla="*/ 625 h 1088"/>
                    <a:gd name="T74" fmla="*/ 159 w 719"/>
                    <a:gd name="T75" fmla="*/ 588 h 1088"/>
                    <a:gd name="T76" fmla="*/ 243 w 719"/>
                    <a:gd name="T77" fmla="*/ 566 h 1088"/>
                    <a:gd name="T78" fmla="*/ 401 w 719"/>
                    <a:gd name="T79" fmla="*/ 431 h 10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719" h="1088">
                      <a:moveTo>
                        <a:pt x="497" y="322"/>
                      </a:moveTo>
                      <a:cubicBezTo>
                        <a:pt x="496" y="322"/>
                        <a:pt x="495" y="322"/>
                        <a:pt x="494" y="322"/>
                      </a:cubicBezTo>
                      <a:cubicBezTo>
                        <a:pt x="494" y="319"/>
                        <a:pt x="494" y="319"/>
                        <a:pt x="494" y="319"/>
                      </a:cubicBezTo>
                      <a:cubicBezTo>
                        <a:pt x="552" y="234"/>
                        <a:pt x="552" y="234"/>
                        <a:pt x="552" y="234"/>
                      </a:cubicBezTo>
                      <a:cubicBezTo>
                        <a:pt x="552" y="65"/>
                        <a:pt x="552" y="65"/>
                        <a:pt x="552" y="65"/>
                      </a:cubicBezTo>
                      <a:cubicBezTo>
                        <a:pt x="558" y="64"/>
                        <a:pt x="564" y="63"/>
                        <a:pt x="569" y="61"/>
                      </a:cubicBezTo>
                      <a:cubicBezTo>
                        <a:pt x="577" y="59"/>
                        <a:pt x="582" y="53"/>
                        <a:pt x="590" y="51"/>
                      </a:cubicBezTo>
                      <a:cubicBezTo>
                        <a:pt x="601" y="45"/>
                        <a:pt x="614" y="44"/>
                        <a:pt x="626" y="41"/>
                      </a:cubicBezTo>
                      <a:cubicBezTo>
                        <a:pt x="631" y="40"/>
                        <a:pt x="635" y="36"/>
                        <a:pt x="638" y="32"/>
                      </a:cubicBezTo>
                      <a:cubicBezTo>
                        <a:pt x="645" y="28"/>
                        <a:pt x="647" y="20"/>
                        <a:pt x="650" y="13"/>
                      </a:cubicBezTo>
                      <a:cubicBezTo>
                        <a:pt x="651" y="7"/>
                        <a:pt x="656" y="7"/>
                        <a:pt x="660" y="9"/>
                      </a:cubicBezTo>
                      <a:cubicBezTo>
                        <a:pt x="665" y="12"/>
                        <a:pt x="663" y="0"/>
                        <a:pt x="669" y="6"/>
                      </a:cubicBezTo>
                      <a:cubicBezTo>
                        <a:pt x="676" y="10"/>
                        <a:pt x="684" y="7"/>
                        <a:pt x="690" y="11"/>
                      </a:cubicBezTo>
                      <a:cubicBezTo>
                        <a:pt x="694" y="13"/>
                        <a:pt x="699" y="14"/>
                        <a:pt x="699" y="20"/>
                      </a:cubicBezTo>
                      <a:cubicBezTo>
                        <a:pt x="701" y="24"/>
                        <a:pt x="704" y="28"/>
                        <a:pt x="700" y="32"/>
                      </a:cubicBezTo>
                      <a:cubicBezTo>
                        <a:pt x="696" y="37"/>
                        <a:pt x="696" y="43"/>
                        <a:pt x="695" y="48"/>
                      </a:cubicBezTo>
                      <a:cubicBezTo>
                        <a:pt x="693" y="58"/>
                        <a:pt x="699" y="67"/>
                        <a:pt x="702" y="77"/>
                      </a:cubicBezTo>
                      <a:cubicBezTo>
                        <a:pt x="704" y="88"/>
                        <a:pt x="704" y="99"/>
                        <a:pt x="705" y="111"/>
                      </a:cubicBezTo>
                      <a:cubicBezTo>
                        <a:pt x="706" y="115"/>
                        <a:pt x="702" y="122"/>
                        <a:pt x="709" y="120"/>
                      </a:cubicBezTo>
                      <a:cubicBezTo>
                        <a:pt x="714" y="117"/>
                        <a:pt x="716" y="124"/>
                        <a:pt x="719" y="126"/>
                      </a:cubicBezTo>
                      <a:cubicBezTo>
                        <a:pt x="711" y="127"/>
                        <a:pt x="704" y="129"/>
                        <a:pt x="697" y="132"/>
                      </a:cubicBezTo>
                      <a:cubicBezTo>
                        <a:pt x="694" y="136"/>
                        <a:pt x="693" y="141"/>
                        <a:pt x="691" y="145"/>
                      </a:cubicBezTo>
                      <a:cubicBezTo>
                        <a:pt x="688" y="155"/>
                        <a:pt x="686" y="166"/>
                        <a:pt x="686" y="177"/>
                      </a:cubicBezTo>
                      <a:cubicBezTo>
                        <a:pt x="684" y="186"/>
                        <a:pt x="685" y="195"/>
                        <a:pt x="687" y="205"/>
                      </a:cubicBezTo>
                      <a:cubicBezTo>
                        <a:pt x="686" y="215"/>
                        <a:pt x="683" y="224"/>
                        <a:pt x="680" y="233"/>
                      </a:cubicBezTo>
                      <a:cubicBezTo>
                        <a:pt x="679" y="239"/>
                        <a:pt x="675" y="242"/>
                        <a:pt x="671" y="246"/>
                      </a:cubicBezTo>
                      <a:cubicBezTo>
                        <a:pt x="666" y="250"/>
                        <a:pt x="666" y="256"/>
                        <a:pt x="665" y="261"/>
                      </a:cubicBezTo>
                      <a:cubicBezTo>
                        <a:pt x="664" y="267"/>
                        <a:pt x="661" y="272"/>
                        <a:pt x="658" y="276"/>
                      </a:cubicBezTo>
                      <a:cubicBezTo>
                        <a:pt x="653" y="281"/>
                        <a:pt x="651" y="288"/>
                        <a:pt x="649" y="294"/>
                      </a:cubicBezTo>
                      <a:cubicBezTo>
                        <a:pt x="648" y="299"/>
                        <a:pt x="647" y="303"/>
                        <a:pt x="642" y="305"/>
                      </a:cubicBezTo>
                      <a:cubicBezTo>
                        <a:pt x="638" y="310"/>
                        <a:pt x="633" y="316"/>
                        <a:pt x="632" y="323"/>
                      </a:cubicBezTo>
                      <a:cubicBezTo>
                        <a:pt x="628" y="332"/>
                        <a:pt x="630" y="342"/>
                        <a:pt x="626" y="350"/>
                      </a:cubicBezTo>
                      <a:cubicBezTo>
                        <a:pt x="619" y="364"/>
                        <a:pt x="615" y="379"/>
                        <a:pt x="608" y="393"/>
                      </a:cubicBezTo>
                      <a:cubicBezTo>
                        <a:pt x="601" y="409"/>
                        <a:pt x="591" y="424"/>
                        <a:pt x="586" y="441"/>
                      </a:cubicBezTo>
                      <a:cubicBezTo>
                        <a:pt x="584" y="449"/>
                        <a:pt x="585" y="432"/>
                        <a:pt x="584" y="442"/>
                      </a:cubicBezTo>
                      <a:cubicBezTo>
                        <a:pt x="583" y="455"/>
                        <a:pt x="583" y="468"/>
                        <a:pt x="579" y="481"/>
                      </a:cubicBezTo>
                      <a:cubicBezTo>
                        <a:pt x="578" y="491"/>
                        <a:pt x="572" y="499"/>
                        <a:pt x="568" y="507"/>
                      </a:cubicBezTo>
                      <a:cubicBezTo>
                        <a:pt x="564" y="513"/>
                        <a:pt x="557" y="517"/>
                        <a:pt x="552" y="523"/>
                      </a:cubicBezTo>
                      <a:cubicBezTo>
                        <a:pt x="541" y="534"/>
                        <a:pt x="531" y="547"/>
                        <a:pt x="521" y="559"/>
                      </a:cubicBezTo>
                      <a:cubicBezTo>
                        <a:pt x="518" y="572"/>
                        <a:pt x="515" y="584"/>
                        <a:pt x="510" y="596"/>
                      </a:cubicBezTo>
                      <a:cubicBezTo>
                        <a:pt x="503" y="607"/>
                        <a:pt x="495" y="616"/>
                        <a:pt x="489" y="628"/>
                      </a:cubicBezTo>
                      <a:cubicBezTo>
                        <a:pt x="481" y="639"/>
                        <a:pt x="471" y="651"/>
                        <a:pt x="461" y="661"/>
                      </a:cubicBezTo>
                      <a:cubicBezTo>
                        <a:pt x="454" y="666"/>
                        <a:pt x="452" y="676"/>
                        <a:pt x="447" y="683"/>
                      </a:cubicBezTo>
                      <a:cubicBezTo>
                        <a:pt x="438" y="690"/>
                        <a:pt x="430" y="700"/>
                        <a:pt x="421" y="708"/>
                      </a:cubicBezTo>
                      <a:cubicBezTo>
                        <a:pt x="415" y="712"/>
                        <a:pt x="408" y="717"/>
                        <a:pt x="402" y="722"/>
                      </a:cubicBezTo>
                      <a:cubicBezTo>
                        <a:pt x="398" y="727"/>
                        <a:pt x="396" y="734"/>
                        <a:pt x="393" y="739"/>
                      </a:cubicBezTo>
                      <a:cubicBezTo>
                        <a:pt x="385" y="750"/>
                        <a:pt x="375" y="758"/>
                        <a:pt x="367" y="768"/>
                      </a:cubicBezTo>
                      <a:cubicBezTo>
                        <a:pt x="353" y="780"/>
                        <a:pt x="339" y="792"/>
                        <a:pt x="322" y="801"/>
                      </a:cubicBezTo>
                      <a:cubicBezTo>
                        <a:pt x="314" y="803"/>
                        <a:pt x="306" y="803"/>
                        <a:pt x="300" y="808"/>
                      </a:cubicBezTo>
                      <a:cubicBezTo>
                        <a:pt x="283" y="817"/>
                        <a:pt x="271" y="830"/>
                        <a:pt x="257" y="842"/>
                      </a:cubicBezTo>
                      <a:cubicBezTo>
                        <a:pt x="248" y="845"/>
                        <a:pt x="245" y="855"/>
                        <a:pt x="238" y="860"/>
                      </a:cubicBezTo>
                      <a:cubicBezTo>
                        <a:pt x="230" y="866"/>
                        <a:pt x="222" y="873"/>
                        <a:pt x="215" y="881"/>
                      </a:cubicBezTo>
                      <a:cubicBezTo>
                        <a:pt x="206" y="891"/>
                        <a:pt x="196" y="901"/>
                        <a:pt x="186" y="911"/>
                      </a:cubicBezTo>
                      <a:cubicBezTo>
                        <a:pt x="171" y="925"/>
                        <a:pt x="160" y="943"/>
                        <a:pt x="147" y="959"/>
                      </a:cubicBezTo>
                      <a:cubicBezTo>
                        <a:pt x="145" y="964"/>
                        <a:pt x="142" y="965"/>
                        <a:pt x="137" y="965"/>
                      </a:cubicBezTo>
                      <a:cubicBezTo>
                        <a:pt x="134" y="966"/>
                        <a:pt x="128" y="971"/>
                        <a:pt x="126" y="969"/>
                      </a:cubicBezTo>
                      <a:cubicBezTo>
                        <a:pt x="125" y="961"/>
                        <a:pt x="122" y="969"/>
                        <a:pt x="120" y="972"/>
                      </a:cubicBezTo>
                      <a:cubicBezTo>
                        <a:pt x="118" y="975"/>
                        <a:pt x="129" y="966"/>
                        <a:pt x="126" y="974"/>
                      </a:cubicBezTo>
                      <a:cubicBezTo>
                        <a:pt x="129" y="980"/>
                        <a:pt x="125" y="982"/>
                        <a:pt x="120" y="982"/>
                      </a:cubicBezTo>
                      <a:cubicBezTo>
                        <a:pt x="118" y="987"/>
                        <a:pt x="117" y="991"/>
                        <a:pt x="116" y="996"/>
                      </a:cubicBezTo>
                      <a:cubicBezTo>
                        <a:pt x="100" y="1013"/>
                        <a:pt x="86" y="1031"/>
                        <a:pt x="73" y="1050"/>
                      </a:cubicBezTo>
                      <a:cubicBezTo>
                        <a:pt x="71" y="1055"/>
                        <a:pt x="64" y="1055"/>
                        <a:pt x="63" y="1059"/>
                      </a:cubicBezTo>
                      <a:cubicBezTo>
                        <a:pt x="60" y="1067"/>
                        <a:pt x="59" y="1075"/>
                        <a:pt x="54" y="1082"/>
                      </a:cubicBezTo>
                      <a:cubicBezTo>
                        <a:pt x="52" y="1084"/>
                        <a:pt x="51" y="1086"/>
                        <a:pt x="49" y="1088"/>
                      </a:cubicBezTo>
                      <a:cubicBezTo>
                        <a:pt x="49" y="1088"/>
                        <a:pt x="49" y="1088"/>
                        <a:pt x="49" y="1088"/>
                      </a:cubicBezTo>
                      <a:cubicBezTo>
                        <a:pt x="48" y="1085"/>
                        <a:pt x="49" y="1083"/>
                        <a:pt x="48" y="1081"/>
                      </a:cubicBezTo>
                      <a:cubicBezTo>
                        <a:pt x="42" y="1072"/>
                        <a:pt x="33" y="1057"/>
                        <a:pt x="26" y="1049"/>
                      </a:cubicBezTo>
                      <a:cubicBezTo>
                        <a:pt x="19" y="1038"/>
                        <a:pt x="10" y="1028"/>
                        <a:pt x="5" y="1016"/>
                      </a:cubicBezTo>
                      <a:cubicBezTo>
                        <a:pt x="4" y="925"/>
                        <a:pt x="4" y="833"/>
                        <a:pt x="2" y="741"/>
                      </a:cubicBezTo>
                      <a:cubicBezTo>
                        <a:pt x="0" y="726"/>
                        <a:pt x="18" y="719"/>
                        <a:pt x="25" y="708"/>
                      </a:cubicBezTo>
                      <a:cubicBezTo>
                        <a:pt x="41" y="687"/>
                        <a:pt x="54" y="664"/>
                        <a:pt x="68" y="642"/>
                      </a:cubicBezTo>
                      <a:cubicBezTo>
                        <a:pt x="68" y="642"/>
                        <a:pt x="68" y="642"/>
                        <a:pt x="68" y="642"/>
                      </a:cubicBezTo>
                      <a:cubicBezTo>
                        <a:pt x="70" y="641"/>
                        <a:pt x="71" y="639"/>
                        <a:pt x="72" y="635"/>
                      </a:cubicBezTo>
                      <a:cubicBezTo>
                        <a:pt x="78" y="626"/>
                        <a:pt x="89" y="623"/>
                        <a:pt x="100" y="625"/>
                      </a:cubicBezTo>
                      <a:cubicBezTo>
                        <a:pt x="111" y="623"/>
                        <a:pt x="123" y="619"/>
                        <a:pt x="134" y="618"/>
                      </a:cubicBezTo>
                      <a:cubicBezTo>
                        <a:pt x="146" y="611"/>
                        <a:pt x="144" y="593"/>
                        <a:pt x="159" y="588"/>
                      </a:cubicBezTo>
                      <a:cubicBezTo>
                        <a:pt x="174" y="579"/>
                        <a:pt x="191" y="570"/>
                        <a:pt x="208" y="568"/>
                      </a:cubicBezTo>
                      <a:cubicBezTo>
                        <a:pt x="219" y="563"/>
                        <a:pt x="231" y="565"/>
                        <a:pt x="243" y="566"/>
                      </a:cubicBezTo>
                      <a:cubicBezTo>
                        <a:pt x="258" y="566"/>
                        <a:pt x="273" y="567"/>
                        <a:pt x="288" y="568"/>
                      </a:cubicBezTo>
                      <a:cubicBezTo>
                        <a:pt x="326" y="522"/>
                        <a:pt x="362" y="475"/>
                        <a:pt x="401" y="431"/>
                      </a:cubicBezTo>
                      <a:cubicBezTo>
                        <a:pt x="432" y="393"/>
                        <a:pt x="465" y="358"/>
                        <a:pt x="497" y="322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476" name="Slowenia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94299" y="3063231"/>
                <a:ext cx="55218" cy="51758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0" y="5"/>
                  </a:cxn>
                  <a:cxn ang="0">
                    <a:pos x="0" y="2"/>
                  </a:cxn>
                  <a:cxn ang="0">
                    <a:pos x="8" y="0"/>
                  </a:cxn>
                  <a:cxn ang="0">
                    <a:pos x="10" y="2"/>
                  </a:cxn>
                  <a:cxn ang="0">
                    <a:pos x="6" y="5"/>
                  </a:cxn>
                  <a:cxn ang="0">
                    <a:pos x="6" y="9"/>
                  </a:cxn>
                  <a:cxn ang="0">
                    <a:pos x="2" y="5"/>
                  </a:cxn>
                  <a:cxn ang="0">
                    <a:pos x="0" y="7"/>
                  </a:cxn>
                  <a:cxn ang="0">
                    <a:pos x="0" y="9"/>
                  </a:cxn>
                </a:cxnLst>
                <a:rect l="0" t="0" r="r" b="b"/>
                <a:pathLst>
                  <a:path w="10" h="9">
                    <a:moveTo>
                      <a:pt x="0" y="9"/>
                    </a:moveTo>
                    <a:lnTo>
                      <a:pt x="0" y="5"/>
                    </a:lnTo>
                    <a:lnTo>
                      <a:pt x="0" y="2"/>
                    </a:lnTo>
                    <a:lnTo>
                      <a:pt x="8" y="0"/>
                    </a:lnTo>
                    <a:lnTo>
                      <a:pt x="10" y="2"/>
                    </a:lnTo>
                    <a:lnTo>
                      <a:pt x="6" y="5"/>
                    </a:lnTo>
                    <a:lnTo>
                      <a:pt x="6" y="9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77" name="Slovakia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649516" y="2975242"/>
                <a:ext cx="127691" cy="67285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4" y="9"/>
                  </a:cxn>
                  <a:cxn ang="0">
                    <a:pos x="8" y="12"/>
                  </a:cxn>
                  <a:cxn ang="0">
                    <a:pos x="19" y="7"/>
                  </a:cxn>
                  <a:cxn ang="0">
                    <a:pos x="23" y="7"/>
                  </a:cxn>
                  <a:cxn ang="0">
                    <a:pos x="23" y="3"/>
                  </a:cxn>
                  <a:cxn ang="0">
                    <a:pos x="21" y="3"/>
                  </a:cxn>
                  <a:cxn ang="0">
                    <a:pos x="15" y="3"/>
                  </a:cxn>
                  <a:cxn ang="0">
                    <a:pos x="8" y="0"/>
                  </a:cxn>
                  <a:cxn ang="0">
                    <a:pos x="4" y="5"/>
                  </a:cxn>
                  <a:cxn ang="0">
                    <a:pos x="0" y="5"/>
                  </a:cxn>
                  <a:cxn ang="0">
                    <a:pos x="0" y="7"/>
                  </a:cxn>
                </a:cxnLst>
                <a:rect l="0" t="0" r="r" b="b"/>
                <a:pathLst>
                  <a:path w="23" h="12">
                    <a:moveTo>
                      <a:pt x="0" y="7"/>
                    </a:moveTo>
                    <a:lnTo>
                      <a:pt x="4" y="9"/>
                    </a:lnTo>
                    <a:lnTo>
                      <a:pt x="8" y="12"/>
                    </a:lnTo>
                    <a:lnTo>
                      <a:pt x="19" y="7"/>
                    </a:lnTo>
                    <a:lnTo>
                      <a:pt x="23" y="7"/>
                    </a:lnTo>
                    <a:lnTo>
                      <a:pt x="23" y="3"/>
                    </a:lnTo>
                    <a:lnTo>
                      <a:pt x="21" y="3"/>
                    </a:lnTo>
                    <a:lnTo>
                      <a:pt x="15" y="3"/>
                    </a:lnTo>
                    <a:lnTo>
                      <a:pt x="8" y="0"/>
                    </a:lnTo>
                    <a:lnTo>
                      <a:pt x="4" y="5"/>
                    </a:lnTo>
                    <a:lnTo>
                      <a:pt x="0" y="5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189" name="Singapore"/>
              <p:cNvSpPr>
                <a:spLocks/>
              </p:cNvSpPr>
              <p:nvPr/>
            </p:nvSpPr>
            <p:spPr bwMode="auto">
              <a:xfrm>
                <a:off x="6963590" y="4495500"/>
                <a:ext cx="16176" cy="18359"/>
              </a:xfrm>
              <a:custGeom>
                <a:avLst/>
                <a:gdLst>
                  <a:gd name="T0" fmla="*/ 5236133 w 43"/>
                  <a:gd name="T1" fmla="*/ 4010374 h 43"/>
                  <a:gd name="T2" fmla="*/ 5802293 w 43"/>
                  <a:gd name="T3" fmla="*/ 5104229 h 43"/>
                  <a:gd name="T4" fmla="*/ 5236133 w 43"/>
                  <a:gd name="T5" fmla="*/ 6379965 h 43"/>
                  <a:gd name="T6" fmla="*/ 4811419 w 43"/>
                  <a:gd name="T7" fmla="*/ 7656131 h 43"/>
                  <a:gd name="T8" fmla="*/ 3254762 w 43"/>
                  <a:gd name="T9" fmla="*/ 7838440 h 43"/>
                  <a:gd name="T10" fmla="*/ 2264264 w 43"/>
                  <a:gd name="T11" fmla="*/ 7291512 h 43"/>
                  <a:gd name="T12" fmla="*/ 1415212 w 43"/>
                  <a:gd name="T13" fmla="*/ 6562274 h 43"/>
                  <a:gd name="T14" fmla="*/ 707606 w 43"/>
                  <a:gd name="T15" fmla="*/ 5651156 h 43"/>
                  <a:gd name="T16" fmla="*/ 566160 w 43"/>
                  <a:gd name="T17" fmla="*/ 4374993 h 43"/>
                  <a:gd name="T18" fmla="*/ 141446 w 43"/>
                  <a:gd name="T19" fmla="*/ 3098828 h 43"/>
                  <a:gd name="T20" fmla="*/ 566160 w 43"/>
                  <a:gd name="T21" fmla="*/ 2004974 h 43"/>
                  <a:gd name="T22" fmla="*/ 1131944 w 43"/>
                  <a:gd name="T23" fmla="*/ 911546 h 43"/>
                  <a:gd name="T24" fmla="*/ 1839550 w 43"/>
                  <a:gd name="T25" fmla="*/ 546927 h 43"/>
                  <a:gd name="T26" fmla="*/ 2971869 w 43"/>
                  <a:gd name="T27" fmla="*/ 546927 h 43"/>
                  <a:gd name="T28" fmla="*/ 3820922 w 43"/>
                  <a:gd name="T29" fmla="*/ 729237 h 43"/>
                  <a:gd name="T30" fmla="*/ 4669973 w 43"/>
                  <a:gd name="T31" fmla="*/ 1276164 h 43"/>
                  <a:gd name="T32" fmla="*/ 4811419 w 43"/>
                  <a:gd name="T33" fmla="*/ 2551901 h 43"/>
                  <a:gd name="T34" fmla="*/ 4953241 w 43"/>
                  <a:gd name="T35" fmla="*/ 2734210 h 43"/>
                  <a:gd name="T36" fmla="*/ 5236133 w 43"/>
                  <a:gd name="T37" fmla="*/ 4010374 h 4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3"/>
                  <a:gd name="T58" fmla="*/ 0 h 43"/>
                  <a:gd name="T59" fmla="*/ 43 w 43"/>
                  <a:gd name="T60" fmla="*/ 43 h 4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3" h="43">
                    <a:moveTo>
                      <a:pt x="37" y="22"/>
                    </a:moveTo>
                    <a:cubicBezTo>
                      <a:pt x="38" y="24"/>
                      <a:pt x="43" y="24"/>
                      <a:pt x="41" y="28"/>
                    </a:cubicBezTo>
                    <a:cubicBezTo>
                      <a:pt x="40" y="30"/>
                      <a:pt x="38" y="33"/>
                      <a:pt x="37" y="35"/>
                    </a:cubicBezTo>
                    <a:cubicBezTo>
                      <a:pt x="37" y="37"/>
                      <a:pt x="38" y="41"/>
                      <a:pt x="34" y="42"/>
                    </a:cubicBezTo>
                    <a:cubicBezTo>
                      <a:pt x="31" y="42"/>
                      <a:pt x="27" y="43"/>
                      <a:pt x="23" y="43"/>
                    </a:cubicBezTo>
                    <a:cubicBezTo>
                      <a:pt x="21" y="42"/>
                      <a:pt x="18" y="43"/>
                      <a:pt x="16" y="40"/>
                    </a:cubicBezTo>
                    <a:cubicBezTo>
                      <a:pt x="14" y="38"/>
                      <a:pt x="11" y="38"/>
                      <a:pt x="10" y="36"/>
                    </a:cubicBezTo>
                    <a:cubicBezTo>
                      <a:pt x="8" y="34"/>
                      <a:pt x="5" y="34"/>
                      <a:pt x="5" y="31"/>
                    </a:cubicBezTo>
                    <a:cubicBezTo>
                      <a:pt x="3" y="29"/>
                      <a:pt x="3" y="27"/>
                      <a:pt x="4" y="24"/>
                    </a:cubicBezTo>
                    <a:cubicBezTo>
                      <a:pt x="4" y="22"/>
                      <a:pt x="2" y="19"/>
                      <a:pt x="1" y="17"/>
                    </a:cubicBezTo>
                    <a:cubicBezTo>
                      <a:pt x="0" y="15"/>
                      <a:pt x="1" y="12"/>
                      <a:pt x="4" y="11"/>
                    </a:cubicBezTo>
                    <a:cubicBezTo>
                      <a:pt x="7" y="10"/>
                      <a:pt x="6" y="6"/>
                      <a:pt x="8" y="5"/>
                    </a:cubicBezTo>
                    <a:cubicBezTo>
                      <a:pt x="10" y="5"/>
                      <a:pt x="12" y="4"/>
                      <a:pt x="13" y="3"/>
                    </a:cubicBezTo>
                    <a:cubicBezTo>
                      <a:pt x="16" y="2"/>
                      <a:pt x="19" y="0"/>
                      <a:pt x="21" y="3"/>
                    </a:cubicBezTo>
                    <a:cubicBezTo>
                      <a:pt x="23" y="4"/>
                      <a:pt x="25" y="3"/>
                      <a:pt x="27" y="4"/>
                    </a:cubicBezTo>
                    <a:cubicBezTo>
                      <a:pt x="29" y="5"/>
                      <a:pt x="31" y="6"/>
                      <a:pt x="33" y="7"/>
                    </a:cubicBezTo>
                    <a:cubicBezTo>
                      <a:pt x="35" y="9"/>
                      <a:pt x="34" y="12"/>
                      <a:pt x="34" y="14"/>
                    </a:cubicBezTo>
                    <a:cubicBezTo>
                      <a:pt x="34" y="14"/>
                      <a:pt x="35" y="14"/>
                      <a:pt x="35" y="15"/>
                    </a:cubicBezTo>
                    <a:cubicBezTo>
                      <a:pt x="35" y="17"/>
                      <a:pt x="36" y="20"/>
                      <a:pt x="37" y="22"/>
                    </a:cubicBezTo>
                    <a:close/>
                  </a:path>
                </a:pathLst>
              </a:custGeom>
              <a:solidFill>
                <a:schemeClr val="bg2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 lIns="71120" tIns="71120" rIns="71120" bIns="71120"/>
              <a:lstStyle/>
              <a:p>
                <a:endParaRPr lang="it-IT"/>
              </a:p>
            </p:txBody>
          </p:sp>
          <p:sp>
            <p:nvSpPr>
              <p:cNvPr id="479" name="Seychelles"/>
              <p:cNvSpPr>
                <a:spLocks/>
              </p:cNvSpPr>
              <p:nvPr/>
            </p:nvSpPr>
            <p:spPr bwMode="auto">
              <a:xfrm>
                <a:off x="5565783" y="4904097"/>
                <a:ext cx="15529" cy="18977"/>
              </a:xfrm>
              <a:custGeom>
                <a:avLst/>
                <a:gdLst>
                  <a:gd name="T0" fmla="*/ 37 w 43"/>
                  <a:gd name="T1" fmla="*/ 22 h 43"/>
                  <a:gd name="T2" fmla="*/ 41 w 43"/>
                  <a:gd name="T3" fmla="*/ 28 h 43"/>
                  <a:gd name="T4" fmla="*/ 37 w 43"/>
                  <a:gd name="T5" fmla="*/ 35 h 43"/>
                  <a:gd name="T6" fmla="*/ 34 w 43"/>
                  <a:gd name="T7" fmla="*/ 42 h 43"/>
                  <a:gd name="T8" fmla="*/ 23 w 43"/>
                  <a:gd name="T9" fmla="*/ 43 h 43"/>
                  <a:gd name="T10" fmla="*/ 16 w 43"/>
                  <a:gd name="T11" fmla="*/ 40 h 43"/>
                  <a:gd name="T12" fmla="*/ 10 w 43"/>
                  <a:gd name="T13" fmla="*/ 36 h 43"/>
                  <a:gd name="T14" fmla="*/ 5 w 43"/>
                  <a:gd name="T15" fmla="*/ 31 h 43"/>
                  <a:gd name="T16" fmla="*/ 4 w 43"/>
                  <a:gd name="T17" fmla="*/ 24 h 43"/>
                  <a:gd name="T18" fmla="*/ 1 w 43"/>
                  <a:gd name="T19" fmla="*/ 17 h 43"/>
                  <a:gd name="T20" fmla="*/ 4 w 43"/>
                  <a:gd name="T21" fmla="*/ 11 h 43"/>
                  <a:gd name="T22" fmla="*/ 8 w 43"/>
                  <a:gd name="T23" fmla="*/ 5 h 43"/>
                  <a:gd name="T24" fmla="*/ 13 w 43"/>
                  <a:gd name="T25" fmla="*/ 3 h 43"/>
                  <a:gd name="T26" fmla="*/ 21 w 43"/>
                  <a:gd name="T27" fmla="*/ 3 h 43"/>
                  <a:gd name="T28" fmla="*/ 27 w 43"/>
                  <a:gd name="T29" fmla="*/ 4 h 43"/>
                  <a:gd name="T30" fmla="*/ 33 w 43"/>
                  <a:gd name="T31" fmla="*/ 7 h 43"/>
                  <a:gd name="T32" fmla="*/ 34 w 43"/>
                  <a:gd name="T33" fmla="*/ 14 h 43"/>
                  <a:gd name="T34" fmla="*/ 35 w 43"/>
                  <a:gd name="T35" fmla="*/ 15 h 43"/>
                  <a:gd name="T36" fmla="*/ 37 w 43"/>
                  <a:gd name="T37" fmla="*/ 2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3">
                    <a:moveTo>
                      <a:pt x="37" y="22"/>
                    </a:moveTo>
                    <a:cubicBezTo>
                      <a:pt x="38" y="24"/>
                      <a:pt x="43" y="24"/>
                      <a:pt x="41" y="28"/>
                    </a:cubicBezTo>
                    <a:cubicBezTo>
                      <a:pt x="40" y="30"/>
                      <a:pt x="38" y="33"/>
                      <a:pt x="37" y="35"/>
                    </a:cubicBezTo>
                    <a:cubicBezTo>
                      <a:pt x="37" y="37"/>
                      <a:pt x="38" y="41"/>
                      <a:pt x="34" y="42"/>
                    </a:cubicBezTo>
                    <a:cubicBezTo>
                      <a:pt x="31" y="42"/>
                      <a:pt x="27" y="43"/>
                      <a:pt x="23" y="43"/>
                    </a:cubicBezTo>
                    <a:cubicBezTo>
                      <a:pt x="21" y="42"/>
                      <a:pt x="18" y="43"/>
                      <a:pt x="16" y="40"/>
                    </a:cubicBezTo>
                    <a:cubicBezTo>
                      <a:pt x="14" y="38"/>
                      <a:pt x="11" y="38"/>
                      <a:pt x="10" y="36"/>
                    </a:cubicBezTo>
                    <a:cubicBezTo>
                      <a:pt x="8" y="34"/>
                      <a:pt x="5" y="34"/>
                      <a:pt x="5" y="31"/>
                    </a:cubicBezTo>
                    <a:cubicBezTo>
                      <a:pt x="3" y="29"/>
                      <a:pt x="3" y="27"/>
                      <a:pt x="4" y="24"/>
                    </a:cubicBezTo>
                    <a:cubicBezTo>
                      <a:pt x="4" y="22"/>
                      <a:pt x="2" y="19"/>
                      <a:pt x="1" y="17"/>
                    </a:cubicBezTo>
                    <a:cubicBezTo>
                      <a:pt x="0" y="15"/>
                      <a:pt x="1" y="12"/>
                      <a:pt x="4" y="11"/>
                    </a:cubicBezTo>
                    <a:cubicBezTo>
                      <a:pt x="7" y="10"/>
                      <a:pt x="6" y="6"/>
                      <a:pt x="8" y="5"/>
                    </a:cubicBezTo>
                    <a:cubicBezTo>
                      <a:pt x="10" y="5"/>
                      <a:pt x="12" y="4"/>
                      <a:pt x="13" y="3"/>
                    </a:cubicBezTo>
                    <a:cubicBezTo>
                      <a:pt x="16" y="2"/>
                      <a:pt x="19" y="0"/>
                      <a:pt x="21" y="3"/>
                    </a:cubicBezTo>
                    <a:cubicBezTo>
                      <a:pt x="23" y="4"/>
                      <a:pt x="25" y="3"/>
                      <a:pt x="27" y="4"/>
                    </a:cubicBezTo>
                    <a:cubicBezTo>
                      <a:pt x="29" y="5"/>
                      <a:pt x="31" y="6"/>
                      <a:pt x="33" y="7"/>
                    </a:cubicBezTo>
                    <a:cubicBezTo>
                      <a:pt x="35" y="9"/>
                      <a:pt x="34" y="12"/>
                      <a:pt x="34" y="14"/>
                    </a:cubicBezTo>
                    <a:cubicBezTo>
                      <a:pt x="34" y="14"/>
                      <a:pt x="35" y="14"/>
                      <a:pt x="35" y="15"/>
                    </a:cubicBezTo>
                    <a:cubicBezTo>
                      <a:pt x="35" y="17"/>
                      <a:pt x="36" y="20"/>
                      <a:pt x="37" y="22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80" name="Serbia"/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694381" y="3092561"/>
                <a:ext cx="115612" cy="132845"/>
              </a:xfrm>
              <a:custGeom>
                <a:avLst/>
                <a:gdLst/>
                <a:ahLst/>
                <a:cxnLst>
                  <a:cxn ang="0">
                    <a:pos x="11" y="24"/>
                  </a:cxn>
                  <a:cxn ang="0">
                    <a:pos x="11" y="20"/>
                  </a:cxn>
                  <a:cxn ang="0">
                    <a:pos x="7" y="20"/>
                  </a:cxn>
                  <a:cxn ang="0">
                    <a:pos x="11" y="20"/>
                  </a:cxn>
                  <a:cxn ang="0">
                    <a:pos x="5" y="13"/>
                  </a:cxn>
                  <a:cxn ang="0">
                    <a:pos x="7" y="13"/>
                  </a:cxn>
                  <a:cxn ang="0">
                    <a:pos x="5" y="9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0" y="0"/>
                  </a:cxn>
                  <a:cxn ang="0">
                    <a:pos x="7" y="0"/>
                  </a:cxn>
                  <a:cxn ang="0">
                    <a:pos x="15" y="6"/>
                  </a:cxn>
                  <a:cxn ang="0">
                    <a:pos x="19" y="6"/>
                  </a:cxn>
                  <a:cxn ang="0">
                    <a:pos x="21" y="9"/>
                  </a:cxn>
                  <a:cxn ang="0">
                    <a:pos x="19" y="13"/>
                  </a:cxn>
                  <a:cxn ang="0">
                    <a:pos x="19" y="20"/>
                  </a:cxn>
                  <a:cxn ang="0">
                    <a:pos x="19" y="22"/>
                  </a:cxn>
                  <a:cxn ang="0">
                    <a:pos x="15" y="22"/>
                  </a:cxn>
                  <a:cxn ang="0">
                    <a:pos x="13" y="24"/>
                  </a:cxn>
                  <a:cxn ang="0">
                    <a:pos x="11" y="24"/>
                  </a:cxn>
                </a:cxnLst>
                <a:rect l="0" t="0" r="r" b="b"/>
                <a:pathLst>
                  <a:path w="21" h="24">
                    <a:moveTo>
                      <a:pt x="11" y="24"/>
                    </a:moveTo>
                    <a:lnTo>
                      <a:pt x="11" y="20"/>
                    </a:lnTo>
                    <a:lnTo>
                      <a:pt x="7" y="20"/>
                    </a:lnTo>
                    <a:lnTo>
                      <a:pt x="11" y="20"/>
                    </a:lnTo>
                    <a:lnTo>
                      <a:pt x="5" y="13"/>
                    </a:lnTo>
                    <a:lnTo>
                      <a:pt x="7" y="13"/>
                    </a:lnTo>
                    <a:lnTo>
                      <a:pt x="5" y="9"/>
                    </a:lnTo>
                    <a:lnTo>
                      <a:pt x="5" y="6"/>
                    </a:lnTo>
                    <a:lnTo>
                      <a:pt x="5" y="4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15" y="6"/>
                    </a:lnTo>
                    <a:lnTo>
                      <a:pt x="19" y="6"/>
                    </a:lnTo>
                    <a:lnTo>
                      <a:pt x="21" y="9"/>
                    </a:lnTo>
                    <a:lnTo>
                      <a:pt x="19" y="13"/>
                    </a:lnTo>
                    <a:lnTo>
                      <a:pt x="19" y="20"/>
                    </a:lnTo>
                    <a:lnTo>
                      <a:pt x="19" y="22"/>
                    </a:lnTo>
                    <a:lnTo>
                      <a:pt x="15" y="22"/>
                    </a:lnTo>
                    <a:lnTo>
                      <a:pt x="13" y="24"/>
                    </a:lnTo>
                    <a:lnTo>
                      <a:pt x="11" y="24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81" name="Senegal"/>
              <p:cNvSpPr>
                <a:spLocks/>
              </p:cNvSpPr>
              <p:nvPr/>
            </p:nvSpPr>
            <p:spPr bwMode="auto">
              <a:xfrm>
                <a:off x="3776389" y="4013856"/>
                <a:ext cx="148397" cy="150098"/>
              </a:xfrm>
              <a:custGeom>
                <a:avLst/>
                <a:gdLst>
                  <a:gd name="T0" fmla="*/ 233 w 408"/>
                  <a:gd name="T1" fmla="*/ 315 h 349"/>
                  <a:gd name="T2" fmla="*/ 92 w 408"/>
                  <a:gd name="T3" fmla="*/ 329 h 349"/>
                  <a:gd name="T4" fmla="*/ 22 w 408"/>
                  <a:gd name="T5" fmla="*/ 340 h 349"/>
                  <a:gd name="T6" fmla="*/ 18 w 408"/>
                  <a:gd name="T7" fmla="*/ 333 h 349"/>
                  <a:gd name="T8" fmla="*/ 26 w 408"/>
                  <a:gd name="T9" fmla="*/ 278 h 349"/>
                  <a:gd name="T10" fmla="*/ 30 w 408"/>
                  <a:gd name="T11" fmla="*/ 272 h 349"/>
                  <a:gd name="T12" fmla="*/ 90 w 408"/>
                  <a:gd name="T13" fmla="*/ 270 h 349"/>
                  <a:gd name="T14" fmla="*/ 140 w 408"/>
                  <a:gd name="T15" fmla="*/ 241 h 349"/>
                  <a:gd name="T16" fmla="*/ 208 w 408"/>
                  <a:gd name="T17" fmla="*/ 270 h 349"/>
                  <a:gd name="T18" fmla="*/ 190 w 408"/>
                  <a:gd name="T19" fmla="*/ 248 h 349"/>
                  <a:gd name="T20" fmla="*/ 137 w 408"/>
                  <a:gd name="T21" fmla="*/ 227 h 349"/>
                  <a:gd name="T22" fmla="*/ 46 w 408"/>
                  <a:gd name="T23" fmla="*/ 237 h 349"/>
                  <a:gd name="T24" fmla="*/ 44 w 408"/>
                  <a:gd name="T25" fmla="*/ 226 h 349"/>
                  <a:gd name="T26" fmla="*/ 22 w 408"/>
                  <a:gd name="T27" fmla="*/ 173 h 349"/>
                  <a:gd name="T28" fmla="*/ 7 w 408"/>
                  <a:gd name="T29" fmla="*/ 139 h 349"/>
                  <a:gd name="T30" fmla="*/ 49 w 408"/>
                  <a:gd name="T31" fmla="*/ 89 h 349"/>
                  <a:gd name="T32" fmla="*/ 71 w 408"/>
                  <a:gd name="T33" fmla="*/ 43 h 349"/>
                  <a:gd name="T34" fmla="*/ 97 w 408"/>
                  <a:gd name="T35" fmla="*/ 8 h 349"/>
                  <a:gd name="T36" fmla="*/ 167 w 408"/>
                  <a:gd name="T37" fmla="*/ 8 h 349"/>
                  <a:gd name="T38" fmla="*/ 210 w 408"/>
                  <a:gd name="T39" fmla="*/ 7 h 349"/>
                  <a:gd name="T40" fmla="*/ 260 w 408"/>
                  <a:gd name="T41" fmla="*/ 45 h 349"/>
                  <a:gd name="T42" fmla="*/ 283 w 408"/>
                  <a:gd name="T43" fmla="*/ 55 h 349"/>
                  <a:gd name="T44" fmla="*/ 303 w 408"/>
                  <a:gd name="T45" fmla="*/ 99 h 349"/>
                  <a:gd name="T46" fmla="*/ 317 w 408"/>
                  <a:gd name="T47" fmla="*/ 120 h 349"/>
                  <a:gd name="T48" fmla="*/ 356 w 408"/>
                  <a:gd name="T49" fmla="*/ 156 h 349"/>
                  <a:gd name="T50" fmla="*/ 361 w 408"/>
                  <a:gd name="T51" fmla="*/ 188 h 349"/>
                  <a:gd name="T52" fmla="*/ 364 w 408"/>
                  <a:gd name="T53" fmla="*/ 237 h 349"/>
                  <a:gd name="T54" fmla="*/ 392 w 408"/>
                  <a:gd name="T55" fmla="*/ 266 h 349"/>
                  <a:gd name="T56" fmla="*/ 403 w 408"/>
                  <a:gd name="T57" fmla="*/ 305 h 349"/>
                  <a:gd name="T58" fmla="*/ 398 w 408"/>
                  <a:gd name="T59" fmla="*/ 339 h 349"/>
                  <a:gd name="T60" fmla="*/ 341 w 408"/>
                  <a:gd name="T61" fmla="*/ 344 h 349"/>
                  <a:gd name="T62" fmla="*/ 293 w 408"/>
                  <a:gd name="T63" fmla="*/ 327 h 349"/>
                  <a:gd name="T64" fmla="*/ 237 w 408"/>
                  <a:gd name="T65" fmla="*/ 315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08" h="349">
                    <a:moveTo>
                      <a:pt x="237" y="315"/>
                    </a:moveTo>
                    <a:cubicBezTo>
                      <a:pt x="235" y="315"/>
                      <a:pt x="234" y="315"/>
                      <a:pt x="233" y="315"/>
                    </a:cubicBezTo>
                    <a:cubicBezTo>
                      <a:pt x="198" y="314"/>
                      <a:pt x="164" y="312"/>
                      <a:pt x="129" y="311"/>
                    </a:cubicBezTo>
                    <a:cubicBezTo>
                      <a:pt x="118" y="318"/>
                      <a:pt x="106" y="326"/>
                      <a:pt x="92" y="329"/>
                    </a:cubicBezTo>
                    <a:cubicBezTo>
                      <a:pt x="77" y="329"/>
                      <a:pt x="61" y="321"/>
                      <a:pt x="47" y="330"/>
                    </a:cubicBezTo>
                    <a:cubicBezTo>
                      <a:pt x="40" y="338"/>
                      <a:pt x="29" y="333"/>
                      <a:pt x="22" y="340"/>
                    </a:cubicBezTo>
                    <a:cubicBezTo>
                      <a:pt x="22" y="340"/>
                      <a:pt x="22" y="340"/>
                      <a:pt x="22" y="340"/>
                    </a:cubicBezTo>
                    <a:cubicBezTo>
                      <a:pt x="21" y="338"/>
                      <a:pt x="20" y="335"/>
                      <a:pt x="18" y="333"/>
                    </a:cubicBezTo>
                    <a:cubicBezTo>
                      <a:pt x="15" y="329"/>
                      <a:pt x="19" y="324"/>
                      <a:pt x="20" y="319"/>
                    </a:cubicBezTo>
                    <a:cubicBezTo>
                      <a:pt x="21" y="305"/>
                      <a:pt x="23" y="291"/>
                      <a:pt x="26" y="278"/>
                    </a:cubicBezTo>
                    <a:cubicBezTo>
                      <a:pt x="27" y="278"/>
                      <a:pt x="27" y="278"/>
                      <a:pt x="27" y="278"/>
                    </a:cubicBezTo>
                    <a:cubicBezTo>
                      <a:pt x="28" y="276"/>
                      <a:pt x="29" y="274"/>
                      <a:pt x="30" y="272"/>
                    </a:cubicBezTo>
                    <a:cubicBezTo>
                      <a:pt x="39" y="268"/>
                      <a:pt x="48" y="272"/>
                      <a:pt x="58" y="271"/>
                    </a:cubicBezTo>
                    <a:cubicBezTo>
                      <a:pt x="69" y="270"/>
                      <a:pt x="82" y="275"/>
                      <a:pt x="90" y="270"/>
                    </a:cubicBezTo>
                    <a:cubicBezTo>
                      <a:pt x="88" y="253"/>
                      <a:pt x="108" y="257"/>
                      <a:pt x="119" y="256"/>
                    </a:cubicBezTo>
                    <a:cubicBezTo>
                      <a:pt x="131" y="263"/>
                      <a:pt x="135" y="249"/>
                      <a:pt x="140" y="241"/>
                    </a:cubicBezTo>
                    <a:cubicBezTo>
                      <a:pt x="152" y="247"/>
                      <a:pt x="164" y="258"/>
                      <a:pt x="177" y="261"/>
                    </a:cubicBezTo>
                    <a:cubicBezTo>
                      <a:pt x="187" y="263"/>
                      <a:pt x="196" y="274"/>
                      <a:pt x="208" y="270"/>
                    </a:cubicBezTo>
                    <a:cubicBezTo>
                      <a:pt x="216" y="264"/>
                      <a:pt x="242" y="268"/>
                      <a:pt x="233" y="251"/>
                    </a:cubicBezTo>
                    <a:cubicBezTo>
                      <a:pt x="222" y="232"/>
                      <a:pt x="201" y="263"/>
                      <a:pt x="190" y="248"/>
                    </a:cubicBezTo>
                    <a:cubicBezTo>
                      <a:pt x="188" y="235"/>
                      <a:pt x="179" y="235"/>
                      <a:pt x="169" y="239"/>
                    </a:cubicBezTo>
                    <a:cubicBezTo>
                      <a:pt x="166" y="225"/>
                      <a:pt x="149" y="218"/>
                      <a:pt x="137" y="227"/>
                    </a:cubicBezTo>
                    <a:cubicBezTo>
                      <a:pt x="128" y="222"/>
                      <a:pt x="116" y="229"/>
                      <a:pt x="116" y="240"/>
                    </a:cubicBezTo>
                    <a:cubicBezTo>
                      <a:pt x="90" y="239"/>
                      <a:pt x="72" y="238"/>
                      <a:pt x="46" y="237"/>
                    </a:cubicBezTo>
                    <a:cubicBezTo>
                      <a:pt x="46" y="237"/>
                      <a:pt x="46" y="237"/>
                      <a:pt x="46" y="237"/>
                    </a:cubicBezTo>
                    <a:cubicBezTo>
                      <a:pt x="45" y="233"/>
                      <a:pt x="44" y="230"/>
                      <a:pt x="44" y="226"/>
                    </a:cubicBezTo>
                    <a:cubicBezTo>
                      <a:pt x="42" y="220"/>
                      <a:pt x="38" y="215"/>
                      <a:pt x="35" y="209"/>
                    </a:cubicBezTo>
                    <a:cubicBezTo>
                      <a:pt x="31" y="197"/>
                      <a:pt x="27" y="185"/>
                      <a:pt x="22" y="173"/>
                    </a:cubicBezTo>
                    <a:cubicBezTo>
                      <a:pt x="17" y="165"/>
                      <a:pt x="11" y="158"/>
                      <a:pt x="4" y="152"/>
                    </a:cubicBezTo>
                    <a:cubicBezTo>
                      <a:pt x="0" y="147"/>
                      <a:pt x="5" y="143"/>
                      <a:pt x="7" y="139"/>
                    </a:cubicBezTo>
                    <a:cubicBezTo>
                      <a:pt x="15" y="133"/>
                      <a:pt x="22" y="126"/>
                      <a:pt x="28" y="118"/>
                    </a:cubicBezTo>
                    <a:cubicBezTo>
                      <a:pt x="36" y="109"/>
                      <a:pt x="43" y="99"/>
                      <a:pt x="49" y="89"/>
                    </a:cubicBezTo>
                    <a:cubicBezTo>
                      <a:pt x="56" y="79"/>
                      <a:pt x="63" y="69"/>
                      <a:pt x="69" y="59"/>
                    </a:cubicBezTo>
                    <a:cubicBezTo>
                      <a:pt x="70" y="54"/>
                      <a:pt x="70" y="49"/>
                      <a:pt x="71" y="43"/>
                    </a:cubicBezTo>
                    <a:cubicBezTo>
                      <a:pt x="73" y="39"/>
                      <a:pt x="74" y="47"/>
                      <a:pt x="75" y="39"/>
                    </a:cubicBezTo>
                    <a:cubicBezTo>
                      <a:pt x="87" y="31"/>
                      <a:pt x="80" y="8"/>
                      <a:pt x="97" y="8"/>
                    </a:cubicBezTo>
                    <a:cubicBezTo>
                      <a:pt x="107" y="13"/>
                      <a:pt x="116" y="13"/>
                      <a:pt x="127" y="15"/>
                    </a:cubicBezTo>
                    <a:cubicBezTo>
                      <a:pt x="140" y="6"/>
                      <a:pt x="153" y="12"/>
                      <a:pt x="167" y="8"/>
                    </a:cubicBezTo>
                    <a:cubicBezTo>
                      <a:pt x="167" y="0"/>
                      <a:pt x="169" y="6"/>
                      <a:pt x="174" y="4"/>
                    </a:cubicBezTo>
                    <a:cubicBezTo>
                      <a:pt x="182" y="2"/>
                      <a:pt x="198" y="8"/>
                      <a:pt x="210" y="7"/>
                    </a:cubicBezTo>
                    <a:cubicBezTo>
                      <a:pt x="224" y="5"/>
                      <a:pt x="231" y="20"/>
                      <a:pt x="242" y="29"/>
                    </a:cubicBezTo>
                    <a:cubicBezTo>
                      <a:pt x="241" y="31"/>
                      <a:pt x="250" y="52"/>
                      <a:pt x="260" y="45"/>
                    </a:cubicBezTo>
                    <a:cubicBezTo>
                      <a:pt x="258" y="50"/>
                      <a:pt x="267" y="49"/>
                      <a:pt x="278" y="48"/>
                    </a:cubicBezTo>
                    <a:cubicBezTo>
                      <a:pt x="272" y="54"/>
                      <a:pt x="283" y="49"/>
                      <a:pt x="283" y="55"/>
                    </a:cubicBezTo>
                    <a:cubicBezTo>
                      <a:pt x="287" y="66"/>
                      <a:pt x="292" y="76"/>
                      <a:pt x="292" y="87"/>
                    </a:cubicBezTo>
                    <a:cubicBezTo>
                      <a:pt x="300" y="87"/>
                      <a:pt x="300" y="93"/>
                      <a:pt x="303" y="99"/>
                    </a:cubicBezTo>
                    <a:cubicBezTo>
                      <a:pt x="312" y="95"/>
                      <a:pt x="310" y="105"/>
                      <a:pt x="313" y="110"/>
                    </a:cubicBezTo>
                    <a:cubicBezTo>
                      <a:pt x="323" y="112"/>
                      <a:pt x="309" y="120"/>
                      <a:pt x="317" y="120"/>
                    </a:cubicBezTo>
                    <a:cubicBezTo>
                      <a:pt x="321" y="128"/>
                      <a:pt x="329" y="131"/>
                      <a:pt x="337" y="135"/>
                    </a:cubicBezTo>
                    <a:cubicBezTo>
                      <a:pt x="342" y="143"/>
                      <a:pt x="347" y="152"/>
                      <a:pt x="356" y="156"/>
                    </a:cubicBezTo>
                    <a:cubicBezTo>
                      <a:pt x="356" y="157"/>
                      <a:pt x="356" y="157"/>
                      <a:pt x="356" y="157"/>
                    </a:cubicBezTo>
                    <a:cubicBezTo>
                      <a:pt x="370" y="166"/>
                      <a:pt x="347" y="179"/>
                      <a:pt x="361" y="188"/>
                    </a:cubicBezTo>
                    <a:cubicBezTo>
                      <a:pt x="369" y="194"/>
                      <a:pt x="373" y="205"/>
                      <a:pt x="368" y="216"/>
                    </a:cubicBezTo>
                    <a:cubicBezTo>
                      <a:pt x="371" y="224"/>
                      <a:pt x="374" y="232"/>
                      <a:pt x="364" y="237"/>
                    </a:cubicBezTo>
                    <a:cubicBezTo>
                      <a:pt x="356" y="248"/>
                      <a:pt x="378" y="255"/>
                      <a:pt x="374" y="266"/>
                    </a:cubicBezTo>
                    <a:cubicBezTo>
                      <a:pt x="380" y="276"/>
                      <a:pt x="384" y="256"/>
                      <a:pt x="392" y="266"/>
                    </a:cubicBezTo>
                    <a:cubicBezTo>
                      <a:pt x="397" y="275"/>
                      <a:pt x="396" y="286"/>
                      <a:pt x="404" y="293"/>
                    </a:cubicBezTo>
                    <a:cubicBezTo>
                      <a:pt x="406" y="298"/>
                      <a:pt x="408" y="299"/>
                      <a:pt x="403" y="305"/>
                    </a:cubicBezTo>
                    <a:cubicBezTo>
                      <a:pt x="407" y="315"/>
                      <a:pt x="394" y="327"/>
                      <a:pt x="405" y="335"/>
                    </a:cubicBezTo>
                    <a:cubicBezTo>
                      <a:pt x="403" y="338"/>
                      <a:pt x="401" y="339"/>
                      <a:pt x="398" y="339"/>
                    </a:cubicBezTo>
                    <a:cubicBezTo>
                      <a:pt x="392" y="339"/>
                      <a:pt x="384" y="336"/>
                      <a:pt x="379" y="341"/>
                    </a:cubicBezTo>
                    <a:cubicBezTo>
                      <a:pt x="366" y="341"/>
                      <a:pt x="353" y="336"/>
                      <a:pt x="341" y="344"/>
                    </a:cubicBezTo>
                    <a:cubicBezTo>
                      <a:pt x="331" y="349"/>
                      <a:pt x="328" y="335"/>
                      <a:pt x="317" y="340"/>
                    </a:cubicBezTo>
                    <a:cubicBezTo>
                      <a:pt x="310" y="335"/>
                      <a:pt x="299" y="333"/>
                      <a:pt x="293" y="327"/>
                    </a:cubicBezTo>
                    <a:cubicBezTo>
                      <a:pt x="287" y="337"/>
                      <a:pt x="280" y="329"/>
                      <a:pt x="283" y="321"/>
                    </a:cubicBezTo>
                    <a:cubicBezTo>
                      <a:pt x="270" y="316"/>
                      <a:pt x="252" y="316"/>
                      <a:pt x="237" y="315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82" name="Saudi Arabia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5127494" y="3542856"/>
                <a:ext cx="565980" cy="552087"/>
              </a:xfrm>
              <a:custGeom>
                <a:avLst/>
                <a:gdLst/>
                <a:ahLst/>
                <a:cxnLst>
                  <a:cxn ang="0">
                    <a:pos x="46" y="18"/>
                  </a:cxn>
                  <a:cxn ang="0">
                    <a:pos x="48" y="18"/>
                  </a:cxn>
                  <a:cxn ang="0">
                    <a:pos x="54" y="18"/>
                  </a:cxn>
                  <a:cxn ang="0">
                    <a:pos x="62" y="20"/>
                  </a:cxn>
                  <a:cxn ang="0">
                    <a:pos x="71" y="29"/>
                  </a:cxn>
                  <a:cxn ang="0">
                    <a:pos x="73" y="38"/>
                  </a:cxn>
                  <a:cxn ang="0">
                    <a:pos x="77" y="45"/>
                  </a:cxn>
                  <a:cxn ang="0">
                    <a:pos x="77" y="47"/>
                  </a:cxn>
                  <a:cxn ang="0">
                    <a:pos x="77" y="52"/>
                  </a:cxn>
                  <a:cxn ang="0">
                    <a:pos x="79" y="52"/>
                  </a:cxn>
                  <a:cxn ang="0">
                    <a:pos x="81" y="52"/>
                  </a:cxn>
                  <a:cxn ang="0">
                    <a:pos x="85" y="52"/>
                  </a:cxn>
                  <a:cxn ang="0">
                    <a:pos x="87" y="52"/>
                  </a:cxn>
                  <a:cxn ang="0">
                    <a:pos x="89" y="52"/>
                  </a:cxn>
                  <a:cxn ang="0">
                    <a:pos x="94" y="52"/>
                  </a:cxn>
                  <a:cxn ang="0">
                    <a:pos x="94" y="47"/>
                  </a:cxn>
                  <a:cxn ang="0">
                    <a:pos x="96" y="47"/>
                  </a:cxn>
                  <a:cxn ang="0">
                    <a:pos x="100" y="52"/>
                  </a:cxn>
                  <a:cxn ang="0">
                    <a:pos x="102" y="54"/>
                  </a:cxn>
                  <a:cxn ang="0">
                    <a:pos x="102" y="61"/>
                  </a:cxn>
                  <a:cxn ang="0">
                    <a:pos x="96" y="72"/>
                  </a:cxn>
                  <a:cxn ang="0">
                    <a:pos x="85" y="81"/>
                  </a:cxn>
                  <a:cxn ang="0">
                    <a:pos x="71" y="85"/>
                  </a:cxn>
                  <a:cxn ang="0">
                    <a:pos x="54" y="99"/>
                  </a:cxn>
                  <a:cxn ang="0">
                    <a:pos x="46" y="88"/>
                  </a:cxn>
                  <a:cxn ang="0">
                    <a:pos x="39" y="90"/>
                  </a:cxn>
                  <a:cxn ang="0">
                    <a:pos x="39" y="88"/>
                  </a:cxn>
                  <a:cxn ang="0">
                    <a:pos x="31" y="72"/>
                  </a:cxn>
                  <a:cxn ang="0">
                    <a:pos x="25" y="70"/>
                  </a:cxn>
                  <a:cxn ang="0">
                    <a:pos x="23" y="63"/>
                  </a:cxn>
                  <a:cxn ang="0">
                    <a:pos x="23" y="54"/>
                  </a:cxn>
                  <a:cxn ang="0">
                    <a:pos x="20" y="47"/>
                  </a:cxn>
                  <a:cxn ang="0">
                    <a:pos x="14" y="45"/>
                  </a:cxn>
                  <a:cxn ang="0">
                    <a:pos x="2" y="25"/>
                  </a:cxn>
                  <a:cxn ang="0">
                    <a:pos x="0" y="25"/>
                  </a:cxn>
                  <a:cxn ang="0">
                    <a:pos x="0" y="13"/>
                  </a:cxn>
                  <a:cxn ang="0">
                    <a:pos x="6" y="13"/>
                  </a:cxn>
                  <a:cxn ang="0">
                    <a:pos x="8" y="11"/>
                  </a:cxn>
                  <a:cxn ang="0">
                    <a:pos x="10" y="11"/>
                  </a:cxn>
                  <a:cxn ang="0">
                    <a:pos x="14" y="9"/>
                  </a:cxn>
                  <a:cxn ang="0">
                    <a:pos x="8" y="2"/>
                  </a:cxn>
                  <a:cxn ang="0">
                    <a:pos x="20" y="0"/>
                  </a:cxn>
                  <a:cxn ang="0">
                    <a:pos x="25" y="2"/>
                  </a:cxn>
                  <a:cxn ang="0">
                    <a:pos x="37" y="9"/>
                  </a:cxn>
                  <a:cxn ang="0">
                    <a:pos x="39" y="9"/>
                  </a:cxn>
                  <a:cxn ang="0">
                    <a:pos x="39" y="13"/>
                  </a:cxn>
                  <a:cxn ang="0">
                    <a:pos x="41" y="16"/>
                  </a:cxn>
                  <a:cxn ang="0">
                    <a:pos x="46" y="18"/>
                  </a:cxn>
                </a:cxnLst>
                <a:rect l="0" t="0" r="r" b="b"/>
                <a:pathLst>
                  <a:path w="102" h="99">
                    <a:moveTo>
                      <a:pt x="46" y="18"/>
                    </a:moveTo>
                    <a:lnTo>
                      <a:pt x="48" y="18"/>
                    </a:lnTo>
                    <a:lnTo>
                      <a:pt x="54" y="18"/>
                    </a:lnTo>
                    <a:lnTo>
                      <a:pt x="62" y="20"/>
                    </a:lnTo>
                    <a:lnTo>
                      <a:pt x="71" y="29"/>
                    </a:lnTo>
                    <a:lnTo>
                      <a:pt x="73" y="38"/>
                    </a:lnTo>
                    <a:lnTo>
                      <a:pt x="77" y="45"/>
                    </a:lnTo>
                    <a:lnTo>
                      <a:pt x="77" y="47"/>
                    </a:lnTo>
                    <a:lnTo>
                      <a:pt x="77" y="52"/>
                    </a:lnTo>
                    <a:lnTo>
                      <a:pt x="79" y="52"/>
                    </a:lnTo>
                    <a:lnTo>
                      <a:pt x="81" y="52"/>
                    </a:lnTo>
                    <a:lnTo>
                      <a:pt x="85" y="52"/>
                    </a:lnTo>
                    <a:lnTo>
                      <a:pt x="87" y="52"/>
                    </a:lnTo>
                    <a:lnTo>
                      <a:pt x="89" y="52"/>
                    </a:lnTo>
                    <a:lnTo>
                      <a:pt x="94" y="52"/>
                    </a:lnTo>
                    <a:lnTo>
                      <a:pt x="94" y="47"/>
                    </a:lnTo>
                    <a:lnTo>
                      <a:pt x="96" y="47"/>
                    </a:lnTo>
                    <a:lnTo>
                      <a:pt x="100" y="52"/>
                    </a:lnTo>
                    <a:lnTo>
                      <a:pt x="102" y="54"/>
                    </a:lnTo>
                    <a:lnTo>
                      <a:pt x="102" y="61"/>
                    </a:lnTo>
                    <a:lnTo>
                      <a:pt x="96" y="72"/>
                    </a:lnTo>
                    <a:lnTo>
                      <a:pt x="85" y="81"/>
                    </a:lnTo>
                    <a:lnTo>
                      <a:pt x="71" y="85"/>
                    </a:lnTo>
                    <a:lnTo>
                      <a:pt x="54" y="99"/>
                    </a:lnTo>
                    <a:lnTo>
                      <a:pt x="46" y="88"/>
                    </a:lnTo>
                    <a:lnTo>
                      <a:pt x="39" y="90"/>
                    </a:lnTo>
                    <a:lnTo>
                      <a:pt x="39" y="88"/>
                    </a:lnTo>
                    <a:lnTo>
                      <a:pt x="31" y="72"/>
                    </a:lnTo>
                    <a:lnTo>
                      <a:pt x="25" y="70"/>
                    </a:lnTo>
                    <a:lnTo>
                      <a:pt x="23" y="63"/>
                    </a:lnTo>
                    <a:lnTo>
                      <a:pt x="23" y="54"/>
                    </a:lnTo>
                    <a:lnTo>
                      <a:pt x="20" y="47"/>
                    </a:lnTo>
                    <a:lnTo>
                      <a:pt x="14" y="45"/>
                    </a:lnTo>
                    <a:lnTo>
                      <a:pt x="2" y="25"/>
                    </a:lnTo>
                    <a:lnTo>
                      <a:pt x="0" y="25"/>
                    </a:lnTo>
                    <a:lnTo>
                      <a:pt x="0" y="13"/>
                    </a:lnTo>
                    <a:lnTo>
                      <a:pt x="6" y="13"/>
                    </a:lnTo>
                    <a:lnTo>
                      <a:pt x="8" y="11"/>
                    </a:lnTo>
                    <a:lnTo>
                      <a:pt x="10" y="11"/>
                    </a:lnTo>
                    <a:lnTo>
                      <a:pt x="14" y="9"/>
                    </a:lnTo>
                    <a:lnTo>
                      <a:pt x="8" y="2"/>
                    </a:lnTo>
                    <a:lnTo>
                      <a:pt x="20" y="0"/>
                    </a:lnTo>
                    <a:lnTo>
                      <a:pt x="25" y="2"/>
                    </a:lnTo>
                    <a:lnTo>
                      <a:pt x="37" y="9"/>
                    </a:lnTo>
                    <a:lnTo>
                      <a:pt x="39" y="9"/>
                    </a:lnTo>
                    <a:lnTo>
                      <a:pt x="39" y="13"/>
                    </a:lnTo>
                    <a:lnTo>
                      <a:pt x="41" y="16"/>
                    </a:lnTo>
                    <a:lnTo>
                      <a:pt x="46" y="18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83" name="São Tomé and Príncipe"/>
              <p:cNvSpPr>
                <a:spLocks/>
              </p:cNvSpPr>
              <p:nvPr/>
            </p:nvSpPr>
            <p:spPr bwMode="auto">
              <a:xfrm>
                <a:off x="4421744" y="4476229"/>
                <a:ext cx="15530" cy="18977"/>
              </a:xfrm>
              <a:custGeom>
                <a:avLst/>
                <a:gdLst>
                  <a:gd name="T0" fmla="*/ 37 w 43"/>
                  <a:gd name="T1" fmla="*/ 22 h 43"/>
                  <a:gd name="T2" fmla="*/ 41 w 43"/>
                  <a:gd name="T3" fmla="*/ 28 h 43"/>
                  <a:gd name="T4" fmla="*/ 37 w 43"/>
                  <a:gd name="T5" fmla="*/ 35 h 43"/>
                  <a:gd name="T6" fmla="*/ 34 w 43"/>
                  <a:gd name="T7" fmla="*/ 42 h 43"/>
                  <a:gd name="T8" fmla="*/ 23 w 43"/>
                  <a:gd name="T9" fmla="*/ 43 h 43"/>
                  <a:gd name="T10" fmla="*/ 16 w 43"/>
                  <a:gd name="T11" fmla="*/ 40 h 43"/>
                  <a:gd name="T12" fmla="*/ 10 w 43"/>
                  <a:gd name="T13" fmla="*/ 36 h 43"/>
                  <a:gd name="T14" fmla="*/ 5 w 43"/>
                  <a:gd name="T15" fmla="*/ 31 h 43"/>
                  <a:gd name="T16" fmla="*/ 4 w 43"/>
                  <a:gd name="T17" fmla="*/ 24 h 43"/>
                  <a:gd name="T18" fmla="*/ 1 w 43"/>
                  <a:gd name="T19" fmla="*/ 17 h 43"/>
                  <a:gd name="T20" fmla="*/ 4 w 43"/>
                  <a:gd name="T21" fmla="*/ 11 h 43"/>
                  <a:gd name="T22" fmla="*/ 8 w 43"/>
                  <a:gd name="T23" fmla="*/ 5 h 43"/>
                  <a:gd name="T24" fmla="*/ 13 w 43"/>
                  <a:gd name="T25" fmla="*/ 3 h 43"/>
                  <a:gd name="T26" fmla="*/ 21 w 43"/>
                  <a:gd name="T27" fmla="*/ 3 h 43"/>
                  <a:gd name="T28" fmla="*/ 27 w 43"/>
                  <a:gd name="T29" fmla="*/ 4 h 43"/>
                  <a:gd name="T30" fmla="*/ 33 w 43"/>
                  <a:gd name="T31" fmla="*/ 7 h 43"/>
                  <a:gd name="T32" fmla="*/ 34 w 43"/>
                  <a:gd name="T33" fmla="*/ 14 h 43"/>
                  <a:gd name="T34" fmla="*/ 35 w 43"/>
                  <a:gd name="T35" fmla="*/ 15 h 43"/>
                  <a:gd name="T36" fmla="*/ 37 w 43"/>
                  <a:gd name="T37" fmla="*/ 2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3">
                    <a:moveTo>
                      <a:pt x="37" y="22"/>
                    </a:moveTo>
                    <a:cubicBezTo>
                      <a:pt x="38" y="24"/>
                      <a:pt x="43" y="24"/>
                      <a:pt x="41" y="28"/>
                    </a:cubicBezTo>
                    <a:cubicBezTo>
                      <a:pt x="40" y="30"/>
                      <a:pt x="38" y="33"/>
                      <a:pt x="37" y="35"/>
                    </a:cubicBezTo>
                    <a:cubicBezTo>
                      <a:pt x="37" y="37"/>
                      <a:pt x="38" y="41"/>
                      <a:pt x="34" y="42"/>
                    </a:cubicBezTo>
                    <a:cubicBezTo>
                      <a:pt x="31" y="42"/>
                      <a:pt x="27" y="43"/>
                      <a:pt x="23" y="43"/>
                    </a:cubicBezTo>
                    <a:cubicBezTo>
                      <a:pt x="21" y="42"/>
                      <a:pt x="18" y="43"/>
                      <a:pt x="16" y="40"/>
                    </a:cubicBezTo>
                    <a:cubicBezTo>
                      <a:pt x="14" y="38"/>
                      <a:pt x="11" y="38"/>
                      <a:pt x="10" y="36"/>
                    </a:cubicBezTo>
                    <a:cubicBezTo>
                      <a:pt x="8" y="34"/>
                      <a:pt x="5" y="34"/>
                      <a:pt x="5" y="31"/>
                    </a:cubicBezTo>
                    <a:cubicBezTo>
                      <a:pt x="3" y="29"/>
                      <a:pt x="3" y="27"/>
                      <a:pt x="4" y="24"/>
                    </a:cubicBezTo>
                    <a:cubicBezTo>
                      <a:pt x="4" y="22"/>
                      <a:pt x="2" y="19"/>
                      <a:pt x="1" y="17"/>
                    </a:cubicBezTo>
                    <a:cubicBezTo>
                      <a:pt x="0" y="15"/>
                      <a:pt x="1" y="12"/>
                      <a:pt x="4" y="11"/>
                    </a:cubicBezTo>
                    <a:cubicBezTo>
                      <a:pt x="7" y="10"/>
                      <a:pt x="6" y="6"/>
                      <a:pt x="8" y="5"/>
                    </a:cubicBezTo>
                    <a:cubicBezTo>
                      <a:pt x="10" y="5"/>
                      <a:pt x="12" y="4"/>
                      <a:pt x="13" y="3"/>
                    </a:cubicBezTo>
                    <a:cubicBezTo>
                      <a:pt x="16" y="2"/>
                      <a:pt x="19" y="0"/>
                      <a:pt x="21" y="3"/>
                    </a:cubicBezTo>
                    <a:cubicBezTo>
                      <a:pt x="23" y="4"/>
                      <a:pt x="25" y="3"/>
                      <a:pt x="27" y="4"/>
                    </a:cubicBezTo>
                    <a:cubicBezTo>
                      <a:pt x="29" y="5"/>
                      <a:pt x="31" y="6"/>
                      <a:pt x="33" y="7"/>
                    </a:cubicBezTo>
                    <a:cubicBezTo>
                      <a:pt x="35" y="9"/>
                      <a:pt x="34" y="12"/>
                      <a:pt x="34" y="14"/>
                    </a:cubicBezTo>
                    <a:cubicBezTo>
                      <a:pt x="34" y="14"/>
                      <a:pt x="35" y="14"/>
                      <a:pt x="35" y="15"/>
                    </a:cubicBezTo>
                    <a:cubicBezTo>
                      <a:pt x="35" y="17"/>
                      <a:pt x="36" y="20"/>
                      <a:pt x="37" y="22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84" name="Sierra Leone"/>
              <p:cNvSpPr>
                <a:spLocks/>
              </p:cNvSpPr>
              <p:nvPr/>
            </p:nvSpPr>
            <p:spPr bwMode="auto">
              <a:xfrm>
                <a:off x="3867844" y="4238142"/>
                <a:ext cx="77649" cy="105241"/>
              </a:xfrm>
              <a:custGeom>
                <a:avLst/>
                <a:gdLst>
                  <a:gd name="T0" fmla="*/ 0 w 213"/>
                  <a:gd name="T1" fmla="*/ 72 h 242"/>
                  <a:gd name="T2" fmla="*/ 18 w 213"/>
                  <a:gd name="T3" fmla="*/ 66 h 242"/>
                  <a:gd name="T4" fmla="*/ 35 w 213"/>
                  <a:gd name="T5" fmla="*/ 50 h 242"/>
                  <a:gd name="T6" fmla="*/ 58 w 213"/>
                  <a:gd name="T7" fmla="*/ 10 h 242"/>
                  <a:gd name="T8" fmla="*/ 100 w 213"/>
                  <a:gd name="T9" fmla="*/ 2 h 242"/>
                  <a:gd name="T10" fmla="*/ 148 w 213"/>
                  <a:gd name="T11" fmla="*/ 3 h 242"/>
                  <a:gd name="T12" fmla="*/ 172 w 213"/>
                  <a:gd name="T13" fmla="*/ 36 h 242"/>
                  <a:gd name="T14" fmla="*/ 185 w 213"/>
                  <a:gd name="T15" fmla="*/ 64 h 242"/>
                  <a:gd name="T16" fmla="*/ 191 w 213"/>
                  <a:gd name="T17" fmla="*/ 77 h 242"/>
                  <a:gd name="T18" fmla="*/ 198 w 213"/>
                  <a:gd name="T19" fmla="*/ 106 h 242"/>
                  <a:gd name="T20" fmla="*/ 180 w 213"/>
                  <a:gd name="T21" fmla="*/ 132 h 242"/>
                  <a:gd name="T22" fmla="*/ 179 w 213"/>
                  <a:gd name="T23" fmla="*/ 134 h 242"/>
                  <a:gd name="T24" fmla="*/ 180 w 213"/>
                  <a:gd name="T25" fmla="*/ 132 h 242"/>
                  <a:gd name="T26" fmla="*/ 197 w 213"/>
                  <a:gd name="T27" fmla="*/ 130 h 242"/>
                  <a:gd name="T28" fmla="*/ 212 w 213"/>
                  <a:gd name="T29" fmla="*/ 120 h 242"/>
                  <a:gd name="T30" fmla="*/ 213 w 213"/>
                  <a:gd name="T31" fmla="*/ 121 h 242"/>
                  <a:gd name="T32" fmla="*/ 209 w 213"/>
                  <a:gd name="T33" fmla="*/ 134 h 242"/>
                  <a:gd name="T34" fmla="*/ 186 w 213"/>
                  <a:gd name="T35" fmla="*/ 159 h 242"/>
                  <a:gd name="T36" fmla="*/ 174 w 213"/>
                  <a:gd name="T37" fmla="*/ 184 h 242"/>
                  <a:gd name="T38" fmla="*/ 143 w 213"/>
                  <a:gd name="T39" fmla="*/ 212 h 242"/>
                  <a:gd name="T40" fmla="*/ 116 w 213"/>
                  <a:gd name="T41" fmla="*/ 241 h 242"/>
                  <a:gd name="T42" fmla="*/ 116 w 213"/>
                  <a:gd name="T43" fmla="*/ 242 h 242"/>
                  <a:gd name="T44" fmla="*/ 114 w 213"/>
                  <a:gd name="T45" fmla="*/ 241 h 242"/>
                  <a:gd name="T46" fmla="*/ 63 w 213"/>
                  <a:gd name="T47" fmla="*/ 216 h 242"/>
                  <a:gd name="T48" fmla="*/ 55 w 213"/>
                  <a:gd name="T49" fmla="*/ 203 h 242"/>
                  <a:gd name="T50" fmla="*/ 46 w 213"/>
                  <a:gd name="T51" fmla="*/ 189 h 242"/>
                  <a:gd name="T52" fmla="*/ 27 w 213"/>
                  <a:gd name="T53" fmla="*/ 171 h 242"/>
                  <a:gd name="T54" fmla="*/ 26 w 213"/>
                  <a:gd name="T55" fmla="*/ 154 h 242"/>
                  <a:gd name="T56" fmla="*/ 17 w 213"/>
                  <a:gd name="T57" fmla="*/ 146 h 242"/>
                  <a:gd name="T58" fmla="*/ 8 w 213"/>
                  <a:gd name="T59" fmla="*/ 141 h 242"/>
                  <a:gd name="T60" fmla="*/ 13 w 213"/>
                  <a:gd name="T61" fmla="*/ 121 h 242"/>
                  <a:gd name="T62" fmla="*/ 7 w 213"/>
                  <a:gd name="T63" fmla="*/ 113 h 242"/>
                  <a:gd name="T64" fmla="*/ 6 w 213"/>
                  <a:gd name="T65" fmla="*/ 98 h 242"/>
                  <a:gd name="T66" fmla="*/ 2 w 213"/>
                  <a:gd name="T67" fmla="*/ 84 h 242"/>
                  <a:gd name="T68" fmla="*/ 0 w 213"/>
                  <a:gd name="T69" fmla="*/ 7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3" h="242">
                    <a:moveTo>
                      <a:pt x="0" y="72"/>
                    </a:moveTo>
                    <a:cubicBezTo>
                      <a:pt x="4" y="68"/>
                      <a:pt x="13" y="79"/>
                      <a:pt x="18" y="66"/>
                    </a:cubicBezTo>
                    <a:cubicBezTo>
                      <a:pt x="17" y="53"/>
                      <a:pt x="29" y="58"/>
                      <a:pt x="35" y="50"/>
                    </a:cubicBezTo>
                    <a:cubicBezTo>
                      <a:pt x="44" y="38"/>
                      <a:pt x="52" y="24"/>
                      <a:pt x="58" y="10"/>
                    </a:cubicBezTo>
                    <a:cubicBezTo>
                      <a:pt x="71" y="0"/>
                      <a:pt x="93" y="20"/>
                      <a:pt x="100" y="2"/>
                    </a:cubicBezTo>
                    <a:cubicBezTo>
                      <a:pt x="116" y="2"/>
                      <a:pt x="132" y="2"/>
                      <a:pt x="148" y="3"/>
                    </a:cubicBezTo>
                    <a:cubicBezTo>
                      <a:pt x="157" y="12"/>
                      <a:pt x="165" y="23"/>
                      <a:pt x="172" y="36"/>
                    </a:cubicBezTo>
                    <a:cubicBezTo>
                      <a:pt x="171" y="49"/>
                      <a:pt x="190" y="52"/>
                      <a:pt x="185" y="64"/>
                    </a:cubicBezTo>
                    <a:cubicBezTo>
                      <a:pt x="175" y="71"/>
                      <a:pt x="184" y="75"/>
                      <a:pt x="191" y="77"/>
                    </a:cubicBezTo>
                    <a:cubicBezTo>
                      <a:pt x="188" y="87"/>
                      <a:pt x="191" y="98"/>
                      <a:pt x="198" y="106"/>
                    </a:cubicBezTo>
                    <a:cubicBezTo>
                      <a:pt x="189" y="112"/>
                      <a:pt x="185" y="123"/>
                      <a:pt x="180" y="132"/>
                    </a:cubicBezTo>
                    <a:cubicBezTo>
                      <a:pt x="177" y="132"/>
                      <a:pt x="176" y="132"/>
                      <a:pt x="179" y="134"/>
                    </a:cubicBezTo>
                    <a:cubicBezTo>
                      <a:pt x="180" y="133"/>
                      <a:pt x="180" y="133"/>
                      <a:pt x="180" y="132"/>
                    </a:cubicBezTo>
                    <a:cubicBezTo>
                      <a:pt x="185" y="133"/>
                      <a:pt x="194" y="134"/>
                      <a:pt x="197" y="130"/>
                    </a:cubicBezTo>
                    <a:cubicBezTo>
                      <a:pt x="200" y="122"/>
                      <a:pt x="206" y="121"/>
                      <a:pt x="212" y="120"/>
                    </a:cubicBezTo>
                    <a:cubicBezTo>
                      <a:pt x="213" y="121"/>
                      <a:pt x="213" y="121"/>
                      <a:pt x="213" y="121"/>
                    </a:cubicBezTo>
                    <a:cubicBezTo>
                      <a:pt x="213" y="126"/>
                      <a:pt x="209" y="129"/>
                      <a:pt x="209" y="134"/>
                    </a:cubicBezTo>
                    <a:cubicBezTo>
                      <a:pt x="213" y="153"/>
                      <a:pt x="188" y="143"/>
                      <a:pt x="186" y="159"/>
                    </a:cubicBezTo>
                    <a:cubicBezTo>
                      <a:pt x="189" y="171"/>
                      <a:pt x="181" y="177"/>
                      <a:pt x="174" y="184"/>
                    </a:cubicBezTo>
                    <a:cubicBezTo>
                      <a:pt x="167" y="197"/>
                      <a:pt x="149" y="198"/>
                      <a:pt x="143" y="212"/>
                    </a:cubicBezTo>
                    <a:cubicBezTo>
                      <a:pt x="127" y="215"/>
                      <a:pt x="129" y="236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6" y="241"/>
                      <a:pt x="115" y="241"/>
                      <a:pt x="114" y="241"/>
                    </a:cubicBezTo>
                    <a:cubicBezTo>
                      <a:pt x="98" y="231"/>
                      <a:pt x="80" y="224"/>
                      <a:pt x="63" y="216"/>
                    </a:cubicBezTo>
                    <a:cubicBezTo>
                      <a:pt x="57" y="215"/>
                      <a:pt x="56" y="208"/>
                      <a:pt x="55" y="203"/>
                    </a:cubicBezTo>
                    <a:cubicBezTo>
                      <a:pt x="56" y="197"/>
                      <a:pt x="49" y="194"/>
                      <a:pt x="46" y="189"/>
                    </a:cubicBezTo>
                    <a:cubicBezTo>
                      <a:pt x="41" y="182"/>
                      <a:pt x="31" y="179"/>
                      <a:pt x="27" y="171"/>
                    </a:cubicBezTo>
                    <a:cubicBezTo>
                      <a:pt x="26" y="166"/>
                      <a:pt x="26" y="160"/>
                      <a:pt x="26" y="154"/>
                    </a:cubicBezTo>
                    <a:cubicBezTo>
                      <a:pt x="24" y="151"/>
                      <a:pt x="20" y="147"/>
                      <a:pt x="17" y="146"/>
                    </a:cubicBezTo>
                    <a:cubicBezTo>
                      <a:pt x="12" y="146"/>
                      <a:pt x="7" y="147"/>
                      <a:pt x="8" y="141"/>
                    </a:cubicBezTo>
                    <a:cubicBezTo>
                      <a:pt x="5" y="134"/>
                      <a:pt x="8" y="126"/>
                      <a:pt x="13" y="121"/>
                    </a:cubicBezTo>
                    <a:cubicBezTo>
                      <a:pt x="18" y="117"/>
                      <a:pt x="10" y="115"/>
                      <a:pt x="7" y="113"/>
                    </a:cubicBezTo>
                    <a:cubicBezTo>
                      <a:pt x="7" y="108"/>
                      <a:pt x="4" y="103"/>
                      <a:pt x="6" y="98"/>
                    </a:cubicBezTo>
                    <a:cubicBezTo>
                      <a:pt x="9" y="93"/>
                      <a:pt x="6" y="88"/>
                      <a:pt x="2" y="84"/>
                    </a:cubicBezTo>
                    <a:cubicBezTo>
                      <a:pt x="3" y="79"/>
                      <a:pt x="1" y="76"/>
                      <a:pt x="0" y="72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85" name="Sardinia"/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56255" y="3253011"/>
                <a:ext cx="43139" cy="621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1"/>
                  </a:cxn>
                  <a:cxn ang="0">
                    <a:pos x="8" y="11"/>
                  </a:cxn>
                  <a:cxn ang="0">
                    <a:pos x="8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11">
                    <a:moveTo>
                      <a:pt x="0" y="0"/>
                    </a:moveTo>
                    <a:lnTo>
                      <a:pt x="2" y="11"/>
                    </a:lnTo>
                    <a:lnTo>
                      <a:pt x="8" y="11"/>
                    </a:lnTo>
                    <a:lnTo>
                      <a:pt x="8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86" name="San Marino"/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83945" y="3173648"/>
                <a:ext cx="10353" cy="5003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4"/>
                  </a:cxn>
                  <a:cxn ang="0">
                    <a:pos x="2" y="9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lnTo>
                      <a:pt x="0" y="4"/>
                    </a:lnTo>
                    <a:lnTo>
                      <a:pt x="2" y="9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92" name="Saint Vincent and the Grenadines"/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3248371" y="4500383"/>
                <a:ext cx="10353" cy="12076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93" name="Sahara"/>
              <p:cNvSpPr>
                <a:spLocks/>
              </p:cNvSpPr>
              <p:nvPr/>
            </p:nvSpPr>
            <p:spPr bwMode="auto">
              <a:xfrm>
                <a:off x="3807449" y="3655000"/>
                <a:ext cx="232950" cy="210483"/>
              </a:xfrm>
              <a:custGeom>
                <a:avLst/>
                <a:gdLst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11921 w 526593"/>
                  <a:gd name="connsiteY6" fmla="*/ 116851 h 403224"/>
                  <a:gd name="connsiteX7" fmla="*/ 300433 w 526593"/>
                  <a:gd name="connsiteY7" fmla="*/ 180214 h 403224"/>
                  <a:gd name="connsiteX8" fmla="*/ 259403 w 526593"/>
                  <a:gd name="connsiteY8" fmla="*/ 200786 h 403224"/>
                  <a:gd name="connsiteX9" fmla="*/ 240529 w 526593"/>
                  <a:gd name="connsiteY9" fmla="*/ 232056 h 403224"/>
                  <a:gd name="connsiteX10" fmla="*/ 204423 w 526593"/>
                  <a:gd name="connsiteY10" fmla="*/ 243577 h 403224"/>
                  <a:gd name="connsiteX11" fmla="*/ 240457 w 526593"/>
                  <a:gd name="connsiteY11" fmla="*/ 232191 h 403224"/>
                  <a:gd name="connsiteX12" fmla="*/ 259368 w 526593"/>
                  <a:gd name="connsiteY12" fmla="*/ 200944 h 403224"/>
                  <a:gd name="connsiteX13" fmla="*/ 300480 w 526593"/>
                  <a:gd name="connsiteY13" fmla="*/ 180387 h 403224"/>
                  <a:gd name="connsiteX14" fmla="*/ 311991 w 526593"/>
                  <a:gd name="connsiteY14" fmla="*/ 117072 h 403224"/>
                  <a:gd name="connsiteX15" fmla="*/ 311991 w 526593"/>
                  <a:gd name="connsiteY15" fmla="*/ 96515 h 403224"/>
                  <a:gd name="connsiteX16" fmla="*/ 346524 w 526593"/>
                  <a:gd name="connsiteY16" fmla="*/ 98159 h 403224"/>
                  <a:gd name="connsiteX17" fmla="*/ 373658 w 526593"/>
                  <a:gd name="connsiteY17" fmla="*/ 69380 h 403224"/>
                  <a:gd name="connsiteX18" fmla="*/ 370780 w 526593"/>
                  <a:gd name="connsiteY18" fmla="*/ 60026 h 403224"/>
                  <a:gd name="connsiteX19" fmla="*/ 370369 w 526593"/>
                  <a:gd name="connsiteY19" fmla="*/ 58690 h 403224"/>
                  <a:gd name="connsiteX20" fmla="*/ 403258 w 526593"/>
                  <a:gd name="connsiteY20" fmla="*/ 50467 h 403224"/>
                  <a:gd name="connsiteX21" fmla="*/ 428748 w 526593"/>
                  <a:gd name="connsiteY21" fmla="*/ 66091 h 403224"/>
                  <a:gd name="connsiteX22" fmla="*/ 442417 w 526593"/>
                  <a:gd name="connsiteY22" fmla="*/ 61054 h 403224"/>
                  <a:gd name="connsiteX23" fmla="*/ 444340 w 526593"/>
                  <a:gd name="connsiteY23" fmla="*/ 60346 h 403224"/>
                  <a:gd name="connsiteX24" fmla="*/ 430394 w 526593"/>
                  <a:gd name="connsiteY24" fmla="*/ 65112 h 403224"/>
                  <a:gd name="connsiteX25" fmla="*/ 428445 w 526593"/>
                  <a:gd name="connsiteY25" fmla="*/ 65832 h 403224"/>
                  <a:gd name="connsiteX26" fmla="*/ 403007 w 526593"/>
                  <a:gd name="connsiteY26" fmla="*/ 50197 h 403224"/>
                  <a:gd name="connsiteX27" fmla="*/ 288124 w 526593"/>
                  <a:gd name="connsiteY27" fmla="*/ 0 h 403224"/>
                  <a:gd name="connsiteX28" fmla="*/ 514607 w 526593"/>
                  <a:gd name="connsiteY28" fmla="*/ 13989 h 403224"/>
                  <a:gd name="connsiteX29" fmla="*/ 516761 w 526593"/>
                  <a:gd name="connsiteY29" fmla="*/ 29110 h 403224"/>
                  <a:gd name="connsiteX30" fmla="*/ 517069 w 526593"/>
                  <a:gd name="connsiteY30" fmla="*/ 31270 h 403224"/>
                  <a:gd name="connsiteX31" fmla="*/ 514197 w 526593"/>
                  <a:gd name="connsiteY31" fmla="*/ 43511 h 403224"/>
                  <a:gd name="connsiteX32" fmla="*/ 513787 w 526593"/>
                  <a:gd name="connsiteY32" fmla="*/ 45259 h 403224"/>
                  <a:gd name="connsiteX33" fmla="*/ 513787 w 526593"/>
                  <a:gd name="connsiteY33" fmla="*/ 51019 h 403224"/>
                  <a:gd name="connsiteX34" fmla="*/ 513787 w 526593"/>
                  <a:gd name="connsiteY34" fmla="*/ 51842 h 403224"/>
                  <a:gd name="connsiteX35" fmla="*/ 479322 w 526593"/>
                  <a:gd name="connsiteY35" fmla="*/ 55134 h 403224"/>
                  <a:gd name="connsiteX36" fmla="*/ 452285 w 526593"/>
                  <a:gd name="connsiteY36" fmla="*/ 67458 h 403224"/>
                  <a:gd name="connsiteX37" fmla="*/ 479726 w 526593"/>
                  <a:gd name="connsiteY37" fmla="*/ 55401 h 403224"/>
                  <a:gd name="connsiteX38" fmla="*/ 510971 w 526593"/>
                  <a:gd name="connsiteY38" fmla="*/ 55401 h 403224"/>
                  <a:gd name="connsiteX39" fmla="*/ 514260 w 526593"/>
                  <a:gd name="connsiteY39" fmla="*/ 46356 h 403224"/>
                  <a:gd name="connsiteX40" fmla="*/ 514260 w 526593"/>
                  <a:gd name="connsiteY40" fmla="*/ 45534 h 403224"/>
                  <a:gd name="connsiteX41" fmla="*/ 517137 w 526593"/>
                  <a:gd name="connsiteY41" fmla="*/ 33302 h 403224"/>
                  <a:gd name="connsiteX42" fmla="*/ 517549 w 526593"/>
                  <a:gd name="connsiteY42" fmla="*/ 31555 h 403224"/>
                  <a:gd name="connsiteX43" fmla="*/ 515390 w 526593"/>
                  <a:gd name="connsiteY43" fmla="*/ 16446 h 403224"/>
                  <a:gd name="connsiteX44" fmla="*/ 515082 w 526593"/>
                  <a:gd name="connsiteY44" fmla="*/ 14287 h 403224"/>
                  <a:gd name="connsiteX45" fmla="*/ 526593 w 526593"/>
                  <a:gd name="connsiteY45" fmla="*/ 15109 h 403224"/>
                  <a:gd name="connsiteX46" fmla="*/ 523304 w 526593"/>
                  <a:gd name="connsiteY46" fmla="*/ 38133 h 403224"/>
                  <a:gd name="connsiteX47" fmla="*/ 510971 w 526593"/>
                  <a:gd name="connsiteY47" fmla="*/ 117894 h 403224"/>
                  <a:gd name="connsiteX48" fmla="*/ 325969 w 526593"/>
                  <a:gd name="connsiteY48" fmla="*/ 108027 h 403224"/>
                  <a:gd name="connsiteX49" fmla="*/ 301302 w 526593"/>
                  <a:gd name="connsiteY49" fmla="*/ 265904 h 403224"/>
                  <a:gd name="connsiteX50" fmla="*/ 270879 w 526593"/>
                  <a:gd name="connsiteY50" fmla="*/ 274127 h 403224"/>
                  <a:gd name="connsiteX51" fmla="*/ 234701 w 526593"/>
                  <a:gd name="connsiteY51" fmla="*/ 296328 h 403224"/>
                  <a:gd name="connsiteX52" fmla="*/ 231412 w 526593"/>
                  <a:gd name="connsiteY52" fmla="*/ 322641 h 403224"/>
                  <a:gd name="connsiteX53" fmla="*/ 225657 w 526593"/>
                  <a:gd name="connsiteY53" fmla="*/ 395001 h 403224"/>
                  <a:gd name="connsiteX54" fmla="*/ 24210 w 526593"/>
                  <a:gd name="connsiteY54" fmla="*/ 384312 h 403224"/>
                  <a:gd name="connsiteX55" fmla="*/ 5299 w 526593"/>
                  <a:gd name="connsiteY55" fmla="*/ 392535 h 403224"/>
                  <a:gd name="connsiteX56" fmla="*/ 365 w 526593"/>
                  <a:gd name="connsiteY56" fmla="*/ 403224 h 403224"/>
                  <a:gd name="connsiteX57" fmla="*/ 365 w 526593"/>
                  <a:gd name="connsiteY57" fmla="*/ 395824 h 403224"/>
                  <a:gd name="connsiteX58" fmla="*/ 6943 w 526593"/>
                  <a:gd name="connsiteY58" fmla="*/ 373622 h 403224"/>
                  <a:gd name="connsiteX59" fmla="*/ 63677 w 526593"/>
                  <a:gd name="connsiteY59" fmla="*/ 374444 h 403224"/>
                  <a:gd name="connsiteX60" fmla="*/ 118767 w 526593"/>
                  <a:gd name="connsiteY60" fmla="*/ 381023 h 403224"/>
                  <a:gd name="connsiteX61" fmla="*/ 139322 w 526593"/>
                  <a:gd name="connsiteY61" fmla="*/ 381023 h 403224"/>
                  <a:gd name="connsiteX62" fmla="*/ 139335 w 526593"/>
                  <a:gd name="connsiteY62" fmla="*/ 381000 h 403224"/>
                  <a:gd name="connsiteX63" fmla="*/ 119082 w 526593"/>
                  <a:gd name="connsiteY63" fmla="*/ 381000 h 403224"/>
                  <a:gd name="connsiteX64" fmla="*/ 64102 w 526593"/>
                  <a:gd name="connsiteY64" fmla="*/ 374417 h 403224"/>
                  <a:gd name="connsiteX65" fmla="*/ 7481 w 526593"/>
                  <a:gd name="connsiteY65" fmla="*/ 374417 h 403224"/>
                  <a:gd name="connsiteX66" fmla="*/ 12405 w 526593"/>
                  <a:gd name="connsiteY66" fmla="*/ 353845 h 403224"/>
                  <a:gd name="connsiteX67" fmla="*/ 27996 w 526593"/>
                  <a:gd name="connsiteY67" fmla="*/ 326689 h 403224"/>
                  <a:gd name="connsiteX68" fmla="*/ 41125 w 526593"/>
                  <a:gd name="connsiteY68" fmla="*/ 320106 h 403224"/>
                  <a:gd name="connsiteX69" fmla="*/ 53434 w 526593"/>
                  <a:gd name="connsiteY69" fmla="*/ 302002 h 403224"/>
                  <a:gd name="connsiteX70" fmla="*/ 68205 w 526593"/>
                  <a:gd name="connsiteY70" fmla="*/ 281430 h 403224"/>
                  <a:gd name="connsiteX71" fmla="*/ 69025 w 526593"/>
                  <a:gd name="connsiteY71" fmla="*/ 269909 h 403224"/>
                  <a:gd name="connsiteX72" fmla="*/ 97746 w 526593"/>
                  <a:gd name="connsiteY72" fmla="*/ 234525 h 403224"/>
                  <a:gd name="connsiteX73" fmla="*/ 106773 w 526593"/>
                  <a:gd name="connsiteY73" fmla="*/ 217244 h 403224"/>
                  <a:gd name="connsiteX74" fmla="*/ 144520 w 526593"/>
                  <a:gd name="connsiteY74" fmla="*/ 182683 h 403224"/>
                  <a:gd name="connsiteX75" fmla="*/ 160932 w 526593"/>
                  <a:gd name="connsiteY75" fmla="*/ 161287 h 403224"/>
                  <a:gd name="connsiteX76" fmla="*/ 167497 w 526593"/>
                  <a:gd name="connsiteY76" fmla="*/ 147298 h 403224"/>
                  <a:gd name="connsiteX77" fmla="*/ 177344 w 526593"/>
                  <a:gd name="connsiteY77" fmla="*/ 126726 h 403224"/>
                  <a:gd name="connsiteX78" fmla="*/ 192935 w 526593"/>
                  <a:gd name="connsiteY78" fmla="*/ 94633 h 403224"/>
                  <a:gd name="connsiteX79" fmla="*/ 210167 w 526593"/>
                  <a:gd name="connsiteY79" fmla="*/ 76529 h 403224"/>
                  <a:gd name="connsiteX80" fmla="*/ 225759 w 526593"/>
                  <a:gd name="connsiteY80" fmla="*/ 68300 h 403224"/>
                  <a:gd name="connsiteX81" fmla="*/ 250376 w 526593"/>
                  <a:gd name="connsiteY81" fmla="*/ 54311 h 403224"/>
                  <a:gd name="connsiteX82" fmla="*/ 257762 w 526593"/>
                  <a:gd name="connsiteY82" fmla="*/ 45259 h 403224"/>
                  <a:gd name="connsiteX83" fmla="*/ 273353 w 526593"/>
                  <a:gd name="connsiteY83" fmla="*/ 18927 h 403224"/>
                  <a:gd name="connsiteX84" fmla="*/ 288124 w 526593"/>
                  <a:gd name="connsiteY84" fmla="*/ 823 h 403224"/>
                  <a:gd name="connsiteX85" fmla="*/ 288124 w 526593"/>
                  <a:gd name="connsiteY85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11921 w 526593"/>
                  <a:gd name="connsiteY6" fmla="*/ 116851 h 403224"/>
                  <a:gd name="connsiteX7" fmla="*/ 300433 w 526593"/>
                  <a:gd name="connsiteY7" fmla="*/ 180214 h 403224"/>
                  <a:gd name="connsiteX8" fmla="*/ 259403 w 526593"/>
                  <a:gd name="connsiteY8" fmla="*/ 200786 h 403224"/>
                  <a:gd name="connsiteX9" fmla="*/ 240529 w 526593"/>
                  <a:gd name="connsiteY9" fmla="*/ 232056 h 403224"/>
                  <a:gd name="connsiteX10" fmla="*/ 240457 w 526593"/>
                  <a:gd name="connsiteY10" fmla="*/ 232191 h 403224"/>
                  <a:gd name="connsiteX11" fmla="*/ 259368 w 526593"/>
                  <a:gd name="connsiteY11" fmla="*/ 200944 h 403224"/>
                  <a:gd name="connsiteX12" fmla="*/ 300480 w 526593"/>
                  <a:gd name="connsiteY12" fmla="*/ 180387 h 403224"/>
                  <a:gd name="connsiteX13" fmla="*/ 311991 w 526593"/>
                  <a:gd name="connsiteY13" fmla="*/ 117072 h 403224"/>
                  <a:gd name="connsiteX14" fmla="*/ 311991 w 526593"/>
                  <a:gd name="connsiteY14" fmla="*/ 96515 h 403224"/>
                  <a:gd name="connsiteX15" fmla="*/ 346524 w 526593"/>
                  <a:gd name="connsiteY15" fmla="*/ 98159 h 403224"/>
                  <a:gd name="connsiteX16" fmla="*/ 373658 w 526593"/>
                  <a:gd name="connsiteY16" fmla="*/ 69380 h 403224"/>
                  <a:gd name="connsiteX17" fmla="*/ 370780 w 526593"/>
                  <a:gd name="connsiteY17" fmla="*/ 60026 h 403224"/>
                  <a:gd name="connsiteX18" fmla="*/ 370369 w 526593"/>
                  <a:gd name="connsiteY18" fmla="*/ 58690 h 403224"/>
                  <a:gd name="connsiteX19" fmla="*/ 403258 w 526593"/>
                  <a:gd name="connsiteY19" fmla="*/ 50467 h 403224"/>
                  <a:gd name="connsiteX20" fmla="*/ 428748 w 526593"/>
                  <a:gd name="connsiteY20" fmla="*/ 66091 h 403224"/>
                  <a:gd name="connsiteX21" fmla="*/ 442417 w 526593"/>
                  <a:gd name="connsiteY21" fmla="*/ 61054 h 403224"/>
                  <a:gd name="connsiteX22" fmla="*/ 444340 w 526593"/>
                  <a:gd name="connsiteY22" fmla="*/ 60346 h 403224"/>
                  <a:gd name="connsiteX23" fmla="*/ 430394 w 526593"/>
                  <a:gd name="connsiteY23" fmla="*/ 65112 h 403224"/>
                  <a:gd name="connsiteX24" fmla="*/ 428445 w 526593"/>
                  <a:gd name="connsiteY24" fmla="*/ 65832 h 403224"/>
                  <a:gd name="connsiteX25" fmla="*/ 403007 w 526593"/>
                  <a:gd name="connsiteY25" fmla="*/ 50197 h 403224"/>
                  <a:gd name="connsiteX26" fmla="*/ 288124 w 526593"/>
                  <a:gd name="connsiteY26" fmla="*/ 0 h 403224"/>
                  <a:gd name="connsiteX27" fmla="*/ 514607 w 526593"/>
                  <a:gd name="connsiteY27" fmla="*/ 13989 h 403224"/>
                  <a:gd name="connsiteX28" fmla="*/ 516761 w 526593"/>
                  <a:gd name="connsiteY28" fmla="*/ 29110 h 403224"/>
                  <a:gd name="connsiteX29" fmla="*/ 517069 w 526593"/>
                  <a:gd name="connsiteY29" fmla="*/ 31270 h 403224"/>
                  <a:gd name="connsiteX30" fmla="*/ 514197 w 526593"/>
                  <a:gd name="connsiteY30" fmla="*/ 43511 h 403224"/>
                  <a:gd name="connsiteX31" fmla="*/ 513787 w 526593"/>
                  <a:gd name="connsiteY31" fmla="*/ 45259 h 403224"/>
                  <a:gd name="connsiteX32" fmla="*/ 513787 w 526593"/>
                  <a:gd name="connsiteY32" fmla="*/ 51019 h 403224"/>
                  <a:gd name="connsiteX33" fmla="*/ 513787 w 526593"/>
                  <a:gd name="connsiteY33" fmla="*/ 51842 h 403224"/>
                  <a:gd name="connsiteX34" fmla="*/ 479322 w 526593"/>
                  <a:gd name="connsiteY34" fmla="*/ 55134 h 403224"/>
                  <a:gd name="connsiteX35" fmla="*/ 452285 w 526593"/>
                  <a:gd name="connsiteY35" fmla="*/ 67458 h 403224"/>
                  <a:gd name="connsiteX36" fmla="*/ 479726 w 526593"/>
                  <a:gd name="connsiteY36" fmla="*/ 55401 h 403224"/>
                  <a:gd name="connsiteX37" fmla="*/ 510971 w 526593"/>
                  <a:gd name="connsiteY37" fmla="*/ 55401 h 403224"/>
                  <a:gd name="connsiteX38" fmla="*/ 514260 w 526593"/>
                  <a:gd name="connsiteY38" fmla="*/ 46356 h 403224"/>
                  <a:gd name="connsiteX39" fmla="*/ 514260 w 526593"/>
                  <a:gd name="connsiteY39" fmla="*/ 45534 h 403224"/>
                  <a:gd name="connsiteX40" fmla="*/ 517137 w 526593"/>
                  <a:gd name="connsiteY40" fmla="*/ 33302 h 403224"/>
                  <a:gd name="connsiteX41" fmla="*/ 517549 w 526593"/>
                  <a:gd name="connsiteY41" fmla="*/ 31555 h 403224"/>
                  <a:gd name="connsiteX42" fmla="*/ 515390 w 526593"/>
                  <a:gd name="connsiteY42" fmla="*/ 16446 h 403224"/>
                  <a:gd name="connsiteX43" fmla="*/ 515082 w 526593"/>
                  <a:gd name="connsiteY43" fmla="*/ 14287 h 403224"/>
                  <a:gd name="connsiteX44" fmla="*/ 526593 w 526593"/>
                  <a:gd name="connsiteY44" fmla="*/ 15109 h 403224"/>
                  <a:gd name="connsiteX45" fmla="*/ 523304 w 526593"/>
                  <a:gd name="connsiteY45" fmla="*/ 38133 h 403224"/>
                  <a:gd name="connsiteX46" fmla="*/ 510971 w 526593"/>
                  <a:gd name="connsiteY46" fmla="*/ 117894 h 403224"/>
                  <a:gd name="connsiteX47" fmla="*/ 325969 w 526593"/>
                  <a:gd name="connsiteY47" fmla="*/ 108027 h 403224"/>
                  <a:gd name="connsiteX48" fmla="*/ 301302 w 526593"/>
                  <a:gd name="connsiteY48" fmla="*/ 265904 h 403224"/>
                  <a:gd name="connsiteX49" fmla="*/ 270879 w 526593"/>
                  <a:gd name="connsiteY49" fmla="*/ 274127 h 403224"/>
                  <a:gd name="connsiteX50" fmla="*/ 234701 w 526593"/>
                  <a:gd name="connsiteY50" fmla="*/ 296328 h 403224"/>
                  <a:gd name="connsiteX51" fmla="*/ 231412 w 526593"/>
                  <a:gd name="connsiteY51" fmla="*/ 322641 h 403224"/>
                  <a:gd name="connsiteX52" fmla="*/ 225657 w 526593"/>
                  <a:gd name="connsiteY52" fmla="*/ 395001 h 403224"/>
                  <a:gd name="connsiteX53" fmla="*/ 24210 w 526593"/>
                  <a:gd name="connsiteY53" fmla="*/ 384312 h 403224"/>
                  <a:gd name="connsiteX54" fmla="*/ 5299 w 526593"/>
                  <a:gd name="connsiteY54" fmla="*/ 392535 h 403224"/>
                  <a:gd name="connsiteX55" fmla="*/ 365 w 526593"/>
                  <a:gd name="connsiteY55" fmla="*/ 403224 h 403224"/>
                  <a:gd name="connsiteX56" fmla="*/ 365 w 526593"/>
                  <a:gd name="connsiteY56" fmla="*/ 395824 h 403224"/>
                  <a:gd name="connsiteX57" fmla="*/ 6943 w 526593"/>
                  <a:gd name="connsiteY57" fmla="*/ 373622 h 403224"/>
                  <a:gd name="connsiteX58" fmla="*/ 63677 w 526593"/>
                  <a:gd name="connsiteY58" fmla="*/ 374444 h 403224"/>
                  <a:gd name="connsiteX59" fmla="*/ 118767 w 526593"/>
                  <a:gd name="connsiteY59" fmla="*/ 381023 h 403224"/>
                  <a:gd name="connsiteX60" fmla="*/ 139322 w 526593"/>
                  <a:gd name="connsiteY60" fmla="*/ 381023 h 403224"/>
                  <a:gd name="connsiteX61" fmla="*/ 139335 w 526593"/>
                  <a:gd name="connsiteY61" fmla="*/ 381000 h 403224"/>
                  <a:gd name="connsiteX62" fmla="*/ 119082 w 526593"/>
                  <a:gd name="connsiteY62" fmla="*/ 381000 h 403224"/>
                  <a:gd name="connsiteX63" fmla="*/ 64102 w 526593"/>
                  <a:gd name="connsiteY63" fmla="*/ 374417 h 403224"/>
                  <a:gd name="connsiteX64" fmla="*/ 7481 w 526593"/>
                  <a:gd name="connsiteY64" fmla="*/ 374417 h 403224"/>
                  <a:gd name="connsiteX65" fmla="*/ 12405 w 526593"/>
                  <a:gd name="connsiteY65" fmla="*/ 353845 h 403224"/>
                  <a:gd name="connsiteX66" fmla="*/ 27996 w 526593"/>
                  <a:gd name="connsiteY66" fmla="*/ 326689 h 403224"/>
                  <a:gd name="connsiteX67" fmla="*/ 41125 w 526593"/>
                  <a:gd name="connsiteY67" fmla="*/ 320106 h 403224"/>
                  <a:gd name="connsiteX68" fmla="*/ 53434 w 526593"/>
                  <a:gd name="connsiteY68" fmla="*/ 302002 h 403224"/>
                  <a:gd name="connsiteX69" fmla="*/ 68205 w 526593"/>
                  <a:gd name="connsiteY69" fmla="*/ 281430 h 403224"/>
                  <a:gd name="connsiteX70" fmla="*/ 69025 w 526593"/>
                  <a:gd name="connsiteY70" fmla="*/ 269909 h 403224"/>
                  <a:gd name="connsiteX71" fmla="*/ 97746 w 526593"/>
                  <a:gd name="connsiteY71" fmla="*/ 234525 h 403224"/>
                  <a:gd name="connsiteX72" fmla="*/ 106773 w 526593"/>
                  <a:gd name="connsiteY72" fmla="*/ 217244 h 403224"/>
                  <a:gd name="connsiteX73" fmla="*/ 144520 w 526593"/>
                  <a:gd name="connsiteY73" fmla="*/ 182683 h 403224"/>
                  <a:gd name="connsiteX74" fmla="*/ 160932 w 526593"/>
                  <a:gd name="connsiteY74" fmla="*/ 161287 h 403224"/>
                  <a:gd name="connsiteX75" fmla="*/ 167497 w 526593"/>
                  <a:gd name="connsiteY75" fmla="*/ 147298 h 403224"/>
                  <a:gd name="connsiteX76" fmla="*/ 177344 w 526593"/>
                  <a:gd name="connsiteY76" fmla="*/ 126726 h 403224"/>
                  <a:gd name="connsiteX77" fmla="*/ 192935 w 526593"/>
                  <a:gd name="connsiteY77" fmla="*/ 94633 h 403224"/>
                  <a:gd name="connsiteX78" fmla="*/ 210167 w 526593"/>
                  <a:gd name="connsiteY78" fmla="*/ 76529 h 403224"/>
                  <a:gd name="connsiteX79" fmla="*/ 225759 w 526593"/>
                  <a:gd name="connsiteY79" fmla="*/ 68300 h 403224"/>
                  <a:gd name="connsiteX80" fmla="*/ 250376 w 526593"/>
                  <a:gd name="connsiteY80" fmla="*/ 54311 h 403224"/>
                  <a:gd name="connsiteX81" fmla="*/ 257762 w 526593"/>
                  <a:gd name="connsiteY81" fmla="*/ 45259 h 403224"/>
                  <a:gd name="connsiteX82" fmla="*/ 273353 w 526593"/>
                  <a:gd name="connsiteY82" fmla="*/ 18927 h 403224"/>
                  <a:gd name="connsiteX83" fmla="*/ 288124 w 526593"/>
                  <a:gd name="connsiteY83" fmla="*/ 823 h 403224"/>
                  <a:gd name="connsiteX84" fmla="*/ 288124 w 526593"/>
                  <a:gd name="connsiteY84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11921 w 526593"/>
                  <a:gd name="connsiteY6" fmla="*/ 116851 h 403224"/>
                  <a:gd name="connsiteX7" fmla="*/ 300433 w 526593"/>
                  <a:gd name="connsiteY7" fmla="*/ 180214 h 403224"/>
                  <a:gd name="connsiteX8" fmla="*/ 259403 w 526593"/>
                  <a:gd name="connsiteY8" fmla="*/ 200786 h 403224"/>
                  <a:gd name="connsiteX9" fmla="*/ 240529 w 526593"/>
                  <a:gd name="connsiteY9" fmla="*/ 232056 h 403224"/>
                  <a:gd name="connsiteX10" fmla="*/ 259368 w 526593"/>
                  <a:gd name="connsiteY10" fmla="*/ 200944 h 403224"/>
                  <a:gd name="connsiteX11" fmla="*/ 300480 w 526593"/>
                  <a:gd name="connsiteY11" fmla="*/ 180387 h 403224"/>
                  <a:gd name="connsiteX12" fmla="*/ 311991 w 526593"/>
                  <a:gd name="connsiteY12" fmla="*/ 117072 h 403224"/>
                  <a:gd name="connsiteX13" fmla="*/ 311991 w 526593"/>
                  <a:gd name="connsiteY13" fmla="*/ 96515 h 403224"/>
                  <a:gd name="connsiteX14" fmla="*/ 346524 w 526593"/>
                  <a:gd name="connsiteY14" fmla="*/ 98159 h 403224"/>
                  <a:gd name="connsiteX15" fmla="*/ 373658 w 526593"/>
                  <a:gd name="connsiteY15" fmla="*/ 69380 h 403224"/>
                  <a:gd name="connsiteX16" fmla="*/ 370780 w 526593"/>
                  <a:gd name="connsiteY16" fmla="*/ 60026 h 403224"/>
                  <a:gd name="connsiteX17" fmla="*/ 370369 w 526593"/>
                  <a:gd name="connsiteY17" fmla="*/ 58690 h 403224"/>
                  <a:gd name="connsiteX18" fmla="*/ 403258 w 526593"/>
                  <a:gd name="connsiteY18" fmla="*/ 50467 h 403224"/>
                  <a:gd name="connsiteX19" fmla="*/ 428748 w 526593"/>
                  <a:gd name="connsiteY19" fmla="*/ 66091 h 403224"/>
                  <a:gd name="connsiteX20" fmla="*/ 442417 w 526593"/>
                  <a:gd name="connsiteY20" fmla="*/ 61054 h 403224"/>
                  <a:gd name="connsiteX21" fmla="*/ 444340 w 526593"/>
                  <a:gd name="connsiteY21" fmla="*/ 60346 h 403224"/>
                  <a:gd name="connsiteX22" fmla="*/ 430394 w 526593"/>
                  <a:gd name="connsiteY22" fmla="*/ 65112 h 403224"/>
                  <a:gd name="connsiteX23" fmla="*/ 428445 w 526593"/>
                  <a:gd name="connsiteY23" fmla="*/ 65832 h 403224"/>
                  <a:gd name="connsiteX24" fmla="*/ 403007 w 526593"/>
                  <a:gd name="connsiteY24" fmla="*/ 50197 h 403224"/>
                  <a:gd name="connsiteX25" fmla="*/ 288124 w 526593"/>
                  <a:gd name="connsiteY25" fmla="*/ 0 h 403224"/>
                  <a:gd name="connsiteX26" fmla="*/ 514607 w 526593"/>
                  <a:gd name="connsiteY26" fmla="*/ 13989 h 403224"/>
                  <a:gd name="connsiteX27" fmla="*/ 516761 w 526593"/>
                  <a:gd name="connsiteY27" fmla="*/ 29110 h 403224"/>
                  <a:gd name="connsiteX28" fmla="*/ 517069 w 526593"/>
                  <a:gd name="connsiteY28" fmla="*/ 31270 h 403224"/>
                  <a:gd name="connsiteX29" fmla="*/ 514197 w 526593"/>
                  <a:gd name="connsiteY29" fmla="*/ 43511 h 403224"/>
                  <a:gd name="connsiteX30" fmla="*/ 513787 w 526593"/>
                  <a:gd name="connsiteY30" fmla="*/ 45259 h 403224"/>
                  <a:gd name="connsiteX31" fmla="*/ 513787 w 526593"/>
                  <a:gd name="connsiteY31" fmla="*/ 51019 h 403224"/>
                  <a:gd name="connsiteX32" fmla="*/ 513787 w 526593"/>
                  <a:gd name="connsiteY32" fmla="*/ 51842 h 403224"/>
                  <a:gd name="connsiteX33" fmla="*/ 479322 w 526593"/>
                  <a:gd name="connsiteY33" fmla="*/ 55134 h 403224"/>
                  <a:gd name="connsiteX34" fmla="*/ 452285 w 526593"/>
                  <a:gd name="connsiteY34" fmla="*/ 67458 h 403224"/>
                  <a:gd name="connsiteX35" fmla="*/ 479726 w 526593"/>
                  <a:gd name="connsiteY35" fmla="*/ 55401 h 403224"/>
                  <a:gd name="connsiteX36" fmla="*/ 510971 w 526593"/>
                  <a:gd name="connsiteY36" fmla="*/ 55401 h 403224"/>
                  <a:gd name="connsiteX37" fmla="*/ 514260 w 526593"/>
                  <a:gd name="connsiteY37" fmla="*/ 46356 h 403224"/>
                  <a:gd name="connsiteX38" fmla="*/ 514260 w 526593"/>
                  <a:gd name="connsiteY38" fmla="*/ 45534 h 403224"/>
                  <a:gd name="connsiteX39" fmla="*/ 517137 w 526593"/>
                  <a:gd name="connsiteY39" fmla="*/ 33302 h 403224"/>
                  <a:gd name="connsiteX40" fmla="*/ 517549 w 526593"/>
                  <a:gd name="connsiteY40" fmla="*/ 31555 h 403224"/>
                  <a:gd name="connsiteX41" fmla="*/ 515390 w 526593"/>
                  <a:gd name="connsiteY41" fmla="*/ 16446 h 403224"/>
                  <a:gd name="connsiteX42" fmla="*/ 515082 w 526593"/>
                  <a:gd name="connsiteY42" fmla="*/ 14287 h 403224"/>
                  <a:gd name="connsiteX43" fmla="*/ 526593 w 526593"/>
                  <a:gd name="connsiteY43" fmla="*/ 15109 h 403224"/>
                  <a:gd name="connsiteX44" fmla="*/ 523304 w 526593"/>
                  <a:gd name="connsiteY44" fmla="*/ 38133 h 403224"/>
                  <a:gd name="connsiteX45" fmla="*/ 510971 w 526593"/>
                  <a:gd name="connsiteY45" fmla="*/ 117894 h 403224"/>
                  <a:gd name="connsiteX46" fmla="*/ 325969 w 526593"/>
                  <a:gd name="connsiteY46" fmla="*/ 108027 h 403224"/>
                  <a:gd name="connsiteX47" fmla="*/ 301302 w 526593"/>
                  <a:gd name="connsiteY47" fmla="*/ 265904 h 403224"/>
                  <a:gd name="connsiteX48" fmla="*/ 270879 w 526593"/>
                  <a:gd name="connsiteY48" fmla="*/ 274127 h 403224"/>
                  <a:gd name="connsiteX49" fmla="*/ 234701 w 526593"/>
                  <a:gd name="connsiteY49" fmla="*/ 296328 h 403224"/>
                  <a:gd name="connsiteX50" fmla="*/ 231412 w 526593"/>
                  <a:gd name="connsiteY50" fmla="*/ 322641 h 403224"/>
                  <a:gd name="connsiteX51" fmla="*/ 225657 w 526593"/>
                  <a:gd name="connsiteY51" fmla="*/ 395001 h 403224"/>
                  <a:gd name="connsiteX52" fmla="*/ 24210 w 526593"/>
                  <a:gd name="connsiteY52" fmla="*/ 384312 h 403224"/>
                  <a:gd name="connsiteX53" fmla="*/ 5299 w 526593"/>
                  <a:gd name="connsiteY53" fmla="*/ 392535 h 403224"/>
                  <a:gd name="connsiteX54" fmla="*/ 365 w 526593"/>
                  <a:gd name="connsiteY54" fmla="*/ 403224 h 403224"/>
                  <a:gd name="connsiteX55" fmla="*/ 365 w 526593"/>
                  <a:gd name="connsiteY55" fmla="*/ 395824 h 403224"/>
                  <a:gd name="connsiteX56" fmla="*/ 6943 w 526593"/>
                  <a:gd name="connsiteY56" fmla="*/ 373622 h 403224"/>
                  <a:gd name="connsiteX57" fmla="*/ 63677 w 526593"/>
                  <a:gd name="connsiteY57" fmla="*/ 374444 h 403224"/>
                  <a:gd name="connsiteX58" fmla="*/ 118767 w 526593"/>
                  <a:gd name="connsiteY58" fmla="*/ 381023 h 403224"/>
                  <a:gd name="connsiteX59" fmla="*/ 139322 w 526593"/>
                  <a:gd name="connsiteY59" fmla="*/ 381023 h 403224"/>
                  <a:gd name="connsiteX60" fmla="*/ 139335 w 526593"/>
                  <a:gd name="connsiteY60" fmla="*/ 381000 h 403224"/>
                  <a:gd name="connsiteX61" fmla="*/ 119082 w 526593"/>
                  <a:gd name="connsiteY61" fmla="*/ 381000 h 403224"/>
                  <a:gd name="connsiteX62" fmla="*/ 64102 w 526593"/>
                  <a:gd name="connsiteY62" fmla="*/ 374417 h 403224"/>
                  <a:gd name="connsiteX63" fmla="*/ 7481 w 526593"/>
                  <a:gd name="connsiteY63" fmla="*/ 374417 h 403224"/>
                  <a:gd name="connsiteX64" fmla="*/ 12405 w 526593"/>
                  <a:gd name="connsiteY64" fmla="*/ 353845 h 403224"/>
                  <a:gd name="connsiteX65" fmla="*/ 27996 w 526593"/>
                  <a:gd name="connsiteY65" fmla="*/ 326689 h 403224"/>
                  <a:gd name="connsiteX66" fmla="*/ 41125 w 526593"/>
                  <a:gd name="connsiteY66" fmla="*/ 320106 h 403224"/>
                  <a:gd name="connsiteX67" fmla="*/ 53434 w 526593"/>
                  <a:gd name="connsiteY67" fmla="*/ 302002 h 403224"/>
                  <a:gd name="connsiteX68" fmla="*/ 68205 w 526593"/>
                  <a:gd name="connsiteY68" fmla="*/ 281430 h 403224"/>
                  <a:gd name="connsiteX69" fmla="*/ 69025 w 526593"/>
                  <a:gd name="connsiteY69" fmla="*/ 269909 h 403224"/>
                  <a:gd name="connsiteX70" fmla="*/ 97746 w 526593"/>
                  <a:gd name="connsiteY70" fmla="*/ 234525 h 403224"/>
                  <a:gd name="connsiteX71" fmla="*/ 106773 w 526593"/>
                  <a:gd name="connsiteY71" fmla="*/ 217244 h 403224"/>
                  <a:gd name="connsiteX72" fmla="*/ 144520 w 526593"/>
                  <a:gd name="connsiteY72" fmla="*/ 182683 h 403224"/>
                  <a:gd name="connsiteX73" fmla="*/ 160932 w 526593"/>
                  <a:gd name="connsiteY73" fmla="*/ 161287 h 403224"/>
                  <a:gd name="connsiteX74" fmla="*/ 167497 w 526593"/>
                  <a:gd name="connsiteY74" fmla="*/ 147298 h 403224"/>
                  <a:gd name="connsiteX75" fmla="*/ 177344 w 526593"/>
                  <a:gd name="connsiteY75" fmla="*/ 126726 h 403224"/>
                  <a:gd name="connsiteX76" fmla="*/ 192935 w 526593"/>
                  <a:gd name="connsiteY76" fmla="*/ 94633 h 403224"/>
                  <a:gd name="connsiteX77" fmla="*/ 210167 w 526593"/>
                  <a:gd name="connsiteY77" fmla="*/ 76529 h 403224"/>
                  <a:gd name="connsiteX78" fmla="*/ 225759 w 526593"/>
                  <a:gd name="connsiteY78" fmla="*/ 68300 h 403224"/>
                  <a:gd name="connsiteX79" fmla="*/ 250376 w 526593"/>
                  <a:gd name="connsiteY79" fmla="*/ 54311 h 403224"/>
                  <a:gd name="connsiteX80" fmla="*/ 257762 w 526593"/>
                  <a:gd name="connsiteY80" fmla="*/ 45259 h 403224"/>
                  <a:gd name="connsiteX81" fmla="*/ 273353 w 526593"/>
                  <a:gd name="connsiteY81" fmla="*/ 18927 h 403224"/>
                  <a:gd name="connsiteX82" fmla="*/ 288124 w 526593"/>
                  <a:gd name="connsiteY82" fmla="*/ 823 h 403224"/>
                  <a:gd name="connsiteX83" fmla="*/ 288124 w 526593"/>
                  <a:gd name="connsiteY83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11921 w 526593"/>
                  <a:gd name="connsiteY6" fmla="*/ 116851 h 403224"/>
                  <a:gd name="connsiteX7" fmla="*/ 300433 w 526593"/>
                  <a:gd name="connsiteY7" fmla="*/ 180214 h 403224"/>
                  <a:gd name="connsiteX8" fmla="*/ 259403 w 526593"/>
                  <a:gd name="connsiteY8" fmla="*/ 200786 h 403224"/>
                  <a:gd name="connsiteX9" fmla="*/ 240529 w 526593"/>
                  <a:gd name="connsiteY9" fmla="*/ 232056 h 403224"/>
                  <a:gd name="connsiteX10" fmla="*/ 300480 w 526593"/>
                  <a:gd name="connsiteY10" fmla="*/ 180387 h 403224"/>
                  <a:gd name="connsiteX11" fmla="*/ 311991 w 526593"/>
                  <a:gd name="connsiteY11" fmla="*/ 117072 h 403224"/>
                  <a:gd name="connsiteX12" fmla="*/ 311991 w 526593"/>
                  <a:gd name="connsiteY12" fmla="*/ 96515 h 403224"/>
                  <a:gd name="connsiteX13" fmla="*/ 346524 w 526593"/>
                  <a:gd name="connsiteY13" fmla="*/ 98159 h 403224"/>
                  <a:gd name="connsiteX14" fmla="*/ 373658 w 526593"/>
                  <a:gd name="connsiteY14" fmla="*/ 69380 h 403224"/>
                  <a:gd name="connsiteX15" fmla="*/ 370780 w 526593"/>
                  <a:gd name="connsiteY15" fmla="*/ 60026 h 403224"/>
                  <a:gd name="connsiteX16" fmla="*/ 370369 w 526593"/>
                  <a:gd name="connsiteY16" fmla="*/ 58690 h 403224"/>
                  <a:gd name="connsiteX17" fmla="*/ 403258 w 526593"/>
                  <a:gd name="connsiteY17" fmla="*/ 50467 h 403224"/>
                  <a:gd name="connsiteX18" fmla="*/ 428748 w 526593"/>
                  <a:gd name="connsiteY18" fmla="*/ 66091 h 403224"/>
                  <a:gd name="connsiteX19" fmla="*/ 442417 w 526593"/>
                  <a:gd name="connsiteY19" fmla="*/ 61054 h 403224"/>
                  <a:gd name="connsiteX20" fmla="*/ 444340 w 526593"/>
                  <a:gd name="connsiteY20" fmla="*/ 60346 h 403224"/>
                  <a:gd name="connsiteX21" fmla="*/ 430394 w 526593"/>
                  <a:gd name="connsiteY21" fmla="*/ 65112 h 403224"/>
                  <a:gd name="connsiteX22" fmla="*/ 428445 w 526593"/>
                  <a:gd name="connsiteY22" fmla="*/ 65832 h 403224"/>
                  <a:gd name="connsiteX23" fmla="*/ 403007 w 526593"/>
                  <a:gd name="connsiteY23" fmla="*/ 50197 h 403224"/>
                  <a:gd name="connsiteX24" fmla="*/ 288124 w 526593"/>
                  <a:gd name="connsiteY24" fmla="*/ 0 h 403224"/>
                  <a:gd name="connsiteX25" fmla="*/ 514607 w 526593"/>
                  <a:gd name="connsiteY25" fmla="*/ 13989 h 403224"/>
                  <a:gd name="connsiteX26" fmla="*/ 516761 w 526593"/>
                  <a:gd name="connsiteY26" fmla="*/ 29110 h 403224"/>
                  <a:gd name="connsiteX27" fmla="*/ 517069 w 526593"/>
                  <a:gd name="connsiteY27" fmla="*/ 31270 h 403224"/>
                  <a:gd name="connsiteX28" fmla="*/ 514197 w 526593"/>
                  <a:gd name="connsiteY28" fmla="*/ 43511 h 403224"/>
                  <a:gd name="connsiteX29" fmla="*/ 513787 w 526593"/>
                  <a:gd name="connsiteY29" fmla="*/ 45259 h 403224"/>
                  <a:gd name="connsiteX30" fmla="*/ 513787 w 526593"/>
                  <a:gd name="connsiteY30" fmla="*/ 51019 h 403224"/>
                  <a:gd name="connsiteX31" fmla="*/ 513787 w 526593"/>
                  <a:gd name="connsiteY31" fmla="*/ 51842 h 403224"/>
                  <a:gd name="connsiteX32" fmla="*/ 479322 w 526593"/>
                  <a:gd name="connsiteY32" fmla="*/ 55134 h 403224"/>
                  <a:gd name="connsiteX33" fmla="*/ 452285 w 526593"/>
                  <a:gd name="connsiteY33" fmla="*/ 67458 h 403224"/>
                  <a:gd name="connsiteX34" fmla="*/ 479726 w 526593"/>
                  <a:gd name="connsiteY34" fmla="*/ 55401 h 403224"/>
                  <a:gd name="connsiteX35" fmla="*/ 510971 w 526593"/>
                  <a:gd name="connsiteY35" fmla="*/ 55401 h 403224"/>
                  <a:gd name="connsiteX36" fmla="*/ 514260 w 526593"/>
                  <a:gd name="connsiteY36" fmla="*/ 46356 h 403224"/>
                  <a:gd name="connsiteX37" fmla="*/ 514260 w 526593"/>
                  <a:gd name="connsiteY37" fmla="*/ 45534 h 403224"/>
                  <a:gd name="connsiteX38" fmla="*/ 517137 w 526593"/>
                  <a:gd name="connsiteY38" fmla="*/ 33302 h 403224"/>
                  <a:gd name="connsiteX39" fmla="*/ 517549 w 526593"/>
                  <a:gd name="connsiteY39" fmla="*/ 31555 h 403224"/>
                  <a:gd name="connsiteX40" fmla="*/ 515390 w 526593"/>
                  <a:gd name="connsiteY40" fmla="*/ 16446 h 403224"/>
                  <a:gd name="connsiteX41" fmla="*/ 515082 w 526593"/>
                  <a:gd name="connsiteY41" fmla="*/ 14287 h 403224"/>
                  <a:gd name="connsiteX42" fmla="*/ 526593 w 526593"/>
                  <a:gd name="connsiteY42" fmla="*/ 15109 h 403224"/>
                  <a:gd name="connsiteX43" fmla="*/ 523304 w 526593"/>
                  <a:gd name="connsiteY43" fmla="*/ 38133 h 403224"/>
                  <a:gd name="connsiteX44" fmla="*/ 510971 w 526593"/>
                  <a:gd name="connsiteY44" fmla="*/ 117894 h 403224"/>
                  <a:gd name="connsiteX45" fmla="*/ 325969 w 526593"/>
                  <a:gd name="connsiteY45" fmla="*/ 108027 h 403224"/>
                  <a:gd name="connsiteX46" fmla="*/ 301302 w 526593"/>
                  <a:gd name="connsiteY46" fmla="*/ 265904 h 403224"/>
                  <a:gd name="connsiteX47" fmla="*/ 270879 w 526593"/>
                  <a:gd name="connsiteY47" fmla="*/ 274127 h 403224"/>
                  <a:gd name="connsiteX48" fmla="*/ 234701 w 526593"/>
                  <a:gd name="connsiteY48" fmla="*/ 296328 h 403224"/>
                  <a:gd name="connsiteX49" fmla="*/ 231412 w 526593"/>
                  <a:gd name="connsiteY49" fmla="*/ 322641 h 403224"/>
                  <a:gd name="connsiteX50" fmla="*/ 225657 w 526593"/>
                  <a:gd name="connsiteY50" fmla="*/ 395001 h 403224"/>
                  <a:gd name="connsiteX51" fmla="*/ 24210 w 526593"/>
                  <a:gd name="connsiteY51" fmla="*/ 384312 h 403224"/>
                  <a:gd name="connsiteX52" fmla="*/ 5299 w 526593"/>
                  <a:gd name="connsiteY52" fmla="*/ 392535 h 403224"/>
                  <a:gd name="connsiteX53" fmla="*/ 365 w 526593"/>
                  <a:gd name="connsiteY53" fmla="*/ 403224 h 403224"/>
                  <a:gd name="connsiteX54" fmla="*/ 365 w 526593"/>
                  <a:gd name="connsiteY54" fmla="*/ 395824 h 403224"/>
                  <a:gd name="connsiteX55" fmla="*/ 6943 w 526593"/>
                  <a:gd name="connsiteY55" fmla="*/ 373622 h 403224"/>
                  <a:gd name="connsiteX56" fmla="*/ 63677 w 526593"/>
                  <a:gd name="connsiteY56" fmla="*/ 374444 h 403224"/>
                  <a:gd name="connsiteX57" fmla="*/ 118767 w 526593"/>
                  <a:gd name="connsiteY57" fmla="*/ 381023 h 403224"/>
                  <a:gd name="connsiteX58" fmla="*/ 139322 w 526593"/>
                  <a:gd name="connsiteY58" fmla="*/ 381023 h 403224"/>
                  <a:gd name="connsiteX59" fmla="*/ 139335 w 526593"/>
                  <a:gd name="connsiteY59" fmla="*/ 381000 h 403224"/>
                  <a:gd name="connsiteX60" fmla="*/ 119082 w 526593"/>
                  <a:gd name="connsiteY60" fmla="*/ 381000 h 403224"/>
                  <a:gd name="connsiteX61" fmla="*/ 64102 w 526593"/>
                  <a:gd name="connsiteY61" fmla="*/ 374417 h 403224"/>
                  <a:gd name="connsiteX62" fmla="*/ 7481 w 526593"/>
                  <a:gd name="connsiteY62" fmla="*/ 374417 h 403224"/>
                  <a:gd name="connsiteX63" fmla="*/ 12405 w 526593"/>
                  <a:gd name="connsiteY63" fmla="*/ 353845 h 403224"/>
                  <a:gd name="connsiteX64" fmla="*/ 27996 w 526593"/>
                  <a:gd name="connsiteY64" fmla="*/ 326689 h 403224"/>
                  <a:gd name="connsiteX65" fmla="*/ 41125 w 526593"/>
                  <a:gd name="connsiteY65" fmla="*/ 320106 h 403224"/>
                  <a:gd name="connsiteX66" fmla="*/ 53434 w 526593"/>
                  <a:gd name="connsiteY66" fmla="*/ 302002 h 403224"/>
                  <a:gd name="connsiteX67" fmla="*/ 68205 w 526593"/>
                  <a:gd name="connsiteY67" fmla="*/ 281430 h 403224"/>
                  <a:gd name="connsiteX68" fmla="*/ 69025 w 526593"/>
                  <a:gd name="connsiteY68" fmla="*/ 269909 h 403224"/>
                  <a:gd name="connsiteX69" fmla="*/ 97746 w 526593"/>
                  <a:gd name="connsiteY69" fmla="*/ 234525 h 403224"/>
                  <a:gd name="connsiteX70" fmla="*/ 106773 w 526593"/>
                  <a:gd name="connsiteY70" fmla="*/ 217244 h 403224"/>
                  <a:gd name="connsiteX71" fmla="*/ 144520 w 526593"/>
                  <a:gd name="connsiteY71" fmla="*/ 182683 h 403224"/>
                  <a:gd name="connsiteX72" fmla="*/ 160932 w 526593"/>
                  <a:gd name="connsiteY72" fmla="*/ 161287 h 403224"/>
                  <a:gd name="connsiteX73" fmla="*/ 167497 w 526593"/>
                  <a:gd name="connsiteY73" fmla="*/ 147298 h 403224"/>
                  <a:gd name="connsiteX74" fmla="*/ 177344 w 526593"/>
                  <a:gd name="connsiteY74" fmla="*/ 126726 h 403224"/>
                  <a:gd name="connsiteX75" fmla="*/ 192935 w 526593"/>
                  <a:gd name="connsiteY75" fmla="*/ 94633 h 403224"/>
                  <a:gd name="connsiteX76" fmla="*/ 210167 w 526593"/>
                  <a:gd name="connsiteY76" fmla="*/ 76529 h 403224"/>
                  <a:gd name="connsiteX77" fmla="*/ 225759 w 526593"/>
                  <a:gd name="connsiteY77" fmla="*/ 68300 h 403224"/>
                  <a:gd name="connsiteX78" fmla="*/ 250376 w 526593"/>
                  <a:gd name="connsiteY78" fmla="*/ 54311 h 403224"/>
                  <a:gd name="connsiteX79" fmla="*/ 257762 w 526593"/>
                  <a:gd name="connsiteY79" fmla="*/ 45259 h 403224"/>
                  <a:gd name="connsiteX80" fmla="*/ 273353 w 526593"/>
                  <a:gd name="connsiteY80" fmla="*/ 18927 h 403224"/>
                  <a:gd name="connsiteX81" fmla="*/ 288124 w 526593"/>
                  <a:gd name="connsiteY81" fmla="*/ 823 h 403224"/>
                  <a:gd name="connsiteX82" fmla="*/ 288124 w 526593"/>
                  <a:gd name="connsiteY82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11921 w 526593"/>
                  <a:gd name="connsiteY6" fmla="*/ 116851 h 403224"/>
                  <a:gd name="connsiteX7" fmla="*/ 300433 w 526593"/>
                  <a:gd name="connsiteY7" fmla="*/ 180214 h 403224"/>
                  <a:gd name="connsiteX8" fmla="*/ 259403 w 526593"/>
                  <a:gd name="connsiteY8" fmla="*/ 200786 h 403224"/>
                  <a:gd name="connsiteX9" fmla="*/ 300480 w 526593"/>
                  <a:gd name="connsiteY9" fmla="*/ 180387 h 403224"/>
                  <a:gd name="connsiteX10" fmla="*/ 311991 w 526593"/>
                  <a:gd name="connsiteY10" fmla="*/ 117072 h 403224"/>
                  <a:gd name="connsiteX11" fmla="*/ 311991 w 526593"/>
                  <a:gd name="connsiteY11" fmla="*/ 96515 h 403224"/>
                  <a:gd name="connsiteX12" fmla="*/ 346524 w 526593"/>
                  <a:gd name="connsiteY12" fmla="*/ 98159 h 403224"/>
                  <a:gd name="connsiteX13" fmla="*/ 373658 w 526593"/>
                  <a:gd name="connsiteY13" fmla="*/ 69380 h 403224"/>
                  <a:gd name="connsiteX14" fmla="*/ 370780 w 526593"/>
                  <a:gd name="connsiteY14" fmla="*/ 60026 h 403224"/>
                  <a:gd name="connsiteX15" fmla="*/ 370369 w 526593"/>
                  <a:gd name="connsiteY15" fmla="*/ 58690 h 403224"/>
                  <a:gd name="connsiteX16" fmla="*/ 403258 w 526593"/>
                  <a:gd name="connsiteY16" fmla="*/ 50467 h 403224"/>
                  <a:gd name="connsiteX17" fmla="*/ 428748 w 526593"/>
                  <a:gd name="connsiteY17" fmla="*/ 66091 h 403224"/>
                  <a:gd name="connsiteX18" fmla="*/ 442417 w 526593"/>
                  <a:gd name="connsiteY18" fmla="*/ 61054 h 403224"/>
                  <a:gd name="connsiteX19" fmla="*/ 444340 w 526593"/>
                  <a:gd name="connsiteY19" fmla="*/ 60346 h 403224"/>
                  <a:gd name="connsiteX20" fmla="*/ 430394 w 526593"/>
                  <a:gd name="connsiteY20" fmla="*/ 65112 h 403224"/>
                  <a:gd name="connsiteX21" fmla="*/ 428445 w 526593"/>
                  <a:gd name="connsiteY21" fmla="*/ 65832 h 403224"/>
                  <a:gd name="connsiteX22" fmla="*/ 403007 w 526593"/>
                  <a:gd name="connsiteY22" fmla="*/ 50197 h 403224"/>
                  <a:gd name="connsiteX23" fmla="*/ 288124 w 526593"/>
                  <a:gd name="connsiteY23" fmla="*/ 0 h 403224"/>
                  <a:gd name="connsiteX24" fmla="*/ 514607 w 526593"/>
                  <a:gd name="connsiteY24" fmla="*/ 13989 h 403224"/>
                  <a:gd name="connsiteX25" fmla="*/ 516761 w 526593"/>
                  <a:gd name="connsiteY25" fmla="*/ 29110 h 403224"/>
                  <a:gd name="connsiteX26" fmla="*/ 517069 w 526593"/>
                  <a:gd name="connsiteY26" fmla="*/ 31270 h 403224"/>
                  <a:gd name="connsiteX27" fmla="*/ 514197 w 526593"/>
                  <a:gd name="connsiteY27" fmla="*/ 43511 h 403224"/>
                  <a:gd name="connsiteX28" fmla="*/ 513787 w 526593"/>
                  <a:gd name="connsiteY28" fmla="*/ 45259 h 403224"/>
                  <a:gd name="connsiteX29" fmla="*/ 513787 w 526593"/>
                  <a:gd name="connsiteY29" fmla="*/ 51019 h 403224"/>
                  <a:gd name="connsiteX30" fmla="*/ 513787 w 526593"/>
                  <a:gd name="connsiteY30" fmla="*/ 51842 h 403224"/>
                  <a:gd name="connsiteX31" fmla="*/ 479322 w 526593"/>
                  <a:gd name="connsiteY31" fmla="*/ 55134 h 403224"/>
                  <a:gd name="connsiteX32" fmla="*/ 452285 w 526593"/>
                  <a:gd name="connsiteY32" fmla="*/ 67458 h 403224"/>
                  <a:gd name="connsiteX33" fmla="*/ 479726 w 526593"/>
                  <a:gd name="connsiteY33" fmla="*/ 55401 h 403224"/>
                  <a:gd name="connsiteX34" fmla="*/ 510971 w 526593"/>
                  <a:gd name="connsiteY34" fmla="*/ 55401 h 403224"/>
                  <a:gd name="connsiteX35" fmla="*/ 514260 w 526593"/>
                  <a:gd name="connsiteY35" fmla="*/ 46356 h 403224"/>
                  <a:gd name="connsiteX36" fmla="*/ 514260 w 526593"/>
                  <a:gd name="connsiteY36" fmla="*/ 45534 h 403224"/>
                  <a:gd name="connsiteX37" fmla="*/ 517137 w 526593"/>
                  <a:gd name="connsiteY37" fmla="*/ 33302 h 403224"/>
                  <a:gd name="connsiteX38" fmla="*/ 517549 w 526593"/>
                  <a:gd name="connsiteY38" fmla="*/ 31555 h 403224"/>
                  <a:gd name="connsiteX39" fmla="*/ 515390 w 526593"/>
                  <a:gd name="connsiteY39" fmla="*/ 16446 h 403224"/>
                  <a:gd name="connsiteX40" fmla="*/ 515082 w 526593"/>
                  <a:gd name="connsiteY40" fmla="*/ 14287 h 403224"/>
                  <a:gd name="connsiteX41" fmla="*/ 526593 w 526593"/>
                  <a:gd name="connsiteY41" fmla="*/ 15109 h 403224"/>
                  <a:gd name="connsiteX42" fmla="*/ 523304 w 526593"/>
                  <a:gd name="connsiteY42" fmla="*/ 38133 h 403224"/>
                  <a:gd name="connsiteX43" fmla="*/ 510971 w 526593"/>
                  <a:gd name="connsiteY43" fmla="*/ 117894 h 403224"/>
                  <a:gd name="connsiteX44" fmla="*/ 325969 w 526593"/>
                  <a:gd name="connsiteY44" fmla="*/ 108027 h 403224"/>
                  <a:gd name="connsiteX45" fmla="*/ 301302 w 526593"/>
                  <a:gd name="connsiteY45" fmla="*/ 265904 h 403224"/>
                  <a:gd name="connsiteX46" fmla="*/ 270879 w 526593"/>
                  <a:gd name="connsiteY46" fmla="*/ 274127 h 403224"/>
                  <a:gd name="connsiteX47" fmla="*/ 234701 w 526593"/>
                  <a:gd name="connsiteY47" fmla="*/ 296328 h 403224"/>
                  <a:gd name="connsiteX48" fmla="*/ 231412 w 526593"/>
                  <a:gd name="connsiteY48" fmla="*/ 322641 h 403224"/>
                  <a:gd name="connsiteX49" fmla="*/ 225657 w 526593"/>
                  <a:gd name="connsiteY49" fmla="*/ 395001 h 403224"/>
                  <a:gd name="connsiteX50" fmla="*/ 24210 w 526593"/>
                  <a:gd name="connsiteY50" fmla="*/ 384312 h 403224"/>
                  <a:gd name="connsiteX51" fmla="*/ 5299 w 526593"/>
                  <a:gd name="connsiteY51" fmla="*/ 392535 h 403224"/>
                  <a:gd name="connsiteX52" fmla="*/ 365 w 526593"/>
                  <a:gd name="connsiteY52" fmla="*/ 403224 h 403224"/>
                  <a:gd name="connsiteX53" fmla="*/ 365 w 526593"/>
                  <a:gd name="connsiteY53" fmla="*/ 395824 h 403224"/>
                  <a:gd name="connsiteX54" fmla="*/ 6943 w 526593"/>
                  <a:gd name="connsiteY54" fmla="*/ 373622 h 403224"/>
                  <a:gd name="connsiteX55" fmla="*/ 63677 w 526593"/>
                  <a:gd name="connsiteY55" fmla="*/ 374444 h 403224"/>
                  <a:gd name="connsiteX56" fmla="*/ 118767 w 526593"/>
                  <a:gd name="connsiteY56" fmla="*/ 381023 h 403224"/>
                  <a:gd name="connsiteX57" fmla="*/ 139322 w 526593"/>
                  <a:gd name="connsiteY57" fmla="*/ 381023 h 403224"/>
                  <a:gd name="connsiteX58" fmla="*/ 139335 w 526593"/>
                  <a:gd name="connsiteY58" fmla="*/ 381000 h 403224"/>
                  <a:gd name="connsiteX59" fmla="*/ 119082 w 526593"/>
                  <a:gd name="connsiteY59" fmla="*/ 381000 h 403224"/>
                  <a:gd name="connsiteX60" fmla="*/ 64102 w 526593"/>
                  <a:gd name="connsiteY60" fmla="*/ 374417 h 403224"/>
                  <a:gd name="connsiteX61" fmla="*/ 7481 w 526593"/>
                  <a:gd name="connsiteY61" fmla="*/ 374417 h 403224"/>
                  <a:gd name="connsiteX62" fmla="*/ 12405 w 526593"/>
                  <a:gd name="connsiteY62" fmla="*/ 353845 h 403224"/>
                  <a:gd name="connsiteX63" fmla="*/ 27996 w 526593"/>
                  <a:gd name="connsiteY63" fmla="*/ 326689 h 403224"/>
                  <a:gd name="connsiteX64" fmla="*/ 41125 w 526593"/>
                  <a:gd name="connsiteY64" fmla="*/ 320106 h 403224"/>
                  <a:gd name="connsiteX65" fmla="*/ 53434 w 526593"/>
                  <a:gd name="connsiteY65" fmla="*/ 302002 h 403224"/>
                  <a:gd name="connsiteX66" fmla="*/ 68205 w 526593"/>
                  <a:gd name="connsiteY66" fmla="*/ 281430 h 403224"/>
                  <a:gd name="connsiteX67" fmla="*/ 69025 w 526593"/>
                  <a:gd name="connsiteY67" fmla="*/ 269909 h 403224"/>
                  <a:gd name="connsiteX68" fmla="*/ 97746 w 526593"/>
                  <a:gd name="connsiteY68" fmla="*/ 234525 h 403224"/>
                  <a:gd name="connsiteX69" fmla="*/ 106773 w 526593"/>
                  <a:gd name="connsiteY69" fmla="*/ 217244 h 403224"/>
                  <a:gd name="connsiteX70" fmla="*/ 144520 w 526593"/>
                  <a:gd name="connsiteY70" fmla="*/ 182683 h 403224"/>
                  <a:gd name="connsiteX71" fmla="*/ 160932 w 526593"/>
                  <a:gd name="connsiteY71" fmla="*/ 161287 h 403224"/>
                  <a:gd name="connsiteX72" fmla="*/ 167497 w 526593"/>
                  <a:gd name="connsiteY72" fmla="*/ 147298 h 403224"/>
                  <a:gd name="connsiteX73" fmla="*/ 177344 w 526593"/>
                  <a:gd name="connsiteY73" fmla="*/ 126726 h 403224"/>
                  <a:gd name="connsiteX74" fmla="*/ 192935 w 526593"/>
                  <a:gd name="connsiteY74" fmla="*/ 94633 h 403224"/>
                  <a:gd name="connsiteX75" fmla="*/ 210167 w 526593"/>
                  <a:gd name="connsiteY75" fmla="*/ 76529 h 403224"/>
                  <a:gd name="connsiteX76" fmla="*/ 225759 w 526593"/>
                  <a:gd name="connsiteY76" fmla="*/ 68300 h 403224"/>
                  <a:gd name="connsiteX77" fmla="*/ 250376 w 526593"/>
                  <a:gd name="connsiteY77" fmla="*/ 54311 h 403224"/>
                  <a:gd name="connsiteX78" fmla="*/ 257762 w 526593"/>
                  <a:gd name="connsiteY78" fmla="*/ 45259 h 403224"/>
                  <a:gd name="connsiteX79" fmla="*/ 273353 w 526593"/>
                  <a:gd name="connsiteY79" fmla="*/ 18927 h 403224"/>
                  <a:gd name="connsiteX80" fmla="*/ 288124 w 526593"/>
                  <a:gd name="connsiteY80" fmla="*/ 823 h 403224"/>
                  <a:gd name="connsiteX81" fmla="*/ 288124 w 526593"/>
                  <a:gd name="connsiteY81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11921 w 526593"/>
                  <a:gd name="connsiteY6" fmla="*/ 116851 h 403224"/>
                  <a:gd name="connsiteX7" fmla="*/ 300433 w 526593"/>
                  <a:gd name="connsiteY7" fmla="*/ 180214 h 403224"/>
                  <a:gd name="connsiteX8" fmla="*/ 300480 w 526593"/>
                  <a:gd name="connsiteY8" fmla="*/ 180387 h 403224"/>
                  <a:gd name="connsiteX9" fmla="*/ 311991 w 526593"/>
                  <a:gd name="connsiteY9" fmla="*/ 117072 h 403224"/>
                  <a:gd name="connsiteX10" fmla="*/ 311991 w 526593"/>
                  <a:gd name="connsiteY10" fmla="*/ 96515 h 403224"/>
                  <a:gd name="connsiteX11" fmla="*/ 346524 w 526593"/>
                  <a:gd name="connsiteY11" fmla="*/ 98159 h 403224"/>
                  <a:gd name="connsiteX12" fmla="*/ 373658 w 526593"/>
                  <a:gd name="connsiteY12" fmla="*/ 69380 h 403224"/>
                  <a:gd name="connsiteX13" fmla="*/ 370780 w 526593"/>
                  <a:gd name="connsiteY13" fmla="*/ 60026 h 403224"/>
                  <a:gd name="connsiteX14" fmla="*/ 370369 w 526593"/>
                  <a:gd name="connsiteY14" fmla="*/ 58690 h 403224"/>
                  <a:gd name="connsiteX15" fmla="*/ 403258 w 526593"/>
                  <a:gd name="connsiteY15" fmla="*/ 50467 h 403224"/>
                  <a:gd name="connsiteX16" fmla="*/ 428748 w 526593"/>
                  <a:gd name="connsiteY16" fmla="*/ 66091 h 403224"/>
                  <a:gd name="connsiteX17" fmla="*/ 442417 w 526593"/>
                  <a:gd name="connsiteY17" fmla="*/ 61054 h 403224"/>
                  <a:gd name="connsiteX18" fmla="*/ 444340 w 526593"/>
                  <a:gd name="connsiteY18" fmla="*/ 60346 h 403224"/>
                  <a:gd name="connsiteX19" fmla="*/ 430394 w 526593"/>
                  <a:gd name="connsiteY19" fmla="*/ 65112 h 403224"/>
                  <a:gd name="connsiteX20" fmla="*/ 428445 w 526593"/>
                  <a:gd name="connsiteY20" fmla="*/ 65832 h 403224"/>
                  <a:gd name="connsiteX21" fmla="*/ 403007 w 526593"/>
                  <a:gd name="connsiteY21" fmla="*/ 50197 h 403224"/>
                  <a:gd name="connsiteX22" fmla="*/ 288124 w 526593"/>
                  <a:gd name="connsiteY22" fmla="*/ 0 h 403224"/>
                  <a:gd name="connsiteX23" fmla="*/ 514607 w 526593"/>
                  <a:gd name="connsiteY23" fmla="*/ 13989 h 403224"/>
                  <a:gd name="connsiteX24" fmla="*/ 516761 w 526593"/>
                  <a:gd name="connsiteY24" fmla="*/ 29110 h 403224"/>
                  <a:gd name="connsiteX25" fmla="*/ 517069 w 526593"/>
                  <a:gd name="connsiteY25" fmla="*/ 31270 h 403224"/>
                  <a:gd name="connsiteX26" fmla="*/ 514197 w 526593"/>
                  <a:gd name="connsiteY26" fmla="*/ 43511 h 403224"/>
                  <a:gd name="connsiteX27" fmla="*/ 513787 w 526593"/>
                  <a:gd name="connsiteY27" fmla="*/ 45259 h 403224"/>
                  <a:gd name="connsiteX28" fmla="*/ 513787 w 526593"/>
                  <a:gd name="connsiteY28" fmla="*/ 51019 h 403224"/>
                  <a:gd name="connsiteX29" fmla="*/ 513787 w 526593"/>
                  <a:gd name="connsiteY29" fmla="*/ 51842 h 403224"/>
                  <a:gd name="connsiteX30" fmla="*/ 479322 w 526593"/>
                  <a:gd name="connsiteY30" fmla="*/ 55134 h 403224"/>
                  <a:gd name="connsiteX31" fmla="*/ 452285 w 526593"/>
                  <a:gd name="connsiteY31" fmla="*/ 67458 h 403224"/>
                  <a:gd name="connsiteX32" fmla="*/ 479726 w 526593"/>
                  <a:gd name="connsiteY32" fmla="*/ 55401 h 403224"/>
                  <a:gd name="connsiteX33" fmla="*/ 510971 w 526593"/>
                  <a:gd name="connsiteY33" fmla="*/ 55401 h 403224"/>
                  <a:gd name="connsiteX34" fmla="*/ 514260 w 526593"/>
                  <a:gd name="connsiteY34" fmla="*/ 46356 h 403224"/>
                  <a:gd name="connsiteX35" fmla="*/ 514260 w 526593"/>
                  <a:gd name="connsiteY35" fmla="*/ 45534 h 403224"/>
                  <a:gd name="connsiteX36" fmla="*/ 517137 w 526593"/>
                  <a:gd name="connsiteY36" fmla="*/ 33302 h 403224"/>
                  <a:gd name="connsiteX37" fmla="*/ 517549 w 526593"/>
                  <a:gd name="connsiteY37" fmla="*/ 31555 h 403224"/>
                  <a:gd name="connsiteX38" fmla="*/ 515390 w 526593"/>
                  <a:gd name="connsiteY38" fmla="*/ 16446 h 403224"/>
                  <a:gd name="connsiteX39" fmla="*/ 515082 w 526593"/>
                  <a:gd name="connsiteY39" fmla="*/ 14287 h 403224"/>
                  <a:gd name="connsiteX40" fmla="*/ 526593 w 526593"/>
                  <a:gd name="connsiteY40" fmla="*/ 15109 h 403224"/>
                  <a:gd name="connsiteX41" fmla="*/ 523304 w 526593"/>
                  <a:gd name="connsiteY41" fmla="*/ 38133 h 403224"/>
                  <a:gd name="connsiteX42" fmla="*/ 510971 w 526593"/>
                  <a:gd name="connsiteY42" fmla="*/ 117894 h 403224"/>
                  <a:gd name="connsiteX43" fmla="*/ 325969 w 526593"/>
                  <a:gd name="connsiteY43" fmla="*/ 108027 h 403224"/>
                  <a:gd name="connsiteX44" fmla="*/ 301302 w 526593"/>
                  <a:gd name="connsiteY44" fmla="*/ 265904 h 403224"/>
                  <a:gd name="connsiteX45" fmla="*/ 270879 w 526593"/>
                  <a:gd name="connsiteY45" fmla="*/ 274127 h 403224"/>
                  <a:gd name="connsiteX46" fmla="*/ 234701 w 526593"/>
                  <a:gd name="connsiteY46" fmla="*/ 296328 h 403224"/>
                  <a:gd name="connsiteX47" fmla="*/ 231412 w 526593"/>
                  <a:gd name="connsiteY47" fmla="*/ 322641 h 403224"/>
                  <a:gd name="connsiteX48" fmla="*/ 225657 w 526593"/>
                  <a:gd name="connsiteY48" fmla="*/ 395001 h 403224"/>
                  <a:gd name="connsiteX49" fmla="*/ 24210 w 526593"/>
                  <a:gd name="connsiteY49" fmla="*/ 384312 h 403224"/>
                  <a:gd name="connsiteX50" fmla="*/ 5299 w 526593"/>
                  <a:gd name="connsiteY50" fmla="*/ 392535 h 403224"/>
                  <a:gd name="connsiteX51" fmla="*/ 365 w 526593"/>
                  <a:gd name="connsiteY51" fmla="*/ 403224 h 403224"/>
                  <a:gd name="connsiteX52" fmla="*/ 365 w 526593"/>
                  <a:gd name="connsiteY52" fmla="*/ 395824 h 403224"/>
                  <a:gd name="connsiteX53" fmla="*/ 6943 w 526593"/>
                  <a:gd name="connsiteY53" fmla="*/ 373622 h 403224"/>
                  <a:gd name="connsiteX54" fmla="*/ 63677 w 526593"/>
                  <a:gd name="connsiteY54" fmla="*/ 374444 h 403224"/>
                  <a:gd name="connsiteX55" fmla="*/ 118767 w 526593"/>
                  <a:gd name="connsiteY55" fmla="*/ 381023 h 403224"/>
                  <a:gd name="connsiteX56" fmla="*/ 139322 w 526593"/>
                  <a:gd name="connsiteY56" fmla="*/ 381023 h 403224"/>
                  <a:gd name="connsiteX57" fmla="*/ 139335 w 526593"/>
                  <a:gd name="connsiteY57" fmla="*/ 381000 h 403224"/>
                  <a:gd name="connsiteX58" fmla="*/ 119082 w 526593"/>
                  <a:gd name="connsiteY58" fmla="*/ 381000 h 403224"/>
                  <a:gd name="connsiteX59" fmla="*/ 64102 w 526593"/>
                  <a:gd name="connsiteY59" fmla="*/ 374417 h 403224"/>
                  <a:gd name="connsiteX60" fmla="*/ 7481 w 526593"/>
                  <a:gd name="connsiteY60" fmla="*/ 374417 h 403224"/>
                  <a:gd name="connsiteX61" fmla="*/ 12405 w 526593"/>
                  <a:gd name="connsiteY61" fmla="*/ 353845 h 403224"/>
                  <a:gd name="connsiteX62" fmla="*/ 27996 w 526593"/>
                  <a:gd name="connsiteY62" fmla="*/ 326689 h 403224"/>
                  <a:gd name="connsiteX63" fmla="*/ 41125 w 526593"/>
                  <a:gd name="connsiteY63" fmla="*/ 320106 h 403224"/>
                  <a:gd name="connsiteX64" fmla="*/ 53434 w 526593"/>
                  <a:gd name="connsiteY64" fmla="*/ 302002 h 403224"/>
                  <a:gd name="connsiteX65" fmla="*/ 68205 w 526593"/>
                  <a:gd name="connsiteY65" fmla="*/ 281430 h 403224"/>
                  <a:gd name="connsiteX66" fmla="*/ 69025 w 526593"/>
                  <a:gd name="connsiteY66" fmla="*/ 269909 h 403224"/>
                  <a:gd name="connsiteX67" fmla="*/ 97746 w 526593"/>
                  <a:gd name="connsiteY67" fmla="*/ 234525 h 403224"/>
                  <a:gd name="connsiteX68" fmla="*/ 106773 w 526593"/>
                  <a:gd name="connsiteY68" fmla="*/ 217244 h 403224"/>
                  <a:gd name="connsiteX69" fmla="*/ 144520 w 526593"/>
                  <a:gd name="connsiteY69" fmla="*/ 182683 h 403224"/>
                  <a:gd name="connsiteX70" fmla="*/ 160932 w 526593"/>
                  <a:gd name="connsiteY70" fmla="*/ 161287 h 403224"/>
                  <a:gd name="connsiteX71" fmla="*/ 167497 w 526593"/>
                  <a:gd name="connsiteY71" fmla="*/ 147298 h 403224"/>
                  <a:gd name="connsiteX72" fmla="*/ 177344 w 526593"/>
                  <a:gd name="connsiteY72" fmla="*/ 126726 h 403224"/>
                  <a:gd name="connsiteX73" fmla="*/ 192935 w 526593"/>
                  <a:gd name="connsiteY73" fmla="*/ 94633 h 403224"/>
                  <a:gd name="connsiteX74" fmla="*/ 210167 w 526593"/>
                  <a:gd name="connsiteY74" fmla="*/ 76529 h 403224"/>
                  <a:gd name="connsiteX75" fmla="*/ 225759 w 526593"/>
                  <a:gd name="connsiteY75" fmla="*/ 68300 h 403224"/>
                  <a:gd name="connsiteX76" fmla="*/ 250376 w 526593"/>
                  <a:gd name="connsiteY76" fmla="*/ 54311 h 403224"/>
                  <a:gd name="connsiteX77" fmla="*/ 257762 w 526593"/>
                  <a:gd name="connsiteY77" fmla="*/ 45259 h 403224"/>
                  <a:gd name="connsiteX78" fmla="*/ 273353 w 526593"/>
                  <a:gd name="connsiteY78" fmla="*/ 18927 h 403224"/>
                  <a:gd name="connsiteX79" fmla="*/ 288124 w 526593"/>
                  <a:gd name="connsiteY79" fmla="*/ 823 h 403224"/>
                  <a:gd name="connsiteX80" fmla="*/ 288124 w 526593"/>
                  <a:gd name="connsiteY80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11921 w 526593"/>
                  <a:gd name="connsiteY6" fmla="*/ 116851 h 403224"/>
                  <a:gd name="connsiteX7" fmla="*/ 300433 w 526593"/>
                  <a:gd name="connsiteY7" fmla="*/ 180214 h 403224"/>
                  <a:gd name="connsiteX8" fmla="*/ 311991 w 526593"/>
                  <a:gd name="connsiteY8" fmla="*/ 117072 h 403224"/>
                  <a:gd name="connsiteX9" fmla="*/ 311991 w 526593"/>
                  <a:gd name="connsiteY9" fmla="*/ 96515 h 403224"/>
                  <a:gd name="connsiteX10" fmla="*/ 346524 w 526593"/>
                  <a:gd name="connsiteY10" fmla="*/ 98159 h 403224"/>
                  <a:gd name="connsiteX11" fmla="*/ 373658 w 526593"/>
                  <a:gd name="connsiteY11" fmla="*/ 69380 h 403224"/>
                  <a:gd name="connsiteX12" fmla="*/ 370780 w 526593"/>
                  <a:gd name="connsiteY12" fmla="*/ 60026 h 403224"/>
                  <a:gd name="connsiteX13" fmla="*/ 370369 w 526593"/>
                  <a:gd name="connsiteY13" fmla="*/ 58690 h 403224"/>
                  <a:gd name="connsiteX14" fmla="*/ 403258 w 526593"/>
                  <a:gd name="connsiteY14" fmla="*/ 50467 h 403224"/>
                  <a:gd name="connsiteX15" fmla="*/ 428748 w 526593"/>
                  <a:gd name="connsiteY15" fmla="*/ 66091 h 403224"/>
                  <a:gd name="connsiteX16" fmla="*/ 442417 w 526593"/>
                  <a:gd name="connsiteY16" fmla="*/ 61054 h 403224"/>
                  <a:gd name="connsiteX17" fmla="*/ 444340 w 526593"/>
                  <a:gd name="connsiteY17" fmla="*/ 60346 h 403224"/>
                  <a:gd name="connsiteX18" fmla="*/ 430394 w 526593"/>
                  <a:gd name="connsiteY18" fmla="*/ 65112 h 403224"/>
                  <a:gd name="connsiteX19" fmla="*/ 428445 w 526593"/>
                  <a:gd name="connsiteY19" fmla="*/ 65832 h 403224"/>
                  <a:gd name="connsiteX20" fmla="*/ 403007 w 526593"/>
                  <a:gd name="connsiteY20" fmla="*/ 50197 h 403224"/>
                  <a:gd name="connsiteX21" fmla="*/ 288124 w 526593"/>
                  <a:gd name="connsiteY21" fmla="*/ 0 h 403224"/>
                  <a:gd name="connsiteX22" fmla="*/ 514607 w 526593"/>
                  <a:gd name="connsiteY22" fmla="*/ 13989 h 403224"/>
                  <a:gd name="connsiteX23" fmla="*/ 516761 w 526593"/>
                  <a:gd name="connsiteY23" fmla="*/ 29110 h 403224"/>
                  <a:gd name="connsiteX24" fmla="*/ 517069 w 526593"/>
                  <a:gd name="connsiteY24" fmla="*/ 31270 h 403224"/>
                  <a:gd name="connsiteX25" fmla="*/ 514197 w 526593"/>
                  <a:gd name="connsiteY25" fmla="*/ 43511 h 403224"/>
                  <a:gd name="connsiteX26" fmla="*/ 513787 w 526593"/>
                  <a:gd name="connsiteY26" fmla="*/ 45259 h 403224"/>
                  <a:gd name="connsiteX27" fmla="*/ 513787 w 526593"/>
                  <a:gd name="connsiteY27" fmla="*/ 51019 h 403224"/>
                  <a:gd name="connsiteX28" fmla="*/ 513787 w 526593"/>
                  <a:gd name="connsiteY28" fmla="*/ 51842 h 403224"/>
                  <a:gd name="connsiteX29" fmla="*/ 479322 w 526593"/>
                  <a:gd name="connsiteY29" fmla="*/ 55134 h 403224"/>
                  <a:gd name="connsiteX30" fmla="*/ 452285 w 526593"/>
                  <a:gd name="connsiteY30" fmla="*/ 67458 h 403224"/>
                  <a:gd name="connsiteX31" fmla="*/ 479726 w 526593"/>
                  <a:gd name="connsiteY31" fmla="*/ 55401 h 403224"/>
                  <a:gd name="connsiteX32" fmla="*/ 510971 w 526593"/>
                  <a:gd name="connsiteY32" fmla="*/ 55401 h 403224"/>
                  <a:gd name="connsiteX33" fmla="*/ 514260 w 526593"/>
                  <a:gd name="connsiteY33" fmla="*/ 46356 h 403224"/>
                  <a:gd name="connsiteX34" fmla="*/ 514260 w 526593"/>
                  <a:gd name="connsiteY34" fmla="*/ 45534 h 403224"/>
                  <a:gd name="connsiteX35" fmla="*/ 517137 w 526593"/>
                  <a:gd name="connsiteY35" fmla="*/ 33302 h 403224"/>
                  <a:gd name="connsiteX36" fmla="*/ 517549 w 526593"/>
                  <a:gd name="connsiteY36" fmla="*/ 31555 h 403224"/>
                  <a:gd name="connsiteX37" fmla="*/ 515390 w 526593"/>
                  <a:gd name="connsiteY37" fmla="*/ 16446 h 403224"/>
                  <a:gd name="connsiteX38" fmla="*/ 515082 w 526593"/>
                  <a:gd name="connsiteY38" fmla="*/ 14287 h 403224"/>
                  <a:gd name="connsiteX39" fmla="*/ 526593 w 526593"/>
                  <a:gd name="connsiteY39" fmla="*/ 15109 h 403224"/>
                  <a:gd name="connsiteX40" fmla="*/ 523304 w 526593"/>
                  <a:gd name="connsiteY40" fmla="*/ 38133 h 403224"/>
                  <a:gd name="connsiteX41" fmla="*/ 510971 w 526593"/>
                  <a:gd name="connsiteY41" fmla="*/ 117894 h 403224"/>
                  <a:gd name="connsiteX42" fmla="*/ 325969 w 526593"/>
                  <a:gd name="connsiteY42" fmla="*/ 108027 h 403224"/>
                  <a:gd name="connsiteX43" fmla="*/ 301302 w 526593"/>
                  <a:gd name="connsiteY43" fmla="*/ 265904 h 403224"/>
                  <a:gd name="connsiteX44" fmla="*/ 270879 w 526593"/>
                  <a:gd name="connsiteY44" fmla="*/ 274127 h 403224"/>
                  <a:gd name="connsiteX45" fmla="*/ 234701 w 526593"/>
                  <a:gd name="connsiteY45" fmla="*/ 296328 h 403224"/>
                  <a:gd name="connsiteX46" fmla="*/ 231412 w 526593"/>
                  <a:gd name="connsiteY46" fmla="*/ 322641 h 403224"/>
                  <a:gd name="connsiteX47" fmla="*/ 225657 w 526593"/>
                  <a:gd name="connsiteY47" fmla="*/ 395001 h 403224"/>
                  <a:gd name="connsiteX48" fmla="*/ 24210 w 526593"/>
                  <a:gd name="connsiteY48" fmla="*/ 384312 h 403224"/>
                  <a:gd name="connsiteX49" fmla="*/ 5299 w 526593"/>
                  <a:gd name="connsiteY49" fmla="*/ 392535 h 403224"/>
                  <a:gd name="connsiteX50" fmla="*/ 365 w 526593"/>
                  <a:gd name="connsiteY50" fmla="*/ 403224 h 403224"/>
                  <a:gd name="connsiteX51" fmla="*/ 365 w 526593"/>
                  <a:gd name="connsiteY51" fmla="*/ 395824 h 403224"/>
                  <a:gd name="connsiteX52" fmla="*/ 6943 w 526593"/>
                  <a:gd name="connsiteY52" fmla="*/ 373622 h 403224"/>
                  <a:gd name="connsiteX53" fmla="*/ 63677 w 526593"/>
                  <a:gd name="connsiteY53" fmla="*/ 374444 h 403224"/>
                  <a:gd name="connsiteX54" fmla="*/ 118767 w 526593"/>
                  <a:gd name="connsiteY54" fmla="*/ 381023 h 403224"/>
                  <a:gd name="connsiteX55" fmla="*/ 139322 w 526593"/>
                  <a:gd name="connsiteY55" fmla="*/ 381023 h 403224"/>
                  <a:gd name="connsiteX56" fmla="*/ 139335 w 526593"/>
                  <a:gd name="connsiteY56" fmla="*/ 381000 h 403224"/>
                  <a:gd name="connsiteX57" fmla="*/ 119082 w 526593"/>
                  <a:gd name="connsiteY57" fmla="*/ 381000 h 403224"/>
                  <a:gd name="connsiteX58" fmla="*/ 64102 w 526593"/>
                  <a:gd name="connsiteY58" fmla="*/ 374417 h 403224"/>
                  <a:gd name="connsiteX59" fmla="*/ 7481 w 526593"/>
                  <a:gd name="connsiteY59" fmla="*/ 374417 h 403224"/>
                  <a:gd name="connsiteX60" fmla="*/ 12405 w 526593"/>
                  <a:gd name="connsiteY60" fmla="*/ 353845 h 403224"/>
                  <a:gd name="connsiteX61" fmla="*/ 27996 w 526593"/>
                  <a:gd name="connsiteY61" fmla="*/ 326689 h 403224"/>
                  <a:gd name="connsiteX62" fmla="*/ 41125 w 526593"/>
                  <a:gd name="connsiteY62" fmla="*/ 320106 h 403224"/>
                  <a:gd name="connsiteX63" fmla="*/ 53434 w 526593"/>
                  <a:gd name="connsiteY63" fmla="*/ 302002 h 403224"/>
                  <a:gd name="connsiteX64" fmla="*/ 68205 w 526593"/>
                  <a:gd name="connsiteY64" fmla="*/ 281430 h 403224"/>
                  <a:gd name="connsiteX65" fmla="*/ 69025 w 526593"/>
                  <a:gd name="connsiteY65" fmla="*/ 269909 h 403224"/>
                  <a:gd name="connsiteX66" fmla="*/ 97746 w 526593"/>
                  <a:gd name="connsiteY66" fmla="*/ 234525 h 403224"/>
                  <a:gd name="connsiteX67" fmla="*/ 106773 w 526593"/>
                  <a:gd name="connsiteY67" fmla="*/ 217244 h 403224"/>
                  <a:gd name="connsiteX68" fmla="*/ 144520 w 526593"/>
                  <a:gd name="connsiteY68" fmla="*/ 182683 h 403224"/>
                  <a:gd name="connsiteX69" fmla="*/ 160932 w 526593"/>
                  <a:gd name="connsiteY69" fmla="*/ 161287 h 403224"/>
                  <a:gd name="connsiteX70" fmla="*/ 167497 w 526593"/>
                  <a:gd name="connsiteY70" fmla="*/ 147298 h 403224"/>
                  <a:gd name="connsiteX71" fmla="*/ 177344 w 526593"/>
                  <a:gd name="connsiteY71" fmla="*/ 126726 h 403224"/>
                  <a:gd name="connsiteX72" fmla="*/ 192935 w 526593"/>
                  <a:gd name="connsiteY72" fmla="*/ 94633 h 403224"/>
                  <a:gd name="connsiteX73" fmla="*/ 210167 w 526593"/>
                  <a:gd name="connsiteY73" fmla="*/ 76529 h 403224"/>
                  <a:gd name="connsiteX74" fmla="*/ 225759 w 526593"/>
                  <a:gd name="connsiteY74" fmla="*/ 68300 h 403224"/>
                  <a:gd name="connsiteX75" fmla="*/ 250376 w 526593"/>
                  <a:gd name="connsiteY75" fmla="*/ 54311 h 403224"/>
                  <a:gd name="connsiteX76" fmla="*/ 257762 w 526593"/>
                  <a:gd name="connsiteY76" fmla="*/ 45259 h 403224"/>
                  <a:gd name="connsiteX77" fmla="*/ 273353 w 526593"/>
                  <a:gd name="connsiteY77" fmla="*/ 18927 h 403224"/>
                  <a:gd name="connsiteX78" fmla="*/ 288124 w 526593"/>
                  <a:gd name="connsiteY78" fmla="*/ 823 h 403224"/>
                  <a:gd name="connsiteX79" fmla="*/ 288124 w 526593"/>
                  <a:gd name="connsiteY79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11921 w 526593"/>
                  <a:gd name="connsiteY6" fmla="*/ 116851 h 403224"/>
                  <a:gd name="connsiteX7" fmla="*/ 311991 w 526593"/>
                  <a:gd name="connsiteY7" fmla="*/ 117072 h 403224"/>
                  <a:gd name="connsiteX8" fmla="*/ 311991 w 526593"/>
                  <a:gd name="connsiteY8" fmla="*/ 96515 h 403224"/>
                  <a:gd name="connsiteX9" fmla="*/ 346524 w 526593"/>
                  <a:gd name="connsiteY9" fmla="*/ 98159 h 403224"/>
                  <a:gd name="connsiteX10" fmla="*/ 373658 w 526593"/>
                  <a:gd name="connsiteY10" fmla="*/ 69380 h 403224"/>
                  <a:gd name="connsiteX11" fmla="*/ 370780 w 526593"/>
                  <a:gd name="connsiteY11" fmla="*/ 60026 h 403224"/>
                  <a:gd name="connsiteX12" fmla="*/ 370369 w 526593"/>
                  <a:gd name="connsiteY12" fmla="*/ 58690 h 403224"/>
                  <a:gd name="connsiteX13" fmla="*/ 403258 w 526593"/>
                  <a:gd name="connsiteY13" fmla="*/ 50467 h 403224"/>
                  <a:gd name="connsiteX14" fmla="*/ 428748 w 526593"/>
                  <a:gd name="connsiteY14" fmla="*/ 66091 h 403224"/>
                  <a:gd name="connsiteX15" fmla="*/ 442417 w 526593"/>
                  <a:gd name="connsiteY15" fmla="*/ 61054 h 403224"/>
                  <a:gd name="connsiteX16" fmla="*/ 444340 w 526593"/>
                  <a:gd name="connsiteY16" fmla="*/ 60346 h 403224"/>
                  <a:gd name="connsiteX17" fmla="*/ 430394 w 526593"/>
                  <a:gd name="connsiteY17" fmla="*/ 65112 h 403224"/>
                  <a:gd name="connsiteX18" fmla="*/ 428445 w 526593"/>
                  <a:gd name="connsiteY18" fmla="*/ 65832 h 403224"/>
                  <a:gd name="connsiteX19" fmla="*/ 403007 w 526593"/>
                  <a:gd name="connsiteY19" fmla="*/ 50197 h 403224"/>
                  <a:gd name="connsiteX20" fmla="*/ 288124 w 526593"/>
                  <a:gd name="connsiteY20" fmla="*/ 0 h 403224"/>
                  <a:gd name="connsiteX21" fmla="*/ 514607 w 526593"/>
                  <a:gd name="connsiteY21" fmla="*/ 13989 h 403224"/>
                  <a:gd name="connsiteX22" fmla="*/ 516761 w 526593"/>
                  <a:gd name="connsiteY22" fmla="*/ 29110 h 403224"/>
                  <a:gd name="connsiteX23" fmla="*/ 517069 w 526593"/>
                  <a:gd name="connsiteY23" fmla="*/ 31270 h 403224"/>
                  <a:gd name="connsiteX24" fmla="*/ 514197 w 526593"/>
                  <a:gd name="connsiteY24" fmla="*/ 43511 h 403224"/>
                  <a:gd name="connsiteX25" fmla="*/ 513787 w 526593"/>
                  <a:gd name="connsiteY25" fmla="*/ 45259 h 403224"/>
                  <a:gd name="connsiteX26" fmla="*/ 513787 w 526593"/>
                  <a:gd name="connsiteY26" fmla="*/ 51019 h 403224"/>
                  <a:gd name="connsiteX27" fmla="*/ 513787 w 526593"/>
                  <a:gd name="connsiteY27" fmla="*/ 51842 h 403224"/>
                  <a:gd name="connsiteX28" fmla="*/ 479322 w 526593"/>
                  <a:gd name="connsiteY28" fmla="*/ 55134 h 403224"/>
                  <a:gd name="connsiteX29" fmla="*/ 452285 w 526593"/>
                  <a:gd name="connsiteY29" fmla="*/ 67458 h 403224"/>
                  <a:gd name="connsiteX30" fmla="*/ 479726 w 526593"/>
                  <a:gd name="connsiteY30" fmla="*/ 55401 h 403224"/>
                  <a:gd name="connsiteX31" fmla="*/ 510971 w 526593"/>
                  <a:gd name="connsiteY31" fmla="*/ 55401 h 403224"/>
                  <a:gd name="connsiteX32" fmla="*/ 514260 w 526593"/>
                  <a:gd name="connsiteY32" fmla="*/ 46356 h 403224"/>
                  <a:gd name="connsiteX33" fmla="*/ 514260 w 526593"/>
                  <a:gd name="connsiteY33" fmla="*/ 45534 h 403224"/>
                  <a:gd name="connsiteX34" fmla="*/ 517137 w 526593"/>
                  <a:gd name="connsiteY34" fmla="*/ 33302 h 403224"/>
                  <a:gd name="connsiteX35" fmla="*/ 517549 w 526593"/>
                  <a:gd name="connsiteY35" fmla="*/ 31555 h 403224"/>
                  <a:gd name="connsiteX36" fmla="*/ 515390 w 526593"/>
                  <a:gd name="connsiteY36" fmla="*/ 16446 h 403224"/>
                  <a:gd name="connsiteX37" fmla="*/ 515082 w 526593"/>
                  <a:gd name="connsiteY37" fmla="*/ 14287 h 403224"/>
                  <a:gd name="connsiteX38" fmla="*/ 526593 w 526593"/>
                  <a:gd name="connsiteY38" fmla="*/ 15109 h 403224"/>
                  <a:gd name="connsiteX39" fmla="*/ 523304 w 526593"/>
                  <a:gd name="connsiteY39" fmla="*/ 38133 h 403224"/>
                  <a:gd name="connsiteX40" fmla="*/ 510971 w 526593"/>
                  <a:gd name="connsiteY40" fmla="*/ 117894 h 403224"/>
                  <a:gd name="connsiteX41" fmla="*/ 325969 w 526593"/>
                  <a:gd name="connsiteY41" fmla="*/ 108027 h 403224"/>
                  <a:gd name="connsiteX42" fmla="*/ 301302 w 526593"/>
                  <a:gd name="connsiteY42" fmla="*/ 265904 h 403224"/>
                  <a:gd name="connsiteX43" fmla="*/ 270879 w 526593"/>
                  <a:gd name="connsiteY43" fmla="*/ 274127 h 403224"/>
                  <a:gd name="connsiteX44" fmla="*/ 234701 w 526593"/>
                  <a:gd name="connsiteY44" fmla="*/ 296328 h 403224"/>
                  <a:gd name="connsiteX45" fmla="*/ 231412 w 526593"/>
                  <a:gd name="connsiteY45" fmla="*/ 322641 h 403224"/>
                  <a:gd name="connsiteX46" fmla="*/ 225657 w 526593"/>
                  <a:gd name="connsiteY46" fmla="*/ 395001 h 403224"/>
                  <a:gd name="connsiteX47" fmla="*/ 24210 w 526593"/>
                  <a:gd name="connsiteY47" fmla="*/ 384312 h 403224"/>
                  <a:gd name="connsiteX48" fmla="*/ 5299 w 526593"/>
                  <a:gd name="connsiteY48" fmla="*/ 392535 h 403224"/>
                  <a:gd name="connsiteX49" fmla="*/ 365 w 526593"/>
                  <a:gd name="connsiteY49" fmla="*/ 403224 h 403224"/>
                  <a:gd name="connsiteX50" fmla="*/ 365 w 526593"/>
                  <a:gd name="connsiteY50" fmla="*/ 395824 h 403224"/>
                  <a:gd name="connsiteX51" fmla="*/ 6943 w 526593"/>
                  <a:gd name="connsiteY51" fmla="*/ 373622 h 403224"/>
                  <a:gd name="connsiteX52" fmla="*/ 63677 w 526593"/>
                  <a:gd name="connsiteY52" fmla="*/ 374444 h 403224"/>
                  <a:gd name="connsiteX53" fmla="*/ 118767 w 526593"/>
                  <a:gd name="connsiteY53" fmla="*/ 381023 h 403224"/>
                  <a:gd name="connsiteX54" fmla="*/ 139322 w 526593"/>
                  <a:gd name="connsiteY54" fmla="*/ 381023 h 403224"/>
                  <a:gd name="connsiteX55" fmla="*/ 139335 w 526593"/>
                  <a:gd name="connsiteY55" fmla="*/ 381000 h 403224"/>
                  <a:gd name="connsiteX56" fmla="*/ 119082 w 526593"/>
                  <a:gd name="connsiteY56" fmla="*/ 381000 h 403224"/>
                  <a:gd name="connsiteX57" fmla="*/ 64102 w 526593"/>
                  <a:gd name="connsiteY57" fmla="*/ 374417 h 403224"/>
                  <a:gd name="connsiteX58" fmla="*/ 7481 w 526593"/>
                  <a:gd name="connsiteY58" fmla="*/ 374417 h 403224"/>
                  <a:gd name="connsiteX59" fmla="*/ 12405 w 526593"/>
                  <a:gd name="connsiteY59" fmla="*/ 353845 h 403224"/>
                  <a:gd name="connsiteX60" fmla="*/ 27996 w 526593"/>
                  <a:gd name="connsiteY60" fmla="*/ 326689 h 403224"/>
                  <a:gd name="connsiteX61" fmla="*/ 41125 w 526593"/>
                  <a:gd name="connsiteY61" fmla="*/ 320106 h 403224"/>
                  <a:gd name="connsiteX62" fmla="*/ 53434 w 526593"/>
                  <a:gd name="connsiteY62" fmla="*/ 302002 h 403224"/>
                  <a:gd name="connsiteX63" fmla="*/ 68205 w 526593"/>
                  <a:gd name="connsiteY63" fmla="*/ 281430 h 403224"/>
                  <a:gd name="connsiteX64" fmla="*/ 69025 w 526593"/>
                  <a:gd name="connsiteY64" fmla="*/ 269909 h 403224"/>
                  <a:gd name="connsiteX65" fmla="*/ 97746 w 526593"/>
                  <a:gd name="connsiteY65" fmla="*/ 234525 h 403224"/>
                  <a:gd name="connsiteX66" fmla="*/ 106773 w 526593"/>
                  <a:gd name="connsiteY66" fmla="*/ 217244 h 403224"/>
                  <a:gd name="connsiteX67" fmla="*/ 144520 w 526593"/>
                  <a:gd name="connsiteY67" fmla="*/ 182683 h 403224"/>
                  <a:gd name="connsiteX68" fmla="*/ 160932 w 526593"/>
                  <a:gd name="connsiteY68" fmla="*/ 161287 h 403224"/>
                  <a:gd name="connsiteX69" fmla="*/ 167497 w 526593"/>
                  <a:gd name="connsiteY69" fmla="*/ 147298 h 403224"/>
                  <a:gd name="connsiteX70" fmla="*/ 177344 w 526593"/>
                  <a:gd name="connsiteY70" fmla="*/ 126726 h 403224"/>
                  <a:gd name="connsiteX71" fmla="*/ 192935 w 526593"/>
                  <a:gd name="connsiteY71" fmla="*/ 94633 h 403224"/>
                  <a:gd name="connsiteX72" fmla="*/ 210167 w 526593"/>
                  <a:gd name="connsiteY72" fmla="*/ 76529 h 403224"/>
                  <a:gd name="connsiteX73" fmla="*/ 225759 w 526593"/>
                  <a:gd name="connsiteY73" fmla="*/ 68300 h 403224"/>
                  <a:gd name="connsiteX74" fmla="*/ 250376 w 526593"/>
                  <a:gd name="connsiteY74" fmla="*/ 54311 h 403224"/>
                  <a:gd name="connsiteX75" fmla="*/ 257762 w 526593"/>
                  <a:gd name="connsiteY75" fmla="*/ 45259 h 403224"/>
                  <a:gd name="connsiteX76" fmla="*/ 273353 w 526593"/>
                  <a:gd name="connsiteY76" fmla="*/ 18927 h 403224"/>
                  <a:gd name="connsiteX77" fmla="*/ 288124 w 526593"/>
                  <a:gd name="connsiteY77" fmla="*/ 823 h 403224"/>
                  <a:gd name="connsiteX78" fmla="*/ 288124 w 526593"/>
                  <a:gd name="connsiteY78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11921 w 526593"/>
                  <a:gd name="connsiteY6" fmla="*/ 116851 h 403224"/>
                  <a:gd name="connsiteX7" fmla="*/ 311991 w 526593"/>
                  <a:gd name="connsiteY7" fmla="*/ 96515 h 403224"/>
                  <a:gd name="connsiteX8" fmla="*/ 346524 w 526593"/>
                  <a:gd name="connsiteY8" fmla="*/ 98159 h 403224"/>
                  <a:gd name="connsiteX9" fmla="*/ 373658 w 526593"/>
                  <a:gd name="connsiteY9" fmla="*/ 69380 h 403224"/>
                  <a:gd name="connsiteX10" fmla="*/ 370780 w 526593"/>
                  <a:gd name="connsiteY10" fmla="*/ 60026 h 403224"/>
                  <a:gd name="connsiteX11" fmla="*/ 370369 w 526593"/>
                  <a:gd name="connsiteY11" fmla="*/ 58690 h 403224"/>
                  <a:gd name="connsiteX12" fmla="*/ 403258 w 526593"/>
                  <a:gd name="connsiteY12" fmla="*/ 50467 h 403224"/>
                  <a:gd name="connsiteX13" fmla="*/ 428748 w 526593"/>
                  <a:gd name="connsiteY13" fmla="*/ 66091 h 403224"/>
                  <a:gd name="connsiteX14" fmla="*/ 442417 w 526593"/>
                  <a:gd name="connsiteY14" fmla="*/ 61054 h 403224"/>
                  <a:gd name="connsiteX15" fmla="*/ 444340 w 526593"/>
                  <a:gd name="connsiteY15" fmla="*/ 60346 h 403224"/>
                  <a:gd name="connsiteX16" fmla="*/ 430394 w 526593"/>
                  <a:gd name="connsiteY16" fmla="*/ 65112 h 403224"/>
                  <a:gd name="connsiteX17" fmla="*/ 428445 w 526593"/>
                  <a:gd name="connsiteY17" fmla="*/ 65832 h 403224"/>
                  <a:gd name="connsiteX18" fmla="*/ 403007 w 526593"/>
                  <a:gd name="connsiteY18" fmla="*/ 50197 h 403224"/>
                  <a:gd name="connsiteX19" fmla="*/ 288124 w 526593"/>
                  <a:gd name="connsiteY19" fmla="*/ 0 h 403224"/>
                  <a:gd name="connsiteX20" fmla="*/ 514607 w 526593"/>
                  <a:gd name="connsiteY20" fmla="*/ 13989 h 403224"/>
                  <a:gd name="connsiteX21" fmla="*/ 516761 w 526593"/>
                  <a:gd name="connsiteY21" fmla="*/ 29110 h 403224"/>
                  <a:gd name="connsiteX22" fmla="*/ 517069 w 526593"/>
                  <a:gd name="connsiteY22" fmla="*/ 31270 h 403224"/>
                  <a:gd name="connsiteX23" fmla="*/ 514197 w 526593"/>
                  <a:gd name="connsiteY23" fmla="*/ 43511 h 403224"/>
                  <a:gd name="connsiteX24" fmla="*/ 513787 w 526593"/>
                  <a:gd name="connsiteY24" fmla="*/ 45259 h 403224"/>
                  <a:gd name="connsiteX25" fmla="*/ 513787 w 526593"/>
                  <a:gd name="connsiteY25" fmla="*/ 51019 h 403224"/>
                  <a:gd name="connsiteX26" fmla="*/ 513787 w 526593"/>
                  <a:gd name="connsiteY26" fmla="*/ 51842 h 403224"/>
                  <a:gd name="connsiteX27" fmla="*/ 479322 w 526593"/>
                  <a:gd name="connsiteY27" fmla="*/ 55134 h 403224"/>
                  <a:gd name="connsiteX28" fmla="*/ 452285 w 526593"/>
                  <a:gd name="connsiteY28" fmla="*/ 67458 h 403224"/>
                  <a:gd name="connsiteX29" fmla="*/ 479726 w 526593"/>
                  <a:gd name="connsiteY29" fmla="*/ 55401 h 403224"/>
                  <a:gd name="connsiteX30" fmla="*/ 510971 w 526593"/>
                  <a:gd name="connsiteY30" fmla="*/ 55401 h 403224"/>
                  <a:gd name="connsiteX31" fmla="*/ 514260 w 526593"/>
                  <a:gd name="connsiteY31" fmla="*/ 46356 h 403224"/>
                  <a:gd name="connsiteX32" fmla="*/ 514260 w 526593"/>
                  <a:gd name="connsiteY32" fmla="*/ 45534 h 403224"/>
                  <a:gd name="connsiteX33" fmla="*/ 517137 w 526593"/>
                  <a:gd name="connsiteY33" fmla="*/ 33302 h 403224"/>
                  <a:gd name="connsiteX34" fmla="*/ 517549 w 526593"/>
                  <a:gd name="connsiteY34" fmla="*/ 31555 h 403224"/>
                  <a:gd name="connsiteX35" fmla="*/ 515390 w 526593"/>
                  <a:gd name="connsiteY35" fmla="*/ 16446 h 403224"/>
                  <a:gd name="connsiteX36" fmla="*/ 515082 w 526593"/>
                  <a:gd name="connsiteY36" fmla="*/ 14287 h 403224"/>
                  <a:gd name="connsiteX37" fmla="*/ 526593 w 526593"/>
                  <a:gd name="connsiteY37" fmla="*/ 15109 h 403224"/>
                  <a:gd name="connsiteX38" fmla="*/ 523304 w 526593"/>
                  <a:gd name="connsiteY38" fmla="*/ 38133 h 403224"/>
                  <a:gd name="connsiteX39" fmla="*/ 510971 w 526593"/>
                  <a:gd name="connsiteY39" fmla="*/ 117894 h 403224"/>
                  <a:gd name="connsiteX40" fmla="*/ 325969 w 526593"/>
                  <a:gd name="connsiteY40" fmla="*/ 108027 h 403224"/>
                  <a:gd name="connsiteX41" fmla="*/ 301302 w 526593"/>
                  <a:gd name="connsiteY41" fmla="*/ 265904 h 403224"/>
                  <a:gd name="connsiteX42" fmla="*/ 270879 w 526593"/>
                  <a:gd name="connsiteY42" fmla="*/ 274127 h 403224"/>
                  <a:gd name="connsiteX43" fmla="*/ 234701 w 526593"/>
                  <a:gd name="connsiteY43" fmla="*/ 296328 h 403224"/>
                  <a:gd name="connsiteX44" fmla="*/ 231412 w 526593"/>
                  <a:gd name="connsiteY44" fmla="*/ 322641 h 403224"/>
                  <a:gd name="connsiteX45" fmla="*/ 225657 w 526593"/>
                  <a:gd name="connsiteY45" fmla="*/ 395001 h 403224"/>
                  <a:gd name="connsiteX46" fmla="*/ 24210 w 526593"/>
                  <a:gd name="connsiteY46" fmla="*/ 384312 h 403224"/>
                  <a:gd name="connsiteX47" fmla="*/ 5299 w 526593"/>
                  <a:gd name="connsiteY47" fmla="*/ 392535 h 403224"/>
                  <a:gd name="connsiteX48" fmla="*/ 365 w 526593"/>
                  <a:gd name="connsiteY48" fmla="*/ 403224 h 403224"/>
                  <a:gd name="connsiteX49" fmla="*/ 365 w 526593"/>
                  <a:gd name="connsiteY49" fmla="*/ 395824 h 403224"/>
                  <a:gd name="connsiteX50" fmla="*/ 6943 w 526593"/>
                  <a:gd name="connsiteY50" fmla="*/ 373622 h 403224"/>
                  <a:gd name="connsiteX51" fmla="*/ 63677 w 526593"/>
                  <a:gd name="connsiteY51" fmla="*/ 374444 h 403224"/>
                  <a:gd name="connsiteX52" fmla="*/ 118767 w 526593"/>
                  <a:gd name="connsiteY52" fmla="*/ 381023 h 403224"/>
                  <a:gd name="connsiteX53" fmla="*/ 139322 w 526593"/>
                  <a:gd name="connsiteY53" fmla="*/ 381023 h 403224"/>
                  <a:gd name="connsiteX54" fmla="*/ 139335 w 526593"/>
                  <a:gd name="connsiteY54" fmla="*/ 381000 h 403224"/>
                  <a:gd name="connsiteX55" fmla="*/ 119082 w 526593"/>
                  <a:gd name="connsiteY55" fmla="*/ 381000 h 403224"/>
                  <a:gd name="connsiteX56" fmla="*/ 64102 w 526593"/>
                  <a:gd name="connsiteY56" fmla="*/ 374417 h 403224"/>
                  <a:gd name="connsiteX57" fmla="*/ 7481 w 526593"/>
                  <a:gd name="connsiteY57" fmla="*/ 374417 h 403224"/>
                  <a:gd name="connsiteX58" fmla="*/ 12405 w 526593"/>
                  <a:gd name="connsiteY58" fmla="*/ 353845 h 403224"/>
                  <a:gd name="connsiteX59" fmla="*/ 27996 w 526593"/>
                  <a:gd name="connsiteY59" fmla="*/ 326689 h 403224"/>
                  <a:gd name="connsiteX60" fmla="*/ 41125 w 526593"/>
                  <a:gd name="connsiteY60" fmla="*/ 320106 h 403224"/>
                  <a:gd name="connsiteX61" fmla="*/ 53434 w 526593"/>
                  <a:gd name="connsiteY61" fmla="*/ 302002 h 403224"/>
                  <a:gd name="connsiteX62" fmla="*/ 68205 w 526593"/>
                  <a:gd name="connsiteY62" fmla="*/ 281430 h 403224"/>
                  <a:gd name="connsiteX63" fmla="*/ 69025 w 526593"/>
                  <a:gd name="connsiteY63" fmla="*/ 269909 h 403224"/>
                  <a:gd name="connsiteX64" fmla="*/ 97746 w 526593"/>
                  <a:gd name="connsiteY64" fmla="*/ 234525 h 403224"/>
                  <a:gd name="connsiteX65" fmla="*/ 106773 w 526593"/>
                  <a:gd name="connsiteY65" fmla="*/ 217244 h 403224"/>
                  <a:gd name="connsiteX66" fmla="*/ 144520 w 526593"/>
                  <a:gd name="connsiteY66" fmla="*/ 182683 h 403224"/>
                  <a:gd name="connsiteX67" fmla="*/ 160932 w 526593"/>
                  <a:gd name="connsiteY67" fmla="*/ 161287 h 403224"/>
                  <a:gd name="connsiteX68" fmla="*/ 167497 w 526593"/>
                  <a:gd name="connsiteY68" fmla="*/ 147298 h 403224"/>
                  <a:gd name="connsiteX69" fmla="*/ 177344 w 526593"/>
                  <a:gd name="connsiteY69" fmla="*/ 126726 h 403224"/>
                  <a:gd name="connsiteX70" fmla="*/ 192935 w 526593"/>
                  <a:gd name="connsiteY70" fmla="*/ 94633 h 403224"/>
                  <a:gd name="connsiteX71" fmla="*/ 210167 w 526593"/>
                  <a:gd name="connsiteY71" fmla="*/ 76529 h 403224"/>
                  <a:gd name="connsiteX72" fmla="*/ 225759 w 526593"/>
                  <a:gd name="connsiteY72" fmla="*/ 68300 h 403224"/>
                  <a:gd name="connsiteX73" fmla="*/ 250376 w 526593"/>
                  <a:gd name="connsiteY73" fmla="*/ 54311 h 403224"/>
                  <a:gd name="connsiteX74" fmla="*/ 257762 w 526593"/>
                  <a:gd name="connsiteY74" fmla="*/ 45259 h 403224"/>
                  <a:gd name="connsiteX75" fmla="*/ 273353 w 526593"/>
                  <a:gd name="connsiteY75" fmla="*/ 18927 h 403224"/>
                  <a:gd name="connsiteX76" fmla="*/ 288124 w 526593"/>
                  <a:gd name="connsiteY76" fmla="*/ 823 h 403224"/>
                  <a:gd name="connsiteX77" fmla="*/ 288124 w 526593"/>
                  <a:gd name="connsiteY77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11921 w 526593"/>
                  <a:gd name="connsiteY6" fmla="*/ 116851 h 403224"/>
                  <a:gd name="connsiteX7" fmla="*/ 346524 w 526593"/>
                  <a:gd name="connsiteY7" fmla="*/ 98159 h 403224"/>
                  <a:gd name="connsiteX8" fmla="*/ 373658 w 526593"/>
                  <a:gd name="connsiteY8" fmla="*/ 69380 h 403224"/>
                  <a:gd name="connsiteX9" fmla="*/ 370780 w 526593"/>
                  <a:gd name="connsiteY9" fmla="*/ 60026 h 403224"/>
                  <a:gd name="connsiteX10" fmla="*/ 370369 w 526593"/>
                  <a:gd name="connsiteY10" fmla="*/ 58690 h 403224"/>
                  <a:gd name="connsiteX11" fmla="*/ 403258 w 526593"/>
                  <a:gd name="connsiteY11" fmla="*/ 50467 h 403224"/>
                  <a:gd name="connsiteX12" fmla="*/ 428748 w 526593"/>
                  <a:gd name="connsiteY12" fmla="*/ 66091 h 403224"/>
                  <a:gd name="connsiteX13" fmla="*/ 442417 w 526593"/>
                  <a:gd name="connsiteY13" fmla="*/ 61054 h 403224"/>
                  <a:gd name="connsiteX14" fmla="*/ 444340 w 526593"/>
                  <a:gd name="connsiteY14" fmla="*/ 60346 h 403224"/>
                  <a:gd name="connsiteX15" fmla="*/ 430394 w 526593"/>
                  <a:gd name="connsiteY15" fmla="*/ 65112 h 403224"/>
                  <a:gd name="connsiteX16" fmla="*/ 428445 w 526593"/>
                  <a:gd name="connsiteY16" fmla="*/ 65832 h 403224"/>
                  <a:gd name="connsiteX17" fmla="*/ 403007 w 526593"/>
                  <a:gd name="connsiteY17" fmla="*/ 50197 h 403224"/>
                  <a:gd name="connsiteX18" fmla="*/ 288124 w 526593"/>
                  <a:gd name="connsiteY18" fmla="*/ 0 h 403224"/>
                  <a:gd name="connsiteX19" fmla="*/ 514607 w 526593"/>
                  <a:gd name="connsiteY19" fmla="*/ 13989 h 403224"/>
                  <a:gd name="connsiteX20" fmla="*/ 516761 w 526593"/>
                  <a:gd name="connsiteY20" fmla="*/ 29110 h 403224"/>
                  <a:gd name="connsiteX21" fmla="*/ 517069 w 526593"/>
                  <a:gd name="connsiteY21" fmla="*/ 31270 h 403224"/>
                  <a:gd name="connsiteX22" fmla="*/ 514197 w 526593"/>
                  <a:gd name="connsiteY22" fmla="*/ 43511 h 403224"/>
                  <a:gd name="connsiteX23" fmla="*/ 513787 w 526593"/>
                  <a:gd name="connsiteY23" fmla="*/ 45259 h 403224"/>
                  <a:gd name="connsiteX24" fmla="*/ 513787 w 526593"/>
                  <a:gd name="connsiteY24" fmla="*/ 51019 h 403224"/>
                  <a:gd name="connsiteX25" fmla="*/ 513787 w 526593"/>
                  <a:gd name="connsiteY25" fmla="*/ 51842 h 403224"/>
                  <a:gd name="connsiteX26" fmla="*/ 479322 w 526593"/>
                  <a:gd name="connsiteY26" fmla="*/ 55134 h 403224"/>
                  <a:gd name="connsiteX27" fmla="*/ 452285 w 526593"/>
                  <a:gd name="connsiteY27" fmla="*/ 67458 h 403224"/>
                  <a:gd name="connsiteX28" fmla="*/ 479726 w 526593"/>
                  <a:gd name="connsiteY28" fmla="*/ 55401 h 403224"/>
                  <a:gd name="connsiteX29" fmla="*/ 510971 w 526593"/>
                  <a:gd name="connsiteY29" fmla="*/ 55401 h 403224"/>
                  <a:gd name="connsiteX30" fmla="*/ 514260 w 526593"/>
                  <a:gd name="connsiteY30" fmla="*/ 46356 h 403224"/>
                  <a:gd name="connsiteX31" fmla="*/ 514260 w 526593"/>
                  <a:gd name="connsiteY31" fmla="*/ 45534 h 403224"/>
                  <a:gd name="connsiteX32" fmla="*/ 517137 w 526593"/>
                  <a:gd name="connsiteY32" fmla="*/ 33302 h 403224"/>
                  <a:gd name="connsiteX33" fmla="*/ 517549 w 526593"/>
                  <a:gd name="connsiteY33" fmla="*/ 31555 h 403224"/>
                  <a:gd name="connsiteX34" fmla="*/ 515390 w 526593"/>
                  <a:gd name="connsiteY34" fmla="*/ 16446 h 403224"/>
                  <a:gd name="connsiteX35" fmla="*/ 515082 w 526593"/>
                  <a:gd name="connsiteY35" fmla="*/ 14287 h 403224"/>
                  <a:gd name="connsiteX36" fmla="*/ 526593 w 526593"/>
                  <a:gd name="connsiteY36" fmla="*/ 15109 h 403224"/>
                  <a:gd name="connsiteX37" fmla="*/ 523304 w 526593"/>
                  <a:gd name="connsiteY37" fmla="*/ 38133 h 403224"/>
                  <a:gd name="connsiteX38" fmla="*/ 510971 w 526593"/>
                  <a:gd name="connsiteY38" fmla="*/ 117894 h 403224"/>
                  <a:gd name="connsiteX39" fmla="*/ 325969 w 526593"/>
                  <a:gd name="connsiteY39" fmla="*/ 108027 h 403224"/>
                  <a:gd name="connsiteX40" fmla="*/ 301302 w 526593"/>
                  <a:gd name="connsiteY40" fmla="*/ 265904 h 403224"/>
                  <a:gd name="connsiteX41" fmla="*/ 270879 w 526593"/>
                  <a:gd name="connsiteY41" fmla="*/ 274127 h 403224"/>
                  <a:gd name="connsiteX42" fmla="*/ 234701 w 526593"/>
                  <a:gd name="connsiteY42" fmla="*/ 296328 h 403224"/>
                  <a:gd name="connsiteX43" fmla="*/ 231412 w 526593"/>
                  <a:gd name="connsiteY43" fmla="*/ 322641 h 403224"/>
                  <a:gd name="connsiteX44" fmla="*/ 225657 w 526593"/>
                  <a:gd name="connsiteY44" fmla="*/ 395001 h 403224"/>
                  <a:gd name="connsiteX45" fmla="*/ 24210 w 526593"/>
                  <a:gd name="connsiteY45" fmla="*/ 384312 h 403224"/>
                  <a:gd name="connsiteX46" fmla="*/ 5299 w 526593"/>
                  <a:gd name="connsiteY46" fmla="*/ 392535 h 403224"/>
                  <a:gd name="connsiteX47" fmla="*/ 365 w 526593"/>
                  <a:gd name="connsiteY47" fmla="*/ 403224 h 403224"/>
                  <a:gd name="connsiteX48" fmla="*/ 365 w 526593"/>
                  <a:gd name="connsiteY48" fmla="*/ 395824 h 403224"/>
                  <a:gd name="connsiteX49" fmla="*/ 6943 w 526593"/>
                  <a:gd name="connsiteY49" fmla="*/ 373622 h 403224"/>
                  <a:gd name="connsiteX50" fmla="*/ 63677 w 526593"/>
                  <a:gd name="connsiteY50" fmla="*/ 374444 h 403224"/>
                  <a:gd name="connsiteX51" fmla="*/ 118767 w 526593"/>
                  <a:gd name="connsiteY51" fmla="*/ 381023 h 403224"/>
                  <a:gd name="connsiteX52" fmla="*/ 139322 w 526593"/>
                  <a:gd name="connsiteY52" fmla="*/ 381023 h 403224"/>
                  <a:gd name="connsiteX53" fmla="*/ 139335 w 526593"/>
                  <a:gd name="connsiteY53" fmla="*/ 381000 h 403224"/>
                  <a:gd name="connsiteX54" fmla="*/ 119082 w 526593"/>
                  <a:gd name="connsiteY54" fmla="*/ 381000 h 403224"/>
                  <a:gd name="connsiteX55" fmla="*/ 64102 w 526593"/>
                  <a:gd name="connsiteY55" fmla="*/ 374417 h 403224"/>
                  <a:gd name="connsiteX56" fmla="*/ 7481 w 526593"/>
                  <a:gd name="connsiteY56" fmla="*/ 374417 h 403224"/>
                  <a:gd name="connsiteX57" fmla="*/ 12405 w 526593"/>
                  <a:gd name="connsiteY57" fmla="*/ 353845 h 403224"/>
                  <a:gd name="connsiteX58" fmla="*/ 27996 w 526593"/>
                  <a:gd name="connsiteY58" fmla="*/ 326689 h 403224"/>
                  <a:gd name="connsiteX59" fmla="*/ 41125 w 526593"/>
                  <a:gd name="connsiteY59" fmla="*/ 320106 h 403224"/>
                  <a:gd name="connsiteX60" fmla="*/ 53434 w 526593"/>
                  <a:gd name="connsiteY60" fmla="*/ 302002 h 403224"/>
                  <a:gd name="connsiteX61" fmla="*/ 68205 w 526593"/>
                  <a:gd name="connsiteY61" fmla="*/ 281430 h 403224"/>
                  <a:gd name="connsiteX62" fmla="*/ 69025 w 526593"/>
                  <a:gd name="connsiteY62" fmla="*/ 269909 h 403224"/>
                  <a:gd name="connsiteX63" fmla="*/ 97746 w 526593"/>
                  <a:gd name="connsiteY63" fmla="*/ 234525 h 403224"/>
                  <a:gd name="connsiteX64" fmla="*/ 106773 w 526593"/>
                  <a:gd name="connsiteY64" fmla="*/ 217244 h 403224"/>
                  <a:gd name="connsiteX65" fmla="*/ 144520 w 526593"/>
                  <a:gd name="connsiteY65" fmla="*/ 182683 h 403224"/>
                  <a:gd name="connsiteX66" fmla="*/ 160932 w 526593"/>
                  <a:gd name="connsiteY66" fmla="*/ 161287 h 403224"/>
                  <a:gd name="connsiteX67" fmla="*/ 167497 w 526593"/>
                  <a:gd name="connsiteY67" fmla="*/ 147298 h 403224"/>
                  <a:gd name="connsiteX68" fmla="*/ 177344 w 526593"/>
                  <a:gd name="connsiteY68" fmla="*/ 126726 h 403224"/>
                  <a:gd name="connsiteX69" fmla="*/ 192935 w 526593"/>
                  <a:gd name="connsiteY69" fmla="*/ 94633 h 403224"/>
                  <a:gd name="connsiteX70" fmla="*/ 210167 w 526593"/>
                  <a:gd name="connsiteY70" fmla="*/ 76529 h 403224"/>
                  <a:gd name="connsiteX71" fmla="*/ 225759 w 526593"/>
                  <a:gd name="connsiteY71" fmla="*/ 68300 h 403224"/>
                  <a:gd name="connsiteX72" fmla="*/ 250376 w 526593"/>
                  <a:gd name="connsiteY72" fmla="*/ 54311 h 403224"/>
                  <a:gd name="connsiteX73" fmla="*/ 257762 w 526593"/>
                  <a:gd name="connsiteY73" fmla="*/ 45259 h 403224"/>
                  <a:gd name="connsiteX74" fmla="*/ 273353 w 526593"/>
                  <a:gd name="connsiteY74" fmla="*/ 18927 h 403224"/>
                  <a:gd name="connsiteX75" fmla="*/ 288124 w 526593"/>
                  <a:gd name="connsiteY75" fmla="*/ 823 h 403224"/>
                  <a:gd name="connsiteX76" fmla="*/ 288124 w 526593"/>
                  <a:gd name="connsiteY76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46524 w 526593"/>
                  <a:gd name="connsiteY6" fmla="*/ 98159 h 403224"/>
                  <a:gd name="connsiteX7" fmla="*/ 373658 w 526593"/>
                  <a:gd name="connsiteY7" fmla="*/ 69380 h 403224"/>
                  <a:gd name="connsiteX8" fmla="*/ 370780 w 526593"/>
                  <a:gd name="connsiteY8" fmla="*/ 60026 h 403224"/>
                  <a:gd name="connsiteX9" fmla="*/ 370369 w 526593"/>
                  <a:gd name="connsiteY9" fmla="*/ 58690 h 403224"/>
                  <a:gd name="connsiteX10" fmla="*/ 403258 w 526593"/>
                  <a:gd name="connsiteY10" fmla="*/ 50467 h 403224"/>
                  <a:gd name="connsiteX11" fmla="*/ 428748 w 526593"/>
                  <a:gd name="connsiteY11" fmla="*/ 66091 h 403224"/>
                  <a:gd name="connsiteX12" fmla="*/ 442417 w 526593"/>
                  <a:gd name="connsiteY12" fmla="*/ 61054 h 403224"/>
                  <a:gd name="connsiteX13" fmla="*/ 444340 w 526593"/>
                  <a:gd name="connsiteY13" fmla="*/ 60346 h 403224"/>
                  <a:gd name="connsiteX14" fmla="*/ 430394 w 526593"/>
                  <a:gd name="connsiteY14" fmla="*/ 65112 h 403224"/>
                  <a:gd name="connsiteX15" fmla="*/ 428445 w 526593"/>
                  <a:gd name="connsiteY15" fmla="*/ 65832 h 403224"/>
                  <a:gd name="connsiteX16" fmla="*/ 403007 w 526593"/>
                  <a:gd name="connsiteY16" fmla="*/ 50197 h 403224"/>
                  <a:gd name="connsiteX17" fmla="*/ 288124 w 526593"/>
                  <a:gd name="connsiteY17" fmla="*/ 0 h 403224"/>
                  <a:gd name="connsiteX18" fmla="*/ 514607 w 526593"/>
                  <a:gd name="connsiteY18" fmla="*/ 13989 h 403224"/>
                  <a:gd name="connsiteX19" fmla="*/ 516761 w 526593"/>
                  <a:gd name="connsiteY19" fmla="*/ 29110 h 403224"/>
                  <a:gd name="connsiteX20" fmla="*/ 517069 w 526593"/>
                  <a:gd name="connsiteY20" fmla="*/ 31270 h 403224"/>
                  <a:gd name="connsiteX21" fmla="*/ 514197 w 526593"/>
                  <a:gd name="connsiteY21" fmla="*/ 43511 h 403224"/>
                  <a:gd name="connsiteX22" fmla="*/ 513787 w 526593"/>
                  <a:gd name="connsiteY22" fmla="*/ 45259 h 403224"/>
                  <a:gd name="connsiteX23" fmla="*/ 513787 w 526593"/>
                  <a:gd name="connsiteY23" fmla="*/ 51019 h 403224"/>
                  <a:gd name="connsiteX24" fmla="*/ 513787 w 526593"/>
                  <a:gd name="connsiteY24" fmla="*/ 51842 h 403224"/>
                  <a:gd name="connsiteX25" fmla="*/ 479322 w 526593"/>
                  <a:gd name="connsiteY25" fmla="*/ 55134 h 403224"/>
                  <a:gd name="connsiteX26" fmla="*/ 452285 w 526593"/>
                  <a:gd name="connsiteY26" fmla="*/ 67458 h 403224"/>
                  <a:gd name="connsiteX27" fmla="*/ 479726 w 526593"/>
                  <a:gd name="connsiteY27" fmla="*/ 55401 h 403224"/>
                  <a:gd name="connsiteX28" fmla="*/ 510971 w 526593"/>
                  <a:gd name="connsiteY28" fmla="*/ 55401 h 403224"/>
                  <a:gd name="connsiteX29" fmla="*/ 514260 w 526593"/>
                  <a:gd name="connsiteY29" fmla="*/ 46356 h 403224"/>
                  <a:gd name="connsiteX30" fmla="*/ 514260 w 526593"/>
                  <a:gd name="connsiteY30" fmla="*/ 45534 h 403224"/>
                  <a:gd name="connsiteX31" fmla="*/ 517137 w 526593"/>
                  <a:gd name="connsiteY31" fmla="*/ 33302 h 403224"/>
                  <a:gd name="connsiteX32" fmla="*/ 517549 w 526593"/>
                  <a:gd name="connsiteY32" fmla="*/ 31555 h 403224"/>
                  <a:gd name="connsiteX33" fmla="*/ 515390 w 526593"/>
                  <a:gd name="connsiteY33" fmla="*/ 16446 h 403224"/>
                  <a:gd name="connsiteX34" fmla="*/ 515082 w 526593"/>
                  <a:gd name="connsiteY34" fmla="*/ 14287 h 403224"/>
                  <a:gd name="connsiteX35" fmla="*/ 526593 w 526593"/>
                  <a:gd name="connsiteY35" fmla="*/ 15109 h 403224"/>
                  <a:gd name="connsiteX36" fmla="*/ 523304 w 526593"/>
                  <a:gd name="connsiteY36" fmla="*/ 38133 h 403224"/>
                  <a:gd name="connsiteX37" fmla="*/ 510971 w 526593"/>
                  <a:gd name="connsiteY37" fmla="*/ 117894 h 403224"/>
                  <a:gd name="connsiteX38" fmla="*/ 325969 w 526593"/>
                  <a:gd name="connsiteY38" fmla="*/ 108027 h 403224"/>
                  <a:gd name="connsiteX39" fmla="*/ 301302 w 526593"/>
                  <a:gd name="connsiteY39" fmla="*/ 265904 h 403224"/>
                  <a:gd name="connsiteX40" fmla="*/ 270879 w 526593"/>
                  <a:gd name="connsiteY40" fmla="*/ 274127 h 403224"/>
                  <a:gd name="connsiteX41" fmla="*/ 234701 w 526593"/>
                  <a:gd name="connsiteY41" fmla="*/ 296328 h 403224"/>
                  <a:gd name="connsiteX42" fmla="*/ 231412 w 526593"/>
                  <a:gd name="connsiteY42" fmla="*/ 322641 h 403224"/>
                  <a:gd name="connsiteX43" fmla="*/ 225657 w 526593"/>
                  <a:gd name="connsiteY43" fmla="*/ 395001 h 403224"/>
                  <a:gd name="connsiteX44" fmla="*/ 24210 w 526593"/>
                  <a:gd name="connsiteY44" fmla="*/ 384312 h 403224"/>
                  <a:gd name="connsiteX45" fmla="*/ 5299 w 526593"/>
                  <a:gd name="connsiteY45" fmla="*/ 392535 h 403224"/>
                  <a:gd name="connsiteX46" fmla="*/ 365 w 526593"/>
                  <a:gd name="connsiteY46" fmla="*/ 403224 h 403224"/>
                  <a:gd name="connsiteX47" fmla="*/ 365 w 526593"/>
                  <a:gd name="connsiteY47" fmla="*/ 395824 h 403224"/>
                  <a:gd name="connsiteX48" fmla="*/ 6943 w 526593"/>
                  <a:gd name="connsiteY48" fmla="*/ 373622 h 403224"/>
                  <a:gd name="connsiteX49" fmla="*/ 63677 w 526593"/>
                  <a:gd name="connsiteY49" fmla="*/ 374444 h 403224"/>
                  <a:gd name="connsiteX50" fmla="*/ 118767 w 526593"/>
                  <a:gd name="connsiteY50" fmla="*/ 381023 h 403224"/>
                  <a:gd name="connsiteX51" fmla="*/ 139322 w 526593"/>
                  <a:gd name="connsiteY51" fmla="*/ 381023 h 403224"/>
                  <a:gd name="connsiteX52" fmla="*/ 139335 w 526593"/>
                  <a:gd name="connsiteY52" fmla="*/ 381000 h 403224"/>
                  <a:gd name="connsiteX53" fmla="*/ 119082 w 526593"/>
                  <a:gd name="connsiteY53" fmla="*/ 381000 h 403224"/>
                  <a:gd name="connsiteX54" fmla="*/ 64102 w 526593"/>
                  <a:gd name="connsiteY54" fmla="*/ 374417 h 403224"/>
                  <a:gd name="connsiteX55" fmla="*/ 7481 w 526593"/>
                  <a:gd name="connsiteY55" fmla="*/ 374417 h 403224"/>
                  <a:gd name="connsiteX56" fmla="*/ 12405 w 526593"/>
                  <a:gd name="connsiteY56" fmla="*/ 353845 h 403224"/>
                  <a:gd name="connsiteX57" fmla="*/ 27996 w 526593"/>
                  <a:gd name="connsiteY57" fmla="*/ 326689 h 403224"/>
                  <a:gd name="connsiteX58" fmla="*/ 41125 w 526593"/>
                  <a:gd name="connsiteY58" fmla="*/ 320106 h 403224"/>
                  <a:gd name="connsiteX59" fmla="*/ 53434 w 526593"/>
                  <a:gd name="connsiteY59" fmla="*/ 302002 h 403224"/>
                  <a:gd name="connsiteX60" fmla="*/ 68205 w 526593"/>
                  <a:gd name="connsiteY60" fmla="*/ 281430 h 403224"/>
                  <a:gd name="connsiteX61" fmla="*/ 69025 w 526593"/>
                  <a:gd name="connsiteY61" fmla="*/ 269909 h 403224"/>
                  <a:gd name="connsiteX62" fmla="*/ 97746 w 526593"/>
                  <a:gd name="connsiteY62" fmla="*/ 234525 h 403224"/>
                  <a:gd name="connsiteX63" fmla="*/ 106773 w 526593"/>
                  <a:gd name="connsiteY63" fmla="*/ 217244 h 403224"/>
                  <a:gd name="connsiteX64" fmla="*/ 144520 w 526593"/>
                  <a:gd name="connsiteY64" fmla="*/ 182683 h 403224"/>
                  <a:gd name="connsiteX65" fmla="*/ 160932 w 526593"/>
                  <a:gd name="connsiteY65" fmla="*/ 161287 h 403224"/>
                  <a:gd name="connsiteX66" fmla="*/ 167497 w 526593"/>
                  <a:gd name="connsiteY66" fmla="*/ 147298 h 403224"/>
                  <a:gd name="connsiteX67" fmla="*/ 177344 w 526593"/>
                  <a:gd name="connsiteY67" fmla="*/ 126726 h 403224"/>
                  <a:gd name="connsiteX68" fmla="*/ 192935 w 526593"/>
                  <a:gd name="connsiteY68" fmla="*/ 94633 h 403224"/>
                  <a:gd name="connsiteX69" fmla="*/ 210167 w 526593"/>
                  <a:gd name="connsiteY69" fmla="*/ 76529 h 403224"/>
                  <a:gd name="connsiteX70" fmla="*/ 225759 w 526593"/>
                  <a:gd name="connsiteY70" fmla="*/ 68300 h 403224"/>
                  <a:gd name="connsiteX71" fmla="*/ 250376 w 526593"/>
                  <a:gd name="connsiteY71" fmla="*/ 54311 h 403224"/>
                  <a:gd name="connsiteX72" fmla="*/ 257762 w 526593"/>
                  <a:gd name="connsiteY72" fmla="*/ 45259 h 403224"/>
                  <a:gd name="connsiteX73" fmla="*/ 273353 w 526593"/>
                  <a:gd name="connsiteY73" fmla="*/ 18927 h 403224"/>
                  <a:gd name="connsiteX74" fmla="*/ 288124 w 526593"/>
                  <a:gd name="connsiteY74" fmla="*/ 823 h 403224"/>
                  <a:gd name="connsiteX75" fmla="*/ 288124 w 526593"/>
                  <a:gd name="connsiteY75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46524 w 526593"/>
                  <a:gd name="connsiteY5" fmla="*/ 98159 h 403224"/>
                  <a:gd name="connsiteX6" fmla="*/ 373658 w 526593"/>
                  <a:gd name="connsiteY6" fmla="*/ 69380 h 403224"/>
                  <a:gd name="connsiteX7" fmla="*/ 370780 w 526593"/>
                  <a:gd name="connsiteY7" fmla="*/ 60026 h 403224"/>
                  <a:gd name="connsiteX8" fmla="*/ 370369 w 526593"/>
                  <a:gd name="connsiteY8" fmla="*/ 58690 h 403224"/>
                  <a:gd name="connsiteX9" fmla="*/ 403258 w 526593"/>
                  <a:gd name="connsiteY9" fmla="*/ 50467 h 403224"/>
                  <a:gd name="connsiteX10" fmla="*/ 428748 w 526593"/>
                  <a:gd name="connsiteY10" fmla="*/ 66091 h 403224"/>
                  <a:gd name="connsiteX11" fmla="*/ 442417 w 526593"/>
                  <a:gd name="connsiteY11" fmla="*/ 61054 h 403224"/>
                  <a:gd name="connsiteX12" fmla="*/ 444340 w 526593"/>
                  <a:gd name="connsiteY12" fmla="*/ 60346 h 403224"/>
                  <a:gd name="connsiteX13" fmla="*/ 430394 w 526593"/>
                  <a:gd name="connsiteY13" fmla="*/ 65112 h 403224"/>
                  <a:gd name="connsiteX14" fmla="*/ 428445 w 526593"/>
                  <a:gd name="connsiteY14" fmla="*/ 65832 h 403224"/>
                  <a:gd name="connsiteX15" fmla="*/ 403007 w 526593"/>
                  <a:gd name="connsiteY15" fmla="*/ 50197 h 403224"/>
                  <a:gd name="connsiteX16" fmla="*/ 288124 w 526593"/>
                  <a:gd name="connsiteY16" fmla="*/ 0 h 403224"/>
                  <a:gd name="connsiteX17" fmla="*/ 514607 w 526593"/>
                  <a:gd name="connsiteY17" fmla="*/ 13989 h 403224"/>
                  <a:gd name="connsiteX18" fmla="*/ 516761 w 526593"/>
                  <a:gd name="connsiteY18" fmla="*/ 29110 h 403224"/>
                  <a:gd name="connsiteX19" fmla="*/ 517069 w 526593"/>
                  <a:gd name="connsiteY19" fmla="*/ 31270 h 403224"/>
                  <a:gd name="connsiteX20" fmla="*/ 514197 w 526593"/>
                  <a:gd name="connsiteY20" fmla="*/ 43511 h 403224"/>
                  <a:gd name="connsiteX21" fmla="*/ 513787 w 526593"/>
                  <a:gd name="connsiteY21" fmla="*/ 45259 h 403224"/>
                  <a:gd name="connsiteX22" fmla="*/ 513787 w 526593"/>
                  <a:gd name="connsiteY22" fmla="*/ 51019 h 403224"/>
                  <a:gd name="connsiteX23" fmla="*/ 513787 w 526593"/>
                  <a:gd name="connsiteY23" fmla="*/ 51842 h 403224"/>
                  <a:gd name="connsiteX24" fmla="*/ 479322 w 526593"/>
                  <a:gd name="connsiteY24" fmla="*/ 55134 h 403224"/>
                  <a:gd name="connsiteX25" fmla="*/ 452285 w 526593"/>
                  <a:gd name="connsiteY25" fmla="*/ 67458 h 403224"/>
                  <a:gd name="connsiteX26" fmla="*/ 479726 w 526593"/>
                  <a:gd name="connsiteY26" fmla="*/ 55401 h 403224"/>
                  <a:gd name="connsiteX27" fmla="*/ 510971 w 526593"/>
                  <a:gd name="connsiteY27" fmla="*/ 55401 h 403224"/>
                  <a:gd name="connsiteX28" fmla="*/ 514260 w 526593"/>
                  <a:gd name="connsiteY28" fmla="*/ 46356 h 403224"/>
                  <a:gd name="connsiteX29" fmla="*/ 514260 w 526593"/>
                  <a:gd name="connsiteY29" fmla="*/ 45534 h 403224"/>
                  <a:gd name="connsiteX30" fmla="*/ 517137 w 526593"/>
                  <a:gd name="connsiteY30" fmla="*/ 33302 h 403224"/>
                  <a:gd name="connsiteX31" fmla="*/ 517549 w 526593"/>
                  <a:gd name="connsiteY31" fmla="*/ 31555 h 403224"/>
                  <a:gd name="connsiteX32" fmla="*/ 515390 w 526593"/>
                  <a:gd name="connsiteY32" fmla="*/ 16446 h 403224"/>
                  <a:gd name="connsiteX33" fmla="*/ 515082 w 526593"/>
                  <a:gd name="connsiteY33" fmla="*/ 14287 h 403224"/>
                  <a:gd name="connsiteX34" fmla="*/ 526593 w 526593"/>
                  <a:gd name="connsiteY34" fmla="*/ 15109 h 403224"/>
                  <a:gd name="connsiteX35" fmla="*/ 523304 w 526593"/>
                  <a:gd name="connsiteY35" fmla="*/ 38133 h 403224"/>
                  <a:gd name="connsiteX36" fmla="*/ 510971 w 526593"/>
                  <a:gd name="connsiteY36" fmla="*/ 117894 h 403224"/>
                  <a:gd name="connsiteX37" fmla="*/ 325969 w 526593"/>
                  <a:gd name="connsiteY37" fmla="*/ 108027 h 403224"/>
                  <a:gd name="connsiteX38" fmla="*/ 301302 w 526593"/>
                  <a:gd name="connsiteY38" fmla="*/ 265904 h 403224"/>
                  <a:gd name="connsiteX39" fmla="*/ 270879 w 526593"/>
                  <a:gd name="connsiteY39" fmla="*/ 274127 h 403224"/>
                  <a:gd name="connsiteX40" fmla="*/ 234701 w 526593"/>
                  <a:gd name="connsiteY40" fmla="*/ 296328 h 403224"/>
                  <a:gd name="connsiteX41" fmla="*/ 231412 w 526593"/>
                  <a:gd name="connsiteY41" fmla="*/ 322641 h 403224"/>
                  <a:gd name="connsiteX42" fmla="*/ 225657 w 526593"/>
                  <a:gd name="connsiteY42" fmla="*/ 395001 h 403224"/>
                  <a:gd name="connsiteX43" fmla="*/ 24210 w 526593"/>
                  <a:gd name="connsiteY43" fmla="*/ 384312 h 403224"/>
                  <a:gd name="connsiteX44" fmla="*/ 5299 w 526593"/>
                  <a:gd name="connsiteY44" fmla="*/ 392535 h 403224"/>
                  <a:gd name="connsiteX45" fmla="*/ 365 w 526593"/>
                  <a:gd name="connsiteY45" fmla="*/ 403224 h 403224"/>
                  <a:gd name="connsiteX46" fmla="*/ 365 w 526593"/>
                  <a:gd name="connsiteY46" fmla="*/ 395824 h 403224"/>
                  <a:gd name="connsiteX47" fmla="*/ 6943 w 526593"/>
                  <a:gd name="connsiteY47" fmla="*/ 373622 h 403224"/>
                  <a:gd name="connsiteX48" fmla="*/ 63677 w 526593"/>
                  <a:gd name="connsiteY48" fmla="*/ 374444 h 403224"/>
                  <a:gd name="connsiteX49" fmla="*/ 118767 w 526593"/>
                  <a:gd name="connsiteY49" fmla="*/ 381023 h 403224"/>
                  <a:gd name="connsiteX50" fmla="*/ 139322 w 526593"/>
                  <a:gd name="connsiteY50" fmla="*/ 381023 h 403224"/>
                  <a:gd name="connsiteX51" fmla="*/ 139335 w 526593"/>
                  <a:gd name="connsiteY51" fmla="*/ 381000 h 403224"/>
                  <a:gd name="connsiteX52" fmla="*/ 119082 w 526593"/>
                  <a:gd name="connsiteY52" fmla="*/ 381000 h 403224"/>
                  <a:gd name="connsiteX53" fmla="*/ 64102 w 526593"/>
                  <a:gd name="connsiteY53" fmla="*/ 374417 h 403224"/>
                  <a:gd name="connsiteX54" fmla="*/ 7481 w 526593"/>
                  <a:gd name="connsiteY54" fmla="*/ 374417 h 403224"/>
                  <a:gd name="connsiteX55" fmla="*/ 12405 w 526593"/>
                  <a:gd name="connsiteY55" fmla="*/ 353845 h 403224"/>
                  <a:gd name="connsiteX56" fmla="*/ 27996 w 526593"/>
                  <a:gd name="connsiteY56" fmla="*/ 326689 h 403224"/>
                  <a:gd name="connsiteX57" fmla="*/ 41125 w 526593"/>
                  <a:gd name="connsiteY57" fmla="*/ 320106 h 403224"/>
                  <a:gd name="connsiteX58" fmla="*/ 53434 w 526593"/>
                  <a:gd name="connsiteY58" fmla="*/ 302002 h 403224"/>
                  <a:gd name="connsiteX59" fmla="*/ 68205 w 526593"/>
                  <a:gd name="connsiteY59" fmla="*/ 281430 h 403224"/>
                  <a:gd name="connsiteX60" fmla="*/ 69025 w 526593"/>
                  <a:gd name="connsiteY60" fmla="*/ 269909 h 403224"/>
                  <a:gd name="connsiteX61" fmla="*/ 97746 w 526593"/>
                  <a:gd name="connsiteY61" fmla="*/ 234525 h 403224"/>
                  <a:gd name="connsiteX62" fmla="*/ 106773 w 526593"/>
                  <a:gd name="connsiteY62" fmla="*/ 217244 h 403224"/>
                  <a:gd name="connsiteX63" fmla="*/ 144520 w 526593"/>
                  <a:gd name="connsiteY63" fmla="*/ 182683 h 403224"/>
                  <a:gd name="connsiteX64" fmla="*/ 160932 w 526593"/>
                  <a:gd name="connsiteY64" fmla="*/ 161287 h 403224"/>
                  <a:gd name="connsiteX65" fmla="*/ 167497 w 526593"/>
                  <a:gd name="connsiteY65" fmla="*/ 147298 h 403224"/>
                  <a:gd name="connsiteX66" fmla="*/ 177344 w 526593"/>
                  <a:gd name="connsiteY66" fmla="*/ 126726 h 403224"/>
                  <a:gd name="connsiteX67" fmla="*/ 192935 w 526593"/>
                  <a:gd name="connsiteY67" fmla="*/ 94633 h 403224"/>
                  <a:gd name="connsiteX68" fmla="*/ 210167 w 526593"/>
                  <a:gd name="connsiteY68" fmla="*/ 76529 h 403224"/>
                  <a:gd name="connsiteX69" fmla="*/ 225759 w 526593"/>
                  <a:gd name="connsiteY69" fmla="*/ 68300 h 403224"/>
                  <a:gd name="connsiteX70" fmla="*/ 250376 w 526593"/>
                  <a:gd name="connsiteY70" fmla="*/ 54311 h 403224"/>
                  <a:gd name="connsiteX71" fmla="*/ 257762 w 526593"/>
                  <a:gd name="connsiteY71" fmla="*/ 45259 h 403224"/>
                  <a:gd name="connsiteX72" fmla="*/ 273353 w 526593"/>
                  <a:gd name="connsiteY72" fmla="*/ 18927 h 403224"/>
                  <a:gd name="connsiteX73" fmla="*/ 288124 w 526593"/>
                  <a:gd name="connsiteY73" fmla="*/ 823 h 403224"/>
                  <a:gd name="connsiteX74" fmla="*/ 288124 w 526593"/>
                  <a:gd name="connsiteY74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73658 w 526593"/>
                  <a:gd name="connsiteY5" fmla="*/ 69380 h 403224"/>
                  <a:gd name="connsiteX6" fmla="*/ 370780 w 526593"/>
                  <a:gd name="connsiteY6" fmla="*/ 60026 h 403224"/>
                  <a:gd name="connsiteX7" fmla="*/ 370369 w 526593"/>
                  <a:gd name="connsiteY7" fmla="*/ 58690 h 403224"/>
                  <a:gd name="connsiteX8" fmla="*/ 403258 w 526593"/>
                  <a:gd name="connsiteY8" fmla="*/ 50467 h 403224"/>
                  <a:gd name="connsiteX9" fmla="*/ 428748 w 526593"/>
                  <a:gd name="connsiteY9" fmla="*/ 66091 h 403224"/>
                  <a:gd name="connsiteX10" fmla="*/ 442417 w 526593"/>
                  <a:gd name="connsiteY10" fmla="*/ 61054 h 403224"/>
                  <a:gd name="connsiteX11" fmla="*/ 444340 w 526593"/>
                  <a:gd name="connsiteY11" fmla="*/ 60346 h 403224"/>
                  <a:gd name="connsiteX12" fmla="*/ 430394 w 526593"/>
                  <a:gd name="connsiteY12" fmla="*/ 65112 h 403224"/>
                  <a:gd name="connsiteX13" fmla="*/ 428445 w 526593"/>
                  <a:gd name="connsiteY13" fmla="*/ 65832 h 403224"/>
                  <a:gd name="connsiteX14" fmla="*/ 403007 w 526593"/>
                  <a:gd name="connsiteY14" fmla="*/ 50197 h 403224"/>
                  <a:gd name="connsiteX15" fmla="*/ 288124 w 526593"/>
                  <a:gd name="connsiteY15" fmla="*/ 0 h 403224"/>
                  <a:gd name="connsiteX16" fmla="*/ 514607 w 526593"/>
                  <a:gd name="connsiteY16" fmla="*/ 13989 h 403224"/>
                  <a:gd name="connsiteX17" fmla="*/ 516761 w 526593"/>
                  <a:gd name="connsiteY17" fmla="*/ 29110 h 403224"/>
                  <a:gd name="connsiteX18" fmla="*/ 517069 w 526593"/>
                  <a:gd name="connsiteY18" fmla="*/ 31270 h 403224"/>
                  <a:gd name="connsiteX19" fmla="*/ 514197 w 526593"/>
                  <a:gd name="connsiteY19" fmla="*/ 43511 h 403224"/>
                  <a:gd name="connsiteX20" fmla="*/ 513787 w 526593"/>
                  <a:gd name="connsiteY20" fmla="*/ 45259 h 403224"/>
                  <a:gd name="connsiteX21" fmla="*/ 513787 w 526593"/>
                  <a:gd name="connsiteY21" fmla="*/ 51019 h 403224"/>
                  <a:gd name="connsiteX22" fmla="*/ 513787 w 526593"/>
                  <a:gd name="connsiteY22" fmla="*/ 51842 h 403224"/>
                  <a:gd name="connsiteX23" fmla="*/ 479322 w 526593"/>
                  <a:gd name="connsiteY23" fmla="*/ 55134 h 403224"/>
                  <a:gd name="connsiteX24" fmla="*/ 452285 w 526593"/>
                  <a:gd name="connsiteY24" fmla="*/ 67458 h 403224"/>
                  <a:gd name="connsiteX25" fmla="*/ 479726 w 526593"/>
                  <a:gd name="connsiteY25" fmla="*/ 55401 h 403224"/>
                  <a:gd name="connsiteX26" fmla="*/ 510971 w 526593"/>
                  <a:gd name="connsiteY26" fmla="*/ 55401 h 403224"/>
                  <a:gd name="connsiteX27" fmla="*/ 514260 w 526593"/>
                  <a:gd name="connsiteY27" fmla="*/ 46356 h 403224"/>
                  <a:gd name="connsiteX28" fmla="*/ 514260 w 526593"/>
                  <a:gd name="connsiteY28" fmla="*/ 45534 h 403224"/>
                  <a:gd name="connsiteX29" fmla="*/ 517137 w 526593"/>
                  <a:gd name="connsiteY29" fmla="*/ 33302 h 403224"/>
                  <a:gd name="connsiteX30" fmla="*/ 517549 w 526593"/>
                  <a:gd name="connsiteY30" fmla="*/ 31555 h 403224"/>
                  <a:gd name="connsiteX31" fmla="*/ 515390 w 526593"/>
                  <a:gd name="connsiteY31" fmla="*/ 16446 h 403224"/>
                  <a:gd name="connsiteX32" fmla="*/ 515082 w 526593"/>
                  <a:gd name="connsiteY32" fmla="*/ 14287 h 403224"/>
                  <a:gd name="connsiteX33" fmla="*/ 526593 w 526593"/>
                  <a:gd name="connsiteY33" fmla="*/ 15109 h 403224"/>
                  <a:gd name="connsiteX34" fmla="*/ 523304 w 526593"/>
                  <a:gd name="connsiteY34" fmla="*/ 38133 h 403224"/>
                  <a:gd name="connsiteX35" fmla="*/ 510971 w 526593"/>
                  <a:gd name="connsiteY35" fmla="*/ 117894 h 403224"/>
                  <a:gd name="connsiteX36" fmla="*/ 325969 w 526593"/>
                  <a:gd name="connsiteY36" fmla="*/ 108027 h 403224"/>
                  <a:gd name="connsiteX37" fmla="*/ 301302 w 526593"/>
                  <a:gd name="connsiteY37" fmla="*/ 265904 h 403224"/>
                  <a:gd name="connsiteX38" fmla="*/ 270879 w 526593"/>
                  <a:gd name="connsiteY38" fmla="*/ 274127 h 403224"/>
                  <a:gd name="connsiteX39" fmla="*/ 234701 w 526593"/>
                  <a:gd name="connsiteY39" fmla="*/ 296328 h 403224"/>
                  <a:gd name="connsiteX40" fmla="*/ 231412 w 526593"/>
                  <a:gd name="connsiteY40" fmla="*/ 322641 h 403224"/>
                  <a:gd name="connsiteX41" fmla="*/ 225657 w 526593"/>
                  <a:gd name="connsiteY41" fmla="*/ 395001 h 403224"/>
                  <a:gd name="connsiteX42" fmla="*/ 24210 w 526593"/>
                  <a:gd name="connsiteY42" fmla="*/ 384312 h 403224"/>
                  <a:gd name="connsiteX43" fmla="*/ 5299 w 526593"/>
                  <a:gd name="connsiteY43" fmla="*/ 392535 h 403224"/>
                  <a:gd name="connsiteX44" fmla="*/ 365 w 526593"/>
                  <a:gd name="connsiteY44" fmla="*/ 403224 h 403224"/>
                  <a:gd name="connsiteX45" fmla="*/ 365 w 526593"/>
                  <a:gd name="connsiteY45" fmla="*/ 395824 h 403224"/>
                  <a:gd name="connsiteX46" fmla="*/ 6943 w 526593"/>
                  <a:gd name="connsiteY46" fmla="*/ 373622 h 403224"/>
                  <a:gd name="connsiteX47" fmla="*/ 63677 w 526593"/>
                  <a:gd name="connsiteY47" fmla="*/ 374444 h 403224"/>
                  <a:gd name="connsiteX48" fmla="*/ 118767 w 526593"/>
                  <a:gd name="connsiteY48" fmla="*/ 381023 h 403224"/>
                  <a:gd name="connsiteX49" fmla="*/ 139322 w 526593"/>
                  <a:gd name="connsiteY49" fmla="*/ 381023 h 403224"/>
                  <a:gd name="connsiteX50" fmla="*/ 139335 w 526593"/>
                  <a:gd name="connsiteY50" fmla="*/ 381000 h 403224"/>
                  <a:gd name="connsiteX51" fmla="*/ 119082 w 526593"/>
                  <a:gd name="connsiteY51" fmla="*/ 381000 h 403224"/>
                  <a:gd name="connsiteX52" fmla="*/ 64102 w 526593"/>
                  <a:gd name="connsiteY52" fmla="*/ 374417 h 403224"/>
                  <a:gd name="connsiteX53" fmla="*/ 7481 w 526593"/>
                  <a:gd name="connsiteY53" fmla="*/ 374417 h 403224"/>
                  <a:gd name="connsiteX54" fmla="*/ 12405 w 526593"/>
                  <a:gd name="connsiteY54" fmla="*/ 353845 h 403224"/>
                  <a:gd name="connsiteX55" fmla="*/ 27996 w 526593"/>
                  <a:gd name="connsiteY55" fmla="*/ 326689 h 403224"/>
                  <a:gd name="connsiteX56" fmla="*/ 41125 w 526593"/>
                  <a:gd name="connsiteY56" fmla="*/ 320106 h 403224"/>
                  <a:gd name="connsiteX57" fmla="*/ 53434 w 526593"/>
                  <a:gd name="connsiteY57" fmla="*/ 302002 h 403224"/>
                  <a:gd name="connsiteX58" fmla="*/ 68205 w 526593"/>
                  <a:gd name="connsiteY58" fmla="*/ 281430 h 403224"/>
                  <a:gd name="connsiteX59" fmla="*/ 69025 w 526593"/>
                  <a:gd name="connsiteY59" fmla="*/ 269909 h 403224"/>
                  <a:gd name="connsiteX60" fmla="*/ 97746 w 526593"/>
                  <a:gd name="connsiteY60" fmla="*/ 234525 h 403224"/>
                  <a:gd name="connsiteX61" fmla="*/ 106773 w 526593"/>
                  <a:gd name="connsiteY61" fmla="*/ 217244 h 403224"/>
                  <a:gd name="connsiteX62" fmla="*/ 144520 w 526593"/>
                  <a:gd name="connsiteY62" fmla="*/ 182683 h 403224"/>
                  <a:gd name="connsiteX63" fmla="*/ 160932 w 526593"/>
                  <a:gd name="connsiteY63" fmla="*/ 161287 h 403224"/>
                  <a:gd name="connsiteX64" fmla="*/ 167497 w 526593"/>
                  <a:gd name="connsiteY64" fmla="*/ 147298 h 403224"/>
                  <a:gd name="connsiteX65" fmla="*/ 177344 w 526593"/>
                  <a:gd name="connsiteY65" fmla="*/ 126726 h 403224"/>
                  <a:gd name="connsiteX66" fmla="*/ 192935 w 526593"/>
                  <a:gd name="connsiteY66" fmla="*/ 94633 h 403224"/>
                  <a:gd name="connsiteX67" fmla="*/ 210167 w 526593"/>
                  <a:gd name="connsiteY67" fmla="*/ 76529 h 403224"/>
                  <a:gd name="connsiteX68" fmla="*/ 225759 w 526593"/>
                  <a:gd name="connsiteY68" fmla="*/ 68300 h 403224"/>
                  <a:gd name="connsiteX69" fmla="*/ 250376 w 526593"/>
                  <a:gd name="connsiteY69" fmla="*/ 54311 h 403224"/>
                  <a:gd name="connsiteX70" fmla="*/ 257762 w 526593"/>
                  <a:gd name="connsiteY70" fmla="*/ 45259 h 403224"/>
                  <a:gd name="connsiteX71" fmla="*/ 273353 w 526593"/>
                  <a:gd name="connsiteY71" fmla="*/ 18927 h 403224"/>
                  <a:gd name="connsiteX72" fmla="*/ 288124 w 526593"/>
                  <a:gd name="connsiteY72" fmla="*/ 823 h 403224"/>
                  <a:gd name="connsiteX73" fmla="*/ 288124 w 526593"/>
                  <a:gd name="connsiteY73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73658 w 526593"/>
                  <a:gd name="connsiteY4" fmla="*/ 69380 h 403224"/>
                  <a:gd name="connsiteX5" fmla="*/ 370780 w 526593"/>
                  <a:gd name="connsiteY5" fmla="*/ 60026 h 403224"/>
                  <a:gd name="connsiteX6" fmla="*/ 370369 w 526593"/>
                  <a:gd name="connsiteY6" fmla="*/ 58690 h 403224"/>
                  <a:gd name="connsiteX7" fmla="*/ 403258 w 526593"/>
                  <a:gd name="connsiteY7" fmla="*/ 50467 h 403224"/>
                  <a:gd name="connsiteX8" fmla="*/ 428748 w 526593"/>
                  <a:gd name="connsiteY8" fmla="*/ 66091 h 403224"/>
                  <a:gd name="connsiteX9" fmla="*/ 442417 w 526593"/>
                  <a:gd name="connsiteY9" fmla="*/ 61054 h 403224"/>
                  <a:gd name="connsiteX10" fmla="*/ 444340 w 526593"/>
                  <a:gd name="connsiteY10" fmla="*/ 60346 h 403224"/>
                  <a:gd name="connsiteX11" fmla="*/ 430394 w 526593"/>
                  <a:gd name="connsiteY11" fmla="*/ 65112 h 403224"/>
                  <a:gd name="connsiteX12" fmla="*/ 428445 w 526593"/>
                  <a:gd name="connsiteY12" fmla="*/ 65832 h 403224"/>
                  <a:gd name="connsiteX13" fmla="*/ 403007 w 526593"/>
                  <a:gd name="connsiteY13" fmla="*/ 50197 h 403224"/>
                  <a:gd name="connsiteX14" fmla="*/ 288124 w 526593"/>
                  <a:gd name="connsiteY14" fmla="*/ 0 h 403224"/>
                  <a:gd name="connsiteX15" fmla="*/ 514607 w 526593"/>
                  <a:gd name="connsiteY15" fmla="*/ 13989 h 403224"/>
                  <a:gd name="connsiteX16" fmla="*/ 516761 w 526593"/>
                  <a:gd name="connsiteY16" fmla="*/ 29110 h 403224"/>
                  <a:gd name="connsiteX17" fmla="*/ 517069 w 526593"/>
                  <a:gd name="connsiteY17" fmla="*/ 31270 h 403224"/>
                  <a:gd name="connsiteX18" fmla="*/ 514197 w 526593"/>
                  <a:gd name="connsiteY18" fmla="*/ 43511 h 403224"/>
                  <a:gd name="connsiteX19" fmla="*/ 513787 w 526593"/>
                  <a:gd name="connsiteY19" fmla="*/ 45259 h 403224"/>
                  <a:gd name="connsiteX20" fmla="*/ 513787 w 526593"/>
                  <a:gd name="connsiteY20" fmla="*/ 51019 h 403224"/>
                  <a:gd name="connsiteX21" fmla="*/ 513787 w 526593"/>
                  <a:gd name="connsiteY21" fmla="*/ 51842 h 403224"/>
                  <a:gd name="connsiteX22" fmla="*/ 479322 w 526593"/>
                  <a:gd name="connsiteY22" fmla="*/ 55134 h 403224"/>
                  <a:gd name="connsiteX23" fmla="*/ 452285 w 526593"/>
                  <a:gd name="connsiteY23" fmla="*/ 67458 h 403224"/>
                  <a:gd name="connsiteX24" fmla="*/ 479726 w 526593"/>
                  <a:gd name="connsiteY24" fmla="*/ 55401 h 403224"/>
                  <a:gd name="connsiteX25" fmla="*/ 510971 w 526593"/>
                  <a:gd name="connsiteY25" fmla="*/ 55401 h 403224"/>
                  <a:gd name="connsiteX26" fmla="*/ 514260 w 526593"/>
                  <a:gd name="connsiteY26" fmla="*/ 46356 h 403224"/>
                  <a:gd name="connsiteX27" fmla="*/ 514260 w 526593"/>
                  <a:gd name="connsiteY27" fmla="*/ 45534 h 403224"/>
                  <a:gd name="connsiteX28" fmla="*/ 517137 w 526593"/>
                  <a:gd name="connsiteY28" fmla="*/ 33302 h 403224"/>
                  <a:gd name="connsiteX29" fmla="*/ 517549 w 526593"/>
                  <a:gd name="connsiteY29" fmla="*/ 31555 h 403224"/>
                  <a:gd name="connsiteX30" fmla="*/ 515390 w 526593"/>
                  <a:gd name="connsiteY30" fmla="*/ 16446 h 403224"/>
                  <a:gd name="connsiteX31" fmla="*/ 515082 w 526593"/>
                  <a:gd name="connsiteY31" fmla="*/ 14287 h 403224"/>
                  <a:gd name="connsiteX32" fmla="*/ 526593 w 526593"/>
                  <a:gd name="connsiteY32" fmla="*/ 15109 h 403224"/>
                  <a:gd name="connsiteX33" fmla="*/ 523304 w 526593"/>
                  <a:gd name="connsiteY33" fmla="*/ 38133 h 403224"/>
                  <a:gd name="connsiteX34" fmla="*/ 510971 w 526593"/>
                  <a:gd name="connsiteY34" fmla="*/ 117894 h 403224"/>
                  <a:gd name="connsiteX35" fmla="*/ 325969 w 526593"/>
                  <a:gd name="connsiteY35" fmla="*/ 108027 h 403224"/>
                  <a:gd name="connsiteX36" fmla="*/ 301302 w 526593"/>
                  <a:gd name="connsiteY36" fmla="*/ 265904 h 403224"/>
                  <a:gd name="connsiteX37" fmla="*/ 270879 w 526593"/>
                  <a:gd name="connsiteY37" fmla="*/ 274127 h 403224"/>
                  <a:gd name="connsiteX38" fmla="*/ 234701 w 526593"/>
                  <a:gd name="connsiteY38" fmla="*/ 296328 h 403224"/>
                  <a:gd name="connsiteX39" fmla="*/ 231412 w 526593"/>
                  <a:gd name="connsiteY39" fmla="*/ 322641 h 403224"/>
                  <a:gd name="connsiteX40" fmla="*/ 225657 w 526593"/>
                  <a:gd name="connsiteY40" fmla="*/ 395001 h 403224"/>
                  <a:gd name="connsiteX41" fmla="*/ 24210 w 526593"/>
                  <a:gd name="connsiteY41" fmla="*/ 384312 h 403224"/>
                  <a:gd name="connsiteX42" fmla="*/ 5299 w 526593"/>
                  <a:gd name="connsiteY42" fmla="*/ 392535 h 403224"/>
                  <a:gd name="connsiteX43" fmla="*/ 365 w 526593"/>
                  <a:gd name="connsiteY43" fmla="*/ 403224 h 403224"/>
                  <a:gd name="connsiteX44" fmla="*/ 365 w 526593"/>
                  <a:gd name="connsiteY44" fmla="*/ 395824 h 403224"/>
                  <a:gd name="connsiteX45" fmla="*/ 6943 w 526593"/>
                  <a:gd name="connsiteY45" fmla="*/ 373622 h 403224"/>
                  <a:gd name="connsiteX46" fmla="*/ 63677 w 526593"/>
                  <a:gd name="connsiteY46" fmla="*/ 374444 h 403224"/>
                  <a:gd name="connsiteX47" fmla="*/ 118767 w 526593"/>
                  <a:gd name="connsiteY47" fmla="*/ 381023 h 403224"/>
                  <a:gd name="connsiteX48" fmla="*/ 139322 w 526593"/>
                  <a:gd name="connsiteY48" fmla="*/ 381023 h 403224"/>
                  <a:gd name="connsiteX49" fmla="*/ 139335 w 526593"/>
                  <a:gd name="connsiteY49" fmla="*/ 381000 h 403224"/>
                  <a:gd name="connsiteX50" fmla="*/ 119082 w 526593"/>
                  <a:gd name="connsiteY50" fmla="*/ 381000 h 403224"/>
                  <a:gd name="connsiteX51" fmla="*/ 64102 w 526593"/>
                  <a:gd name="connsiteY51" fmla="*/ 374417 h 403224"/>
                  <a:gd name="connsiteX52" fmla="*/ 7481 w 526593"/>
                  <a:gd name="connsiteY52" fmla="*/ 374417 h 403224"/>
                  <a:gd name="connsiteX53" fmla="*/ 12405 w 526593"/>
                  <a:gd name="connsiteY53" fmla="*/ 353845 h 403224"/>
                  <a:gd name="connsiteX54" fmla="*/ 27996 w 526593"/>
                  <a:gd name="connsiteY54" fmla="*/ 326689 h 403224"/>
                  <a:gd name="connsiteX55" fmla="*/ 41125 w 526593"/>
                  <a:gd name="connsiteY55" fmla="*/ 320106 h 403224"/>
                  <a:gd name="connsiteX56" fmla="*/ 53434 w 526593"/>
                  <a:gd name="connsiteY56" fmla="*/ 302002 h 403224"/>
                  <a:gd name="connsiteX57" fmla="*/ 68205 w 526593"/>
                  <a:gd name="connsiteY57" fmla="*/ 281430 h 403224"/>
                  <a:gd name="connsiteX58" fmla="*/ 69025 w 526593"/>
                  <a:gd name="connsiteY58" fmla="*/ 269909 h 403224"/>
                  <a:gd name="connsiteX59" fmla="*/ 97746 w 526593"/>
                  <a:gd name="connsiteY59" fmla="*/ 234525 h 403224"/>
                  <a:gd name="connsiteX60" fmla="*/ 106773 w 526593"/>
                  <a:gd name="connsiteY60" fmla="*/ 217244 h 403224"/>
                  <a:gd name="connsiteX61" fmla="*/ 144520 w 526593"/>
                  <a:gd name="connsiteY61" fmla="*/ 182683 h 403224"/>
                  <a:gd name="connsiteX62" fmla="*/ 160932 w 526593"/>
                  <a:gd name="connsiteY62" fmla="*/ 161287 h 403224"/>
                  <a:gd name="connsiteX63" fmla="*/ 167497 w 526593"/>
                  <a:gd name="connsiteY63" fmla="*/ 147298 h 403224"/>
                  <a:gd name="connsiteX64" fmla="*/ 177344 w 526593"/>
                  <a:gd name="connsiteY64" fmla="*/ 126726 h 403224"/>
                  <a:gd name="connsiteX65" fmla="*/ 192935 w 526593"/>
                  <a:gd name="connsiteY65" fmla="*/ 94633 h 403224"/>
                  <a:gd name="connsiteX66" fmla="*/ 210167 w 526593"/>
                  <a:gd name="connsiteY66" fmla="*/ 76529 h 403224"/>
                  <a:gd name="connsiteX67" fmla="*/ 225759 w 526593"/>
                  <a:gd name="connsiteY67" fmla="*/ 68300 h 403224"/>
                  <a:gd name="connsiteX68" fmla="*/ 250376 w 526593"/>
                  <a:gd name="connsiteY68" fmla="*/ 54311 h 403224"/>
                  <a:gd name="connsiteX69" fmla="*/ 257762 w 526593"/>
                  <a:gd name="connsiteY69" fmla="*/ 45259 h 403224"/>
                  <a:gd name="connsiteX70" fmla="*/ 273353 w 526593"/>
                  <a:gd name="connsiteY70" fmla="*/ 18927 h 403224"/>
                  <a:gd name="connsiteX71" fmla="*/ 288124 w 526593"/>
                  <a:gd name="connsiteY71" fmla="*/ 823 h 403224"/>
                  <a:gd name="connsiteX72" fmla="*/ 288124 w 526593"/>
                  <a:gd name="connsiteY72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70780 w 526593"/>
                  <a:gd name="connsiteY4" fmla="*/ 60026 h 403224"/>
                  <a:gd name="connsiteX5" fmla="*/ 370369 w 526593"/>
                  <a:gd name="connsiteY5" fmla="*/ 58690 h 403224"/>
                  <a:gd name="connsiteX6" fmla="*/ 403258 w 526593"/>
                  <a:gd name="connsiteY6" fmla="*/ 50467 h 403224"/>
                  <a:gd name="connsiteX7" fmla="*/ 428748 w 526593"/>
                  <a:gd name="connsiteY7" fmla="*/ 66091 h 403224"/>
                  <a:gd name="connsiteX8" fmla="*/ 442417 w 526593"/>
                  <a:gd name="connsiteY8" fmla="*/ 61054 h 403224"/>
                  <a:gd name="connsiteX9" fmla="*/ 444340 w 526593"/>
                  <a:gd name="connsiteY9" fmla="*/ 60346 h 403224"/>
                  <a:gd name="connsiteX10" fmla="*/ 430394 w 526593"/>
                  <a:gd name="connsiteY10" fmla="*/ 65112 h 403224"/>
                  <a:gd name="connsiteX11" fmla="*/ 428445 w 526593"/>
                  <a:gd name="connsiteY11" fmla="*/ 65832 h 403224"/>
                  <a:gd name="connsiteX12" fmla="*/ 403007 w 526593"/>
                  <a:gd name="connsiteY12" fmla="*/ 50197 h 403224"/>
                  <a:gd name="connsiteX13" fmla="*/ 288124 w 526593"/>
                  <a:gd name="connsiteY13" fmla="*/ 0 h 403224"/>
                  <a:gd name="connsiteX14" fmla="*/ 514607 w 526593"/>
                  <a:gd name="connsiteY14" fmla="*/ 13989 h 403224"/>
                  <a:gd name="connsiteX15" fmla="*/ 516761 w 526593"/>
                  <a:gd name="connsiteY15" fmla="*/ 29110 h 403224"/>
                  <a:gd name="connsiteX16" fmla="*/ 517069 w 526593"/>
                  <a:gd name="connsiteY16" fmla="*/ 31270 h 403224"/>
                  <a:gd name="connsiteX17" fmla="*/ 514197 w 526593"/>
                  <a:gd name="connsiteY17" fmla="*/ 43511 h 403224"/>
                  <a:gd name="connsiteX18" fmla="*/ 513787 w 526593"/>
                  <a:gd name="connsiteY18" fmla="*/ 45259 h 403224"/>
                  <a:gd name="connsiteX19" fmla="*/ 513787 w 526593"/>
                  <a:gd name="connsiteY19" fmla="*/ 51019 h 403224"/>
                  <a:gd name="connsiteX20" fmla="*/ 513787 w 526593"/>
                  <a:gd name="connsiteY20" fmla="*/ 51842 h 403224"/>
                  <a:gd name="connsiteX21" fmla="*/ 479322 w 526593"/>
                  <a:gd name="connsiteY21" fmla="*/ 55134 h 403224"/>
                  <a:gd name="connsiteX22" fmla="*/ 452285 w 526593"/>
                  <a:gd name="connsiteY22" fmla="*/ 67458 h 403224"/>
                  <a:gd name="connsiteX23" fmla="*/ 479726 w 526593"/>
                  <a:gd name="connsiteY23" fmla="*/ 55401 h 403224"/>
                  <a:gd name="connsiteX24" fmla="*/ 510971 w 526593"/>
                  <a:gd name="connsiteY24" fmla="*/ 55401 h 403224"/>
                  <a:gd name="connsiteX25" fmla="*/ 514260 w 526593"/>
                  <a:gd name="connsiteY25" fmla="*/ 46356 h 403224"/>
                  <a:gd name="connsiteX26" fmla="*/ 514260 w 526593"/>
                  <a:gd name="connsiteY26" fmla="*/ 45534 h 403224"/>
                  <a:gd name="connsiteX27" fmla="*/ 517137 w 526593"/>
                  <a:gd name="connsiteY27" fmla="*/ 33302 h 403224"/>
                  <a:gd name="connsiteX28" fmla="*/ 517549 w 526593"/>
                  <a:gd name="connsiteY28" fmla="*/ 31555 h 403224"/>
                  <a:gd name="connsiteX29" fmla="*/ 515390 w 526593"/>
                  <a:gd name="connsiteY29" fmla="*/ 16446 h 403224"/>
                  <a:gd name="connsiteX30" fmla="*/ 515082 w 526593"/>
                  <a:gd name="connsiteY30" fmla="*/ 14287 h 403224"/>
                  <a:gd name="connsiteX31" fmla="*/ 526593 w 526593"/>
                  <a:gd name="connsiteY31" fmla="*/ 15109 h 403224"/>
                  <a:gd name="connsiteX32" fmla="*/ 523304 w 526593"/>
                  <a:gd name="connsiteY32" fmla="*/ 38133 h 403224"/>
                  <a:gd name="connsiteX33" fmla="*/ 510971 w 526593"/>
                  <a:gd name="connsiteY33" fmla="*/ 117894 h 403224"/>
                  <a:gd name="connsiteX34" fmla="*/ 325969 w 526593"/>
                  <a:gd name="connsiteY34" fmla="*/ 108027 h 403224"/>
                  <a:gd name="connsiteX35" fmla="*/ 301302 w 526593"/>
                  <a:gd name="connsiteY35" fmla="*/ 265904 h 403224"/>
                  <a:gd name="connsiteX36" fmla="*/ 270879 w 526593"/>
                  <a:gd name="connsiteY36" fmla="*/ 274127 h 403224"/>
                  <a:gd name="connsiteX37" fmla="*/ 234701 w 526593"/>
                  <a:gd name="connsiteY37" fmla="*/ 296328 h 403224"/>
                  <a:gd name="connsiteX38" fmla="*/ 231412 w 526593"/>
                  <a:gd name="connsiteY38" fmla="*/ 322641 h 403224"/>
                  <a:gd name="connsiteX39" fmla="*/ 225657 w 526593"/>
                  <a:gd name="connsiteY39" fmla="*/ 395001 h 403224"/>
                  <a:gd name="connsiteX40" fmla="*/ 24210 w 526593"/>
                  <a:gd name="connsiteY40" fmla="*/ 384312 h 403224"/>
                  <a:gd name="connsiteX41" fmla="*/ 5299 w 526593"/>
                  <a:gd name="connsiteY41" fmla="*/ 392535 h 403224"/>
                  <a:gd name="connsiteX42" fmla="*/ 365 w 526593"/>
                  <a:gd name="connsiteY42" fmla="*/ 403224 h 403224"/>
                  <a:gd name="connsiteX43" fmla="*/ 365 w 526593"/>
                  <a:gd name="connsiteY43" fmla="*/ 395824 h 403224"/>
                  <a:gd name="connsiteX44" fmla="*/ 6943 w 526593"/>
                  <a:gd name="connsiteY44" fmla="*/ 373622 h 403224"/>
                  <a:gd name="connsiteX45" fmla="*/ 63677 w 526593"/>
                  <a:gd name="connsiteY45" fmla="*/ 374444 h 403224"/>
                  <a:gd name="connsiteX46" fmla="*/ 118767 w 526593"/>
                  <a:gd name="connsiteY46" fmla="*/ 381023 h 403224"/>
                  <a:gd name="connsiteX47" fmla="*/ 139322 w 526593"/>
                  <a:gd name="connsiteY47" fmla="*/ 381023 h 403224"/>
                  <a:gd name="connsiteX48" fmla="*/ 139335 w 526593"/>
                  <a:gd name="connsiteY48" fmla="*/ 381000 h 403224"/>
                  <a:gd name="connsiteX49" fmla="*/ 119082 w 526593"/>
                  <a:gd name="connsiteY49" fmla="*/ 381000 h 403224"/>
                  <a:gd name="connsiteX50" fmla="*/ 64102 w 526593"/>
                  <a:gd name="connsiteY50" fmla="*/ 374417 h 403224"/>
                  <a:gd name="connsiteX51" fmla="*/ 7481 w 526593"/>
                  <a:gd name="connsiteY51" fmla="*/ 374417 h 403224"/>
                  <a:gd name="connsiteX52" fmla="*/ 12405 w 526593"/>
                  <a:gd name="connsiteY52" fmla="*/ 353845 h 403224"/>
                  <a:gd name="connsiteX53" fmla="*/ 27996 w 526593"/>
                  <a:gd name="connsiteY53" fmla="*/ 326689 h 403224"/>
                  <a:gd name="connsiteX54" fmla="*/ 41125 w 526593"/>
                  <a:gd name="connsiteY54" fmla="*/ 320106 h 403224"/>
                  <a:gd name="connsiteX55" fmla="*/ 53434 w 526593"/>
                  <a:gd name="connsiteY55" fmla="*/ 302002 h 403224"/>
                  <a:gd name="connsiteX56" fmla="*/ 68205 w 526593"/>
                  <a:gd name="connsiteY56" fmla="*/ 281430 h 403224"/>
                  <a:gd name="connsiteX57" fmla="*/ 69025 w 526593"/>
                  <a:gd name="connsiteY57" fmla="*/ 269909 h 403224"/>
                  <a:gd name="connsiteX58" fmla="*/ 97746 w 526593"/>
                  <a:gd name="connsiteY58" fmla="*/ 234525 h 403224"/>
                  <a:gd name="connsiteX59" fmla="*/ 106773 w 526593"/>
                  <a:gd name="connsiteY59" fmla="*/ 217244 h 403224"/>
                  <a:gd name="connsiteX60" fmla="*/ 144520 w 526593"/>
                  <a:gd name="connsiteY60" fmla="*/ 182683 h 403224"/>
                  <a:gd name="connsiteX61" fmla="*/ 160932 w 526593"/>
                  <a:gd name="connsiteY61" fmla="*/ 161287 h 403224"/>
                  <a:gd name="connsiteX62" fmla="*/ 167497 w 526593"/>
                  <a:gd name="connsiteY62" fmla="*/ 147298 h 403224"/>
                  <a:gd name="connsiteX63" fmla="*/ 177344 w 526593"/>
                  <a:gd name="connsiteY63" fmla="*/ 126726 h 403224"/>
                  <a:gd name="connsiteX64" fmla="*/ 192935 w 526593"/>
                  <a:gd name="connsiteY64" fmla="*/ 94633 h 403224"/>
                  <a:gd name="connsiteX65" fmla="*/ 210167 w 526593"/>
                  <a:gd name="connsiteY65" fmla="*/ 76529 h 403224"/>
                  <a:gd name="connsiteX66" fmla="*/ 225759 w 526593"/>
                  <a:gd name="connsiteY66" fmla="*/ 68300 h 403224"/>
                  <a:gd name="connsiteX67" fmla="*/ 250376 w 526593"/>
                  <a:gd name="connsiteY67" fmla="*/ 54311 h 403224"/>
                  <a:gd name="connsiteX68" fmla="*/ 257762 w 526593"/>
                  <a:gd name="connsiteY68" fmla="*/ 45259 h 403224"/>
                  <a:gd name="connsiteX69" fmla="*/ 273353 w 526593"/>
                  <a:gd name="connsiteY69" fmla="*/ 18927 h 403224"/>
                  <a:gd name="connsiteX70" fmla="*/ 288124 w 526593"/>
                  <a:gd name="connsiteY70" fmla="*/ 823 h 403224"/>
                  <a:gd name="connsiteX71" fmla="*/ 288124 w 526593"/>
                  <a:gd name="connsiteY71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70780 w 526593"/>
                  <a:gd name="connsiteY4" fmla="*/ 60026 h 403224"/>
                  <a:gd name="connsiteX5" fmla="*/ 403258 w 526593"/>
                  <a:gd name="connsiteY5" fmla="*/ 50467 h 403224"/>
                  <a:gd name="connsiteX6" fmla="*/ 428748 w 526593"/>
                  <a:gd name="connsiteY6" fmla="*/ 66091 h 403224"/>
                  <a:gd name="connsiteX7" fmla="*/ 442417 w 526593"/>
                  <a:gd name="connsiteY7" fmla="*/ 61054 h 403224"/>
                  <a:gd name="connsiteX8" fmla="*/ 444340 w 526593"/>
                  <a:gd name="connsiteY8" fmla="*/ 60346 h 403224"/>
                  <a:gd name="connsiteX9" fmla="*/ 430394 w 526593"/>
                  <a:gd name="connsiteY9" fmla="*/ 65112 h 403224"/>
                  <a:gd name="connsiteX10" fmla="*/ 428445 w 526593"/>
                  <a:gd name="connsiteY10" fmla="*/ 65832 h 403224"/>
                  <a:gd name="connsiteX11" fmla="*/ 403007 w 526593"/>
                  <a:gd name="connsiteY11" fmla="*/ 50197 h 403224"/>
                  <a:gd name="connsiteX12" fmla="*/ 288124 w 526593"/>
                  <a:gd name="connsiteY12" fmla="*/ 0 h 403224"/>
                  <a:gd name="connsiteX13" fmla="*/ 514607 w 526593"/>
                  <a:gd name="connsiteY13" fmla="*/ 13989 h 403224"/>
                  <a:gd name="connsiteX14" fmla="*/ 516761 w 526593"/>
                  <a:gd name="connsiteY14" fmla="*/ 29110 h 403224"/>
                  <a:gd name="connsiteX15" fmla="*/ 517069 w 526593"/>
                  <a:gd name="connsiteY15" fmla="*/ 31270 h 403224"/>
                  <a:gd name="connsiteX16" fmla="*/ 514197 w 526593"/>
                  <a:gd name="connsiteY16" fmla="*/ 43511 h 403224"/>
                  <a:gd name="connsiteX17" fmla="*/ 513787 w 526593"/>
                  <a:gd name="connsiteY17" fmla="*/ 45259 h 403224"/>
                  <a:gd name="connsiteX18" fmla="*/ 513787 w 526593"/>
                  <a:gd name="connsiteY18" fmla="*/ 51019 h 403224"/>
                  <a:gd name="connsiteX19" fmla="*/ 513787 w 526593"/>
                  <a:gd name="connsiteY19" fmla="*/ 51842 h 403224"/>
                  <a:gd name="connsiteX20" fmla="*/ 479322 w 526593"/>
                  <a:gd name="connsiteY20" fmla="*/ 55134 h 403224"/>
                  <a:gd name="connsiteX21" fmla="*/ 452285 w 526593"/>
                  <a:gd name="connsiteY21" fmla="*/ 67458 h 403224"/>
                  <a:gd name="connsiteX22" fmla="*/ 479726 w 526593"/>
                  <a:gd name="connsiteY22" fmla="*/ 55401 h 403224"/>
                  <a:gd name="connsiteX23" fmla="*/ 510971 w 526593"/>
                  <a:gd name="connsiteY23" fmla="*/ 55401 h 403224"/>
                  <a:gd name="connsiteX24" fmla="*/ 514260 w 526593"/>
                  <a:gd name="connsiteY24" fmla="*/ 46356 h 403224"/>
                  <a:gd name="connsiteX25" fmla="*/ 514260 w 526593"/>
                  <a:gd name="connsiteY25" fmla="*/ 45534 h 403224"/>
                  <a:gd name="connsiteX26" fmla="*/ 517137 w 526593"/>
                  <a:gd name="connsiteY26" fmla="*/ 33302 h 403224"/>
                  <a:gd name="connsiteX27" fmla="*/ 517549 w 526593"/>
                  <a:gd name="connsiteY27" fmla="*/ 31555 h 403224"/>
                  <a:gd name="connsiteX28" fmla="*/ 515390 w 526593"/>
                  <a:gd name="connsiteY28" fmla="*/ 16446 h 403224"/>
                  <a:gd name="connsiteX29" fmla="*/ 515082 w 526593"/>
                  <a:gd name="connsiteY29" fmla="*/ 14287 h 403224"/>
                  <a:gd name="connsiteX30" fmla="*/ 526593 w 526593"/>
                  <a:gd name="connsiteY30" fmla="*/ 15109 h 403224"/>
                  <a:gd name="connsiteX31" fmla="*/ 523304 w 526593"/>
                  <a:gd name="connsiteY31" fmla="*/ 38133 h 403224"/>
                  <a:gd name="connsiteX32" fmla="*/ 510971 w 526593"/>
                  <a:gd name="connsiteY32" fmla="*/ 117894 h 403224"/>
                  <a:gd name="connsiteX33" fmla="*/ 325969 w 526593"/>
                  <a:gd name="connsiteY33" fmla="*/ 108027 h 403224"/>
                  <a:gd name="connsiteX34" fmla="*/ 301302 w 526593"/>
                  <a:gd name="connsiteY34" fmla="*/ 265904 h 403224"/>
                  <a:gd name="connsiteX35" fmla="*/ 270879 w 526593"/>
                  <a:gd name="connsiteY35" fmla="*/ 274127 h 403224"/>
                  <a:gd name="connsiteX36" fmla="*/ 234701 w 526593"/>
                  <a:gd name="connsiteY36" fmla="*/ 296328 h 403224"/>
                  <a:gd name="connsiteX37" fmla="*/ 231412 w 526593"/>
                  <a:gd name="connsiteY37" fmla="*/ 322641 h 403224"/>
                  <a:gd name="connsiteX38" fmla="*/ 225657 w 526593"/>
                  <a:gd name="connsiteY38" fmla="*/ 395001 h 403224"/>
                  <a:gd name="connsiteX39" fmla="*/ 24210 w 526593"/>
                  <a:gd name="connsiteY39" fmla="*/ 384312 h 403224"/>
                  <a:gd name="connsiteX40" fmla="*/ 5299 w 526593"/>
                  <a:gd name="connsiteY40" fmla="*/ 392535 h 403224"/>
                  <a:gd name="connsiteX41" fmla="*/ 365 w 526593"/>
                  <a:gd name="connsiteY41" fmla="*/ 403224 h 403224"/>
                  <a:gd name="connsiteX42" fmla="*/ 365 w 526593"/>
                  <a:gd name="connsiteY42" fmla="*/ 395824 h 403224"/>
                  <a:gd name="connsiteX43" fmla="*/ 6943 w 526593"/>
                  <a:gd name="connsiteY43" fmla="*/ 373622 h 403224"/>
                  <a:gd name="connsiteX44" fmla="*/ 63677 w 526593"/>
                  <a:gd name="connsiteY44" fmla="*/ 374444 h 403224"/>
                  <a:gd name="connsiteX45" fmla="*/ 118767 w 526593"/>
                  <a:gd name="connsiteY45" fmla="*/ 381023 h 403224"/>
                  <a:gd name="connsiteX46" fmla="*/ 139322 w 526593"/>
                  <a:gd name="connsiteY46" fmla="*/ 381023 h 403224"/>
                  <a:gd name="connsiteX47" fmla="*/ 139335 w 526593"/>
                  <a:gd name="connsiteY47" fmla="*/ 381000 h 403224"/>
                  <a:gd name="connsiteX48" fmla="*/ 119082 w 526593"/>
                  <a:gd name="connsiteY48" fmla="*/ 381000 h 403224"/>
                  <a:gd name="connsiteX49" fmla="*/ 64102 w 526593"/>
                  <a:gd name="connsiteY49" fmla="*/ 374417 h 403224"/>
                  <a:gd name="connsiteX50" fmla="*/ 7481 w 526593"/>
                  <a:gd name="connsiteY50" fmla="*/ 374417 h 403224"/>
                  <a:gd name="connsiteX51" fmla="*/ 12405 w 526593"/>
                  <a:gd name="connsiteY51" fmla="*/ 353845 h 403224"/>
                  <a:gd name="connsiteX52" fmla="*/ 27996 w 526593"/>
                  <a:gd name="connsiteY52" fmla="*/ 326689 h 403224"/>
                  <a:gd name="connsiteX53" fmla="*/ 41125 w 526593"/>
                  <a:gd name="connsiteY53" fmla="*/ 320106 h 403224"/>
                  <a:gd name="connsiteX54" fmla="*/ 53434 w 526593"/>
                  <a:gd name="connsiteY54" fmla="*/ 302002 h 403224"/>
                  <a:gd name="connsiteX55" fmla="*/ 68205 w 526593"/>
                  <a:gd name="connsiteY55" fmla="*/ 281430 h 403224"/>
                  <a:gd name="connsiteX56" fmla="*/ 69025 w 526593"/>
                  <a:gd name="connsiteY56" fmla="*/ 269909 h 403224"/>
                  <a:gd name="connsiteX57" fmla="*/ 97746 w 526593"/>
                  <a:gd name="connsiteY57" fmla="*/ 234525 h 403224"/>
                  <a:gd name="connsiteX58" fmla="*/ 106773 w 526593"/>
                  <a:gd name="connsiteY58" fmla="*/ 217244 h 403224"/>
                  <a:gd name="connsiteX59" fmla="*/ 144520 w 526593"/>
                  <a:gd name="connsiteY59" fmla="*/ 182683 h 403224"/>
                  <a:gd name="connsiteX60" fmla="*/ 160932 w 526593"/>
                  <a:gd name="connsiteY60" fmla="*/ 161287 h 403224"/>
                  <a:gd name="connsiteX61" fmla="*/ 167497 w 526593"/>
                  <a:gd name="connsiteY61" fmla="*/ 147298 h 403224"/>
                  <a:gd name="connsiteX62" fmla="*/ 177344 w 526593"/>
                  <a:gd name="connsiteY62" fmla="*/ 126726 h 403224"/>
                  <a:gd name="connsiteX63" fmla="*/ 192935 w 526593"/>
                  <a:gd name="connsiteY63" fmla="*/ 94633 h 403224"/>
                  <a:gd name="connsiteX64" fmla="*/ 210167 w 526593"/>
                  <a:gd name="connsiteY64" fmla="*/ 76529 h 403224"/>
                  <a:gd name="connsiteX65" fmla="*/ 225759 w 526593"/>
                  <a:gd name="connsiteY65" fmla="*/ 68300 h 403224"/>
                  <a:gd name="connsiteX66" fmla="*/ 250376 w 526593"/>
                  <a:gd name="connsiteY66" fmla="*/ 54311 h 403224"/>
                  <a:gd name="connsiteX67" fmla="*/ 257762 w 526593"/>
                  <a:gd name="connsiteY67" fmla="*/ 45259 h 403224"/>
                  <a:gd name="connsiteX68" fmla="*/ 273353 w 526593"/>
                  <a:gd name="connsiteY68" fmla="*/ 18927 h 403224"/>
                  <a:gd name="connsiteX69" fmla="*/ 288124 w 526593"/>
                  <a:gd name="connsiteY69" fmla="*/ 823 h 403224"/>
                  <a:gd name="connsiteX70" fmla="*/ 288124 w 526593"/>
                  <a:gd name="connsiteY70" fmla="*/ 0 h 403224"/>
                  <a:gd name="connsiteX0" fmla="*/ 428445 w 526593"/>
                  <a:gd name="connsiteY0" fmla="*/ 65832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70780 w 526593"/>
                  <a:gd name="connsiteY4" fmla="*/ 60026 h 403224"/>
                  <a:gd name="connsiteX5" fmla="*/ 403258 w 526593"/>
                  <a:gd name="connsiteY5" fmla="*/ 50467 h 403224"/>
                  <a:gd name="connsiteX6" fmla="*/ 428748 w 526593"/>
                  <a:gd name="connsiteY6" fmla="*/ 66091 h 403224"/>
                  <a:gd name="connsiteX7" fmla="*/ 442417 w 526593"/>
                  <a:gd name="connsiteY7" fmla="*/ 61054 h 403224"/>
                  <a:gd name="connsiteX8" fmla="*/ 444340 w 526593"/>
                  <a:gd name="connsiteY8" fmla="*/ 60346 h 403224"/>
                  <a:gd name="connsiteX9" fmla="*/ 430394 w 526593"/>
                  <a:gd name="connsiteY9" fmla="*/ 65112 h 403224"/>
                  <a:gd name="connsiteX10" fmla="*/ 428445 w 526593"/>
                  <a:gd name="connsiteY10" fmla="*/ 65832 h 403224"/>
                  <a:gd name="connsiteX11" fmla="*/ 288124 w 526593"/>
                  <a:gd name="connsiteY11" fmla="*/ 0 h 403224"/>
                  <a:gd name="connsiteX12" fmla="*/ 514607 w 526593"/>
                  <a:gd name="connsiteY12" fmla="*/ 13989 h 403224"/>
                  <a:gd name="connsiteX13" fmla="*/ 516761 w 526593"/>
                  <a:gd name="connsiteY13" fmla="*/ 29110 h 403224"/>
                  <a:gd name="connsiteX14" fmla="*/ 517069 w 526593"/>
                  <a:gd name="connsiteY14" fmla="*/ 31270 h 403224"/>
                  <a:gd name="connsiteX15" fmla="*/ 514197 w 526593"/>
                  <a:gd name="connsiteY15" fmla="*/ 43511 h 403224"/>
                  <a:gd name="connsiteX16" fmla="*/ 513787 w 526593"/>
                  <a:gd name="connsiteY16" fmla="*/ 45259 h 403224"/>
                  <a:gd name="connsiteX17" fmla="*/ 513787 w 526593"/>
                  <a:gd name="connsiteY17" fmla="*/ 51019 h 403224"/>
                  <a:gd name="connsiteX18" fmla="*/ 513787 w 526593"/>
                  <a:gd name="connsiteY18" fmla="*/ 51842 h 403224"/>
                  <a:gd name="connsiteX19" fmla="*/ 479322 w 526593"/>
                  <a:gd name="connsiteY19" fmla="*/ 55134 h 403224"/>
                  <a:gd name="connsiteX20" fmla="*/ 452285 w 526593"/>
                  <a:gd name="connsiteY20" fmla="*/ 67458 h 403224"/>
                  <a:gd name="connsiteX21" fmla="*/ 479726 w 526593"/>
                  <a:gd name="connsiteY21" fmla="*/ 55401 h 403224"/>
                  <a:gd name="connsiteX22" fmla="*/ 510971 w 526593"/>
                  <a:gd name="connsiteY22" fmla="*/ 55401 h 403224"/>
                  <a:gd name="connsiteX23" fmla="*/ 514260 w 526593"/>
                  <a:gd name="connsiteY23" fmla="*/ 46356 h 403224"/>
                  <a:gd name="connsiteX24" fmla="*/ 514260 w 526593"/>
                  <a:gd name="connsiteY24" fmla="*/ 45534 h 403224"/>
                  <a:gd name="connsiteX25" fmla="*/ 517137 w 526593"/>
                  <a:gd name="connsiteY25" fmla="*/ 33302 h 403224"/>
                  <a:gd name="connsiteX26" fmla="*/ 517549 w 526593"/>
                  <a:gd name="connsiteY26" fmla="*/ 31555 h 403224"/>
                  <a:gd name="connsiteX27" fmla="*/ 515390 w 526593"/>
                  <a:gd name="connsiteY27" fmla="*/ 16446 h 403224"/>
                  <a:gd name="connsiteX28" fmla="*/ 515082 w 526593"/>
                  <a:gd name="connsiteY28" fmla="*/ 14287 h 403224"/>
                  <a:gd name="connsiteX29" fmla="*/ 526593 w 526593"/>
                  <a:gd name="connsiteY29" fmla="*/ 15109 h 403224"/>
                  <a:gd name="connsiteX30" fmla="*/ 523304 w 526593"/>
                  <a:gd name="connsiteY30" fmla="*/ 38133 h 403224"/>
                  <a:gd name="connsiteX31" fmla="*/ 510971 w 526593"/>
                  <a:gd name="connsiteY31" fmla="*/ 117894 h 403224"/>
                  <a:gd name="connsiteX32" fmla="*/ 325969 w 526593"/>
                  <a:gd name="connsiteY32" fmla="*/ 108027 h 403224"/>
                  <a:gd name="connsiteX33" fmla="*/ 301302 w 526593"/>
                  <a:gd name="connsiteY33" fmla="*/ 265904 h 403224"/>
                  <a:gd name="connsiteX34" fmla="*/ 270879 w 526593"/>
                  <a:gd name="connsiteY34" fmla="*/ 274127 h 403224"/>
                  <a:gd name="connsiteX35" fmla="*/ 234701 w 526593"/>
                  <a:gd name="connsiteY35" fmla="*/ 296328 h 403224"/>
                  <a:gd name="connsiteX36" fmla="*/ 231412 w 526593"/>
                  <a:gd name="connsiteY36" fmla="*/ 322641 h 403224"/>
                  <a:gd name="connsiteX37" fmla="*/ 225657 w 526593"/>
                  <a:gd name="connsiteY37" fmla="*/ 395001 h 403224"/>
                  <a:gd name="connsiteX38" fmla="*/ 24210 w 526593"/>
                  <a:gd name="connsiteY38" fmla="*/ 384312 h 403224"/>
                  <a:gd name="connsiteX39" fmla="*/ 5299 w 526593"/>
                  <a:gd name="connsiteY39" fmla="*/ 392535 h 403224"/>
                  <a:gd name="connsiteX40" fmla="*/ 365 w 526593"/>
                  <a:gd name="connsiteY40" fmla="*/ 403224 h 403224"/>
                  <a:gd name="connsiteX41" fmla="*/ 365 w 526593"/>
                  <a:gd name="connsiteY41" fmla="*/ 395824 h 403224"/>
                  <a:gd name="connsiteX42" fmla="*/ 6943 w 526593"/>
                  <a:gd name="connsiteY42" fmla="*/ 373622 h 403224"/>
                  <a:gd name="connsiteX43" fmla="*/ 63677 w 526593"/>
                  <a:gd name="connsiteY43" fmla="*/ 374444 h 403224"/>
                  <a:gd name="connsiteX44" fmla="*/ 118767 w 526593"/>
                  <a:gd name="connsiteY44" fmla="*/ 381023 h 403224"/>
                  <a:gd name="connsiteX45" fmla="*/ 139322 w 526593"/>
                  <a:gd name="connsiteY45" fmla="*/ 381023 h 403224"/>
                  <a:gd name="connsiteX46" fmla="*/ 139335 w 526593"/>
                  <a:gd name="connsiteY46" fmla="*/ 381000 h 403224"/>
                  <a:gd name="connsiteX47" fmla="*/ 119082 w 526593"/>
                  <a:gd name="connsiteY47" fmla="*/ 381000 h 403224"/>
                  <a:gd name="connsiteX48" fmla="*/ 64102 w 526593"/>
                  <a:gd name="connsiteY48" fmla="*/ 374417 h 403224"/>
                  <a:gd name="connsiteX49" fmla="*/ 7481 w 526593"/>
                  <a:gd name="connsiteY49" fmla="*/ 374417 h 403224"/>
                  <a:gd name="connsiteX50" fmla="*/ 12405 w 526593"/>
                  <a:gd name="connsiteY50" fmla="*/ 353845 h 403224"/>
                  <a:gd name="connsiteX51" fmla="*/ 27996 w 526593"/>
                  <a:gd name="connsiteY51" fmla="*/ 326689 h 403224"/>
                  <a:gd name="connsiteX52" fmla="*/ 41125 w 526593"/>
                  <a:gd name="connsiteY52" fmla="*/ 320106 h 403224"/>
                  <a:gd name="connsiteX53" fmla="*/ 53434 w 526593"/>
                  <a:gd name="connsiteY53" fmla="*/ 302002 h 403224"/>
                  <a:gd name="connsiteX54" fmla="*/ 68205 w 526593"/>
                  <a:gd name="connsiteY54" fmla="*/ 281430 h 403224"/>
                  <a:gd name="connsiteX55" fmla="*/ 69025 w 526593"/>
                  <a:gd name="connsiteY55" fmla="*/ 269909 h 403224"/>
                  <a:gd name="connsiteX56" fmla="*/ 97746 w 526593"/>
                  <a:gd name="connsiteY56" fmla="*/ 234525 h 403224"/>
                  <a:gd name="connsiteX57" fmla="*/ 106773 w 526593"/>
                  <a:gd name="connsiteY57" fmla="*/ 217244 h 403224"/>
                  <a:gd name="connsiteX58" fmla="*/ 144520 w 526593"/>
                  <a:gd name="connsiteY58" fmla="*/ 182683 h 403224"/>
                  <a:gd name="connsiteX59" fmla="*/ 160932 w 526593"/>
                  <a:gd name="connsiteY59" fmla="*/ 161287 h 403224"/>
                  <a:gd name="connsiteX60" fmla="*/ 167497 w 526593"/>
                  <a:gd name="connsiteY60" fmla="*/ 147298 h 403224"/>
                  <a:gd name="connsiteX61" fmla="*/ 177344 w 526593"/>
                  <a:gd name="connsiteY61" fmla="*/ 126726 h 403224"/>
                  <a:gd name="connsiteX62" fmla="*/ 192935 w 526593"/>
                  <a:gd name="connsiteY62" fmla="*/ 94633 h 403224"/>
                  <a:gd name="connsiteX63" fmla="*/ 210167 w 526593"/>
                  <a:gd name="connsiteY63" fmla="*/ 76529 h 403224"/>
                  <a:gd name="connsiteX64" fmla="*/ 225759 w 526593"/>
                  <a:gd name="connsiteY64" fmla="*/ 68300 h 403224"/>
                  <a:gd name="connsiteX65" fmla="*/ 250376 w 526593"/>
                  <a:gd name="connsiteY65" fmla="*/ 54311 h 403224"/>
                  <a:gd name="connsiteX66" fmla="*/ 257762 w 526593"/>
                  <a:gd name="connsiteY66" fmla="*/ 45259 h 403224"/>
                  <a:gd name="connsiteX67" fmla="*/ 273353 w 526593"/>
                  <a:gd name="connsiteY67" fmla="*/ 18927 h 403224"/>
                  <a:gd name="connsiteX68" fmla="*/ 288124 w 526593"/>
                  <a:gd name="connsiteY68" fmla="*/ 823 h 403224"/>
                  <a:gd name="connsiteX69" fmla="*/ 288124 w 526593"/>
                  <a:gd name="connsiteY69" fmla="*/ 0 h 403224"/>
                  <a:gd name="connsiteX0" fmla="*/ 428445 w 526593"/>
                  <a:gd name="connsiteY0" fmla="*/ 65832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403258 w 526593"/>
                  <a:gd name="connsiteY4" fmla="*/ 50467 h 403224"/>
                  <a:gd name="connsiteX5" fmla="*/ 428748 w 526593"/>
                  <a:gd name="connsiteY5" fmla="*/ 66091 h 403224"/>
                  <a:gd name="connsiteX6" fmla="*/ 442417 w 526593"/>
                  <a:gd name="connsiteY6" fmla="*/ 61054 h 403224"/>
                  <a:gd name="connsiteX7" fmla="*/ 444340 w 526593"/>
                  <a:gd name="connsiteY7" fmla="*/ 60346 h 403224"/>
                  <a:gd name="connsiteX8" fmla="*/ 430394 w 526593"/>
                  <a:gd name="connsiteY8" fmla="*/ 65112 h 403224"/>
                  <a:gd name="connsiteX9" fmla="*/ 428445 w 526593"/>
                  <a:gd name="connsiteY9" fmla="*/ 65832 h 403224"/>
                  <a:gd name="connsiteX10" fmla="*/ 288124 w 526593"/>
                  <a:gd name="connsiteY10" fmla="*/ 0 h 403224"/>
                  <a:gd name="connsiteX11" fmla="*/ 514607 w 526593"/>
                  <a:gd name="connsiteY11" fmla="*/ 13989 h 403224"/>
                  <a:gd name="connsiteX12" fmla="*/ 516761 w 526593"/>
                  <a:gd name="connsiteY12" fmla="*/ 29110 h 403224"/>
                  <a:gd name="connsiteX13" fmla="*/ 517069 w 526593"/>
                  <a:gd name="connsiteY13" fmla="*/ 31270 h 403224"/>
                  <a:gd name="connsiteX14" fmla="*/ 514197 w 526593"/>
                  <a:gd name="connsiteY14" fmla="*/ 43511 h 403224"/>
                  <a:gd name="connsiteX15" fmla="*/ 513787 w 526593"/>
                  <a:gd name="connsiteY15" fmla="*/ 45259 h 403224"/>
                  <a:gd name="connsiteX16" fmla="*/ 513787 w 526593"/>
                  <a:gd name="connsiteY16" fmla="*/ 51019 h 403224"/>
                  <a:gd name="connsiteX17" fmla="*/ 513787 w 526593"/>
                  <a:gd name="connsiteY17" fmla="*/ 51842 h 403224"/>
                  <a:gd name="connsiteX18" fmla="*/ 479322 w 526593"/>
                  <a:gd name="connsiteY18" fmla="*/ 55134 h 403224"/>
                  <a:gd name="connsiteX19" fmla="*/ 452285 w 526593"/>
                  <a:gd name="connsiteY19" fmla="*/ 67458 h 403224"/>
                  <a:gd name="connsiteX20" fmla="*/ 479726 w 526593"/>
                  <a:gd name="connsiteY20" fmla="*/ 55401 h 403224"/>
                  <a:gd name="connsiteX21" fmla="*/ 510971 w 526593"/>
                  <a:gd name="connsiteY21" fmla="*/ 55401 h 403224"/>
                  <a:gd name="connsiteX22" fmla="*/ 514260 w 526593"/>
                  <a:gd name="connsiteY22" fmla="*/ 46356 h 403224"/>
                  <a:gd name="connsiteX23" fmla="*/ 514260 w 526593"/>
                  <a:gd name="connsiteY23" fmla="*/ 45534 h 403224"/>
                  <a:gd name="connsiteX24" fmla="*/ 517137 w 526593"/>
                  <a:gd name="connsiteY24" fmla="*/ 33302 h 403224"/>
                  <a:gd name="connsiteX25" fmla="*/ 517549 w 526593"/>
                  <a:gd name="connsiteY25" fmla="*/ 31555 h 403224"/>
                  <a:gd name="connsiteX26" fmla="*/ 515390 w 526593"/>
                  <a:gd name="connsiteY26" fmla="*/ 16446 h 403224"/>
                  <a:gd name="connsiteX27" fmla="*/ 515082 w 526593"/>
                  <a:gd name="connsiteY27" fmla="*/ 14287 h 403224"/>
                  <a:gd name="connsiteX28" fmla="*/ 526593 w 526593"/>
                  <a:gd name="connsiteY28" fmla="*/ 15109 h 403224"/>
                  <a:gd name="connsiteX29" fmla="*/ 523304 w 526593"/>
                  <a:gd name="connsiteY29" fmla="*/ 38133 h 403224"/>
                  <a:gd name="connsiteX30" fmla="*/ 510971 w 526593"/>
                  <a:gd name="connsiteY30" fmla="*/ 117894 h 403224"/>
                  <a:gd name="connsiteX31" fmla="*/ 325969 w 526593"/>
                  <a:gd name="connsiteY31" fmla="*/ 108027 h 403224"/>
                  <a:gd name="connsiteX32" fmla="*/ 301302 w 526593"/>
                  <a:gd name="connsiteY32" fmla="*/ 265904 h 403224"/>
                  <a:gd name="connsiteX33" fmla="*/ 270879 w 526593"/>
                  <a:gd name="connsiteY33" fmla="*/ 274127 h 403224"/>
                  <a:gd name="connsiteX34" fmla="*/ 234701 w 526593"/>
                  <a:gd name="connsiteY34" fmla="*/ 296328 h 403224"/>
                  <a:gd name="connsiteX35" fmla="*/ 231412 w 526593"/>
                  <a:gd name="connsiteY35" fmla="*/ 322641 h 403224"/>
                  <a:gd name="connsiteX36" fmla="*/ 225657 w 526593"/>
                  <a:gd name="connsiteY36" fmla="*/ 395001 h 403224"/>
                  <a:gd name="connsiteX37" fmla="*/ 24210 w 526593"/>
                  <a:gd name="connsiteY37" fmla="*/ 384312 h 403224"/>
                  <a:gd name="connsiteX38" fmla="*/ 5299 w 526593"/>
                  <a:gd name="connsiteY38" fmla="*/ 392535 h 403224"/>
                  <a:gd name="connsiteX39" fmla="*/ 365 w 526593"/>
                  <a:gd name="connsiteY39" fmla="*/ 403224 h 403224"/>
                  <a:gd name="connsiteX40" fmla="*/ 365 w 526593"/>
                  <a:gd name="connsiteY40" fmla="*/ 395824 h 403224"/>
                  <a:gd name="connsiteX41" fmla="*/ 6943 w 526593"/>
                  <a:gd name="connsiteY41" fmla="*/ 373622 h 403224"/>
                  <a:gd name="connsiteX42" fmla="*/ 63677 w 526593"/>
                  <a:gd name="connsiteY42" fmla="*/ 374444 h 403224"/>
                  <a:gd name="connsiteX43" fmla="*/ 118767 w 526593"/>
                  <a:gd name="connsiteY43" fmla="*/ 381023 h 403224"/>
                  <a:gd name="connsiteX44" fmla="*/ 139322 w 526593"/>
                  <a:gd name="connsiteY44" fmla="*/ 381023 h 403224"/>
                  <a:gd name="connsiteX45" fmla="*/ 139335 w 526593"/>
                  <a:gd name="connsiteY45" fmla="*/ 381000 h 403224"/>
                  <a:gd name="connsiteX46" fmla="*/ 119082 w 526593"/>
                  <a:gd name="connsiteY46" fmla="*/ 381000 h 403224"/>
                  <a:gd name="connsiteX47" fmla="*/ 64102 w 526593"/>
                  <a:gd name="connsiteY47" fmla="*/ 374417 h 403224"/>
                  <a:gd name="connsiteX48" fmla="*/ 7481 w 526593"/>
                  <a:gd name="connsiteY48" fmla="*/ 374417 h 403224"/>
                  <a:gd name="connsiteX49" fmla="*/ 12405 w 526593"/>
                  <a:gd name="connsiteY49" fmla="*/ 353845 h 403224"/>
                  <a:gd name="connsiteX50" fmla="*/ 27996 w 526593"/>
                  <a:gd name="connsiteY50" fmla="*/ 326689 h 403224"/>
                  <a:gd name="connsiteX51" fmla="*/ 41125 w 526593"/>
                  <a:gd name="connsiteY51" fmla="*/ 320106 h 403224"/>
                  <a:gd name="connsiteX52" fmla="*/ 53434 w 526593"/>
                  <a:gd name="connsiteY52" fmla="*/ 302002 h 403224"/>
                  <a:gd name="connsiteX53" fmla="*/ 68205 w 526593"/>
                  <a:gd name="connsiteY53" fmla="*/ 281430 h 403224"/>
                  <a:gd name="connsiteX54" fmla="*/ 69025 w 526593"/>
                  <a:gd name="connsiteY54" fmla="*/ 269909 h 403224"/>
                  <a:gd name="connsiteX55" fmla="*/ 97746 w 526593"/>
                  <a:gd name="connsiteY55" fmla="*/ 234525 h 403224"/>
                  <a:gd name="connsiteX56" fmla="*/ 106773 w 526593"/>
                  <a:gd name="connsiteY56" fmla="*/ 217244 h 403224"/>
                  <a:gd name="connsiteX57" fmla="*/ 144520 w 526593"/>
                  <a:gd name="connsiteY57" fmla="*/ 182683 h 403224"/>
                  <a:gd name="connsiteX58" fmla="*/ 160932 w 526593"/>
                  <a:gd name="connsiteY58" fmla="*/ 161287 h 403224"/>
                  <a:gd name="connsiteX59" fmla="*/ 167497 w 526593"/>
                  <a:gd name="connsiteY59" fmla="*/ 147298 h 403224"/>
                  <a:gd name="connsiteX60" fmla="*/ 177344 w 526593"/>
                  <a:gd name="connsiteY60" fmla="*/ 126726 h 403224"/>
                  <a:gd name="connsiteX61" fmla="*/ 192935 w 526593"/>
                  <a:gd name="connsiteY61" fmla="*/ 94633 h 403224"/>
                  <a:gd name="connsiteX62" fmla="*/ 210167 w 526593"/>
                  <a:gd name="connsiteY62" fmla="*/ 76529 h 403224"/>
                  <a:gd name="connsiteX63" fmla="*/ 225759 w 526593"/>
                  <a:gd name="connsiteY63" fmla="*/ 68300 h 403224"/>
                  <a:gd name="connsiteX64" fmla="*/ 250376 w 526593"/>
                  <a:gd name="connsiteY64" fmla="*/ 54311 h 403224"/>
                  <a:gd name="connsiteX65" fmla="*/ 257762 w 526593"/>
                  <a:gd name="connsiteY65" fmla="*/ 45259 h 403224"/>
                  <a:gd name="connsiteX66" fmla="*/ 273353 w 526593"/>
                  <a:gd name="connsiteY66" fmla="*/ 18927 h 403224"/>
                  <a:gd name="connsiteX67" fmla="*/ 288124 w 526593"/>
                  <a:gd name="connsiteY67" fmla="*/ 823 h 403224"/>
                  <a:gd name="connsiteX68" fmla="*/ 288124 w 526593"/>
                  <a:gd name="connsiteY68" fmla="*/ 0 h 403224"/>
                  <a:gd name="connsiteX0" fmla="*/ 428445 w 526593"/>
                  <a:gd name="connsiteY0" fmla="*/ 65832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403258 w 526593"/>
                  <a:gd name="connsiteY3" fmla="*/ 50467 h 403224"/>
                  <a:gd name="connsiteX4" fmla="*/ 428748 w 526593"/>
                  <a:gd name="connsiteY4" fmla="*/ 66091 h 403224"/>
                  <a:gd name="connsiteX5" fmla="*/ 442417 w 526593"/>
                  <a:gd name="connsiteY5" fmla="*/ 61054 h 403224"/>
                  <a:gd name="connsiteX6" fmla="*/ 444340 w 526593"/>
                  <a:gd name="connsiteY6" fmla="*/ 60346 h 403224"/>
                  <a:gd name="connsiteX7" fmla="*/ 430394 w 526593"/>
                  <a:gd name="connsiteY7" fmla="*/ 65112 h 403224"/>
                  <a:gd name="connsiteX8" fmla="*/ 428445 w 526593"/>
                  <a:gd name="connsiteY8" fmla="*/ 65832 h 403224"/>
                  <a:gd name="connsiteX9" fmla="*/ 288124 w 526593"/>
                  <a:gd name="connsiteY9" fmla="*/ 0 h 403224"/>
                  <a:gd name="connsiteX10" fmla="*/ 514607 w 526593"/>
                  <a:gd name="connsiteY10" fmla="*/ 13989 h 403224"/>
                  <a:gd name="connsiteX11" fmla="*/ 516761 w 526593"/>
                  <a:gd name="connsiteY11" fmla="*/ 29110 h 403224"/>
                  <a:gd name="connsiteX12" fmla="*/ 517069 w 526593"/>
                  <a:gd name="connsiteY12" fmla="*/ 31270 h 403224"/>
                  <a:gd name="connsiteX13" fmla="*/ 514197 w 526593"/>
                  <a:gd name="connsiteY13" fmla="*/ 43511 h 403224"/>
                  <a:gd name="connsiteX14" fmla="*/ 513787 w 526593"/>
                  <a:gd name="connsiteY14" fmla="*/ 45259 h 403224"/>
                  <a:gd name="connsiteX15" fmla="*/ 513787 w 526593"/>
                  <a:gd name="connsiteY15" fmla="*/ 51019 h 403224"/>
                  <a:gd name="connsiteX16" fmla="*/ 513787 w 526593"/>
                  <a:gd name="connsiteY16" fmla="*/ 51842 h 403224"/>
                  <a:gd name="connsiteX17" fmla="*/ 479322 w 526593"/>
                  <a:gd name="connsiteY17" fmla="*/ 55134 h 403224"/>
                  <a:gd name="connsiteX18" fmla="*/ 452285 w 526593"/>
                  <a:gd name="connsiteY18" fmla="*/ 67458 h 403224"/>
                  <a:gd name="connsiteX19" fmla="*/ 479726 w 526593"/>
                  <a:gd name="connsiteY19" fmla="*/ 55401 h 403224"/>
                  <a:gd name="connsiteX20" fmla="*/ 510971 w 526593"/>
                  <a:gd name="connsiteY20" fmla="*/ 55401 h 403224"/>
                  <a:gd name="connsiteX21" fmla="*/ 514260 w 526593"/>
                  <a:gd name="connsiteY21" fmla="*/ 46356 h 403224"/>
                  <a:gd name="connsiteX22" fmla="*/ 514260 w 526593"/>
                  <a:gd name="connsiteY22" fmla="*/ 45534 h 403224"/>
                  <a:gd name="connsiteX23" fmla="*/ 517137 w 526593"/>
                  <a:gd name="connsiteY23" fmla="*/ 33302 h 403224"/>
                  <a:gd name="connsiteX24" fmla="*/ 517549 w 526593"/>
                  <a:gd name="connsiteY24" fmla="*/ 31555 h 403224"/>
                  <a:gd name="connsiteX25" fmla="*/ 515390 w 526593"/>
                  <a:gd name="connsiteY25" fmla="*/ 16446 h 403224"/>
                  <a:gd name="connsiteX26" fmla="*/ 515082 w 526593"/>
                  <a:gd name="connsiteY26" fmla="*/ 14287 h 403224"/>
                  <a:gd name="connsiteX27" fmla="*/ 526593 w 526593"/>
                  <a:gd name="connsiteY27" fmla="*/ 15109 h 403224"/>
                  <a:gd name="connsiteX28" fmla="*/ 523304 w 526593"/>
                  <a:gd name="connsiteY28" fmla="*/ 38133 h 403224"/>
                  <a:gd name="connsiteX29" fmla="*/ 510971 w 526593"/>
                  <a:gd name="connsiteY29" fmla="*/ 117894 h 403224"/>
                  <a:gd name="connsiteX30" fmla="*/ 325969 w 526593"/>
                  <a:gd name="connsiteY30" fmla="*/ 108027 h 403224"/>
                  <a:gd name="connsiteX31" fmla="*/ 301302 w 526593"/>
                  <a:gd name="connsiteY31" fmla="*/ 265904 h 403224"/>
                  <a:gd name="connsiteX32" fmla="*/ 270879 w 526593"/>
                  <a:gd name="connsiteY32" fmla="*/ 274127 h 403224"/>
                  <a:gd name="connsiteX33" fmla="*/ 234701 w 526593"/>
                  <a:gd name="connsiteY33" fmla="*/ 296328 h 403224"/>
                  <a:gd name="connsiteX34" fmla="*/ 231412 w 526593"/>
                  <a:gd name="connsiteY34" fmla="*/ 322641 h 403224"/>
                  <a:gd name="connsiteX35" fmla="*/ 225657 w 526593"/>
                  <a:gd name="connsiteY35" fmla="*/ 395001 h 403224"/>
                  <a:gd name="connsiteX36" fmla="*/ 24210 w 526593"/>
                  <a:gd name="connsiteY36" fmla="*/ 384312 h 403224"/>
                  <a:gd name="connsiteX37" fmla="*/ 5299 w 526593"/>
                  <a:gd name="connsiteY37" fmla="*/ 392535 h 403224"/>
                  <a:gd name="connsiteX38" fmla="*/ 365 w 526593"/>
                  <a:gd name="connsiteY38" fmla="*/ 403224 h 403224"/>
                  <a:gd name="connsiteX39" fmla="*/ 365 w 526593"/>
                  <a:gd name="connsiteY39" fmla="*/ 395824 h 403224"/>
                  <a:gd name="connsiteX40" fmla="*/ 6943 w 526593"/>
                  <a:gd name="connsiteY40" fmla="*/ 373622 h 403224"/>
                  <a:gd name="connsiteX41" fmla="*/ 63677 w 526593"/>
                  <a:gd name="connsiteY41" fmla="*/ 374444 h 403224"/>
                  <a:gd name="connsiteX42" fmla="*/ 118767 w 526593"/>
                  <a:gd name="connsiteY42" fmla="*/ 381023 h 403224"/>
                  <a:gd name="connsiteX43" fmla="*/ 139322 w 526593"/>
                  <a:gd name="connsiteY43" fmla="*/ 381023 h 403224"/>
                  <a:gd name="connsiteX44" fmla="*/ 139335 w 526593"/>
                  <a:gd name="connsiteY44" fmla="*/ 381000 h 403224"/>
                  <a:gd name="connsiteX45" fmla="*/ 119082 w 526593"/>
                  <a:gd name="connsiteY45" fmla="*/ 381000 h 403224"/>
                  <a:gd name="connsiteX46" fmla="*/ 64102 w 526593"/>
                  <a:gd name="connsiteY46" fmla="*/ 374417 h 403224"/>
                  <a:gd name="connsiteX47" fmla="*/ 7481 w 526593"/>
                  <a:gd name="connsiteY47" fmla="*/ 374417 h 403224"/>
                  <a:gd name="connsiteX48" fmla="*/ 12405 w 526593"/>
                  <a:gd name="connsiteY48" fmla="*/ 353845 h 403224"/>
                  <a:gd name="connsiteX49" fmla="*/ 27996 w 526593"/>
                  <a:gd name="connsiteY49" fmla="*/ 326689 h 403224"/>
                  <a:gd name="connsiteX50" fmla="*/ 41125 w 526593"/>
                  <a:gd name="connsiteY50" fmla="*/ 320106 h 403224"/>
                  <a:gd name="connsiteX51" fmla="*/ 53434 w 526593"/>
                  <a:gd name="connsiteY51" fmla="*/ 302002 h 403224"/>
                  <a:gd name="connsiteX52" fmla="*/ 68205 w 526593"/>
                  <a:gd name="connsiteY52" fmla="*/ 281430 h 403224"/>
                  <a:gd name="connsiteX53" fmla="*/ 69025 w 526593"/>
                  <a:gd name="connsiteY53" fmla="*/ 269909 h 403224"/>
                  <a:gd name="connsiteX54" fmla="*/ 97746 w 526593"/>
                  <a:gd name="connsiteY54" fmla="*/ 234525 h 403224"/>
                  <a:gd name="connsiteX55" fmla="*/ 106773 w 526593"/>
                  <a:gd name="connsiteY55" fmla="*/ 217244 h 403224"/>
                  <a:gd name="connsiteX56" fmla="*/ 144520 w 526593"/>
                  <a:gd name="connsiteY56" fmla="*/ 182683 h 403224"/>
                  <a:gd name="connsiteX57" fmla="*/ 160932 w 526593"/>
                  <a:gd name="connsiteY57" fmla="*/ 161287 h 403224"/>
                  <a:gd name="connsiteX58" fmla="*/ 167497 w 526593"/>
                  <a:gd name="connsiteY58" fmla="*/ 147298 h 403224"/>
                  <a:gd name="connsiteX59" fmla="*/ 177344 w 526593"/>
                  <a:gd name="connsiteY59" fmla="*/ 126726 h 403224"/>
                  <a:gd name="connsiteX60" fmla="*/ 192935 w 526593"/>
                  <a:gd name="connsiteY60" fmla="*/ 94633 h 403224"/>
                  <a:gd name="connsiteX61" fmla="*/ 210167 w 526593"/>
                  <a:gd name="connsiteY61" fmla="*/ 76529 h 403224"/>
                  <a:gd name="connsiteX62" fmla="*/ 225759 w 526593"/>
                  <a:gd name="connsiteY62" fmla="*/ 68300 h 403224"/>
                  <a:gd name="connsiteX63" fmla="*/ 250376 w 526593"/>
                  <a:gd name="connsiteY63" fmla="*/ 54311 h 403224"/>
                  <a:gd name="connsiteX64" fmla="*/ 257762 w 526593"/>
                  <a:gd name="connsiteY64" fmla="*/ 45259 h 403224"/>
                  <a:gd name="connsiteX65" fmla="*/ 273353 w 526593"/>
                  <a:gd name="connsiteY65" fmla="*/ 18927 h 403224"/>
                  <a:gd name="connsiteX66" fmla="*/ 288124 w 526593"/>
                  <a:gd name="connsiteY66" fmla="*/ 823 h 403224"/>
                  <a:gd name="connsiteX67" fmla="*/ 288124 w 526593"/>
                  <a:gd name="connsiteY67" fmla="*/ 0 h 403224"/>
                  <a:gd name="connsiteX0" fmla="*/ 428445 w 526593"/>
                  <a:gd name="connsiteY0" fmla="*/ 65832 h 403224"/>
                  <a:gd name="connsiteX1" fmla="*/ 370183 w 526593"/>
                  <a:gd name="connsiteY1" fmla="*/ 58426 h 403224"/>
                  <a:gd name="connsiteX2" fmla="*/ 403258 w 526593"/>
                  <a:gd name="connsiteY2" fmla="*/ 50467 h 403224"/>
                  <a:gd name="connsiteX3" fmla="*/ 428748 w 526593"/>
                  <a:gd name="connsiteY3" fmla="*/ 66091 h 403224"/>
                  <a:gd name="connsiteX4" fmla="*/ 442417 w 526593"/>
                  <a:gd name="connsiteY4" fmla="*/ 61054 h 403224"/>
                  <a:gd name="connsiteX5" fmla="*/ 444340 w 526593"/>
                  <a:gd name="connsiteY5" fmla="*/ 60346 h 403224"/>
                  <a:gd name="connsiteX6" fmla="*/ 430394 w 526593"/>
                  <a:gd name="connsiteY6" fmla="*/ 65112 h 403224"/>
                  <a:gd name="connsiteX7" fmla="*/ 428445 w 526593"/>
                  <a:gd name="connsiteY7" fmla="*/ 65832 h 403224"/>
                  <a:gd name="connsiteX8" fmla="*/ 288124 w 526593"/>
                  <a:gd name="connsiteY8" fmla="*/ 0 h 403224"/>
                  <a:gd name="connsiteX9" fmla="*/ 514607 w 526593"/>
                  <a:gd name="connsiteY9" fmla="*/ 13989 h 403224"/>
                  <a:gd name="connsiteX10" fmla="*/ 516761 w 526593"/>
                  <a:gd name="connsiteY10" fmla="*/ 29110 h 403224"/>
                  <a:gd name="connsiteX11" fmla="*/ 517069 w 526593"/>
                  <a:gd name="connsiteY11" fmla="*/ 31270 h 403224"/>
                  <a:gd name="connsiteX12" fmla="*/ 514197 w 526593"/>
                  <a:gd name="connsiteY12" fmla="*/ 43511 h 403224"/>
                  <a:gd name="connsiteX13" fmla="*/ 513787 w 526593"/>
                  <a:gd name="connsiteY13" fmla="*/ 45259 h 403224"/>
                  <a:gd name="connsiteX14" fmla="*/ 513787 w 526593"/>
                  <a:gd name="connsiteY14" fmla="*/ 51019 h 403224"/>
                  <a:gd name="connsiteX15" fmla="*/ 513787 w 526593"/>
                  <a:gd name="connsiteY15" fmla="*/ 51842 h 403224"/>
                  <a:gd name="connsiteX16" fmla="*/ 479322 w 526593"/>
                  <a:gd name="connsiteY16" fmla="*/ 55134 h 403224"/>
                  <a:gd name="connsiteX17" fmla="*/ 452285 w 526593"/>
                  <a:gd name="connsiteY17" fmla="*/ 67458 h 403224"/>
                  <a:gd name="connsiteX18" fmla="*/ 479726 w 526593"/>
                  <a:gd name="connsiteY18" fmla="*/ 55401 h 403224"/>
                  <a:gd name="connsiteX19" fmla="*/ 510971 w 526593"/>
                  <a:gd name="connsiteY19" fmla="*/ 55401 h 403224"/>
                  <a:gd name="connsiteX20" fmla="*/ 514260 w 526593"/>
                  <a:gd name="connsiteY20" fmla="*/ 46356 h 403224"/>
                  <a:gd name="connsiteX21" fmla="*/ 514260 w 526593"/>
                  <a:gd name="connsiteY21" fmla="*/ 45534 h 403224"/>
                  <a:gd name="connsiteX22" fmla="*/ 517137 w 526593"/>
                  <a:gd name="connsiteY22" fmla="*/ 33302 h 403224"/>
                  <a:gd name="connsiteX23" fmla="*/ 517549 w 526593"/>
                  <a:gd name="connsiteY23" fmla="*/ 31555 h 403224"/>
                  <a:gd name="connsiteX24" fmla="*/ 515390 w 526593"/>
                  <a:gd name="connsiteY24" fmla="*/ 16446 h 403224"/>
                  <a:gd name="connsiteX25" fmla="*/ 515082 w 526593"/>
                  <a:gd name="connsiteY25" fmla="*/ 14287 h 403224"/>
                  <a:gd name="connsiteX26" fmla="*/ 526593 w 526593"/>
                  <a:gd name="connsiteY26" fmla="*/ 15109 h 403224"/>
                  <a:gd name="connsiteX27" fmla="*/ 523304 w 526593"/>
                  <a:gd name="connsiteY27" fmla="*/ 38133 h 403224"/>
                  <a:gd name="connsiteX28" fmla="*/ 510971 w 526593"/>
                  <a:gd name="connsiteY28" fmla="*/ 117894 h 403224"/>
                  <a:gd name="connsiteX29" fmla="*/ 325969 w 526593"/>
                  <a:gd name="connsiteY29" fmla="*/ 108027 h 403224"/>
                  <a:gd name="connsiteX30" fmla="*/ 301302 w 526593"/>
                  <a:gd name="connsiteY30" fmla="*/ 265904 h 403224"/>
                  <a:gd name="connsiteX31" fmla="*/ 270879 w 526593"/>
                  <a:gd name="connsiteY31" fmla="*/ 274127 h 403224"/>
                  <a:gd name="connsiteX32" fmla="*/ 234701 w 526593"/>
                  <a:gd name="connsiteY32" fmla="*/ 296328 h 403224"/>
                  <a:gd name="connsiteX33" fmla="*/ 231412 w 526593"/>
                  <a:gd name="connsiteY33" fmla="*/ 322641 h 403224"/>
                  <a:gd name="connsiteX34" fmla="*/ 225657 w 526593"/>
                  <a:gd name="connsiteY34" fmla="*/ 395001 h 403224"/>
                  <a:gd name="connsiteX35" fmla="*/ 24210 w 526593"/>
                  <a:gd name="connsiteY35" fmla="*/ 384312 h 403224"/>
                  <a:gd name="connsiteX36" fmla="*/ 5299 w 526593"/>
                  <a:gd name="connsiteY36" fmla="*/ 392535 h 403224"/>
                  <a:gd name="connsiteX37" fmla="*/ 365 w 526593"/>
                  <a:gd name="connsiteY37" fmla="*/ 403224 h 403224"/>
                  <a:gd name="connsiteX38" fmla="*/ 365 w 526593"/>
                  <a:gd name="connsiteY38" fmla="*/ 395824 h 403224"/>
                  <a:gd name="connsiteX39" fmla="*/ 6943 w 526593"/>
                  <a:gd name="connsiteY39" fmla="*/ 373622 h 403224"/>
                  <a:gd name="connsiteX40" fmla="*/ 63677 w 526593"/>
                  <a:gd name="connsiteY40" fmla="*/ 374444 h 403224"/>
                  <a:gd name="connsiteX41" fmla="*/ 118767 w 526593"/>
                  <a:gd name="connsiteY41" fmla="*/ 381023 h 403224"/>
                  <a:gd name="connsiteX42" fmla="*/ 139322 w 526593"/>
                  <a:gd name="connsiteY42" fmla="*/ 381023 h 403224"/>
                  <a:gd name="connsiteX43" fmla="*/ 139335 w 526593"/>
                  <a:gd name="connsiteY43" fmla="*/ 381000 h 403224"/>
                  <a:gd name="connsiteX44" fmla="*/ 119082 w 526593"/>
                  <a:gd name="connsiteY44" fmla="*/ 381000 h 403224"/>
                  <a:gd name="connsiteX45" fmla="*/ 64102 w 526593"/>
                  <a:gd name="connsiteY45" fmla="*/ 374417 h 403224"/>
                  <a:gd name="connsiteX46" fmla="*/ 7481 w 526593"/>
                  <a:gd name="connsiteY46" fmla="*/ 374417 h 403224"/>
                  <a:gd name="connsiteX47" fmla="*/ 12405 w 526593"/>
                  <a:gd name="connsiteY47" fmla="*/ 353845 h 403224"/>
                  <a:gd name="connsiteX48" fmla="*/ 27996 w 526593"/>
                  <a:gd name="connsiteY48" fmla="*/ 326689 h 403224"/>
                  <a:gd name="connsiteX49" fmla="*/ 41125 w 526593"/>
                  <a:gd name="connsiteY49" fmla="*/ 320106 h 403224"/>
                  <a:gd name="connsiteX50" fmla="*/ 53434 w 526593"/>
                  <a:gd name="connsiteY50" fmla="*/ 302002 h 403224"/>
                  <a:gd name="connsiteX51" fmla="*/ 68205 w 526593"/>
                  <a:gd name="connsiteY51" fmla="*/ 281430 h 403224"/>
                  <a:gd name="connsiteX52" fmla="*/ 69025 w 526593"/>
                  <a:gd name="connsiteY52" fmla="*/ 269909 h 403224"/>
                  <a:gd name="connsiteX53" fmla="*/ 97746 w 526593"/>
                  <a:gd name="connsiteY53" fmla="*/ 234525 h 403224"/>
                  <a:gd name="connsiteX54" fmla="*/ 106773 w 526593"/>
                  <a:gd name="connsiteY54" fmla="*/ 217244 h 403224"/>
                  <a:gd name="connsiteX55" fmla="*/ 144520 w 526593"/>
                  <a:gd name="connsiteY55" fmla="*/ 182683 h 403224"/>
                  <a:gd name="connsiteX56" fmla="*/ 160932 w 526593"/>
                  <a:gd name="connsiteY56" fmla="*/ 161287 h 403224"/>
                  <a:gd name="connsiteX57" fmla="*/ 167497 w 526593"/>
                  <a:gd name="connsiteY57" fmla="*/ 147298 h 403224"/>
                  <a:gd name="connsiteX58" fmla="*/ 177344 w 526593"/>
                  <a:gd name="connsiteY58" fmla="*/ 126726 h 403224"/>
                  <a:gd name="connsiteX59" fmla="*/ 192935 w 526593"/>
                  <a:gd name="connsiteY59" fmla="*/ 94633 h 403224"/>
                  <a:gd name="connsiteX60" fmla="*/ 210167 w 526593"/>
                  <a:gd name="connsiteY60" fmla="*/ 76529 h 403224"/>
                  <a:gd name="connsiteX61" fmla="*/ 225759 w 526593"/>
                  <a:gd name="connsiteY61" fmla="*/ 68300 h 403224"/>
                  <a:gd name="connsiteX62" fmla="*/ 250376 w 526593"/>
                  <a:gd name="connsiteY62" fmla="*/ 54311 h 403224"/>
                  <a:gd name="connsiteX63" fmla="*/ 257762 w 526593"/>
                  <a:gd name="connsiteY63" fmla="*/ 45259 h 403224"/>
                  <a:gd name="connsiteX64" fmla="*/ 273353 w 526593"/>
                  <a:gd name="connsiteY64" fmla="*/ 18927 h 403224"/>
                  <a:gd name="connsiteX65" fmla="*/ 288124 w 526593"/>
                  <a:gd name="connsiteY65" fmla="*/ 823 h 403224"/>
                  <a:gd name="connsiteX66" fmla="*/ 288124 w 526593"/>
                  <a:gd name="connsiteY66" fmla="*/ 0 h 403224"/>
                  <a:gd name="connsiteX0" fmla="*/ 428445 w 526593"/>
                  <a:gd name="connsiteY0" fmla="*/ 65832 h 403224"/>
                  <a:gd name="connsiteX1" fmla="*/ 403258 w 526593"/>
                  <a:gd name="connsiteY1" fmla="*/ 50467 h 403224"/>
                  <a:gd name="connsiteX2" fmla="*/ 428748 w 526593"/>
                  <a:gd name="connsiteY2" fmla="*/ 66091 h 403224"/>
                  <a:gd name="connsiteX3" fmla="*/ 442417 w 526593"/>
                  <a:gd name="connsiteY3" fmla="*/ 61054 h 403224"/>
                  <a:gd name="connsiteX4" fmla="*/ 444340 w 526593"/>
                  <a:gd name="connsiteY4" fmla="*/ 60346 h 403224"/>
                  <a:gd name="connsiteX5" fmla="*/ 430394 w 526593"/>
                  <a:gd name="connsiteY5" fmla="*/ 65112 h 403224"/>
                  <a:gd name="connsiteX6" fmla="*/ 428445 w 526593"/>
                  <a:gd name="connsiteY6" fmla="*/ 65832 h 403224"/>
                  <a:gd name="connsiteX7" fmla="*/ 288124 w 526593"/>
                  <a:gd name="connsiteY7" fmla="*/ 0 h 403224"/>
                  <a:gd name="connsiteX8" fmla="*/ 514607 w 526593"/>
                  <a:gd name="connsiteY8" fmla="*/ 13989 h 403224"/>
                  <a:gd name="connsiteX9" fmla="*/ 516761 w 526593"/>
                  <a:gd name="connsiteY9" fmla="*/ 29110 h 403224"/>
                  <a:gd name="connsiteX10" fmla="*/ 517069 w 526593"/>
                  <a:gd name="connsiteY10" fmla="*/ 31270 h 403224"/>
                  <a:gd name="connsiteX11" fmla="*/ 514197 w 526593"/>
                  <a:gd name="connsiteY11" fmla="*/ 43511 h 403224"/>
                  <a:gd name="connsiteX12" fmla="*/ 513787 w 526593"/>
                  <a:gd name="connsiteY12" fmla="*/ 45259 h 403224"/>
                  <a:gd name="connsiteX13" fmla="*/ 513787 w 526593"/>
                  <a:gd name="connsiteY13" fmla="*/ 51019 h 403224"/>
                  <a:gd name="connsiteX14" fmla="*/ 513787 w 526593"/>
                  <a:gd name="connsiteY14" fmla="*/ 51842 h 403224"/>
                  <a:gd name="connsiteX15" fmla="*/ 479322 w 526593"/>
                  <a:gd name="connsiteY15" fmla="*/ 55134 h 403224"/>
                  <a:gd name="connsiteX16" fmla="*/ 452285 w 526593"/>
                  <a:gd name="connsiteY16" fmla="*/ 67458 h 403224"/>
                  <a:gd name="connsiteX17" fmla="*/ 479726 w 526593"/>
                  <a:gd name="connsiteY17" fmla="*/ 55401 h 403224"/>
                  <a:gd name="connsiteX18" fmla="*/ 510971 w 526593"/>
                  <a:gd name="connsiteY18" fmla="*/ 55401 h 403224"/>
                  <a:gd name="connsiteX19" fmla="*/ 514260 w 526593"/>
                  <a:gd name="connsiteY19" fmla="*/ 46356 h 403224"/>
                  <a:gd name="connsiteX20" fmla="*/ 514260 w 526593"/>
                  <a:gd name="connsiteY20" fmla="*/ 45534 h 403224"/>
                  <a:gd name="connsiteX21" fmla="*/ 517137 w 526593"/>
                  <a:gd name="connsiteY21" fmla="*/ 33302 h 403224"/>
                  <a:gd name="connsiteX22" fmla="*/ 517549 w 526593"/>
                  <a:gd name="connsiteY22" fmla="*/ 31555 h 403224"/>
                  <a:gd name="connsiteX23" fmla="*/ 515390 w 526593"/>
                  <a:gd name="connsiteY23" fmla="*/ 16446 h 403224"/>
                  <a:gd name="connsiteX24" fmla="*/ 515082 w 526593"/>
                  <a:gd name="connsiteY24" fmla="*/ 14287 h 403224"/>
                  <a:gd name="connsiteX25" fmla="*/ 526593 w 526593"/>
                  <a:gd name="connsiteY25" fmla="*/ 15109 h 403224"/>
                  <a:gd name="connsiteX26" fmla="*/ 523304 w 526593"/>
                  <a:gd name="connsiteY26" fmla="*/ 38133 h 403224"/>
                  <a:gd name="connsiteX27" fmla="*/ 510971 w 526593"/>
                  <a:gd name="connsiteY27" fmla="*/ 117894 h 403224"/>
                  <a:gd name="connsiteX28" fmla="*/ 325969 w 526593"/>
                  <a:gd name="connsiteY28" fmla="*/ 108027 h 403224"/>
                  <a:gd name="connsiteX29" fmla="*/ 301302 w 526593"/>
                  <a:gd name="connsiteY29" fmla="*/ 265904 h 403224"/>
                  <a:gd name="connsiteX30" fmla="*/ 270879 w 526593"/>
                  <a:gd name="connsiteY30" fmla="*/ 274127 h 403224"/>
                  <a:gd name="connsiteX31" fmla="*/ 234701 w 526593"/>
                  <a:gd name="connsiteY31" fmla="*/ 296328 h 403224"/>
                  <a:gd name="connsiteX32" fmla="*/ 231412 w 526593"/>
                  <a:gd name="connsiteY32" fmla="*/ 322641 h 403224"/>
                  <a:gd name="connsiteX33" fmla="*/ 225657 w 526593"/>
                  <a:gd name="connsiteY33" fmla="*/ 395001 h 403224"/>
                  <a:gd name="connsiteX34" fmla="*/ 24210 w 526593"/>
                  <a:gd name="connsiteY34" fmla="*/ 384312 h 403224"/>
                  <a:gd name="connsiteX35" fmla="*/ 5299 w 526593"/>
                  <a:gd name="connsiteY35" fmla="*/ 392535 h 403224"/>
                  <a:gd name="connsiteX36" fmla="*/ 365 w 526593"/>
                  <a:gd name="connsiteY36" fmla="*/ 403224 h 403224"/>
                  <a:gd name="connsiteX37" fmla="*/ 365 w 526593"/>
                  <a:gd name="connsiteY37" fmla="*/ 395824 h 403224"/>
                  <a:gd name="connsiteX38" fmla="*/ 6943 w 526593"/>
                  <a:gd name="connsiteY38" fmla="*/ 373622 h 403224"/>
                  <a:gd name="connsiteX39" fmla="*/ 63677 w 526593"/>
                  <a:gd name="connsiteY39" fmla="*/ 374444 h 403224"/>
                  <a:gd name="connsiteX40" fmla="*/ 118767 w 526593"/>
                  <a:gd name="connsiteY40" fmla="*/ 381023 h 403224"/>
                  <a:gd name="connsiteX41" fmla="*/ 139322 w 526593"/>
                  <a:gd name="connsiteY41" fmla="*/ 381023 h 403224"/>
                  <a:gd name="connsiteX42" fmla="*/ 139335 w 526593"/>
                  <a:gd name="connsiteY42" fmla="*/ 381000 h 403224"/>
                  <a:gd name="connsiteX43" fmla="*/ 119082 w 526593"/>
                  <a:gd name="connsiteY43" fmla="*/ 381000 h 403224"/>
                  <a:gd name="connsiteX44" fmla="*/ 64102 w 526593"/>
                  <a:gd name="connsiteY44" fmla="*/ 374417 h 403224"/>
                  <a:gd name="connsiteX45" fmla="*/ 7481 w 526593"/>
                  <a:gd name="connsiteY45" fmla="*/ 374417 h 403224"/>
                  <a:gd name="connsiteX46" fmla="*/ 12405 w 526593"/>
                  <a:gd name="connsiteY46" fmla="*/ 353845 h 403224"/>
                  <a:gd name="connsiteX47" fmla="*/ 27996 w 526593"/>
                  <a:gd name="connsiteY47" fmla="*/ 326689 h 403224"/>
                  <a:gd name="connsiteX48" fmla="*/ 41125 w 526593"/>
                  <a:gd name="connsiteY48" fmla="*/ 320106 h 403224"/>
                  <a:gd name="connsiteX49" fmla="*/ 53434 w 526593"/>
                  <a:gd name="connsiteY49" fmla="*/ 302002 h 403224"/>
                  <a:gd name="connsiteX50" fmla="*/ 68205 w 526593"/>
                  <a:gd name="connsiteY50" fmla="*/ 281430 h 403224"/>
                  <a:gd name="connsiteX51" fmla="*/ 69025 w 526593"/>
                  <a:gd name="connsiteY51" fmla="*/ 269909 h 403224"/>
                  <a:gd name="connsiteX52" fmla="*/ 97746 w 526593"/>
                  <a:gd name="connsiteY52" fmla="*/ 234525 h 403224"/>
                  <a:gd name="connsiteX53" fmla="*/ 106773 w 526593"/>
                  <a:gd name="connsiteY53" fmla="*/ 217244 h 403224"/>
                  <a:gd name="connsiteX54" fmla="*/ 144520 w 526593"/>
                  <a:gd name="connsiteY54" fmla="*/ 182683 h 403224"/>
                  <a:gd name="connsiteX55" fmla="*/ 160932 w 526593"/>
                  <a:gd name="connsiteY55" fmla="*/ 161287 h 403224"/>
                  <a:gd name="connsiteX56" fmla="*/ 167497 w 526593"/>
                  <a:gd name="connsiteY56" fmla="*/ 147298 h 403224"/>
                  <a:gd name="connsiteX57" fmla="*/ 177344 w 526593"/>
                  <a:gd name="connsiteY57" fmla="*/ 126726 h 403224"/>
                  <a:gd name="connsiteX58" fmla="*/ 192935 w 526593"/>
                  <a:gd name="connsiteY58" fmla="*/ 94633 h 403224"/>
                  <a:gd name="connsiteX59" fmla="*/ 210167 w 526593"/>
                  <a:gd name="connsiteY59" fmla="*/ 76529 h 403224"/>
                  <a:gd name="connsiteX60" fmla="*/ 225759 w 526593"/>
                  <a:gd name="connsiteY60" fmla="*/ 68300 h 403224"/>
                  <a:gd name="connsiteX61" fmla="*/ 250376 w 526593"/>
                  <a:gd name="connsiteY61" fmla="*/ 54311 h 403224"/>
                  <a:gd name="connsiteX62" fmla="*/ 257762 w 526593"/>
                  <a:gd name="connsiteY62" fmla="*/ 45259 h 403224"/>
                  <a:gd name="connsiteX63" fmla="*/ 273353 w 526593"/>
                  <a:gd name="connsiteY63" fmla="*/ 18927 h 403224"/>
                  <a:gd name="connsiteX64" fmla="*/ 288124 w 526593"/>
                  <a:gd name="connsiteY64" fmla="*/ 823 h 403224"/>
                  <a:gd name="connsiteX65" fmla="*/ 288124 w 526593"/>
                  <a:gd name="connsiteY65" fmla="*/ 0 h 403224"/>
                  <a:gd name="connsiteX0" fmla="*/ 428445 w 526593"/>
                  <a:gd name="connsiteY0" fmla="*/ 65832 h 403224"/>
                  <a:gd name="connsiteX1" fmla="*/ 428748 w 526593"/>
                  <a:gd name="connsiteY1" fmla="*/ 66091 h 403224"/>
                  <a:gd name="connsiteX2" fmla="*/ 442417 w 526593"/>
                  <a:gd name="connsiteY2" fmla="*/ 61054 h 403224"/>
                  <a:gd name="connsiteX3" fmla="*/ 444340 w 526593"/>
                  <a:gd name="connsiteY3" fmla="*/ 60346 h 403224"/>
                  <a:gd name="connsiteX4" fmla="*/ 430394 w 526593"/>
                  <a:gd name="connsiteY4" fmla="*/ 65112 h 403224"/>
                  <a:gd name="connsiteX5" fmla="*/ 428445 w 526593"/>
                  <a:gd name="connsiteY5" fmla="*/ 65832 h 403224"/>
                  <a:gd name="connsiteX6" fmla="*/ 288124 w 526593"/>
                  <a:gd name="connsiteY6" fmla="*/ 0 h 403224"/>
                  <a:gd name="connsiteX7" fmla="*/ 514607 w 526593"/>
                  <a:gd name="connsiteY7" fmla="*/ 13989 h 403224"/>
                  <a:gd name="connsiteX8" fmla="*/ 516761 w 526593"/>
                  <a:gd name="connsiteY8" fmla="*/ 29110 h 403224"/>
                  <a:gd name="connsiteX9" fmla="*/ 517069 w 526593"/>
                  <a:gd name="connsiteY9" fmla="*/ 31270 h 403224"/>
                  <a:gd name="connsiteX10" fmla="*/ 514197 w 526593"/>
                  <a:gd name="connsiteY10" fmla="*/ 43511 h 403224"/>
                  <a:gd name="connsiteX11" fmla="*/ 513787 w 526593"/>
                  <a:gd name="connsiteY11" fmla="*/ 45259 h 403224"/>
                  <a:gd name="connsiteX12" fmla="*/ 513787 w 526593"/>
                  <a:gd name="connsiteY12" fmla="*/ 51019 h 403224"/>
                  <a:gd name="connsiteX13" fmla="*/ 513787 w 526593"/>
                  <a:gd name="connsiteY13" fmla="*/ 51842 h 403224"/>
                  <a:gd name="connsiteX14" fmla="*/ 479322 w 526593"/>
                  <a:gd name="connsiteY14" fmla="*/ 55134 h 403224"/>
                  <a:gd name="connsiteX15" fmla="*/ 452285 w 526593"/>
                  <a:gd name="connsiteY15" fmla="*/ 67458 h 403224"/>
                  <a:gd name="connsiteX16" fmla="*/ 479726 w 526593"/>
                  <a:gd name="connsiteY16" fmla="*/ 55401 h 403224"/>
                  <a:gd name="connsiteX17" fmla="*/ 510971 w 526593"/>
                  <a:gd name="connsiteY17" fmla="*/ 55401 h 403224"/>
                  <a:gd name="connsiteX18" fmla="*/ 514260 w 526593"/>
                  <a:gd name="connsiteY18" fmla="*/ 46356 h 403224"/>
                  <a:gd name="connsiteX19" fmla="*/ 514260 w 526593"/>
                  <a:gd name="connsiteY19" fmla="*/ 45534 h 403224"/>
                  <a:gd name="connsiteX20" fmla="*/ 517137 w 526593"/>
                  <a:gd name="connsiteY20" fmla="*/ 33302 h 403224"/>
                  <a:gd name="connsiteX21" fmla="*/ 517549 w 526593"/>
                  <a:gd name="connsiteY21" fmla="*/ 31555 h 403224"/>
                  <a:gd name="connsiteX22" fmla="*/ 515390 w 526593"/>
                  <a:gd name="connsiteY22" fmla="*/ 16446 h 403224"/>
                  <a:gd name="connsiteX23" fmla="*/ 515082 w 526593"/>
                  <a:gd name="connsiteY23" fmla="*/ 14287 h 403224"/>
                  <a:gd name="connsiteX24" fmla="*/ 526593 w 526593"/>
                  <a:gd name="connsiteY24" fmla="*/ 15109 h 403224"/>
                  <a:gd name="connsiteX25" fmla="*/ 523304 w 526593"/>
                  <a:gd name="connsiteY25" fmla="*/ 38133 h 403224"/>
                  <a:gd name="connsiteX26" fmla="*/ 510971 w 526593"/>
                  <a:gd name="connsiteY26" fmla="*/ 117894 h 403224"/>
                  <a:gd name="connsiteX27" fmla="*/ 325969 w 526593"/>
                  <a:gd name="connsiteY27" fmla="*/ 108027 h 403224"/>
                  <a:gd name="connsiteX28" fmla="*/ 301302 w 526593"/>
                  <a:gd name="connsiteY28" fmla="*/ 265904 h 403224"/>
                  <a:gd name="connsiteX29" fmla="*/ 270879 w 526593"/>
                  <a:gd name="connsiteY29" fmla="*/ 274127 h 403224"/>
                  <a:gd name="connsiteX30" fmla="*/ 234701 w 526593"/>
                  <a:gd name="connsiteY30" fmla="*/ 296328 h 403224"/>
                  <a:gd name="connsiteX31" fmla="*/ 231412 w 526593"/>
                  <a:gd name="connsiteY31" fmla="*/ 322641 h 403224"/>
                  <a:gd name="connsiteX32" fmla="*/ 225657 w 526593"/>
                  <a:gd name="connsiteY32" fmla="*/ 395001 h 403224"/>
                  <a:gd name="connsiteX33" fmla="*/ 24210 w 526593"/>
                  <a:gd name="connsiteY33" fmla="*/ 384312 h 403224"/>
                  <a:gd name="connsiteX34" fmla="*/ 5299 w 526593"/>
                  <a:gd name="connsiteY34" fmla="*/ 392535 h 403224"/>
                  <a:gd name="connsiteX35" fmla="*/ 365 w 526593"/>
                  <a:gd name="connsiteY35" fmla="*/ 403224 h 403224"/>
                  <a:gd name="connsiteX36" fmla="*/ 365 w 526593"/>
                  <a:gd name="connsiteY36" fmla="*/ 395824 h 403224"/>
                  <a:gd name="connsiteX37" fmla="*/ 6943 w 526593"/>
                  <a:gd name="connsiteY37" fmla="*/ 373622 h 403224"/>
                  <a:gd name="connsiteX38" fmla="*/ 63677 w 526593"/>
                  <a:gd name="connsiteY38" fmla="*/ 374444 h 403224"/>
                  <a:gd name="connsiteX39" fmla="*/ 118767 w 526593"/>
                  <a:gd name="connsiteY39" fmla="*/ 381023 h 403224"/>
                  <a:gd name="connsiteX40" fmla="*/ 139322 w 526593"/>
                  <a:gd name="connsiteY40" fmla="*/ 381023 h 403224"/>
                  <a:gd name="connsiteX41" fmla="*/ 139335 w 526593"/>
                  <a:gd name="connsiteY41" fmla="*/ 381000 h 403224"/>
                  <a:gd name="connsiteX42" fmla="*/ 119082 w 526593"/>
                  <a:gd name="connsiteY42" fmla="*/ 381000 h 403224"/>
                  <a:gd name="connsiteX43" fmla="*/ 64102 w 526593"/>
                  <a:gd name="connsiteY43" fmla="*/ 374417 h 403224"/>
                  <a:gd name="connsiteX44" fmla="*/ 7481 w 526593"/>
                  <a:gd name="connsiteY44" fmla="*/ 374417 h 403224"/>
                  <a:gd name="connsiteX45" fmla="*/ 12405 w 526593"/>
                  <a:gd name="connsiteY45" fmla="*/ 353845 h 403224"/>
                  <a:gd name="connsiteX46" fmla="*/ 27996 w 526593"/>
                  <a:gd name="connsiteY46" fmla="*/ 326689 h 403224"/>
                  <a:gd name="connsiteX47" fmla="*/ 41125 w 526593"/>
                  <a:gd name="connsiteY47" fmla="*/ 320106 h 403224"/>
                  <a:gd name="connsiteX48" fmla="*/ 53434 w 526593"/>
                  <a:gd name="connsiteY48" fmla="*/ 302002 h 403224"/>
                  <a:gd name="connsiteX49" fmla="*/ 68205 w 526593"/>
                  <a:gd name="connsiteY49" fmla="*/ 281430 h 403224"/>
                  <a:gd name="connsiteX50" fmla="*/ 69025 w 526593"/>
                  <a:gd name="connsiteY50" fmla="*/ 269909 h 403224"/>
                  <a:gd name="connsiteX51" fmla="*/ 97746 w 526593"/>
                  <a:gd name="connsiteY51" fmla="*/ 234525 h 403224"/>
                  <a:gd name="connsiteX52" fmla="*/ 106773 w 526593"/>
                  <a:gd name="connsiteY52" fmla="*/ 217244 h 403224"/>
                  <a:gd name="connsiteX53" fmla="*/ 144520 w 526593"/>
                  <a:gd name="connsiteY53" fmla="*/ 182683 h 403224"/>
                  <a:gd name="connsiteX54" fmla="*/ 160932 w 526593"/>
                  <a:gd name="connsiteY54" fmla="*/ 161287 h 403224"/>
                  <a:gd name="connsiteX55" fmla="*/ 167497 w 526593"/>
                  <a:gd name="connsiteY55" fmla="*/ 147298 h 403224"/>
                  <a:gd name="connsiteX56" fmla="*/ 177344 w 526593"/>
                  <a:gd name="connsiteY56" fmla="*/ 126726 h 403224"/>
                  <a:gd name="connsiteX57" fmla="*/ 192935 w 526593"/>
                  <a:gd name="connsiteY57" fmla="*/ 94633 h 403224"/>
                  <a:gd name="connsiteX58" fmla="*/ 210167 w 526593"/>
                  <a:gd name="connsiteY58" fmla="*/ 76529 h 403224"/>
                  <a:gd name="connsiteX59" fmla="*/ 225759 w 526593"/>
                  <a:gd name="connsiteY59" fmla="*/ 68300 h 403224"/>
                  <a:gd name="connsiteX60" fmla="*/ 250376 w 526593"/>
                  <a:gd name="connsiteY60" fmla="*/ 54311 h 403224"/>
                  <a:gd name="connsiteX61" fmla="*/ 257762 w 526593"/>
                  <a:gd name="connsiteY61" fmla="*/ 45259 h 403224"/>
                  <a:gd name="connsiteX62" fmla="*/ 273353 w 526593"/>
                  <a:gd name="connsiteY62" fmla="*/ 18927 h 403224"/>
                  <a:gd name="connsiteX63" fmla="*/ 288124 w 526593"/>
                  <a:gd name="connsiteY63" fmla="*/ 823 h 403224"/>
                  <a:gd name="connsiteX64" fmla="*/ 288124 w 526593"/>
                  <a:gd name="connsiteY64" fmla="*/ 0 h 403224"/>
                  <a:gd name="connsiteX0" fmla="*/ 430394 w 526593"/>
                  <a:gd name="connsiteY0" fmla="*/ 65112 h 403224"/>
                  <a:gd name="connsiteX1" fmla="*/ 428748 w 526593"/>
                  <a:gd name="connsiteY1" fmla="*/ 66091 h 403224"/>
                  <a:gd name="connsiteX2" fmla="*/ 442417 w 526593"/>
                  <a:gd name="connsiteY2" fmla="*/ 61054 h 403224"/>
                  <a:gd name="connsiteX3" fmla="*/ 444340 w 526593"/>
                  <a:gd name="connsiteY3" fmla="*/ 60346 h 403224"/>
                  <a:gd name="connsiteX4" fmla="*/ 430394 w 526593"/>
                  <a:gd name="connsiteY4" fmla="*/ 65112 h 403224"/>
                  <a:gd name="connsiteX5" fmla="*/ 288124 w 526593"/>
                  <a:gd name="connsiteY5" fmla="*/ 0 h 403224"/>
                  <a:gd name="connsiteX6" fmla="*/ 514607 w 526593"/>
                  <a:gd name="connsiteY6" fmla="*/ 13989 h 403224"/>
                  <a:gd name="connsiteX7" fmla="*/ 516761 w 526593"/>
                  <a:gd name="connsiteY7" fmla="*/ 29110 h 403224"/>
                  <a:gd name="connsiteX8" fmla="*/ 517069 w 526593"/>
                  <a:gd name="connsiteY8" fmla="*/ 31270 h 403224"/>
                  <a:gd name="connsiteX9" fmla="*/ 514197 w 526593"/>
                  <a:gd name="connsiteY9" fmla="*/ 43511 h 403224"/>
                  <a:gd name="connsiteX10" fmla="*/ 513787 w 526593"/>
                  <a:gd name="connsiteY10" fmla="*/ 45259 h 403224"/>
                  <a:gd name="connsiteX11" fmla="*/ 513787 w 526593"/>
                  <a:gd name="connsiteY11" fmla="*/ 51019 h 403224"/>
                  <a:gd name="connsiteX12" fmla="*/ 513787 w 526593"/>
                  <a:gd name="connsiteY12" fmla="*/ 51842 h 403224"/>
                  <a:gd name="connsiteX13" fmla="*/ 479322 w 526593"/>
                  <a:gd name="connsiteY13" fmla="*/ 55134 h 403224"/>
                  <a:gd name="connsiteX14" fmla="*/ 452285 w 526593"/>
                  <a:gd name="connsiteY14" fmla="*/ 67458 h 403224"/>
                  <a:gd name="connsiteX15" fmla="*/ 479726 w 526593"/>
                  <a:gd name="connsiteY15" fmla="*/ 55401 h 403224"/>
                  <a:gd name="connsiteX16" fmla="*/ 510971 w 526593"/>
                  <a:gd name="connsiteY16" fmla="*/ 55401 h 403224"/>
                  <a:gd name="connsiteX17" fmla="*/ 514260 w 526593"/>
                  <a:gd name="connsiteY17" fmla="*/ 46356 h 403224"/>
                  <a:gd name="connsiteX18" fmla="*/ 514260 w 526593"/>
                  <a:gd name="connsiteY18" fmla="*/ 45534 h 403224"/>
                  <a:gd name="connsiteX19" fmla="*/ 517137 w 526593"/>
                  <a:gd name="connsiteY19" fmla="*/ 33302 h 403224"/>
                  <a:gd name="connsiteX20" fmla="*/ 517549 w 526593"/>
                  <a:gd name="connsiteY20" fmla="*/ 31555 h 403224"/>
                  <a:gd name="connsiteX21" fmla="*/ 515390 w 526593"/>
                  <a:gd name="connsiteY21" fmla="*/ 16446 h 403224"/>
                  <a:gd name="connsiteX22" fmla="*/ 515082 w 526593"/>
                  <a:gd name="connsiteY22" fmla="*/ 14287 h 403224"/>
                  <a:gd name="connsiteX23" fmla="*/ 526593 w 526593"/>
                  <a:gd name="connsiteY23" fmla="*/ 15109 h 403224"/>
                  <a:gd name="connsiteX24" fmla="*/ 523304 w 526593"/>
                  <a:gd name="connsiteY24" fmla="*/ 38133 h 403224"/>
                  <a:gd name="connsiteX25" fmla="*/ 510971 w 526593"/>
                  <a:gd name="connsiteY25" fmla="*/ 117894 h 403224"/>
                  <a:gd name="connsiteX26" fmla="*/ 325969 w 526593"/>
                  <a:gd name="connsiteY26" fmla="*/ 108027 h 403224"/>
                  <a:gd name="connsiteX27" fmla="*/ 301302 w 526593"/>
                  <a:gd name="connsiteY27" fmla="*/ 265904 h 403224"/>
                  <a:gd name="connsiteX28" fmla="*/ 270879 w 526593"/>
                  <a:gd name="connsiteY28" fmla="*/ 274127 h 403224"/>
                  <a:gd name="connsiteX29" fmla="*/ 234701 w 526593"/>
                  <a:gd name="connsiteY29" fmla="*/ 296328 h 403224"/>
                  <a:gd name="connsiteX30" fmla="*/ 231412 w 526593"/>
                  <a:gd name="connsiteY30" fmla="*/ 322641 h 403224"/>
                  <a:gd name="connsiteX31" fmla="*/ 225657 w 526593"/>
                  <a:gd name="connsiteY31" fmla="*/ 395001 h 403224"/>
                  <a:gd name="connsiteX32" fmla="*/ 24210 w 526593"/>
                  <a:gd name="connsiteY32" fmla="*/ 384312 h 403224"/>
                  <a:gd name="connsiteX33" fmla="*/ 5299 w 526593"/>
                  <a:gd name="connsiteY33" fmla="*/ 392535 h 403224"/>
                  <a:gd name="connsiteX34" fmla="*/ 365 w 526593"/>
                  <a:gd name="connsiteY34" fmla="*/ 403224 h 403224"/>
                  <a:gd name="connsiteX35" fmla="*/ 365 w 526593"/>
                  <a:gd name="connsiteY35" fmla="*/ 395824 h 403224"/>
                  <a:gd name="connsiteX36" fmla="*/ 6943 w 526593"/>
                  <a:gd name="connsiteY36" fmla="*/ 373622 h 403224"/>
                  <a:gd name="connsiteX37" fmla="*/ 63677 w 526593"/>
                  <a:gd name="connsiteY37" fmla="*/ 374444 h 403224"/>
                  <a:gd name="connsiteX38" fmla="*/ 118767 w 526593"/>
                  <a:gd name="connsiteY38" fmla="*/ 381023 h 403224"/>
                  <a:gd name="connsiteX39" fmla="*/ 139322 w 526593"/>
                  <a:gd name="connsiteY39" fmla="*/ 381023 h 403224"/>
                  <a:gd name="connsiteX40" fmla="*/ 139335 w 526593"/>
                  <a:gd name="connsiteY40" fmla="*/ 381000 h 403224"/>
                  <a:gd name="connsiteX41" fmla="*/ 119082 w 526593"/>
                  <a:gd name="connsiteY41" fmla="*/ 381000 h 403224"/>
                  <a:gd name="connsiteX42" fmla="*/ 64102 w 526593"/>
                  <a:gd name="connsiteY42" fmla="*/ 374417 h 403224"/>
                  <a:gd name="connsiteX43" fmla="*/ 7481 w 526593"/>
                  <a:gd name="connsiteY43" fmla="*/ 374417 h 403224"/>
                  <a:gd name="connsiteX44" fmla="*/ 12405 w 526593"/>
                  <a:gd name="connsiteY44" fmla="*/ 353845 h 403224"/>
                  <a:gd name="connsiteX45" fmla="*/ 27996 w 526593"/>
                  <a:gd name="connsiteY45" fmla="*/ 326689 h 403224"/>
                  <a:gd name="connsiteX46" fmla="*/ 41125 w 526593"/>
                  <a:gd name="connsiteY46" fmla="*/ 320106 h 403224"/>
                  <a:gd name="connsiteX47" fmla="*/ 53434 w 526593"/>
                  <a:gd name="connsiteY47" fmla="*/ 302002 h 403224"/>
                  <a:gd name="connsiteX48" fmla="*/ 68205 w 526593"/>
                  <a:gd name="connsiteY48" fmla="*/ 281430 h 403224"/>
                  <a:gd name="connsiteX49" fmla="*/ 69025 w 526593"/>
                  <a:gd name="connsiteY49" fmla="*/ 269909 h 403224"/>
                  <a:gd name="connsiteX50" fmla="*/ 97746 w 526593"/>
                  <a:gd name="connsiteY50" fmla="*/ 234525 h 403224"/>
                  <a:gd name="connsiteX51" fmla="*/ 106773 w 526593"/>
                  <a:gd name="connsiteY51" fmla="*/ 217244 h 403224"/>
                  <a:gd name="connsiteX52" fmla="*/ 144520 w 526593"/>
                  <a:gd name="connsiteY52" fmla="*/ 182683 h 403224"/>
                  <a:gd name="connsiteX53" fmla="*/ 160932 w 526593"/>
                  <a:gd name="connsiteY53" fmla="*/ 161287 h 403224"/>
                  <a:gd name="connsiteX54" fmla="*/ 167497 w 526593"/>
                  <a:gd name="connsiteY54" fmla="*/ 147298 h 403224"/>
                  <a:gd name="connsiteX55" fmla="*/ 177344 w 526593"/>
                  <a:gd name="connsiteY55" fmla="*/ 126726 h 403224"/>
                  <a:gd name="connsiteX56" fmla="*/ 192935 w 526593"/>
                  <a:gd name="connsiteY56" fmla="*/ 94633 h 403224"/>
                  <a:gd name="connsiteX57" fmla="*/ 210167 w 526593"/>
                  <a:gd name="connsiteY57" fmla="*/ 76529 h 403224"/>
                  <a:gd name="connsiteX58" fmla="*/ 225759 w 526593"/>
                  <a:gd name="connsiteY58" fmla="*/ 68300 h 403224"/>
                  <a:gd name="connsiteX59" fmla="*/ 250376 w 526593"/>
                  <a:gd name="connsiteY59" fmla="*/ 54311 h 403224"/>
                  <a:gd name="connsiteX60" fmla="*/ 257762 w 526593"/>
                  <a:gd name="connsiteY60" fmla="*/ 45259 h 403224"/>
                  <a:gd name="connsiteX61" fmla="*/ 273353 w 526593"/>
                  <a:gd name="connsiteY61" fmla="*/ 18927 h 403224"/>
                  <a:gd name="connsiteX62" fmla="*/ 288124 w 526593"/>
                  <a:gd name="connsiteY62" fmla="*/ 823 h 403224"/>
                  <a:gd name="connsiteX63" fmla="*/ 288124 w 526593"/>
                  <a:gd name="connsiteY63" fmla="*/ 0 h 403224"/>
                  <a:gd name="connsiteX0" fmla="*/ 444340 w 526593"/>
                  <a:gd name="connsiteY0" fmla="*/ 60346 h 403224"/>
                  <a:gd name="connsiteX1" fmla="*/ 428748 w 526593"/>
                  <a:gd name="connsiteY1" fmla="*/ 66091 h 403224"/>
                  <a:gd name="connsiteX2" fmla="*/ 442417 w 526593"/>
                  <a:gd name="connsiteY2" fmla="*/ 61054 h 403224"/>
                  <a:gd name="connsiteX3" fmla="*/ 444340 w 526593"/>
                  <a:gd name="connsiteY3" fmla="*/ 60346 h 403224"/>
                  <a:gd name="connsiteX4" fmla="*/ 288124 w 526593"/>
                  <a:gd name="connsiteY4" fmla="*/ 0 h 403224"/>
                  <a:gd name="connsiteX5" fmla="*/ 514607 w 526593"/>
                  <a:gd name="connsiteY5" fmla="*/ 13989 h 403224"/>
                  <a:gd name="connsiteX6" fmla="*/ 516761 w 526593"/>
                  <a:gd name="connsiteY6" fmla="*/ 29110 h 403224"/>
                  <a:gd name="connsiteX7" fmla="*/ 517069 w 526593"/>
                  <a:gd name="connsiteY7" fmla="*/ 31270 h 403224"/>
                  <a:gd name="connsiteX8" fmla="*/ 514197 w 526593"/>
                  <a:gd name="connsiteY8" fmla="*/ 43511 h 403224"/>
                  <a:gd name="connsiteX9" fmla="*/ 513787 w 526593"/>
                  <a:gd name="connsiteY9" fmla="*/ 45259 h 403224"/>
                  <a:gd name="connsiteX10" fmla="*/ 513787 w 526593"/>
                  <a:gd name="connsiteY10" fmla="*/ 51019 h 403224"/>
                  <a:gd name="connsiteX11" fmla="*/ 513787 w 526593"/>
                  <a:gd name="connsiteY11" fmla="*/ 51842 h 403224"/>
                  <a:gd name="connsiteX12" fmla="*/ 479322 w 526593"/>
                  <a:gd name="connsiteY12" fmla="*/ 55134 h 403224"/>
                  <a:gd name="connsiteX13" fmla="*/ 452285 w 526593"/>
                  <a:gd name="connsiteY13" fmla="*/ 67458 h 403224"/>
                  <a:gd name="connsiteX14" fmla="*/ 479726 w 526593"/>
                  <a:gd name="connsiteY14" fmla="*/ 55401 h 403224"/>
                  <a:gd name="connsiteX15" fmla="*/ 510971 w 526593"/>
                  <a:gd name="connsiteY15" fmla="*/ 55401 h 403224"/>
                  <a:gd name="connsiteX16" fmla="*/ 514260 w 526593"/>
                  <a:gd name="connsiteY16" fmla="*/ 46356 h 403224"/>
                  <a:gd name="connsiteX17" fmla="*/ 514260 w 526593"/>
                  <a:gd name="connsiteY17" fmla="*/ 45534 h 403224"/>
                  <a:gd name="connsiteX18" fmla="*/ 517137 w 526593"/>
                  <a:gd name="connsiteY18" fmla="*/ 33302 h 403224"/>
                  <a:gd name="connsiteX19" fmla="*/ 517549 w 526593"/>
                  <a:gd name="connsiteY19" fmla="*/ 31555 h 403224"/>
                  <a:gd name="connsiteX20" fmla="*/ 515390 w 526593"/>
                  <a:gd name="connsiteY20" fmla="*/ 16446 h 403224"/>
                  <a:gd name="connsiteX21" fmla="*/ 515082 w 526593"/>
                  <a:gd name="connsiteY21" fmla="*/ 14287 h 403224"/>
                  <a:gd name="connsiteX22" fmla="*/ 526593 w 526593"/>
                  <a:gd name="connsiteY22" fmla="*/ 15109 h 403224"/>
                  <a:gd name="connsiteX23" fmla="*/ 523304 w 526593"/>
                  <a:gd name="connsiteY23" fmla="*/ 38133 h 403224"/>
                  <a:gd name="connsiteX24" fmla="*/ 510971 w 526593"/>
                  <a:gd name="connsiteY24" fmla="*/ 117894 h 403224"/>
                  <a:gd name="connsiteX25" fmla="*/ 325969 w 526593"/>
                  <a:gd name="connsiteY25" fmla="*/ 108027 h 403224"/>
                  <a:gd name="connsiteX26" fmla="*/ 301302 w 526593"/>
                  <a:gd name="connsiteY26" fmla="*/ 265904 h 403224"/>
                  <a:gd name="connsiteX27" fmla="*/ 270879 w 526593"/>
                  <a:gd name="connsiteY27" fmla="*/ 274127 h 403224"/>
                  <a:gd name="connsiteX28" fmla="*/ 234701 w 526593"/>
                  <a:gd name="connsiteY28" fmla="*/ 296328 h 403224"/>
                  <a:gd name="connsiteX29" fmla="*/ 231412 w 526593"/>
                  <a:gd name="connsiteY29" fmla="*/ 322641 h 403224"/>
                  <a:gd name="connsiteX30" fmla="*/ 225657 w 526593"/>
                  <a:gd name="connsiteY30" fmla="*/ 395001 h 403224"/>
                  <a:gd name="connsiteX31" fmla="*/ 24210 w 526593"/>
                  <a:gd name="connsiteY31" fmla="*/ 384312 h 403224"/>
                  <a:gd name="connsiteX32" fmla="*/ 5299 w 526593"/>
                  <a:gd name="connsiteY32" fmla="*/ 392535 h 403224"/>
                  <a:gd name="connsiteX33" fmla="*/ 365 w 526593"/>
                  <a:gd name="connsiteY33" fmla="*/ 403224 h 403224"/>
                  <a:gd name="connsiteX34" fmla="*/ 365 w 526593"/>
                  <a:gd name="connsiteY34" fmla="*/ 395824 h 403224"/>
                  <a:gd name="connsiteX35" fmla="*/ 6943 w 526593"/>
                  <a:gd name="connsiteY35" fmla="*/ 373622 h 403224"/>
                  <a:gd name="connsiteX36" fmla="*/ 63677 w 526593"/>
                  <a:gd name="connsiteY36" fmla="*/ 374444 h 403224"/>
                  <a:gd name="connsiteX37" fmla="*/ 118767 w 526593"/>
                  <a:gd name="connsiteY37" fmla="*/ 381023 h 403224"/>
                  <a:gd name="connsiteX38" fmla="*/ 139322 w 526593"/>
                  <a:gd name="connsiteY38" fmla="*/ 381023 h 403224"/>
                  <a:gd name="connsiteX39" fmla="*/ 139335 w 526593"/>
                  <a:gd name="connsiteY39" fmla="*/ 381000 h 403224"/>
                  <a:gd name="connsiteX40" fmla="*/ 119082 w 526593"/>
                  <a:gd name="connsiteY40" fmla="*/ 381000 h 403224"/>
                  <a:gd name="connsiteX41" fmla="*/ 64102 w 526593"/>
                  <a:gd name="connsiteY41" fmla="*/ 374417 h 403224"/>
                  <a:gd name="connsiteX42" fmla="*/ 7481 w 526593"/>
                  <a:gd name="connsiteY42" fmla="*/ 374417 h 403224"/>
                  <a:gd name="connsiteX43" fmla="*/ 12405 w 526593"/>
                  <a:gd name="connsiteY43" fmla="*/ 353845 h 403224"/>
                  <a:gd name="connsiteX44" fmla="*/ 27996 w 526593"/>
                  <a:gd name="connsiteY44" fmla="*/ 326689 h 403224"/>
                  <a:gd name="connsiteX45" fmla="*/ 41125 w 526593"/>
                  <a:gd name="connsiteY45" fmla="*/ 320106 h 403224"/>
                  <a:gd name="connsiteX46" fmla="*/ 53434 w 526593"/>
                  <a:gd name="connsiteY46" fmla="*/ 302002 h 403224"/>
                  <a:gd name="connsiteX47" fmla="*/ 68205 w 526593"/>
                  <a:gd name="connsiteY47" fmla="*/ 281430 h 403224"/>
                  <a:gd name="connsiteX48" fmla="*/ 69025 w 526593"/>
                  <a:gd name="connsiteY48" fmla="*/ 269909 h 403224"/>
                  <a:gd name="connsiteX49" fmla="*/ 97746 w 526593"/>
                  <a:gd name="connsiteY49" fmla="*/ 234525 h 403224"/>
                  <a:gd name="connsiteX50" fmla="*/ 106773 w 526593"/>
                  <a:gd name="connsiteY50" fmla="*/ 217244 h 403224"/>
                  <a:gd name="connsiteX51" fmla="*/ 144520 w 526593"/>
                  <a:gd name="connsiteY51" fmla="*/ 182683 h 403224"/>
                  <a:gd name="connsiteX52" fmla="*/ 160932 w 526593"/>
                  <a:gd name="connsiteY52" fmla="*/ 161287 h 403224"/>
                  <a:gd name="connsiteX53" fmla="*/ 167497 w 526593"/>
                  <a:gd name="connsiteY53" fmla="*/ 147298 h 403224"/>
                  <a:gd name="connsiteX54" fmla="*/ 177344 w 526593"/>
                  <a:gd name="connsiteY54" fmla="*/ 126726 h 403224"/>
                  <a:gd name="connsiteX55" fmla="*/ 192935 w 526593"/>
                  <a:gd name="connsiteY55" fmla="*/ 94633 h 403224"/>
                  <a:gd name="connsiteX56" fmla="*/ 210167 w 526593"/>
                  <a:gd name="connsiteY56" fmla="*/ 76529 h 403224"/>
                  <a:gd name="connsiteX57" fmla="*/ 225759 w 526593"/>
                  <a:gd name="connsiteY57" fmla="*/ 68300 h 403224"/>
                  <a:gd name="connsiteX58" fmla="*/ 250376 w 526593"/>
                  <a:gd name="connsiteY58" fmla="*/ 54311 h 403224"/>
                  <a:gd name="connsiteX59" fmla="*/ 257762 w 526593"/>
                  <a:gd name="connsiteY59" fmla="*/ 45259 h 403224"/>
                  <a:gd name="connsiteX60" fmla="*/ 273353 w 526593"/>
                  <a:gd name="connsiteY60" fmla="*/ 18927 h 403224"/>
                  <a:gd name="connsiteX61" fmla="*/ 288124 w 526593"/>
                  <a:gd name="connsiteY61" fmla="*/ 823 h 403224"/>
                  <a:gd name="connsiteX62" fmla="*/ 288124 w 526593"/>
                  <a:gd name="connsiteY62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52285 w 526593"/>
                  <a:gd name="connsiteY12" fmla="*/ 67458 h 403224"/>
                  <a:gd name="connsiteX13" fmla="*/ 479726 w 526593"/>
                  <a:gd name="connsiteY13" fmla="*/ 55401 h 403224"/>
                  <a:gd name="connsiteX14" fmla="*/ 510971 w 526593"/>
                  <a:gd name="connsiteY14" fmla="*/ 55401 h 403224"/>
                  <a:gd name="connsiteX15" fmla="*/ 514260 w 526593"/>
                  <a:gd name="connsiteY15" fmla="*/ 46356 h 403224"/>
                  <a:gd name="connsiteX16" fmla="*/ 514260 w 526593"/>
                  <a:gd name="connsiteY16" fmla="*/ 45534 h 403224"/>
                  <a:gd name="connsiteX17" fmla="*/ 517137 w 526593"/>
                  <a:gd name="connsiteY17" fmla="*/ 33302 h 403224"/>
                  <a:gd name="connsiteX18" fmla="*/ 517549 w 526593"/>
                  <a:gd name="connsiteY18" fmla="*/ 31555 h 403224"/>
                  <a:gd name="connsiteX19" fmla="*/ 515390 w 526593"/>
                  <a:gd name="connsiteY19" fmla="*/ 16446 h 403224"/>
                  <a:gd name="connsiteX20" fmla="*/ 515082 w 526593"/>
                  <a:gd name="connsiteY20" fmla="*/ 14287 h 403224"/>
                  <a:gd name="connsiteX21" fmla="*/ 526593 w 526593"/>
                  <a:gd name="connsiteY21" fmla="*/ 15109 h 403224"/>
                  <a:gd name="connsiteX22" fmla="*/ 523304 w 526593"/>
                  <a:gd name="connsiteY22" fmla="*/ 38133 h 403224"/>
                  <a:gd name="connsiteX23" fmla="*/ 510971 w 526593"/>
                  <a:gd name="connsiteY23" fmla="*/ 117894 h 403224"/>
                  <a:gd name="connsiteX24" fmla="*/ 325969 w 526593"/>
                  <a:gd name="connsiteY24" fmla="*/ 108027 h 403224"/>
                  <a:gd name="connsiteX25" fmla="*/ 301302 w 526593"/>
                  <a:gd name="connsiteY25" fmla="*/ 265904 h 403224"/>
                  <a:gd name="connsiteX26" fmla="*/ 270879 w 526593"/>
                  <a:gd name="connsiteY26" fmla="*/ 274127 h 403224"/>
                  <a:gd name="connsiteX27" fmla="*/ 234701 w 526593"/>
                  <a:gd name="connsiteY27" fmla="*/ 296328 h 403224"/>
                  <a:gd name="connsiteX28" fmla="*/ 231412 w 526593"/>
                  <a:gd name="connsiteY28" fmla="*/ 322641 h 403224"/>
                  <a:gd name="connsiteX29" fmla="*/ 225657 w 526593"/>
                  <a:gd name="connsiteY29" fmla="*/ 395001 h 403224"/>
                  <a:gd name="connsiteX30" fmla="*/ 24210 w 526593"/>
                  <a:gd name="connsiteY30" fmla="*/ 384312 h 403224"/>
                  <a:gd name="connsiteX31" fmla="*/ 5299 w 526593"/>
                  <a:gd name="connsiteY31" fmla="*/ 392535 h 403224"/>
                  <a:gd name="connsiteX32" fmla="*/ 365 w 526593"/>
                  <a:gd name="connsiteY32" fmla="*/ 403224 h 403224"/>
                  <a:gd name="connsiteX33" fmla="*/ 365 w 526593"/>
                  <a:gd name="connsiteY33" fmla="*/ 395824 h 403224"/>
                  <a:gd name="connsiteX34" fmla="*/ 6943 w 526593"/>
                  <a:gd name="connsiteY34" fmla="*/ 373622 h 403224"/>
                  <a:gd name="connsiteX35" fmla="*/ 63677 w 526593"/>
                  <a:gd name="connsiteY35" fmla="*/ 374444 h 403224"/>
                  <a:gd name="connsiteX36" fmla="*/ 118767 w 526593"/>
                  <a:gd name="connsiteY36" fmla="*/ 381023 h 403224"/>
                  <a:gd name="connsiteX37" fmla="*/ 139322 w 526593"/>
                  <a:gd name="connsiteY37" fmla="*/ 381023 h 403224"/>
                  <a:gd name="connsiteX38" fmla="*/ 139335 w 526593"/>
                  <a:gd name="connsiteY38" fmla="*/ 381000 h 403224"/>
                  <a:gd name="connsiteX39" fmla="*/ 119082 w 526593"/>
                  <a:gd name="connsiteY39" fmla="*/ 381000 h 403224"/>
                  <a:gd name="connsiteX40" fmla="*/ 64102 w 526593"/>
                  <a:gd name="connsiteY40" fmla="*/ 374417 h 403224"/>
                  <a:gd name="connsiteX41" fmla="*/ 7481 w 526593"/>
                  <a:gd name="connsiteY41" fmla="*/ 374417 h 403224"/>
                  <a:gd name="connsiteX42" fmla="*/ 12405 w 526593"/>
                  <a:gd name="connsiteY42" fmla="*/ 353845 h 403224"/>
                  <a:gd name="connsiteX43" fmla="*/ 27996 w 526593"/>
                  <a:gd name="connsiteY43" fmla="*/ 326689 h 403224"/>
                  <a:gd name="connsiteX44" fmla="*/ 41125 w 526593"/>
                  <a:gd name="connsiteY44" fmla="*/ 320106 h 403224"/>
                  <a:gd name="connsiteX45" fmla="*/ 53434 w 526593"/>
                  <a:gd name="connsiteY45" fmla="*/ 302002 h 403224"/>
                  <a:gd name="connsiteX46" fmla="*/ 68205 w 526593"/>
                  <a:gd name="connsiteY46" fmla="*/ 281430 h 403224"/>
                  <a:gd name="connsiteX47" fmla="*/ 69025 w 526593"/>
                  <a:gd name="connsiteY47" fmla="*/ 269909 h 403224"/>
                  <a:gd name="connsiteX48" fmla="*/ 97746 w 526593"/>
                  <a:gd name="connsiteY48" fmla="*/ 234525 h 403224"/>
                  <a:gd name="connsiteX49" fmla="*/ 106773 w 526593"/>
                  <a:gd name="connsiteY49" fmla="*/ 217244 h 403224"/>
                  <a:gd name="connsiteX50" fmla="*/ 144520 w 526593"/>
                  <a:gd name="connsiteY50" fmla="*/ 182683 h 403224"/>
                  <a:gd name="connsiteX51" fmla="*/ 160932 w 526593"/>
                  <a:gd name="connsiteY51" fmla="*/ 161287 h 403224"/>
                  <a:gd name="connsiteX52" fmla="*/ 167497 w 526593"/>
                  <a:gd name="connsiteY52" fmla="*/ 147298 h 403224"/>
                  <a:gd name="connsiteX53" fmla="*/ 177344 w 526593"/>
                  <a:gd name="connsiteY53" fmla="*/ 126726 h 403224"/>
                  <a:gd name="connsiteX54" fmla="*/ 192935 w 526593"/>
                  <a:gd name="connsiteY54" fmla="*/ 94633 h 403224"/>
                  <a:gd name="connsiteX55" fmla="*/ 210167 w 526593"/>
                  <a:gd name="connsiteY55" fmla="*/ 76529 h 403224"/>
                  <a:gd name="connsiteX56" fmla="*/ 225759 w 526593"/>
                  <a:gd name="connsiteY56" fmla="*/ 68300 h 403224"/>
                  <a:gd name="connsiteX57" fmla="*/ 250376 w 526593"/>
                  <a:gd name="connsiteY57" fmla="*/ 54311 h 403224"/>
                  <a:gd name="connsiteX58" fmla="*/ 257762 w 526593"/>
                  <a:gd name="connsiteY58" fmla="*/ 45259 h 403224"/>
                  <a:gd name="connsiteX59" fmla="*/ 273353 w 526593"/>
                  <a:gd name="connsiteY59" fmla="*/ 18927 h 403224"/>
                  <a:gd name="connsiteX60" fmla="*/ 288124 w 526593"/>
                  <a:gd name="connsiteY60" fmla="*/ 823 h 403224"/>
                  <a:gd name="connsiteX61" fmla="*/ 288124 w 526593"/>
                  <a:gd name="connsiteY61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52285 w 526593"/>
                  <a:gd name="connsiteY12" fmla="*/ 67458 h 403224"/>
                  <a:gd name="connsiteX13" fmla="*/ 479726 w 526593"/>
                  <a:gd name="connsiteY13" fmla="*/ 55401 h 403224"/>
                  <a:gd name="connsiteX14" fmla="*/ 510971 w 526593"/>
                  <a:gd name="connsiteY14" fmla="*/ 55401 h 403224"/>
                  <a:gd name="connsiteX15" fmla="*/ 514260 w 526593"/>
                  <a:gd name="connsiteY15" fmla="*/ 46356 h 403224"/>
                  <a:gd name="connsiteX16" fmla="*/ 514260 w 526593"/>
                  <a:gd name="connsiteY16" fmla="*/ 45534 h 403224"/>
                  <a:gd name="connsiteX17" fmla="*/ 517137 w 526593"/>
                  <a:gd name="connsiteY17" fmla="*/ 33302 h 403224"/>
                  <a:gd name="connsiteX18" fmla="*/ 517549 w 526593"/>
                  <a:gd name="connsiteY18" fmla="*/ 31555 h 403224"/>
                  <a:gd name="connsiteX19" fmla="*/ 515390 w 526593"/>
                  <a:gd name="connsiteY19" fmla="*/ 16446 h 403224"/>
                  <a:gd name="connsiteX20" fmla="*/ 515082 w 526593"/>
                  <a:gd name="connsiteY20" fmla="*/ 14287 h 403224"/>
                  <a:gd name="connsiteX21" fmla="*/ 526593 w 526593"/>
                  <a:gd name="connsiteY21" fmla="*/ 15109 h 403224"/>
                  <a:gd name="connsiteX22" fmla="*/ 523304 w 526593"/>
                  <a:gd name="connsiteY22" fmla="*/ 38133 h 403224"/>
                  <a:gd name="connsiteX23" fmla="*/ 510971 w 526593"/>
                  <a:gd name="connsiteY23" fmla="*/ 117894 h 403224"/>
                  <a:gd name="connsiteX24" fmla="*/ 325969 w 526593"/>
                  <a:gd name="connsiteY24" fmla="*/ 108027 h 403224"/>
                  <a:gd name="connsiteX25" fmla="*/ 301302 w 526593"/>
                  <a:gd name="connsiteY25" fmla="*/ 265904 h 403224"/>
                  <a:gd name="connsiteX26" fmla="*/ 270879 w 526593"/>
                  <a:gd name="connsiteY26" fmla="*/ 274127 h 403224"/>
                  <a:gd name="connsiteX27" fmla="*/ 234701 w 526593"/>
                  <a:gd name="connsiteY27" fmla="*/ 296328 h 403224"/>
                  <a:gd name="connsiteX28" fmla="*/ 231412 w 526593"/>
                  <a:gd name="connsiteY28" fmla="*/ 322641 h 403224"/>
                  <a:gd name="connsiteX29" fmla="*/ 225657 w 526593"/>
                  <a:gd name="connsiteY29" fmla="*/ 395001 h 403224"/>
                  <a:gd name="connsiteX30" fmla="*/ 24210 w 526593"/>
                  <a:gd name="connsiteY30" fmla="*/ 384312 h 403224"/>
                  <a:gd name="connsiteX31" fmla="*/ 5299 w 526593"/>
                  <a:gd name="connsiteY31" fmla="*/ 392535 h 403224"/>
                  <a:gd name="connsiteX32" fmla="*/ 365 w 526593"/>
                  <a:gd name="connsiteY32" fmla="*/ 403224 h 403224"/>
                  <a:gd name="connsiteX33" fmla="*/ 365 w 526593"/>
                  <a:gd name="connsiteY33" fmla="*/ 395824 h 403224"/>
                  <a:gd name="connsiteX34" fmla="*/ 6943 w 526593"/>
                  <a:gd name="connsiteY34" fmla="*/ 373622 h 403224"/>
                  <a:gd name="connsiteX35" fmla="*/ 63677 w 526593"/>
                  <a:gd name="connsiteY35" fmla="*/ 374444 h 403224"/>
                  <a:gd name="connsiteX36" fmla="*/ 118767 w 526593"/>
                  <a:gd name="connsiteY36" fmla="*/ 381023 h 403224"/>
                  <a:gd name="connsiteX37" fmla="*/ 139322 w 526593"/>
                  <a:gd name="connsiteY37" fmla="*/ 381023 h 403224"/>
                  <a:gd name="connsiteX38" fmla="*/ 160766 w 526593"/>
                  <a:gd name="connsiteY38" fmla="*/ 311943 h 403224"/>
                  <a:gd name="connsiteX39" fmla="*/ 119082 w 526593"/>
                  <a:gd name="connsiteY39" fmla="*/ 381000 h 403224"/>
                  <a:gd name="connsiteX40" fmla="*/ 64102 w 526593"/>
                  <a:gd name="connsiteY40" fmla="*/ 374417 h 403224"/>
                  <a:gd name="connsiteX41" fmla="*/ 7481 w 526593"/>
                  <a:gd name="connsiteY41" fmla="*/ 374417 h 403224"/>
                  <a:gd name="connsiteX42" fmla="*/ 12405 w 526593"/>
                  <a:gd name="connsiteY42" fmla="*/ 353845 h 403224"/>
                  <a:gd name="connsiteX43" fmla="*/ 27996 w 526593"/>
                  <a:gd name="connsiteY43" fmla="*/ 326689 h 403224"/>
                  <a:gd name="connsiteX44" fmla="*/ 41125 w 526593"/>
                  <a:gd name="connsiteY44" fmla="*/ 320106 h 403224"/>
                  <a:gd name="connsiteX45" fmla="*/ 53434 w 526593"/>
                  <a:gd name="connsiteY45" fmla="*/ 302002 h 403224"/>
                  <a:gd name="connsiteX46" fmla="*/ 68205 w 526593"/>
                  <a:gd name="connsiteY46" fmla="*/ 281430 h 403224"/>
                  <a:gd name="connsiteX47" fmla="*/ 69025 w 526593"/>
                  <a:gd name="connsiteY47" fmla="*/ 269909 h 403224"/>
                  <a:gd name="connsiteX48" fmla="*/ 97746 w 526593"/>
                  <a:gd name="connsiteY48" fmla="*/ 234525 h 403224"/>
                  <a:gd name="connsiteX49" fmla="*/ 106773 w 526593"/>
                  <a:gd name="connsiteY49" fmla="*/ 217244 h 403224"/>
                  <a:gd name="connsiteX50" fmla="*/ 144520 w 526593"/>
                  <a:gd name="connsiteY50" fmla="*/ 182683 h 403224"/>
                  <a:gd name="connsiteX51" fmla="*/ 160932 w 526593"/>
                  <a:gd name="connsiteY51" fmla="*/ 161287 h 403224"/>
                  <a:gd name="connsiteX52" fmla="*/ 167497 w 526593"/>
                  <a:gd name="connsiteY52" fmla="*/ 147298 h 403224"/>
                  <a:gd name="connsiteX53" fmla="*/ 177344 w 526593"/>
                  <a:gd name="connsiteY53" fmla="*/ 126726 h 403224"/>
                  <a:gd name="connsiteX54" fmla="*/ 192935 w 526593"/>
                  <a:gd name="connsiteY54" fmla="*/ 94633 h 403224"/>
                  <a:gd name="connsiteX55" fmla="*/ 210167 w 526593"/>
                  <a:gd name="connsiteY55" fmla="*/ 76529 h 403224"/>
                  <a:gd name="connsiteX56" fmla="*/ 225759 w 526593"/>
                  <a:gd name="connsiteY56" fmla="*/ 68300 h 403224"/>
                  <a:gd name="connsiteX57" fmla="*/ 250376 w 526593"/>
                  <a:gd name="connsiteY57" fmla="*/ 54311 h 403224"/>
                  <a:gd name="connsiteX58" fmla="*/ 257762 w 526593"/>
                  <a:gd name="connsiteY58" fmla="*/ 45259 h 403224"/>
                  <a:gd name="connsiteX59" fmla="*/ 273353 w 526593"/>
                  <a:gd name="connsiteY59" fmla="*/ 18927 h 403224"/>
                  <a:gd name="connsiteX60" fmla="*/ 288124 w 526593"/>
                  <a:gd name="connsiteY60" fmla="*/ 823 h 403224"/>
                  <a:gd name="connsiteX61" fmla="*/ 288124 w 526593"/>
                  <a:gd name="connsiteY61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52285 w 526593"/>
                  <a:gd name="connsiteY12" fmla="*/ 67458 h 403224"/>
                  <a:gd name="connsiteX13" fmla="*/ 479726 w 526593"/>
                  <a:gd name="connsiteY13" fmla="*/ 55401 h 403224"/>
                  <a:gd name="connsiteX14" fmla="*/ 510971 w 526593"/>
                  <a:gd name="connsiteY14" fmla="*/ 55401 h 403224"/>
                  <a:gd name="connsiteX15" fmla="*/ 514260 w 526593"/>
                  <a:gd name="connsiteY15" fmla="*/ 46356 h 403224"/>
                  <a:gd name="connsiteX16" fmla="*/ 514260 w 526593"/>
                  <a:gd name="connsiteY16" fmla="*/ 45534 h 403224"/>
                  <a:gd name="connsiteX17" fmla="*/ 517137 w 526593"/>
                  <a:gd name="connsiteY17" fmla="*/ 33302 h 403224"/>
                  <a:gd name="connsiteX18" fmla="*/ 517549 w 526593"/>
                  <a:gd name="connsiteY18" fmla="*/ 31555 h 403224"/>
                  <a:gd name="connsiteX19" fmla="*/ 515390 w 526593"/>
                  <a:gd name="connsiteY19" fmla="*/ 16446 h 403224"/>
                  <a:gd name="connsiteX20" fmla="*/ 515082 w 526593"/>
                  <a:gd name="connsiteY20" fmla="*/ 14287 h 403224"/>
                  <a:gd name="connsiteX21" fmla="*/ 526593 w 526593"/>
                  <a:gd name="connsiteY21" fmla="*/ 15109 h 403224"/>
                  <a:gd name="connsiteX22" fmla="*/ 523304 w 526593"/>
                  <a:gd name="connsiteY22" fmla="*/ 38133 h 403224"/>
                  <a:gd name="connsiteX23" fmla="*/ 510971 w 526593"/>
                  <a:gd name="connsiteY23" fmla="*/ 117894 h 403224"/>
                  <a:gd name="connsiteX24" fmla="*/ 325969 w 526593"/>
                  <a:gd name="connsiteY24" fmla="*/ 108027 h 403224"/>
                  <a:gd name="connsiteX25" fmla="*/ 301302 w 526593"/>
                  <a:gd name="connsiteY25" fmla="*/ 265904 h 403224"/>
                  <a:gd name="connsiteX26" fmla="*/ 270879 w 526593"/>
                  <a:gd name="connsiteY26" fmla="*/ 274127 h 403224"/>
                  <a:gd name="connsiteX27" fmla="*/ 234701 w 526593"/>
                  <a:gd name="connsiteY27" fmla="*/ 296328 h 403224"/>
                  <a:gd name="connsiteX28" fmla="*/ 231412 w 526593"/>
                  <a:gd name="connsiteY28" fmla="*/ 322641 h 403224"/>
                  <a:gd name="connsiteX29" fmla="*/ 225657 w 526593"/>
                  <a:gd name="connsiteY29" fmla="*/ 395001 h 403224"/>
                  <a:gd name="connsiteX30" fmla="*/ 24210 w 526593"/>
                  <a:gd name="connsiteY30" fmla="*/ 384312 h 403224"/>
                  <a:gd name="connsiteX31" fmla="*/ 5299 w 526593"/>
                  <a:gd name="connsiteY31" fmla="*/ 392535 h 403224"/>
                  <a:gd name="connsiteX32" fmla="*/ 365 w 526593"/>
                  <a:gd name="connsiteY32" fmla="*/ 403224 h 403224"/>
                  <a:gd name="connsiteX33" fmla="*/ 365 w 526593"/>
                  <a:gd name="connsiteY33" fmla="*/ 395824 h 403224"/>
                  <a:gd name="connsiteX34" fmla="*/ 6943 w 526593"/>
                  <a:gd name="connsiteY34" fmla="*/ 373622 h 403224"/>
                  <a:gd name="connsiteX35" fmla="*/ 63677 w 526593"/>
                  <a:gd name="connsiteY35" fmla="*/ 374444 h 403224"/>
                  <a:gd name="connsiteX36" fmla="*/ 118767 w 526593"/>
                  <a:gd name="connsiteY36" fmla="*/ 381023 h 403224"/>
                  <a:gd name="connsiteX37" fmla="*/ 139322 w 526593"/>
                  <a:gd name="connsiteY37" fmla="*/ 381023 h 403224"/>
                  <a:gd name="connsiteX38" fmla="*/ 160766 w 526593"/>
                  <a:gd name="connsiteY38" fmla="*/ 311943 h 403224"/>
                  <a:gd name="connsiteX39" fmla="*/ 95270 w 526593"/>
                  <a:gd name="connsiteY39" fmla="*/ 326231 h 403224"/>
                  <a:gd name="connsiteX40" fmla="*/ 64102 w 526593"/>
                  <a:gd name="connsiteY40" fmla="*/ 374417 h 403224"/>
                  <a:gd name="connsiteX41" fmla="*/ 7481 w 526593"/>
                  <a:gd name="connsiteY41" fmla="*/ 374417 h 403224"/>
                  <a:gd name="connsiteX42" fmla="*/ 12405 w 526593"/>
                  <a:gd name="connsiteY42" fmla="*/ 353845 h 403224"/>
                  <a:gd name="connsiteX43" fmla="*/ 27996 w 526593"/>
                  <a:gd name="connsiteY43" fmla="*/ 326689 h 403224"/>
                  <a:gd name="connsiteX44" fmla="*/ 41125 w 526593"/>
                  <a:gd name="connsiteY44" fmla="*/ 320106 h 403224"/>
                  <a:gd name="connsiteX45" fmla="*/ 53434 w 526593"/>
                  <a:gd name="connsiteY45" fmla="*/ 302002 h 403224"/>
                  <a:gd name="connsiteX46" fmla="*/ 68205 w 526593"/>
                  <a:gd name="connsiteY46" fmla="*/ 281430 h 403224"/>
                  <a:gd name="connsiteX47" fmla="*/ 69025 w 526593"/>
                  <a:gd name="connsiteY47" fmla="*/ 269909 h 403224"/>
                  <a:gd name="connsiteX48" fmla="*/ 97746 w 526593"/>
                  <a:gd name="connsiteY48" fmla="*/ 234525 h 403224"/>
                  <a:gd name="connsiteX49" fmla="*/ 106773 w 526593"/>
                  <a:gd name="connsiteY49" fmla="*/ 217244 h 403224"/>
                  <a:gd name="connsiteX50" fmla="*/ 144520 w 526593"/>
                  <a:gd name="connsiteY50" fmla="*/ 182683 h 403224"/>
                  <a:gd name="connsiteX51" fmla="*/ 160932 w 526593"/>
                  <a:gd name="connsiteY51" fmla="*/ 161287 h 403224"/>
                  <a:gd name="connsiteX52" fmla="*/ 167497 w 526593"/>
                  <a:gd name="connsiteY52" fmla="*/ 147298 h 403224"/>
                  <a:gd name="connsiteX53" fmla="*/ 177344 w 526593"/>
                  <a:gd name="connsiteY53" fmla="*/ 126726 h 403224"/>
                  <a:gd name="connsiteX54" fmla="*/ 192935 w 526593"/>
                  <a:gd name="connsiteY54" fmla="*/ 94633 h 403224"/>
                  <a:gd name="connsiteX55" fmla="*/ 210167 w 526593"/>
                  <a:gd name="connsiteY55" fmla="*/ 76529 h 403224"/>
                  <a:gd name="connsiteX56" fmla="*/ 225759 w 526593"/>
                  <a:gd name="connsiteY56" fmla="*/ 68300 h 403224"/>
                  <a:gd name="connsiteX57" fmla="*/ 250376 w 526593"/>
                  <a:gd name="connsiteY57" fmla="*/ 54311 h 403224"/>
                  <a:gd name="connsiteX58" fmla="*/ 257762 w 526593"/>
                  <a:gd name="connsiteY58" fmla="*/ 45259 h 403224"/>
                  <a:gd name="connsiteX59" fmla="*/ 273353 w 526593"/>
                  <a:gd name="connsiteY59" fmla="*/ 18927 h 403224"/>
                  <a:gd name="connsiteX60" fmla="*/ 288124 w 526593"/>
                  <a:gd name="connsiteY60" fmla="*/ 823 h 403224"/>
                  <a:gd name="connsiteX61" fmla="*/ 288124 w 526593"/>
                  <a:gd name="connsiteY61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52285 w 526593"/>
                  <a:gd name="connsiteY12" fmla="*/ 67458 h 403224"/>
                  <a:gd name="connsiteX13" fmla="*/ 479726 w 526593"/>
                  <a:gd name="connsiteY13" fmla="*/ 55401 h 403224"/>
                  <a:gd name="connsiteX14" fmla="*/ 510971 w 526593"/>
                  <a:gd name="connsiteY14" fmla="*/ 55401 h 403224"/>
                  <a:gd name="connsiteX15" fmla="*/ 514260 w 526593"/>
                  <a:gd name="connsiteY15" fmla="*/ 46356 h 403224"/>
                  <a:gd name="connsiteX16" fmla="*/ 514260 w 526593"/>
                  <a:gd name="connsiteY16" fmla="*/ 45534 h 403224"/>
                  <a:gd name="connsiteX17" fmla="*/ 517137 w 526593"/>
                  <a:gd name="connsiteY17" fmla="*/ 33302 h 403224"/>
                  <a:gd name="connsiteX18" fmla="*/ 517549 w 526593"/>
                  <a:gd name="connsiteY18" fmla="*/ 31555 h 403224"/>
                  <a:gd name="connsiteX19" fmla="*/ 515390 w 526593"/>
                  <a:gd name="connsiteY19" fmla="*/ 16446 h 403224"/>
                  <a:gd name="connsiteX20" fmla="*/ 515082 w 526593"/>
                  <a:gd name="connsiteY20" fmla="*/ 14287 h 403224"/>
                  <a:gd name="connsiteX21" fmla="*/ 526593 w 526593"/>
                  <a:gd name="connsiteY21" fmla="*/ 15109 h 403224"/>
                  <a:gd name="connsiteX22" fmla="*/ 523304 w 526593"/>
                  <a:gd name="connsiteY22" fmla="*/ 38133 h 403224"/>
                  <a:gd name="connsiteX23" fmla="*/ 510971 w 526593"/>
                  <a:gd name="connsiteY23" fmla="*/ 117894 h 403224"/>
                  <a:gd name="connsiteX24" fmla="*/ 325969 w 526593"/>
                  <a:gd name="connsiteY24" fmla="*/ 108027 h 403224"/>
                  <a:gd name="connsiteX25" fmla="*/ 301302 w 526593"/>
                  <a:gd name="connsiteY25" fmla="*/ 265904 h 403224"/>
                  <a:gd name="connsiteX26" fmla="*/ 270879 w 526593"/>
                  <a:gd name="connsiteY26" fmla="*/ 274127 h 403224"/>
                  <a:gd name="connsiteX27" fmla="*/ 234701 w 526593"/>
                  <a:gd name="connsiteY27" fmla="*/ 296328 h 403224"/>
                  <a:gd name="connsiteX28" fmla="*/ 231412 w 526593"/>
                  <a:gd name="connsiteY28" fmla="*/ 322641 h 403224"/>
                  <a:gd name="connsiteX29" fmla="*/ 225657 w 526593"/>
                  <a:gd name="connsiteY29" fmla="*/ 395001 h 403224"/>
                  <a:gd name="connsiteX30" fmla="*/ 24210 w 526593"/>
                  <a:gd name="connsiteY30" fmla="*/ 384312 h 403224"/>
                  <a:gd name="connsiteX31" fmla="*/ 5299 w 526593"/>
                  <a:gd name="connsiteY31" fmla="*/ 392535 h 403224"/>
                  <a:gd name="connsiteX32" fmla="*/ 365 w 526593"/>
                  <a:gd name="connsiteY32" fmla="*/ 403224 h 403224"/>
                  <a:gd name="connsiteX33" fmla="*/ 365 w 526593"/>
                  <a:gd name="connsiteY33" fmla="*/ 395824 h 403224"/>
                  <a:gd name="connsiteX34" fmla="*/ 6943 w 526593"/>
                  <a:gd name="connsiteY34" fmla="*/ 373622 h 403224"/>
                  <a:gd name="connsiteX35" fmla="*/ 63677 w 526593"/>
                  <a:gd name="connsiteY35" fmla="*/ 374444 h 403224"/>
                  <a:gd name="connsiteX36" fmla="*/ 118767 w 526593"/>
                  <a:gd name="connsiteY36" fmla="*/ 381023 h 403224"/>
                  <a:gd name="connsiteX37" fmla="*/ 189328 w 526593"/>
                  <a:gd name="connsiteY37" fmla="*/ 345304 h 403224"/>
                  <a:gd name="connsiteX38" fmla="*/ 160766 w 526593"/>
                  <a:gd name="connsiteY38" fmla="*/ 311943 h 403224"/>
                  <a:gd name="connsiteX39" fmla="*/ 95270 w 526593"/>
                  <a:gd name="connsiteY39" fmla="*/ 326231 h 403224"/>
                  <a:gd name="connsiteX40" fmla="*/ 64102 w 526593"/>
                  <a:gd name="connsiteY40" fmla="*/ 374417 h 403224"/>
                  <a:gd name="connsiteX41" fmla="*/ 7481 w 526593"/>
                  <a:gd name="connsiteY41" fmla="*/ 374417 h 403224"/>
                  <a:gd name="connsiteX42" fmla="*/ 12405 w 526593"/>
                  <a:gd name="connsiteY42" fmla="*/ 353845 h 403224"/>
                  <a:gd name="connsiteX43" fmla="*/ 27996 w 526593"/>
                  <a:gd name="connsiteY43" fmla="*/ 326689 h 403224"/>
                  <a:gd name="connsiteX44" fmla="*/ 41125 w 526593"/>
                  <a:gd name="connsiteY44" fmla="*/ 320106 h 403224"/>
                  <a:gd name="connsiteX45" fmla="*/ 53434 w 526593"/>
                  <a:gd name="connsiteY45" fmla="*/ 302002 h 403224"/>
                  <a:gd name="connsiteX46" fmla="*/ 68205 w 526593"/>
                  <a:gd name="connsiteY46" fmla="*/ 281430 h 403224"/>
                  <a:gd name="connsiteX47" fmla="*/ 69025 w 526593"/>
                  <a:gd name="connsiteY47" fmla="*/ 269909 h 403224"/>
                  <a:gd name="connsiteX48" fmla="*/ 97746 w 526593"/>
                  <a:gd name="connsiteY48" fmla="*/ 234525 h 403224"/>
                  <a:gd name="connsiteX49" fmla="*/ 106773 w 526593"/>
                  <a:gd name="connsiteY49" fmla="*/ 217244 h 403224"/>
                  <a:gd name="connsiteX50" fmla="*/ 144520 w 526593"/>
                  <a:gd name="connsiteY50" fmla="*/ 182683 h 403224"/>
                  <a:gd name="connsiteX51" fmla="*/ 160932 w 526593"/>
                  <a:gd name="connsiteY51" fmla="*/ 161287 h 403224"/>
                  <a:gd name="connsiteX52" fmla="*/ 167497 w 526593"/>
                  <a:gd name="connsiteY52" fmla="*/ 147298 h 403224"/>
                  <a:gd name="connsiteX53" fmla="*/ 177344 w 526593"/>
                  <a:gd name="connsiteY53" fmla="*/ 126726 h 403224"/>
                  <a:gd name="connsiteX54" fmla="*/ 192935 w 526593"/>
                  <a:gd name="connsiteY54" fmla="*/ 94633 h 403224"/>
                  <a:gd name="connsiteX55" fmla="*/ 210167 w 526593"/>
                  <a:gd name="connsiteY55" fmla="*/ 76529 h 403224"/>
                  <a:gd name="connsiteX56" fmla="*/ 225759 w 526593"/>
                  <a:gd name="connsiteY56" fmla="*/ 68300 h 403224"/>
                  <a:gd name="connsiteX57" fmla="*/ 250376 w 526593"/>
                  <a:gd name="connsiteY57" fmla="*/ 54311 h 403224"/>
                  <a:gd name="connsiteX58" fmla="*/ 257762 w 526593"/>
                  <a:gd name="connsiteY58" fmla="*/ 45259 h 403224"/>
                  <a:gd name="connsiteX59" fmla="*/ 273353 w 526593"/>
                  <a:gd name="connsiteY59" fmla="*/ 18927 h 403224"/>
                  <a:gd name="connsiteX60" fmla="*/ 288124 w 526593"/>
                  <a:gd name="connsiteY60" fmla="*/ 823 h 403224"/>
                  <a:gd name="connsiteX61" fmla="*/ 288124 w 526593"/>
                  <a:gd name="connsiteY61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52285 w 526593"/>
                  <a:gd name="connsiteY12" fmla="*/ 67458 h 403224"/>
                  <a:gd name="connsiteX13" fmla="*/ 479726 w 526593"/>
                  <a:gd name="connsiteY13" fmla="*/ 55401 h 403224"/>
                  <a:gd name="connsiteX14" fmla="*/ 510971 w 526593"/>
                  <a:gd name="connsiteY14" fmla="*/ 55401 h 403224"/>
                  <a:gd name="connsiteX15" fmla="*/ 514260 w 526593"/>
                  <a:gd name="connsiteY15" fmla="*/ 46356 h 403224"/>
                  <a:gd name="connsiteX16" fmla="*/ 514260 w 526593"/>
                  <a:gd name="connsiteY16" fmla="*/ 45534 h 403224"/>
                  <a:gd name="connsiteX17" fmla="*/ 517137 w 526593"/>
                  <a:gd name="connsiteY17" fmla="*/ 33302 h 403224"/>
                  <a:gd name="connsiteX18" fmla="*/ 517549 w 526593"/>
                  <a:gd name="connsiteY18" fmla="*/ 31555 h 403224"/>
                  <a:gd name="connsiteX19" fmla="*/ 515390 w 526593"/>
                  <a:gd name="connsiteY19" fmla="*/ 16446 h 403224"/>
                  <a:gd name="connsiteX20" fmla="*/ 515082 w 526593"/>
                  <a:gd name="connsiteY20" fmla="*/ 14287 h 403224"/>
                  <a:gd name="connsiteX21" fmla="*/ 526593 w 526593"/>
                  <a:gd name="connsiteY21" fmla="*/ 15109 h 403224"/>
                  <a:gd name="connsiteX22" fmla="*/ 523304 w 526593"/>
                  <a:gd name="connsiteY22" fmla="*/ 38133 h 403224"/>
                  <a:gd name="connsiteX23" fmla="*/ 510971 w 526593"/>
                  <a:gd name="connsiteY23" fmla="*/ 117894 h 403224"/>
                  <a:gd name="connsiteX24" fmla="*/ 325969 w 526593"/>
                  <a:gd name="connsiteY24" fmla="*/ 108027 h 403224"/>
                  <a:gd name="connsiteX25" fmla="*/ 301302 w 526593"/>
                  <a:gd name="connsiteY25" fmla="*/ 265904 h 403224"/>
                  <a:gd name="connsiteX26" fmla="*/ 270879 w 526593"/>
                  <a:gd name="connsiteY26" fmla="*/ 274127 h 403224"/>
                  <a:gd name="connsiteX27" fmla="*/ 234701 w 526593"/>
                  <a:gd name="connsiteY27" fmla="*/ 296328 h 403224"/>
                  <a:gd name="connsiteX28" fmla="*/ 231412 w 526593"/>
                  <a:gd name="connsiteY28" fmla="*/ 322641 h 403224"/>
                  <a:gd name="connsiteX29" fmla="*/ 225657 w 526593"/>
                  <a:gd name="connsiteY29" fmla="*/ 395001 h 403224"/>
                  <a:gd name="connsiteX30" fmla="*/ 24210 w 526593"/>
                  <a:gd name="connsiteY30" fmla="*/ 384312 h 403224"/>
                  <a:gd name="connsiteX31" fmla="*/ 5299 w 526593"/>
                  <a:gd name="connsiteY31" fmla="*/ 392535 h 403224"/>
                  <a:gd name="connsiteX32" fmla="*/ 365 w 526593"/>
                  <a:gd name="connsiteY32" fmla="*/ 403224 h 403224"/>
                  <a:gd name="connsiteX33" fmla="*/ 365 w 526593"/>
                  <a:gd name="connsiteY33" fmla="*/ 395824 h 403224"/>
                  <a:gd name="connsiteX34" fmla="*/ 6943 w 526593"/>
                  <a:gd name="connsiteY34" fmla="*/ 373622 h 403224"/>
                  <a:gd name="connsiteX35" fmla="*/ 63677 w 526593"/>
                  <a:gd name="connsiteY35" fmla="*/ 374444 h 403224"/>
                  <a:gd name="connsiteX36" fmla="*/ 118767 w 526593"/>
                  <a:gd name="connsiteY36" fmla="*/ 381023 h 403224"/>
                  <a:gd name="connsiteX37" fmla="*/ 189328 w 526593"/>
                  <a:gd name="connsiteY37" fmla="*/ 345304 h 403224"/>
                  <a:gd name="connsiteX38" fmla="*/ 95270 w 526593"/>
                  <a:gd name="connsiteY38" fmla="*/ 326231 h 403224"/>
                  <a:gd name="connsiteX39" fmla="*/ 64102 w 526593"/>
                  <a:gd name="connsiteY39" fmla="*/ 374417 h 403224"/>
                  <a:gd name="connsiteX40" fmla="*/ 7481 w 526593"/>
                  <a:gd name="connsiteY40" fmla="*/ 374417 h 403224"/>
                  <a:gd name="connsiteX41" fmla="*/ 12405 w 526593"/>
                  <a:gd name="connsiteY41" fmla="*/ 353845 h 403224"/>
                  <a:gd name="connsiteX42" fmla="*/ 27996 w 526593"/>
                  <a:gd name="connsiteY42" fmla="*/ 326689 h 403224"/>
                  <a:gd name="connsiteX43" fmla="*/ 41125 w 526593"/>
                  <a:gd name="connsiteY43" fmla="*/ 320106 h 403224"/>
                  <a:gd name="connsiteX44" fmla="*/ 53434 w 526593"/>
                  <a:gd name="connsiteY44" fmla="*/ 302002 h 403224"/>
                  <a:gd name="connsiteX45" fmla="*/ 68205 w 526593"/>
                  <a:gd name="connsiteY45" fmla="*/ 281430 h 403224"/>
                  <a:gd name="connsiteX46" fmla="*/ 69025 w 526593"/>
                  <a:gd name="connsiteY46" fmla="*/ 269909 h 403224"/>
                  <a:gd name="connsiteX47" fmla="*/ 97746 w 526593"/>
                  <a:gd name="connsiteY47" fmla="*/ 234525 h 403224"/>
                  <a:gd name="connsiteX48" fmla="*/ 106773 w 526593"/>
                  <a:gd name="connsiteY48" fmla="*/ 217244 h 403224"/>
                  <a:gd name="connsiteX49" fmla="*/ 144520 w 526593"/>
                  <a:gd name="connsiteY49" fmla="*/ 182683 h 403224"/>
                  <a:gd name="connsiteX50" fmla="*/ 160932 w 526593"/>
                  <a:gd name="connsiteY50" fmla="*/ 161287 h 403224"/>
                  <a:gd name="connsiteX51" fmla="*/ 167497 w 526593"/>
                  <a:gd name="connsiteY51" fmla="*/ 147298 h 403224"/>
                  <a:gd name="connsiteX52" fmla="*/ 177344 w 526593"/>
                  <a:gd name="connsiteY52" fmla="*/ 126726 h 403224"/>
                  <a:gd name="connsiteX53" fmla="*/ 192935 w 526593"/>
                  <a:gd name="connsiteY53" fmla="*/ 94633 h 403224"/>
                  <a:gd name="connsiteX54" fmla="*/ 210167 w 526593"/>
                  <a:gd name="connsiteY54" fmla="*/ 76529 h 403224"/>
                  <a:gd name="connsiteX55" fmla="*/ 225759 w 526593"/>
                  <a:gd name="connsiteY55" fmla="*/ 68300 h 403224"/>
                  <a:gd name="connsiteX56" fmla="*/ 250376 w 526593"/>
                  <a:gd name="connsiteY56" fmla="*/ 54311 h 403224"/>
                  <a:gd name="connsiteX57" fmla="*/ 257762 w 526593"/>
                  <a:gd name="connsiteY57" fmla="*/ 45259 h 403224"/>
                  <a:gd name="connsiteX58" fmla="*/ 273353 w 526593"/>
                  <a:gd name="connsiteY58" fmla="*/ 18927 h 403224"/>
                  <a:gd name="connsiteX59" fmla="*/ 288124 w 526593"/>
                  <a:gd name="connsiteY59" fmla="*/ 823 h 403224"/>
                  <a:gd name="connsiteX60" fmla="*/ 288124 w 526593"/>
                  <a:gd name="connsiteY60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52285 w 526593"/>
                  <a:gd name="connsiteY12" fmla="*/ 67458 h 403224"/>
                  <a:gd name="connsiteX13" fmla="*/ 479726 w 526593"/>
                  <a:gd name="connsiteY13" fmla="*/ 55401 h 403224"/>
                  <a:gd name="connsiteX14" fmla="*/ 510971 w 526593"/>
                  <a:gd name="connsiteY14" fmla="*/ 55401 h 403224"/>
                  <a:gd name="connsiteX15" fmla="*/ 514260 w 526593"/>
                  <a:gd name="connsiteY15" fmla="*/ 46356 h 403224"/>
                  <a:gd name="connsiteX16" fmla="*/ 514260 w 526593"/>
                  <a:gd name="connsiteY16" fmla="*/ 45534 h 403224"/>
                  <a:gd name="connsiteX17" fmla="*/ 517137 w 526593"/>
                  <a:gd name="connsiteY17" fmla="*/ 33302 h 403224"/>
                  <a:gd name="connsiteX18" fmla="*/ 517549 w 526593"/>
                  <a:gd name="connsiteY18" fmla="*/ 31555 h 403224"/>
                  <a:gd name="connsiteX19" fmla="*/ 515390 w 526593"/>
                  <a:gd name="connsiteY19" fmla="*/ 16446 h 403224"/>
                  <a:gd name="connsiteX20" fmla="*/ 515082 w 526593"/>
                  <a:gd name="connsiteY20" fmla="*/ 14287 h 403224"/>
                  <a:gd name="connsiteX21" fmla="*/ 526593 w 526593"/>
                  <a:gd name="connsiteY21" fmla="*/ 15109 h 403224"/>
                  <a:gd name="connsiteX22" fmla="*/ 523304 w 526593"/>
                  <a:gd name="connsiteY22" fmla="*/ 38133 h 403224"/>
                  <a:gd name="connsiteX23" fmla="*/ 510971 w 526593"/>
                  <a:gd name="connsiteY23" fmla="*/ 117894 h 403224"/>
                  <a:gd name="connsiteX24" fmla="*/ 325969 w 526593"/>
                  <a:gd name="connsiteY24" fmla="*/ 108027 h 403224"/>
                  <a:gd name="connsiteX25" fmla="*/ 301302 w 526593"/>
                  <a:gd name="connsiteY25" fmla="*/ 265904 h 403224"/>
                  <a:gd name="connsiteX26" fmla="*/ 270879 w 526593"/>
                  <a:gd name="connsiteY26" fmla="*/ 274127 h 403224"/>
                  <a:gd name="connsiteX27" fmla="*/ 234701 w 526593"/>
                  <a:gd name="connsiteY27" fmla="*/ 296328 h 403224"/>
                  <a:gd name="connsiteX28" fmla="*/ 231412 w 526593"/>
                  <a:gd name="connsiteY28" fmla="*/ 322641 h 403224"/>
                  <a:gd name="connsiteX29" fmla="*/ 225657 w 526593"/>
                  <a:gd name="connsiteY29" fmla="*/ 395001 h 403224"/>
                  <a:gd name="connsiteX30" fmla="*/ 24210 w 526593"/>
                  <a:gd name="connsiteY30" fmla="*/ 384312 h 403224"/>
                  <a:gd name="connsiteX31" fmla="*/ 5299 w 526593"/>
                  <a:gd name="connsiteY31" fmla="*/ 392535 h 403224"/>
                  <a:gd name="connsiteX32" fmla="*/ 365 w 526593"/>
                  <a:gd name="connsiteY32" fmla="*/ 403224 h 403224"/>
                  <a:gd name="connsiteX33" fmla="*/ 365 w 526593"/>
                  <a:gd name="connsiteY33" fmla="*/ 395824 h 403224"/>
                  <a:gd name="connsiteX34" fmla="*/ 6943 w 526593"/>
                  <a:gd name="connsiteY34" fmla="*/ 373622 h 403224"/>
                  <a:gd name="connsiteX35" fmla="*/ 63677 w 526593"/>
                  <a:gd name="connsiteY35" fmla="*/ 374444 h 403224"/>
                  <a:gd name="connsiteX36" fmla="*/ 118767 w 526593"/>
                  <a:gd name="connsiteY36" fmla="*/ 381023 h 403224"/>
                  <a:gd name="connsiteX37" fmla="*/ 95270 w 526593"/>
                  <a:gd name="connsiteY37" fmla="*/ 326231 h 403224"/>
                  <a:gd name="connsiteX38" fmla="*/ 64102 w 526593"/>
                  <a:gd name="connsiteY38" fmla="*/ 374417 h 403224"/>
                  <a:gd name="connsiteX39" fmla="*/ 7481 w 526593"/>
                  <a:gd name="connsiteY39" fmla="*/ 374417 h 403224"/>
                  <a:gd name="connsiteX40" fmla="*/ 12405 w 526593"/>
                  <a:gd name="connsiteY40" fmla="*/ 353845 h 403224"/>
                  <a:gd name="connsiteX41" fmla="*/ 27996 w 526593"/>
                  <a:gd name="connsiteY41" fmla="*/ 326689 h 403224"/>
                  <a:gd name="connsiteX42" fmla="*/ 41125 w 526593"/>
                  <a:gd name="connsiteY42" fmla="*/ 320106 h 403224"/>
                  <a:gd name="connsiteX43" fmla="*/ 53434 w 526593"/>
                  <a:gd name="connsiteY43" fmla="*/ 302002 h 403224"/>
                  <a:gd name="connsiteX44" fmla="*/ 68205 w 526593"/>
                  <a:gd name="connsiteY44" fmla="*/ 281430 h 403224"/>
                  <a:gd name="connsiteX45" fmla="*/ 69025 w 526593"/>
                  <a:gd name="connsiteY45" fmla="*/ 269909 h 403224"/>
                  <a:gd name="connsiteX46" fmla="*/ 97746 w 526593"/>
                  <a:gd name="connsiteY46" fmla="*/ 234525 h 403224"/>
                  <a:gd name="connsiteX47" fmla="*/ 106773 w 526593"/>
                  <a:gd name="connsiteY47" fmla="*/ 217244 h 403224"/>
                  <a:gd name="connsiteX48" fmla="*/ 144520 w 526593"/>
                  <a:gd name="connsiteY48" fmla="*/ 182683 h 403224"/>
                  <a:gd name="connsiteX49" fmla="*/ 160932 w 526593"/>
                  <a:gd name="connsiteY49" fmla="*/ 161287 h 403224"/>
                  <a:gd name="connsiteX50" fmla="*/ 167497 w 526593"/>
                  <a:gd name="connsiteY50" fmla="*/ 147298 h 403224"/>
                  <a:gd name="connsiteX51" fmla="*/ 177344 w 526593"/>
                  <a:gd name="connsiteY51" fmla="*/ 126726 h 403224"/>
                  <a:gd name="connsiteX52" fmla="*/ 192935 w 526593"/>
                  <a:gd name="connsiteY52" fmla="*/ 94633 h 403224"/>
                  <a:gd name="connsiteX53" fmla="*/ 210167 w 526593"/>
                  <a:gd name="connsiteY53" fmla="*/ 76529 h 403224"/>
                  <a:gd name="connsiteX54" fmla="*/ 225759 w 526593"/>
                  <a:gd name="connsiteY54" fmla="*/ 68300 h 403224"/>
                  <a:gd name="connsiteX55" fmla="*/ 250376 w 526593"/>
                  <a:gd name="connsiteY55" fmla="*/ 54311 h 403224"/>
                  <a:gd name="connsiteX56" fmla="*/ 257762 w 526593"/>
                  <a:gd name="connsiteY56" fmla="*/ 45259 h 403224"/>
                  <a:gd name="connsiteX57" fmla="*/ 273353 w 526593"/>
                  <a:gd name="connsiteY57" fmla="*/ 18927 h 403224"/>
                  <a:gd name="connsiteX58" fmla="*/ 288124 w 526593"/>
                  <a:gd name="connsiteY58" fmla="*/ 823 h 403224"/>
                  <a:gd name="connsiteX59" fmla="*/ 288124 w 526593"/>
                  <a:gd name="connsiteY59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52285 w 526593"/>
                  <a:gd name="connsiteY12" fmla="*/ 67458 h 403224"/>
                  <a:gd name="connsiteX13" fmla="*/ 479726 w 526593"/>
                  <a:gd name="connsiteY13" fmla="*/ 55401 h 403224"/>
                  <a:gd name="connsiteX14" fmla="*/ 510971 w 526593"/>
                  <a:gd name="connsiteY14" fmla="*/ 55401 h 403224"/>
                  <a:gd name="connsiteX15" fmla="*/ 514260 w 526593"/>
                  <a:gd name="connsiteY15" fmla="*/ 46356 h 403224"/>
                  <a:gd name="connsiteX16" fmla="*/ 514260 w 526593"/>
                  <a:gd name="connsiteY16" fmla="*/ 45534 h 403224"/>
                  <a:gd name="connsiteX17" fmla="*/ 517137 w 526593"/>
                  <a:gd name="connsiteY17" fmla="*/ 33302 h 403224"/>
                  <a:gd name="connsiteX18" fmla="*/ 517549 w 526593"/>
                  <a:gd name="connsiteY18" fmla="*/ 31555 h 403224"/>
                  <a:gd name="connsiteX19" fmla="*/ 515390 w 526593"/>
                  <a:gd name="connsiteY19" fmla="*/ 16446 h 403224"/>
                  <a:gd name="connsiteX20" fmla="*/ 515082 w 526593"/>
                  <a:gd name="connsiteY20" fmla="*/ 14287 h 403224"/>
                  <a:gd name="connsiteX21" fmla="*/ 526593 w 526593"/>
                  <a:gd name="connsiteY21" fmla="*/ 15109 h 403224"/>
                  <a:gd name="connsiteX22" fmla="*/ 523304 w 526593"/>
                  <a:gd name="connsiteY22" fmla="*/ 38133 h 403224"/>
                  <a:gd name="connsiteX23" fmla="*/ 510971 w 526593"/>
                  <a:gd name="connsiteY23" fmla="*/ 117894 h 403224"/>
                  <a:gd name="connsiteX24" fmla="*/ 325969 w 526593"/>
                  <a:gd name="connsiteY24" fmla="*/ 108027 h 403224"/>
                  <a:gd name="connsiteX25" fmla="*/ 301302 w 526593"/>
                  <a:gd name="connsiteY25" fmla="*/ 265904 h 403224"/>
                  <a:gd name="connsiteX26" fmla="*/ 270879 w 526593"/>
                  <a:gd name="connsiteY26" fmla="*/ 274127 h 403224"/>
                  <a:gd name="connsiteX27" fmla="*/ 234701 w 526593"/>
                  <a:gd name="connsiteY27" fmla="*/ 296328 h 403224"/>
                  <a:gd name="connsiteX28" fmla="*/ 231412 w 526593"/>
                  <a:gd name="connsiteY28" fmla="*/ 322641 h 403224"/>
                  <a:gd name="connsiteX29" fmla="*/ 225657 w 526593"/>
                  <a:gd name="connsiteY29" fmla="*/ 395001 h 403224"/>
                  <a:gd name="connsiteX30" fmla="*/ 24210 w 526593"/>
                  <a:gd name="connsiteY30" fmla="*/ 384312 h 403224"/>
                  <a:gd name="connsiteX31" fmla="*/ 5299 w 526593"/>
                  <a:gd name="connsiteY31" fmla="*/ 392535 h 403224"/>
                  <a:gd name="connsiteX32" fmla="*/ 365 w 526593"/>
                  <a:gd name="connsiteY32" fmla="*/ 403224 h 403224"/>
                  <a:gd name="connsiteX33" fmla="*/ 365 w 526593"/>
                  <a:gd name="connsiteY33" fmla="*/ 395824 h 403224"/>
                  <a:gd name="connsiteX34" fmla="*/ 6943 w 526593"/>
                  <a:gd name="connsiteY34" fmla="*/ 373622 h 403224"/>
                  <a:gd name="connsiteX35" fmla="*/ 63677 w 526593"/>
                  <a:gd name="connsiteY35" fmla="*/ 374444 h 403224"/>
                  <a:gd name="connsiteX36" fmla="*/ 95270 w 526593"/>
                  <a:gd name="connsiteY36" fmla="*/ 326231 h 403224"/>
                  <a:gd name="connsiteX37" fmla="*/ 64102 w 526593"/>
                  <a:gd name="connsiteY37" fmla="*/ 374417 h 403224"/>
                  <a:gd name="connsiteX38" fmla="*/ 7481 w 526593"/>
                  <a:gd name="connsiteY38" fmla="*/ 374417 h 403224"/>
                  <a:gd name="connsiteX39" fmla="*/ 12405 w 526593"/>
                  <a:gd name="connsiteY39" fmla="*/ 353845 h 403224"/>
                  <a:gd name="connsiteX40" fmla="*/ 27996 w 526593"/>
                  <a:gd name="connsiteY40" fmla="*/ 326689 h 403224"/>
                  <a:gd name="connsiteX41" fmla="*/ 41125 w 526593"/>
                  <a:gd name="connsiteY41" fmla="*/ 320106 h 403224"/>
                  <a:gd name="connsiteX42" fmla="*/ 53434 w 526593"/>
                  <a:gd name="connsiteY42" fmla="*/ 302002 h 403224"/>
                  <a:gd name="connsiteX43" fmla="*/ 68205 w 526593"/>
                  <a:gd name="connsiteY43" fmla="*/ 281430 h 403224"/>
                  <a:gd name="connsiteX44" fmla="*/ 69025 w 526593"/>
                  <a:gd name="connsiteY44" fmla="*/ 269909 h 403224"/>
                  <a:gd name="connsiteX45" fmla="*/ 97746 w 526593"/>
                  <a:gd name="connsiteY45" fmla="*/ 234525 h 403224"/>
                  <a:gd name="connsiteX46" fmla="*/ 106773 w 526593"/>
                  <a:gd name="connsiteY46" fmla="*/ 217244 h 403224"/>
                  <a:gd name="connsiteX47" fmla="*/ 144520 w 526593"/>
                  <a:gd name="connsiteY47" fmla="*/ 182683 h 403224"/>
                  <a:gd name="connsiteX48" fmla="*/ 160932 w 526593"/>
                  <a:gd name="connsiteY48" fmla="*/ 161287 h 403224"/>
                  <a:gd name="connsiteX49" fmla="*/ 167497 w 526593"/>
                  <a:gd name="connsiteY49" fmla="*/ 147298 h 403224"/>
                  <a:gd name="connsiteX50" fmla="*/ 177344 w 526593"/>
                  <a:gd name="connsiteY50" fmla="*/ 126726 h 403224"/>
                  <a:gd name="connsiteX51" fmla="*/ 192935 w 526593"/>
                  <a:gd name="connsiteY51" fmla="*/ 94633 h 403224"/>
                  <a:gd name="connsiteX52" fmla="*/ 210167 w 526593"/>
                  <a:gd name="connsiteY52" fmla="*/ 76529 h 403224"/>
                  <a:gd name="connsiteX53" fmla="*/ 225759 w 526593"/>
                  <a:gd name="connsiteY53" fmla="*/ 68300 h 403224"/>
                  <a:gd name="connsiteX54" fmla="*/ 250376 w 526593"/>
                  <a:gd name="connsiteY54" fmla="*/ 54311 h 403224"/>
                  <a:gd name="connsiteX55" fmla="*/ 257762 w 526593"/>
                  <a:gd name="connsiteY55" fmla="*/ 45259 h 403224"/>
                  <a:gd name="connsiteX56" fmla="*/ 273353 w 526593"/>
                  <a:gd name="connsiteY56" fmla="*/ 18927 h 403224"/>
                  <a:gd name="connsiteX57" fmla="*/ 288124 w 526593"/>
                  <a:gd name="connsiteY57" fmla="*/ 823 h 403224"/>
                  <a:gd name="connsiteX58" fmla="*/ 288124 w 526593"/>
                  <a:gd name="connsiteY58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52285 w 526593"/>
                  <a:gd name="connsiteY12" fmla="*/ 67458 h 403224"/>
                  <a:gd name="connsiteX13" fmla="*/ 479726 w 526593"/>
                  <a:gd name="connsiteY13" fmla="*/ 55401 h 403224"/>
                  <a:gd name="connsiteX14" fmla="*/ 510971 w 526593"/>
                  <a:gd name="connsiteY14" fmla="*/ 55401 h 403224"/>
                  <a:gd name="connsiteX15" fmla="*/ 514260 w 526593"/>
                  <a:gd name="connsiteY15" fmla="*/ 46356 h 403224"/>
                  <a:gd name="connsiteX16" fmla="*/ 514260 w 526593"/>
                  <a:gd name="connsiteY16" fmla="*/ 45534 h 403224"/>
                  <a:gd name="connsiteX17" fmla="*/ 517137 w 526593"/>
                  <a:gd name="connsiteY17" fmla="*/ 33302 h 403224"/>
                  <a:gd name="connsiteX18" fmla="*/ 517549 w 526593"/>
                  <a:gd name="connsiteY18" fmla="*/ 31555 h 403224"/>
                  <a:gd name="connsiteX19" fmla="*/ 515390 w 526593"/>
                  <a:gd name="connsiteY19" fmla="*/ 16446 h 403224"/>
                  <a:gd name="connsiteX20" fmla="*/ 515082 w 526593"/>
                  <a:gd name="connsiteY20" fmla="*/ 14287 h 403224"/>
                  <a:gd name="connsiteX21" fmla="*/ 526593 w 526593"/>
                  <a:gd name="connsiteY21" fmla="*/ 15109 h 403224"/>
                  <a:gd name="connsiteX22" fmla="*/ 523304 w 526593"/>
                  <a:gd name="connsiteY22" fmla="*/ 38133 h 403224"/>
                  <a:gd name="connsiteX23" fmla="*/ 510971 w 526593"/>
                  <a:gd name="connsiteY23" fmla="*/ 117894 h 403224"/>
                  <a:gd name="connsiteX24" fmla="*/ 325969 w 526593"/>
                  <a:gd name="connsiteY24" fmla="*/ 108027 h 403224"/>
                  <a:gd name="connsiteX25" fmla="*/ 301302 w 526593"/>
                  <a:gd name="connsiteY25" fmla="*/ 265904 h 403224"/>
                  <a:gd name="connsiteX26" fmla="*/ 270879 w 526593"/>
                  <a:gd name="connsiteY26" fmla="*/ 274127 h 403224"/>
                  <a:gd name="connsiteX27" fmla="*/ 234701 w 526593"/>
                  <a:gd name="connsiteY27" fmla="*/ 296328 h 403224"/>
                  <a:gd name="connsiteX28" fmla="*/ 231412 w 526593"/>
                  <a:gd name="connsiteY28" fmla="*/ 322641 h 403224"/>
                  <a:gd name="connsiteX29" fmla="*/ 225657 w 526593"/>
                  <a:gd name="connsiteY29" fmla="*/ 395001 h 403224"/>
                  <a:gd name="connsiteX30" fmla="*/ 24210 w 526593"/>
                  <a:gd name="connsiteY30" fmla="*/ 384312 h 403224"/>
                  <a:gd name="connsiteX31" fmla="*/ 5299 w 526593"/>
                  <a:gd name="connsiteY31" fmla="*/ 392535 h 403224"/>
                  <a:gd name="connsiteX32" fmla="*/ 365 w 526593"/>
                  <a:gd name="connsiteY32" fmla="*/ 403224 h 403224"/>
                  <a:gd name="connsiteX33" fmla="*/ 365 w 526593"/>
                  <a:gd name="connsiteY33" fmla="*/ 395824 h 403224"/>
                  <a:gd name="connsiteX34" fmla="*/ 6943 w 526593"/>
                  <a:gd name="connsiteY34" fmla="*/ 373622 h 403224"/>
                  <a:gd name="connsiteX35" fmla="*/ 63677 w 526593"/>
                  <a:gd name="connsiteY35" fmla="*/ 374444 h 403224"/>
                  <a:gd name="connsiteX36" fmla="*/ 64102 w 526593"/>
                  <a:gd name="connsiteY36" fmla="*/ 374417 h 403224"/>
                  <a:gd name="connsiteX37" fmla="*/ 7481 w 526593"/>
                  <a:gd name="connsiteY37" fmla="*/ 374417 h 403224"/>
                  <a:gd name="connsiteX38" fmla="*/ 12405 w 526593"/>
                  <a:gd name="connsiteY38" fmla="*/ 353845 h 403224"/>
                  <a:gd name="connsiteX39" fmla="*/ 27996 w 526593"/>
                  <a:gd name="connsiteY39" fmla="*/ 326689 h 403224"/>
                  <a:gd name="connsiteX40" fmla="*/ 41125 w 526593"/>
                  <a:gd name="connsiteY40" fmla="*/ 320106 h 403224"/>
                  <a:gd name="connsiteX41" fmla="*/ 53434 w 526593"/>
                  <a:gd name="connsiteY41" fmla="*/ 302002 h 403224"/>
                  <a:gd name="connsiteX42" fmla="*/ 68205 w 526593"/>
                  <a:gd name="connsiteY42" fmla="*/ 281430 h 403224"/>
                  <a:gd name="connsiteX43" fmla="*/ 69025 w 526593"/>
                  <a:gd name="connsiteY43" fmla="*/ 269909 h 403224"/>
                  <a:gd name="connsiteX44" fmla="*/ 97746 w 526593"/>
                  <a:gd name="connsiteY44" fmla="*/ 234525 h 403224"/>
                  <a:gd name="connsiteX45" fmla="*/ 106773 w 526593"/>
                  <a:gd name="connsiteY45" fmla="*/ 217244 h 403224"/>
                  <a:gd name="connsiteX46" fmla="*/ 144520 w 526593"/>
                  <a:gd name="connsiteY46" fmla="*/ 182683 h 403224"/>
                  <a:gd name="connsiteX47" fmla="*/ 160932 w 526593"/>
                  <a:gd name="connsiteY47" fmla="*/ 161287 h 403224"/>
                  <a:gd name="connsiteX48" fmla="*/ 167497 w 526593"/>
                  <a:gd name="connsiteY48" fmla="*/ 147298 h 403224"/>
                  <a:gd name="connsiteX49" fmla="*/ 177344 w 526593"/>
                  <a:gd name="connsiteY49" fmla="*/ 126726 h 403224"/>
                  <a:gd name="connsiteX50" fmla="*/ 192935 w 526593"/>
                  <a:gd name="connsiteY50" fmla="*/ 94633 h 403224"/>
                  <a:gd name="connsiteX51" fmla="*/ 210167 w 526593"/>
                  <a:gd name="connsiteY51" fmla="*/ 76529 h 403224"/>
                  <a:gd name="connsiteX52" fmla="*/ 225759 w 526593"/>
                  <a:gd name="connsiteY52" fmla="*/ 68300 h 403224"/>
                  <a:gd name="connsiteX53" fmla="*/ 250376 w 526593"/>
                  <a:gd name="connsiteY53" fmla="*/ 54311 h 403224"/>
                  <a:gd name="connsiteX54" fmla="*/ 257762 w 526593"/>
                  <a:gd name="connsiteY54" fmla="*/ 45259 h 403224"/>
                  <a:gd name="connsiteX55" fmla="*/ 273353 w 526593"/>
                  <a:gd name="connsiteY55" fmla="*/ 18927 h 403224"/>
                  <a:gd name="connsiteX56" fmla="*/ 288124 w 526593"/>
                  <a:gd name="connsiteY56" fmla="*/ 823 h 403224"/>
                  <a:gd name="connsiteX57" fmla="*/ 288124 w 526593"/>
                  <a:gd name="connsiteY57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52285 w 526593"/>
                  <a:gd name="connsiteY12" fmla="*/ 67458 h 403224"/>
                  <a:gd name="connsiteX13" fmla="*/ 479726 w 526593"/>
                  <a:gd name="connsiteY13" fmla="*/ 55401 h 403224"/>
                  <a:gd name="connsiteX14" fmla="*/ 510971 w 526593"/>
                  <a:gd name="connsiteY14" fmla="*/ 55401 h 403224"/>
                  <a:gd name="connsiteX15" fmla="*/ 514260 w 526593"/>
                  <a:gd name="connsiteY15" fmla="*/ 46356 h 403224"/>
                  <a:gd name="connsiteX16" fmla="*/ 514260 w 526593"/>
                  <a:gd name="connsiteY16" fmla="*/ 45534 h 403224"/>
                  <a:gd name="connsiteX17" fmla="*/ 517137 w 526593"/>
                  <a:gd name="connsiteY17" fmla="*/ 33302 h 403224"/>
                  <a:gd name="connsiteX18" fmla="*/ 517549 w 526593"/>
                  <a:gd name="connsiteY18" fmla="*/ 31555 h 403224"/>
                  <a:gd name="connsiteX19" fmla="*/ 515390 w 526593"/>
                  <a:gd name="connsiteY19" fmla="*/ 16446 h 403224"/>
                  <a:gd name="connsiteX20" fmla="*/ 515082 w 526593"/>
                  <a:gd name="connsiteY20" fmla="*/ 14287 h 403224"/>
                  <a:gd name="connsiteX21" fmla="*/ 526593 w 526593"/>
                  <a:gd name="connsiteY21" fmla="*/ 15109 h 403224"/>
                  <a:gd name="connsiteX22" fmla="*/ 523304 w 526593"/>
                  <a:gd name="connsiteY22" fmla="*/ 38133 h 403224"/>
                  <a:gd name="connsiteX23" fmla="*/ 510971 w 526593"/>
                  <a:gd name="connsiteY23" fmla="*/ 117894 h 403224"/>
                  <a:gd name="connsiteX24" fmla="*/ 325969 w 526593"/>
                  <a:gd name="connsiteY24" fmla="*/ 108027 h 403224"/>
                  <a:gd name="connsiteX25" fmla="*/ 301302 w 526593"/>
                  <a:gd name="connsiteY25" fmla="*/ 265904 h 403224"/>
                  <a:gd name="connsiteX26" fmla="*/ 270879 w 526593"/>
                  <a:gd name="connsiteY26" fmla="*/ 274127 h 403224"/>
                  <a:gd name="connsiteX27" fmla="*/ 234701 w 526593"/>
                  <a:gd name="connsiteY27" fmla="*/ 296328 h 403224"/>
                  <a:gd name="connsiteX28" fmla="*/ 231412 w 526593"/>
                  <a:gd name="connsiteY28" fmla="*/ 322641 h 403224"/>
                  <a:gd name="connsiteX29" fmla="*/ 225657 w 526593"/>
                  <a:gd name="connsiteY29" fmla="*/ 395001 h 403224"/>
                  <a:gd name="connsiteX30" fmla="*/ 24210 w 526593"/>
                  <a:gd name="connsiteY30" fmla="*/ 384312 h 403224"/>
                  <a:gd name="connsiteX31" fmla="*/ 5299 w 526593"/>
                  <a:gd name="connsiteY31" fmla="*/ 392535 h 403224"/>
                  <a:gd name="connsiteX32" fmla="*/ 365 w 526593"/>
                  <a:gd name="connsiteY32" fmla="*/ 403224 h 403224"/>
                  <a:gd name="connsiteX33" fmla="*/ 365 w 526593"/>
                  <a:gd name="connsiteY33" fmla="*/ 395824 h 403224"/>
                  <a:gd name="connsiteX34" fmla="*/ 6943 w 526593"/>
                  <a:gd name="connsiteY34" fmla="*/ 373622 h 403224"/>
                  <a:gd name="connsiteX35" fmla="*/ 63677 w 526593"/>
                  <a:gd name="connsiteY35" fmla="*/ 374444 h 403224"/>
                  <a:gd name="connsiteX36" fmla="*/ 7481 w 526593"/>
                  <a:gd name="connsiteY36" fmla="*/ 374417 h 403224"/>
                  <a:gd name="connsiteX37" fmla="*/ 12405 w 526593"/>
                  <a:gd name="connsiteY37" fmla="*/ 353845 h 403224"/>
                  <a:gd name="connsiteX38" fmla="*/ 27996 w 526593"/>
                  <a:gd name="connsiteY38" fmla="*/ 326689 h 403224"/>
                  <a:gd name="connsiteX39" fmla="*/ 41125 w 526593"/>
                  <a:gd name="connsiteY39" fmla="*/ 320106 h 403224"/>
                  <a:gd name="connsiteX40" fmla="*/ 53434 w 526593"/>
                  <a:gd name="connsiteY40" fmla="*/ 302002 h 403224"/>
                  <a:gd name="connsiteX41" fmla="*/ 68205 w 526593"/>
                  <a:gd name="connsiteY41" fmla="*/ 281430 h 403224"/>
                  <a:gd name="connsiteX42" fmla="*/ 69025 w 526593"/>
                  <a:gd name="connsiteY42" fmla="*/ 269909 h 403224"/>
                  <a:gd name="connsiteX43" fmla="*/ 97746 w 526593"/>
                  <a:gd name="connsiteY43" fmla="*/ 234525 h 403224"/>
                  <a:gd name="connsiteX44" fmla="*/ 106773 w 526593"/>
                  <a:gd name="connsiteY44" fmla="*/ 217244 h 403224"/>
                  <a:gd name="connsiteX45" fmla="*/ 144520 w 526593"/>
                  <a:gd name="connsiteY45" fmla="*/ 182683 h 403224"/>
                  <a:gd name="connsiteX46" fmla="*/ 160932 w 526593"/>
                  <a:gd name="connsiteY46" fmla="*/ 161287 h 403224"/>
                  <a:gd name="connsiteX47" fmla="*/ 167497 w 526593"/>
                  <a:gd name="connsiteY47" fmla="*/ 147298 h 403224"/>
                  <a:gd name="connsiteX48" fmla="*/ 177344 w 526593"/>
                  <a:gd name="connsiteY48" fmla="*/ 126726 h 403224"/>
                  <a:gd name="connsiteX49" fmla="*/ 192935 w 526593"/>
                  <a:gd name="connsiteY49" fmla="*/ 94633 h 403224"/>
                  <a:gd name="connsiteX50" fmla="*/ 210167 w 526593"/>
                  <a:gd name="connsiteY50" fmla="*/ 76529 h 403224"/>
                  <a:gd name="connsiteX51" fmla="*/ 225759 w 526593"/>
                  <a:gd name="connsiteY51" fmla="*/ 68300 h 403224"/>
                  <a:gd name="connsiteX52" fmla="*/ 250376 w 526593"/>
                  <a:gd name="connsiteY52" fmla="*/ 54311 h 403224"/>
                  <a:gd name="connsiteX53" fmla="*/ 257762 w 526593"/>
                  <a:gd name="connsiteY53" fmla="*/ 45259 h 403224"/>
                  <a:gd name="connsiteX54" fmla="*/ 273353 w 526593"/>
                  <a:gd name="connsiteY54" fmla="*/ 18927 h 403224"/>
                  <a:gd name="connsiteX55" fmla="*/ 288124 w 526593"/>
                  <a:gd name="connsiteY55" fmla="*/ 823 h 403224"/>
                  <a:gd name="connsiteX56" fmla="*/ 288124 w 526593"/>
                  <a:gd name="connsiteY56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52285 w 526593"/>
                  <a:gd name="connsiteY12" fmla="*/ 67458 h 403224"/>
                  <a:gd name="connsiteX13" fmla="*/ 479726 w 526593"/>
                  <a:gd name="connsiteY13" fmla="*/ 55401 h 403224"/>
                  <a:gd name="connsiteX14" fmla="*/ 510971 w 526593"/>
                  <a:gd name="connsiteY14" fmla="*/ 55401 h 403224"/>
                  <a:gd name="connsiteX15" fmla="*/ 514260 w 526593"/>
                  <a:gd name="connsiteY15" fmla="*/ 46356 h 403224"/>
                  <a:gd name="connsiteX16" fmla="*/ 514260 w 526593"/>
                  <a:gd name="connsiteY16" fmla="*/ 45534 h 403224"/>
                  <a:gd name="connsiteX17" fmla="*/ 517137 w 526593"/>
                  <a:gd name="connsiteY17" fmla="*/ 33302 h 403224"/>
                  <a:gd name="connsiteX18" fmla="*/ 517549 w 526593"/>
                  <a:gd name="connsiteY18" fmla="*/ 31555 h 403224"/>
                  <a:gd name="connsiteX19" fmla="*/ 515390 w 526593"/>
                  <a:gd name="connsiteY19" fmla="*/ 16446 h 403224"/>
                  <a:gd name="connsiteX20" fmla="*/ 515082 w 526593"/>
                  <a:gd name="connsiteY20" fmla="*/ 14287 h 403224"/>
                  <a:gd name="connsiteX21" fmla="*/ 526593 w 526593"/>
                  <a:gd name="connsiteY21" fmla="*/ 15109 h 403224"/>
                  <a:gd name="connsiteX22" fmla="*/ 523304 w 526593"/>
                  <a:gd name="connsiteY22" fmla="*/ 38133 h 403224"/>
                  <a:gd name="connsiteX23" fmla="*/ 510971 w 526593"/>
                  <a:gd name="connsiteY23" fmla="*/ 117894 h 403224"/>
                  <a:gd name="connsiteX24" fmla="*/ 325969 w 526593"/>
                  <a:gd name="connsiteY24" fmla="*/ 108027 h 403224"/>
                  <a:gd name="connsiteX25" fmla="*/ 301302 w 526593"/>
                  <a:gd name="connsiteY25" fmla="*/ 265904 h 403224"/>
                  <a:gd name="connsiteX26" fmla="*/ 270879 w 526593"/>
                  <a:gd name="connsiteY26" fmla="*/ 274127 h 403224"/>
                  <a:gd name="connsiteX27" fmla="*/ 234701 w 526593"/>
                  <a:gd name="connsiteY27" fmla="*/ 296328 h 403224"/>
                  <a:gd name="connsiteX28" fmla="*/ 231412 w 526593"/>
                  <a:gd name="connsiteY28" fmla="*/ 322641 h 403224"/>
                  <a:gd name="connsiteX29" fmla="*/ 225657 w 526593"/>
                  <a:gd name="connsiteY29" fmla="*/ 395001 h 403224"/>
                  <a:gd name="connsiteX30" fmla="*/ 24210 w 526593"/>
                  <a:gd name="connsiteY30" fmla="*/ 384312 h 403224"/>
                  <a:gd name="connsiteX31" fmla="*/ 5299 w 526593"/>
                  <a:gd name="connsiteY31" fmla="*/ 392535 h 403224"/>
                  <a:gd name="connsiteX32" fmla="*/ 365 w 526593"/>
                  <a:gd name="connsiteY32" fmla="*/ 403224 h 403224"/>
                  <a:gd name="connsiteX33" fmla="*/ 365 w 526593"/>
                  <a:gd name="connsiteY33" fmla="*/ 395824 h 403224"/>
                  <a:gd name="connsiteX34" fmla="*/ 6943 w 526593"/>
                  <a:gd name="connsiteY34" fmla="*/ 373622 h 403224"/>
                  <a:gd name="connsiteX35" fmla="*/ 7481 w 526593"/>
                  <a:gd name="connsiteY35" fmla="*/ 374417 h 403224"/>
                  <a:gd name="connsiteX36" fmla="*/ 12405 w 526593"/>
                  <a:gd name="connsiteY36" fmla="*/ 353845 h 403224"/>
                  <a:gd name="connsiteX37" fmla="*/ 27996 w 526593"/>
                  <a:gd name="connsiteY37" fmla="*/ 326689 h 403224"/>
                  <a:gd name="connsiteX38" fmla="*/ 41125 w 526593"/>
                  <a:gd name="connsiteY38" fmla="*/ 320106 h 403224"/>
                  <a:gd name="connsiteX39" fmla="*/ 53434 w 526593"/>
                  <a:gd name="connsiteY39" fmla="*/ 302002 h 403224"/>
                  <a:gd name="connsiteX40" fmla="*/ 68205 w 526593"/>
                  <a:gd name="connsiteY40" fmla="*/ 281430 h 403224"/>
                  <a:gd name="connsiteX41" fmla="*/ 69025 w 526593"/>
                  <a:gd name="connsiteY41" fmla="*/ 269909 h 403224"/>
                  <a:gd name="connsiteX42" fmla="*/ 97746 w 526593"/>
                  <a:gd name="connsiteY42" fmla="*/ 234525 h 403224"/>
                  <a:gd name="connsiteX43" fmla="*/ 106773 w 526593"/>
                  <a:gd name="connsiteY43" fmla="*/ 217244 h 403224"/>
                  <a:gd name="connsiteX44" fmla="*/ 144520 w 526593"/>
                  <a:gd name="connsiteY44" fmla="*/ 182683 h 403224"/>
                  <a:gd name="connsiteX45" fmla="*/ 160932 w 526593"/>
                  <a:gd name="connsiteY45" fmla="*/ 161287 h 403224"/>
                  <a:gd name="connsiteX46" fmla="*/ 167497 w 526593"/>
                  <a:gd name="connsiteY46" fmla="*/ 147298 h 403224"/>
                  <a:gd name="connsiteX47" fmla="*/ 177344 w 526593"/>
                  <a:gd name="connsiteY47" fmla="*/ 126726 h 403224"/>
                  <a:gd name="connsiteX48" fmla="*/ 192935 w 526593"/>
                  <a:gd name="connsiteY48" fmla="*/ 94633 h 403224"/>
                  <a:gd name="connsiteX49" fmla="*/ 210167 w 526593"/>
                  <a:gd name="connsiteY49" fmla="*/ 76529 h 403224"/>
                  <a:gd name="connsiteX50" fmla="*/ 225759 w 526593"/>
                  <a:gd name="connsiteY50" fmla="*/ 68300 h 403224"/>
                  <a:gd name="connsiteX51" fmla="*/ 250376 w 526593"/>
                  <a:gd name="connsiteY51" fmla="*/ 54311 h 403224"/>
                  <a:gd name="connsiteX52" fmla="*/ 257762 w 526593"/>
                  <a:gd name="connsiteY52" fmla="*/ 45259 h 403224"/>
                  <a:gd name="connsiteX53" fmla="*/ 273353 w 526593"/>
                  <a:gd name="connsiteY53" fmla="*/ 18927 h 403224"/>
                  <a:gd name="connsiteX54" fmla="*/ 288124 w 526593"/>
                  <a:gd name="connsiteY54" fmla="*/ 823 h 403224"/>
                  <a:gd name="connsiteX55" fmla="*/ 288124 w 526593"/>
                  <a:gd name="connsiteY55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79726 w 526593"/>
                  <a:gd name="connsiteY12" fmla="*/ 55401 h 403224"/>
                  <a:gd name="connsiteX13" fmla="*/ 510971 w 526593"/>
                  <a:gd name="connsiteY13" fmla="*/ 55401 h 403224"/>
                  <a:gd name="connsiteX14" fmla="*/ 514260 w 526593"/>
                  <a:gd name="connsiteY14" fmla="*/ 46356 h 403224"/>
                  <a:gd name="connsiteX15" fmla="*/ 514260 w 526593"/>
                  <a:gd name="connsiteY15" fmla="*/ 45534 h 403224"/>
                  <a:gd name="connsiteX16" fmla="*/ 517137 w 526593"/>
                  <a:gd name="connsiteY16" fmla="*/ 33302 h 403224"/>
                  <a:gd name="connsiteX17" fmla="*/ 517549 w 526593"/>
                  <a:gd name="connsiteY17" fmla="*/ 31555 h 403224"/>
                  <a:gd name="connsiteX18" fmla="*/ 515390 w 526593"/>
                  <a:gd name="connsiteY18" fmla="*/ 16446 h 403224"/>
                  <a:gd name="connsiteX19" fmla="*/ 515082 w 526593"/>
                  <a:gd name="connsiteY19" fmla="*/ 14287 h 403224"/>
                  <a:gd name="connsiteX20" fmla="*/ 526593 w 526593"/>
                  <a:gd name="connsiteY20" fmla="*/ 15109 h 403224"/>
                  <a:gd name="connsiteX21" fmla="*/ 523304 w 526593"/>
                  <a:gd name="connsiteY21" fmla="*/ 38133 h 403224"/>
                  <a:gd name="connsiteX22" fmla="*/ 510971 w 526593"/>
                  <a:gd name="connsiteY22" fmla="*/ 117894 h 403224"/>
                  <a:gd name="connsiteX23" fmla="*/ 325969 w 526593"/>
                  <a:gd name="connsiteY23" fmla="*/ 108027 h 403224"/>
                  <a:gd name="connsiteX24" fmla="*/ 301302 w 526593"/>
                  <a:gd name="connsiteY24" fmla="*/ 265904 h 403224"/>
                  <a:gd name="connsiteX25" fmla="*/ 270879 w 526593"/>
                  <a:gd name="connsiteY25" fmla="*/ 274127 h 403224"/>
                  <a:gd name="connsiteX26" fmla="*/ 234701 w 526593"/>
                  <a:gd name="connsiteY26" fmla="*/ 296328 h 403224"/>
                  <a:gd name="connsiteX27" fmla="*/ 231412 w 526593"/>
                  <a:gd name="connsiteY27" fmla="*/ 322641 h 403224"/>
                  <a:gd name="connsiteX28" fmla="*/ 225657 w 526593"/>
                  <a:gd name="connsiteY28" fmla="*/ 395001 h 403224"/>
                  <a:gd name="connsiteX29" fmla="*/ 24210 w 526593"/>
                  <a:gd name="connsiteY29" fmla="*/ 384312 h 403224"/>
                  <a:gd name="connsiteX30" fmla="*/ 5299 w 526593"/>
                  <a:gd name="connsiteY30" fmla="*/ 392535 h 403224"/>
                  <a:gd name="connsiteX31" fmla="*/ 365 w 526593"/>
                  <a:gd name="connsiteY31" fmla="*/ 403224 h 403224"/>
                  <a:gd name="connsiteX32" fmla="*/ 365 w 526593"/>
                  <a:gd name="connsiteY32" fmla="*/ 395824 h 403224"/>
                  <a:gd name="connsiteX33" fmla="*/ 6943 w 526593"/>
                  <a:gd name="connsiteY33" fmla="*/ 373622 h 403224"/>
                  <a:gd name="connsiteX34" fmla="*/ 7481 w 526593"/>
                  <a:gd name="connsiteY34" fmla="*/ 374417 h 403224"/>
                  <a:gd name="connsiteX35" fmla="*/ 12405 w 526593"/>
                  <a:gd name="connsiteY35" fmla="*/ 353845 h 403224"/>
                  <a:gd name="connsiteX36" fmla="*/ 27996 w 526593"/>
                  <a:gd name="connsiteY36" fmla="*/ 326689 h 403224"/>
                  <a:gd name="connsiteX37" fmla="*/ 41125 w 526593"/>
                  <a:gd name="connsiteY37" fmla="*/ 320106 h 403224"/>
                  <a:gd name="connsiteX38" fmla="*/ 53434 w 526593"/>
                  <a:gd name="connsiteY38" fmla="*/ 302002 h 403224"/>
                  <a:gd name="connsiteX39" fmla="*/ 68205 w 526593"/>
                  <a:gd name="connsiteY39" fmla="*/ 281430 h 403224"/>
                  <a:gd name="connsiteX40" fmla="*/ 69025 w 526593"/>
                  <a:gd name="connsiteY40" fmla="*/ 269909 h 403224"/>
                  <a:gd name="connsiteX41" fmla="*/ 97746 w 526593"/>
                  <a:gd name="connsiteY41" fmla="*/ 234525 h 403224"/>
                  <a:gd name="connsiteX42" fmla="*/ 106773 w 526593"/>
                  <a:gd name="connsiteY42" fmla="*/ 217244 h 403224"/>
                  <a:gd name="connsiteX43" fmla="*/ 144520 w 526593"/>
                  <a:gd name="connsiteY43" fmla="*/ 182683 h 403224"/>
                  <a:gd name="connsiteX44" fmla="*/ 160932 w 526593"/>
                  <a:gd name="connsiteY44" fmla="*/ 161287 h 403224"/>
                  <a:gd name="connsiteX45" fmla="*/ 167497 w 526593"/>
                  <a:gd name="connsiteY45" fmla="*/ 147298 h 403224"/>
                  <a:gd name="connsiteX46" fmla="*/ 177344 w 526593"/>
                  <a:gd name="connsiteY46" fmla="*/ 126726 h 403224"/>
                  <a:gd name="connsiteX47" fmla="*/ 192935 w 526593"/>
                  <a:gd name="connsiteY47" fmla="*/ 94633 h 403224"/>
                  <a:gd name="connsiteX48" fmla="*/ 210167 w 526593"/>
                  <a:gd name="connsiteY48" fmla="*/ 76529 h 403224"/>
                  <a:gd name="connsiteX49" fmla="*/ 225759 w 526593"/>
                  <a:gd name="connsiteY49" fmla="*/ 68300 h 403224"/>
                  <a:gd name="connsiteX50" fmla="*/ 250376 w 526593"/>
                  <a:gd name="connsiteY50" fmla="*/ 54311 h 403224"/>
                  <a:gd name="connsiteX51" fmla="*/ 257762 w 526593"/>
                  <a:gd name="connsiteY51" fmla="*/ 45259 h 403224"/>
                  <a:gd name="connsiteX52" fmla="*/ 273353 w 526593"/>
                  <a:gd name="connsiteY52" fmla="*/ 18927 h 403224"/>
                  <a:gd name="connsiteX53" fmla="*/ 288124 w 526593"/>
                  <a:gd name="connsiteY53" fmla="*/ 823 h 403224"/>
                  <a:gd name="connsiteX54" fmla="*/ 288124 w 526593"/>
                  <a:gd name="connsiteY54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4197 w 526593"/>
                  <a:gd name="connsiteY4" fmla="*/ 43511 h 403224"/>
                  <a:gd name="connsiteX5" fmla="*/ 513787 w 526593"/>
                  <a:gd name="connsiteY5" fmla="*/ 45259 h 403224"/>
                  <a:gd name="connsiteX6" fmla="*/ 513787 w 526593"/>
                  <a:gd name="connsiteY6" fmla="*/ 51019 h 403224"/>
                  <a:gd name="connsiteX7" fmla="*/ 513787 w 526593"/>
                  <a:gd name="connsiteY7" fmla="*/ 51842 h 403224"/>
                  <a:gd name="connsiteX8" fmla="*/ 479322 w 526593"/>
                  <a:gd name="connsiteY8" fmla="*/ 55134 h 403224"/>
                  <a:gd name="connsiteX9" fmla="*/ 479726 w 526593"/>
                  <a:gd name="connsiteY9" fmla="*/ 55401 h 403224"/>
                  <a:gd name="connsiteX10" fmla="*/ 510971 w 526593"/>
                  <a:gd name="connsiteY10" fmla="*/ 55401 h 403224"/>
                  <a:gd name="connsiteX11" fmla="*/ 514260 w 526593"/>
                  <a:gd name="connsiteY11" fmla="*/ 46356 h 403224"/>
                  <a:gd name="connsiteX12" fmla="*/ 514260 w 526593"/>
                  <a:gd name="connsiteY12" fmla="*/ 45534 h 403224"/>
                  <a:gd name="connsiteX13" fmla="*/ 517137 w 526593"/>
                  <a:gd name="connsiteY13" fmla="*/ 33302 h 403224"/>
                  <a:gd name="connsiteX14" fmla="*/ 517549 w 526593"/>
                  <a:gd name="connsiteY14" fmla="*/ 31555 h 403224"/>
                  <a:gd name="connsiteX15" fmla="*/ 515390 w 526593"/>
                  <a:gd name="connsiteY15" fmla="*/ 16446 h 403224"/>
                  <a:gd name="connsiteX16" fmla="*/ 515082 w 526593"/>
                  <a:gd name="connsiteY16" fmla="*/ 14287 h 403224"/>
                  <a:gd name="connsiteX17" fmla="*/ 526593 w 526593"/>
                  <a:gd name="connsiteY17" fmla="*/ 15109 h 403224"/>
                  <a:gd name="connsiteX18" fmla="*/ 523304 w 526593"/>
                  <a:gd name="connsiteY18" fmla="*/ 38133 h 403224"/>
                  <a:gd name="connsiteX19" fmla="*/ 510971 w 526593"/>
                  <a:gd name="connsiteY19" fmla="*/ 117894 h 403224"/>
                  <a:gd name="connsiteX20" fmla="*/ 325969 w 526593"/>
                  <a:gd name="connsiteY20" fmla="*/ 108027 h 403224"/>
                  <a:gd name="connsiteX21" fmla="*/ 301302 w 526593"/>
                  <a:gd name="connsiteY21" fmla="*/ 265904 h 403224"/>
                  <a:gd name="connsiteX22" fmla="*/ 270879 w 526593"/>
                  <a:gd name="connsiteY22" fmla="*/ 274127 h 403224"/>
                  <a:gd name="connsiteX23" fmla="*/ 234701 w 526593"/>
                  <a:gd name="connsiteY23" fmla="*/ 296328 h 403224"/>
                  <a:gd name="connsiteX24" fmla="*/ 231412 w 526593"/>
                  <a:gd name="connsiteY24" fmla="*/ 322641 h 403224"/>
                  <a:gd name="connsiteX25" fmla="*/ 225657 w 526593"/>
                  <a:gd name="connsiteY25" fmla="*/ 395001 h 403224"/>
                  <a:gd name="connsiteX26" fmla="*/ 24210 w 526593"/>
                  <a:gd name="connsiteY26" fmla="*/ 384312 h 403224"/>
                  <a:gd name="connsiteX27" fmla="*/ 5299 w 526593"/>
                  <a:gd name="connsiteY27" fmla="*/ 392535 h 403224"/>
                  <a:gd name="connsiteX28" fmla="*/ 365 w 526593"/>
                  <a:gd name="connsiteY28" fmla="*/ 403224 h 403224"/>
                  <a:gd name="connsiteX29" fmla="*/ 365 w 526593"/>
                  <a:gd name="connsiteY29" fmla="*/ 395824 h 403224"/>
                  <a:gd name="connsiteX30" fmla="*/ 6943 w 526593"/>
                  <a:gd name="connsiteY30" fmla="*/ 373622 h 403224"/>
                  <a:gd name="connsiteX31" fmla="*/ 7481 w 526593"/>
                  <a:gd name="connsiteY31" fmla="*/ 374417 h 403224"/>
                  <a:gd name="connsiteX32" fmla="*/ 12405 w 526593"/>
                  <a:gd name="connsiteY32" fmla="*/ 353845 h 403224"/>
                  <a:gd name="connsiteX33" fmla="*/ 27996 w 526593"/>
                  <a:gd name="connsiteY33" fmla="*/ 326689 h 403224"/>
                  <a:gd name="connsiteX34" fmla="*/ 41125 w 526593"/>
                  <a:gd name="connsiteY34" fmla="*/ 320106 h 403224"/>
                  <a:gd name="connsiteX35" fmla="*/ 53434 w 526593"/>
                  <a:gd name="connsiteY35" fmla="*/ 302002 h 403224"/>
                  <a:gd name="connsiteX36" fmla="*/ 68205 w 526593"/>
                  <a:gd name="connsiteY36" fmla="*/ 281430 h 403224"/>
                  <a:gd name="connsiteX37" fmla="*/ 69025 w 526593"/>
                  <a:gd name="connsiteY37" fmla="*/ 269909 h 403224"/>
                  <a:gd name="connsiteX38" fmla="*/ 97746 w 526593"/>
                  <a:gd name="connsiteY38" fmla="*/ 234525 h 403224"/>
                  <a:gd name="connsiteX39" fmla="*/ 106773 w 526593"/>
                  <a:gd name="connsiteY39" fmla="*/ 217244 h 403224"/>
                  <a:gd name="connsiteX40" fmla="*/ 144520 w 526593"/>
                  <a:gd name="connsiteY40" fmla="*/ 182683 h 403224"/>
                  <a:gd name="connsiteX41" fmla="*/ 160932 w 526593"/>
                  <a:gd name="connsiteY41" fmla="*/ 161287 h 403224"/>
                  <a:gd name="connsiteX42" fmla="*/ 167497 w 526593"/>
                  <a:gd name="connsiteY42" fmla="*/ 147298 h 403224"/>
                  <a:gd name="connsiteX43" fmla="*/ 177344 w 526593"/>
                  <a:gd name="connsiteY43" fmla="*/ 126726 h 403224"/>
                  <a:gd name="connsiteX44" fmla="*/ 192935 w 526593"/>
                  <a:gd name="connsiteY44" fmla="*/ 94633 h 403224"/>
                  <a:gd name="connsiteX45" fmla="*/ 210167 w 526593"/>
                  <a:gd name="connsiteY45" fmla="*/ 76529 h 403224"/>
                  <a:gd name="connsiteX46" fmla="*/ 225759 w 526593"/>
                  <a:gd name="connsiteY46" fmla="*/ 68300 h 403224"/>
                  <a:gd name="connsiteX47" fmla="*/ 250376 w 526593"/>
                  <a:gd name="connsiteY47" fmla="*/ 54311 h 403224"/>
                  <a:gd name="connsiteX48" fmla="*/ 257762 w 526593"/>
                  <a:gd name="connsiteY48" fmla="*/ 45259 h 403224"/>
                  <a:gd name="connsiteX49" fmla="*/ 273353 w 526593"/>
                  <a:gd name="connsiteY49" fmla="*/ 18927 h 403224"/>
                  <a:gd name="connsiteX50" fmla="*/ 288124 w 526593"/>
                  <a:gd name="connsiteY50" fmla="*/ 823 h 403224"/>
                  <a:gd name="connsiteX51" fmla="*/ 288124 w 526593"/>
                  <a:gd name="connsiteY51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4197 w 526593"/>
                  <a:gd name="connsiteY4" fmla="*/ 43511 h 403224"/>
                  <a:gd name="connsiteX5" fmla="*/ 513787 w 526593"/>
                  <a:gd name="connsiteY5" fmla="*/ 45259 h 403224"/>
                  <a:gd name="connsiteX6" fmla="*/ 513787 w 526593"/>
                  <a:gd name="connsiteY6" fmla="*/ 51019 h 403224"/>
                  <a:gd name="connsiteX7" fmla="*/ 513787 w 526593"/>
                  <a:gd name="connsiteY7" fmla="*/ 51842 h 403224"/>
                  <a:gd name="connsiteX8" fmla="*/ 479322 w 526593"/>
                  <a:gd name="connsiteY8" fmla="*/ 55134 h 403224"/>
                  <a:gd name="connsiteX9" fmla="*/ 510971 w 526593"/>
                  <a:gd name="connsiteY9" fmla="*/ 55401 h 403224"/>
                  <a:gd name="connsiteX10" fmla="*/ 514260 w 526593"/>
                  <a:gd name="connsiteY10" fmla="*/ 46356 h 403224"/>
                  <a:gd name="connsiteX11" fmla="*/ 514260 w 526593"/>
                  <a:gd name="connsiteY11" fmla="*/ 45534 h 403224"/>
                  <a:gd name="connsiteX12" fmla="*/ 517137 w 526593"/>
                  <a:gd name="connsiteY12" fmla="*/ 33302 h 403224"/>
                  <a:gd name="connsiteX13" fmla="*/ 517549 w 526593"/>
                  <a:gd name="connsiteY13" fmla="*/ 31555 h 403224"/>
                  <a:gd name="connsiteX14" fmla="*/ 515390 w 526593"/>
                  <a:gd name="connsiteY14" fmla="*/ 16446 h 403224"/>
                  <a:gd name="connsiteX15" fmla="*/ 515082 w 526593"/>
                  <a:gd name="connsiteY15" fmla="*/ 14287 h 403224"/>
                  <a:gd name="connsiteX16" fmla="*/ 526593 w 526593"/>
                  <a:gd name="connsiteY16" fmla="*/ 15109 h 403224"/>
                  <a:gd name="connsiteX17" fmla="*/ 523304 w 526593"/>
                  <a:gd name="connsiteY17" fmla="*/ 38133 h 403224"/>
                  <a:gd name="connsiteX18" fmla="*/ 510971 w 526593"/>
                  <a:gd name="connsiteY18" fmla="*/ 117894 h 403224"/>
                  <a:gd name="connsiteX19" fmla="*/ 325969 w 526593"/>
                  <a:gd name="connsiteY19" fmla="*/ 108027 h 403224"/>
                  <a:gd name="connsiteX20" fmla="*/ 301302 w 526593"/>
                  <a:gd name="connsiteY20" fmla="*/ 265904 h 403224"/>
                  <a:gd name="connsiteX21" fmla="*/ 270879 w 526593"/>
                  <a:gd name="connsiteY21" fmla="*/ 274127 h 403224"/>
                  <a:gd name="connsiteX22" fmla="*/ 234701 w 526593"/>
                  <a:gd name="connsiteY22" fmla="*/ 296328 h 403224"/>
                  <a:gd name="connsiteX23" fmla="*/ 231412 w 526593"/>
                  <a:gd name="connsiteY23" fmla="*/ 322641 h 403224"/>
                  <a:gd name="connsiteX24" fmla="*/ 225657 w 526593"/>
                  <a:gd name="connsiteY24" fmla="*/ 395001 h 403224"/>
                  <a:gd name="connsiteX25" fmla="*/ 24210 w 526593"/>
                  <a:gd name="connsiteY25" fmla="*/ 384312 h 403224"/>
                  <a:gd name="connsiteX26" fmla="*/ 5299 w 526593"/>
                  <a:gd name="connsiteY26" fmla="*/ 392535 h 403224"/>
                  <a:gd name="connsiteX27" fmla="*/ 365 w 526593"/>
                  <a:gd name="connsiteY27" fmla="*/ 403224 h 403224"/>
                  <a:gd name="connsiteX28" fmla="*/ 365 w 526593"/>
                  <a:gd name="connsiteY28" fmla="*/ 395824 h 403224"/>
                  <a:gd name="connsiteX29" fmla="*/ 6943 w 526593"/>
                  <a:gd name="connsiteY29" fmla="*/ 373622 h 403224"/>
                  <a:gd name="connsiteX30" fmla="*/ 7481 w 526593"/>
                  <a:gd name="connsiteY30" fmla="*/ 374417 h 403224"/>
                  <a:gd name="connsiteX31" fmla="*/ 12405 w 526593"/>
                  <a:gd name="connsiteY31" fmla="*/ 353845 h 403224"/>
                  <a:gd name="connsiteX32" fmla="*/ 27996 w 526593"/>
                  <a:gd name="connsiteY32" fmla="*/ 326689 h 403224"/>
                  <a:gd name="connsiteX33" fmla="*/ 41125 w 526593"/>
                  <a:gd name="connsiteY33" fmla="*/ 320106 h 403224"/>
                  <a:gd name="connsiteX34" fmla="*/ 53434 w 526593"/>
                  <a:gd name="connsiteY34" fmla="*/ 302002 h 403224"/>
                  <a:gd name="connsiteX35" fmla="*/ 68205 w 526593"/>
                  <a:gd name="connsiteY35" fmla="*/ 281430 h 403224"/>
                  <a:gd name="connsiteX36" fmla="*/ 69025 w 526593"/>
                  <a:gd name="connsiteY36" fmla="*/ 269909 h 403224"/>
                  <a:gd name="connsiteX37" fmla="*/ 97746 w 526593"/>
                  <a:gd name="connsiteY37" fmla="*/ 234525 h 403224"/>
                  <a:gd name="connsiteX38" fmla="*/ 106773 w 526593"/>
                  <a:gd name="connsiteY38" fmla="*/ 217244 h 403224"/>
                  <a:gd name="connsiteX39" fmla="*/ 144520 w 526593"/>
                  <a:gd name="connsiteY39" fmla="*/ 182683 h 403224"/>
                  <a:gd name="connsiteX40" fmla="*/ 160932 w 526593"/>
                  <a:gd name="connsiteY40" fmla="*/ 161287 h 403224"/>
                  <a:gd name="connsiteX41" fmla="*/ 167497 w 526593"/>
                  <a:gd name="connsiteY41" fmla="*/ 147298 h 403224"/>
                  <a:gd name="connsiteX42" fmla="*/ 177344 w 526593"/>
                  <a:gd name="connsiteY42" fmla="*/ 126726 h 403224"/>
                  <a:gd name="connsiteX43" fmla="*/ 192935 w 526593"/>
                  <a:gd name="connsiteY43" fmla="*/ 94633 h 403224"/>
                  <a:gd name="connsiteX44" fmla="*/ 210167 w 526593"/>
                  <a:gd name="connsiteY44" fmla="*/ 76529 h 403224"/>
                  <a:gd name="connsiteX45" fmla="*/ 225759 w 526593"/>
                  <a:gd name="connsiteY45" fmla="*/ 68300 h 403224"/>
                  <a:gd name="connsiteX46" fmla="*/ 250376 w 526593"/>
                  <a:gd name="connsiteY46" fmla="*/ 54311 h 403224"/>
                  <a:gd name="connsiteX47" fmla="*/ 257762 w 526593"/>
                  <a:gd name="connsiteY47" fmla="*/ 45259 h 403224"/>
                  <a:gd name="connsiteX48" fmla="*/ 273353 w 526593"/>
                  <a:gd name="connsiteY48" fmla="*/ 18927 h 403224"/>
                  <a:gd name="connsiteX49" fmla="*/ 288124 w 526593"/>
                  <a:gd name="connsiteY49" fmla="*/ 823 h 403224"/>
                  <a:gd name="connsiteX50" fmla="*/ 288124 w 526593"/>
                  <a:gd name="connsiteY50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4197 w 526593"/>
                  <a:gd name="connsiteY4" fmla="*/ 43511 h 403224"/>
                  <a:gd name="connsiteX5" fmla="*/ 513787 w 526593"/>
                  <a:gd name="connsiteY5" fmla="*/ 45259 h 403224"/>
                  <a:gd name="connsiteX6" fmla="*/ 513787 w 526593"/>
                  <a:gd name="connsiteY6" fmla="*/ 51019 h 403224"/>
                  <a:gd name="connsiteX7" fmla="*/ 513787 w 526593"/>
                  <a:gd name="connsiteY7" fmla="*/ 51842 h 403224"/>
                  <a:gd name="connsiteX8" fmla="*/ 510971 w 526593"/>
                  <a:gd name="connsiteY8" fmla="*/ 55401 h 403224"/>
                  <a:gd name="connsiteX9" fmla="*/ 514260 w 526593"/>
                  <a:gd name="connsiteY9" fmla="*/ 46356 h 403224"/>
                  <a:gd name="connsiteX10" fmla="*/ 514260 w 526593"/>
                  <a:gd name="connsiteY10" fmla="*/ 45534 h 403224"/>
                  <a:gd name="connsiteX11" fmla="*/ 517137 w 526593"/>
                  <a:gd name="connsiteY11" fmla="*/ 33302 h 403224"/>
                  <a:gd name="connsiteX12" fmla="*/ 517549 w 526593"/>
                  <a:gd name="connsiteY12" fmla="*/ 31555 h 403224"/>
                  <a:gd name="connsiteX13" fmla="*/ 515390 w 526593"/>
                  <a:gd name="connsiteY13" fmla="*/ 16446 h 403224"/>
                  <a:gd name="connsiteX14" fmla="*/ 515082 w 526593"/>
                  <a:gd name="connsiteY14" fmla="*/ 14287 h 403224"/>
                  <a:gd name="connsiteX15" fmla="*/ 526593 w 526593"/>
                  <a:gd name="connsiteY15" fmla="*/ 15109 h 403224"/>
                  <a:gd name="connsiteX16" fmla="*/ 523304 w 526593"/>
                  <a:gd name="connsiteY16" fmla="*/ 38133 h 403224"/>
                  <a:gd name="connsiteX17" fmla="*/ 510971 w 526593"/>
                  <a:gd name="connsiteY17" fmla="*/ 117894 h 403224"/>
                  <a:gd name="connsiteX18" fmla="*/ 325969 w 526593"/>
                  <a:gd name="connsiteY18" fmla="*/ 108027 h 403224"/>
                  <a:gd name="connsiteX19" fmla="*/ 301302 w 526593"/>
                  <a:gd name="connsiteY19" fmla="*/ 265904 h 403224"/>
                  <a:gd name="connsiteX20" fmla="*/ 270879 w 526593"/>
                  <a:gd name="connsiteY20" fmla="*/ 274127 h 403224"/>
                  <a:gd name="connsiteX21" fmla="*/ 234701 w 526593"/>
                  <a:gd name="connsiteY21" fmla="*/ 296328 h 403224"/>
                  <a:gd name="connsiteX22" fmla="*/ 231412 w 526593"/>
                  <a:gd name="connsiteY22" fmla="*/ 322641 h 403224"/>
                  <a:gd name="connsiteX23" fmla="*/ 225657 w 526593"/>
                  <a:gd name="connsiteY23" fmla="*/ 395001 h 403224"/>
                  <a:gd name="connsiteX24" fmla="*/ 24210 w 526593"/>
                  <a:gd name="connsiteY24" fmla="*/ 384312 h 403224"/>
                  <a:gd name="connsiteX25" fmla="*/ 5299 w 526593"/>
                  <a:gd name="connsiteY25" fmla="*/ 392535 h 403224"/>
                  <a:gd name="connsiteX26" fmla="*/ 365 w 526593"/>
                  <a:gd name="connsiteY26" fmla="*/ 403224 h 403224"/>
                  <a:gd name="connsiteX27" fmla="*/ 365 w 526593"/>
                  <a:gd name="connsiteY27" fmla="*/ 395824 h 403224"/>
                  <a:gd name="connsiteX28" fmla="*/ 6943 w 526593"/>
                  <a:gd name="connsiteY28" fmla="*/ 373622 h 403224"/>
                  <a:gd name="connsiteX29" fmla="*/ 7481 w 526593"/>
                  <a:gd name="connsiteY29" fmla="*/ 374417 h 403224"/>
                  <a:gd name="connsiteX30" fmla="*/ 12405 w 526593"/>
                  <a:gd name="connsiteY30" fmla="*/ 353845 h 403224"/>
                  <a:gd name="connsiteX31" fmla="*/ 27996 w 526593"/>
                  <a:gd name="connsiteY31" fmla="*/ 326689 h 403224"/>
                  <a:gd name="connsiteX32" fmla="*/ 41125 w 526593"/>
                  <a:gd name="connsiteY32" fmla="*/ 320106 h 403224"/>
                  <a:gd name="connsiteX33" fmla="*/ 53434 w 526593"/>
                  <a:gd name="connsiteY33" fmla="*/ 302002 h 403224"/>
                  <a:gd name="connsiteX34" fmla="*/ 68205 w 526593"/>
                  <a:gd name="connsiteY34" fmla="*/ 281430 h 403224"/>
                  <a:gd name="connsiteX35" fmla="*/ 69025 w 526593"/>
                  <a:gd name="connsiteY35" fmla="*/ 269909 h 403224"/>
                  <a:gd name="connsiteX36" fmla="*/ 97746 w 526593"/>
                  <a:gd name="connsiteY36" fmla="*/ 234525 h 403224"/>
                  <a:gd name="connsiteX37" fmla="*/ 106773 w 526593"/>
                  <a:gd name="connsiteY37" fmla="*/ 217244 h 403224"/>
                  <a:gd name="connsiteX38" fmla="*/ 144520 w 526593"/>
                  <a:gd name="connsiteY38" fmla="*/ 182683 h 403224"/>
                  <a:gd name="connsiteX39" fmla="*/ 160932 w 526593"/>
                  <a:gd name="connsiteY39" fmla="*/ 161287 h 403224"/>
                  <a:gd name="connsiteX40" fmla="*/ 167497 w 526593"/>
                  <a:gd name="connsiteY40" fmla="*/ 147298 h 403224"/>
                  <a:gd name="connsiteX41" fmla="*/ 177344 w 526593"/>
                  <a:gd name="connsiteY41" fmla="*/ 126726 h 403224"/>
                  <a:gd name="connsiteX42" fmla="*/ 192935 w 526593"/>
                  <a:gd name="connsiteY42" fmla="*/ 94633 h 403224"/>
                  <a:gd name="connsiteX43" fmla="*/ 210167 w 526593"/>
                  <a:gd name="connsiteY43" fmla="*/ 76529 h 403224"/>
                  <a:gd name="connsiteX44" fmla="*/ 225759 w 526593"/>
                  <a:gd name="connsiteY44" fmla="*/ 68300 h 403224"/>
                  <a:gd name="connsiteX45" fmla="*/ 250376 w 526593"/>
                  <a:gd name="connsiteY45" fmla="*/ 54311 h 403224"/>
                  <a:gd name="connsiteX46" fmla="*/ 257762 w 526593"/>
                  <a:gd name="connsiteY46" fmla="*/ 45259 h 403224"/>
                  <a:gd name="connsiteX47" fmla="*/ 273353 w 526593"/>
                  <a:gd name="connsiteY47" fmla="*/ 18927 h 403224"/>
                  <a:gd name="connsiteX48" fmla="*/ 288124 w 526593"/>
                  <a:gd name="connsiteY48" fmla="*/ 823 h 403224"/>
                  <a:gd name="connsiteX49" fmla="*/ 288124 w 526593"/>
                  <a:gd name="connsiteY49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4197 w 526593"/>
                  <a:gd name="connsiteY4" fmla="*/ 43511 h 403224"/>
                  <a:gd name="connsiteX5" fmla="*/ 513787 w 526593"/>
                  <a:gd name="connsiteY5" fmla="*/ 45259 h 403224"/>
                  <a:gd name="connsiteX6" fmla="*/ 513787 w 526593"/>
                  <a:gd name="connsiteY6" fmla="*/ 51019 h 403224"/>
                  <a:gd name="connsiteX7" fmla="*/ 513787 w 526593"/>
                  <a:gd name="connsiteY7" fmla="*/ 51842 h 403224"/>
                  <a:gd name="connsiteX8" fmla="*/ 514260 w 526593"/>
                  <a:gd name="connsiteY8" fmla="*/ 46356 h 403224"/>
                  <a:gd name="connsiteX9" fmla="*/ 514260 w 526593"/>
                  <a:gd name="connsiteY9" fmla="*/ 45534 h 403224"/>
                  <a:gd name="connsiteX10" fmla="*/ 517137 w 526593"/>
                  <a:gd name="connsiteY10" fmla="*/ 33302 h 403224"/>
                  <a:gd name="connsiteX11" fmla="*/ 517549 w 526593"/>
                  <a:gd name="connsiteY11" fmla="*/ 31555 h 403224"/>
                  <a:gd name="connsiteX12" fmla="*/ 515390 w 526593"/>
                  <a:gd name="connsiteY12" fmla="*/ 16446 h 403224"/>
                  <a:gd name="connsiteX13" fmla="*/ 515082 w 526593"/>
                  <a:gd name="connsiteY13" fmla="*/ 14287 h 403224"/>
                  <a:gd name="connsiteX14" fmla="*/ 526593 w 526593"/>
                  <a:gd name="connsiteY14" fmla="*/ 15109 h 403224"/>
                  <a:gd name="connsiteX15" fmla="*/ 523304 w 526593"/>
                  <a:gd name="connsiteY15" fmla="*/ 38133 h 403224"/>
                  <a:gd name="connsiteX16" fmla="*/ 510971 w 526593"/>
                  <a:gd name="connsiteY16" fmla="*/ 117894 h 403224"/>
                  <a:gd name="connsiteX17" fmla="*/ 325969 w 526593"/>
                  <a:gd name="connsiteY17" fmla="*/ 108027 h 403224"/>
                  <a:gd name="connsiteX18" fmla="*/ 301302 w 526593"/>
                  <a:gd name="connsiteY18" fmla="*/ 265904 h 403224"/>
                  <a:gd name="connsiteX19" fmla="*/ 270879 w 526593"/>
                  <a:gd name="connsiteY19" fmla="*/ 274127 h 403224"/>
                  <a:gd name="connsiteX20" fmla="*/ 234701 w 526593"/>
                  <a:gd name="connsiteY20" fmla="*/ 296328 h 403224"/>
                  <a:gd name="connsiteX21" fmla="*/ 231412 w 526593"/>
                  <a:gd name="connsiteY21" fmla="*/ 322641 h 403224"/>
                  <a:gd name="connsiteX22" fmla="*/ 225657 w 526593"/>
                  <a:gd name="connsiteY22" fmla="*/ 395001 h 403224"/>
                  <a:gd name="connsiteX23" fmla="*/ 24210 w 526593"/>
                  <a:gd name="connsiteY23" fmla="*/ 384312 h 403224"/>
                  <a:gd name="connsiteX24" fmla="*/ 5299 w 526593"/>
                  <a:gd name="connsiteY24" fmla="*/ 392535 h 403224"/>
                  <a:gd name="connsiteX25" fmla="*/ 365 w 526593"/>
                  <a:gd name="connsiteY25" fmla="*/ 403224 h 403224"/>
                  <a:gd name="connsiteX26" fmla="*/ 365 w 526593"/>
                  <a:gd name="connsiteY26" fmla="*/ 395824 h 403224"/>
                  <a:gd name="connsiteX27" fmla="*/ 6943 w 526593"/>
                  <a:gd name="connsiteY27" fmla="*/ 373622 h 403224"/>
                  <a:gd name="connsiteX28" fmla="*/ 7481 w 526593"/>
                  <a:gd name="connsiteY28" fmla="*/ 374417 h 403224"/>
                  <a:gd name="connsiteX29" fmla="*/ 12405 w 526593"/>
                  <a:gd name="connsiteY29" fmla="*/ 353845 h 403224"/>
                  <a:gd name="connsiteX30" fmla="*/ 27996 w 526593"/>
                  <a:gd name="connsiteY30" fmla="*/ 326689 h 403224"/>
                  <a:gd name="connsiteX31" fmla="*/ 41125 w 526593"/>
                  <a:gd name="connsiteY31" fmla="*/ 320106 h 403224"/>
                  <a:gd name="connsiteX32" fmla="*/ 53434 w 526593"/>
                  <a:gd name="connsiteY32" fmla="*/ 302002 h 403224"/>
                  <a:gd name="connsiteX33" fmla="*/ 68205 w 526593"/>
                  <a:gd name="connsiteY33" fmla="*/ 281430 h 403224"/>
                  <a:gd name="connsiteX34" fmla="*/ 69025 w 526593"/>
                  <a:gd name="connsiteY34" fmla="*/ 269909 h 403224"/>
                  <a:gd name="connsiteX35" fmla="*/ 97746 w 526593"/>
                  <a:gd name="connsiteY35" fmla="*/ 234525 h 403224"/>
                  <a:gd name="connsiteX36" fmla="*/ 106773 w 526593"/>
                  <a:gd name="connsiteY36" fmla="*/ 217244 h 403224"/>
                  <a:gd name="connsiteX37" fmla="*/ 144520 w 526593"/>
                  <a:gd name="connsiteY37" fmla="*/ 182683 h 403224"/>
                  <a:gd name="connsiteX38" fmla="*/ 160932 w 526593"/>
                  <a:gd name="connsiteY38" fmla="*/ 161287 h 403224"/>
                  <a:gd name="connsiteX39" fmla="*/ 167497 w 526593"/>
                  <a:gd name="connsiteY39" fmla="*/ 147298 h 403224"/>
                  <a:gd name="connsiteX40" fmla="*/ 177344 w 526593"/>
                  <a:gd name="connsiteY40" fmla="*/ 126726 h 403224"/>
                  <a:gd name="connsiteX41" fmla="*/ 192935 w 526593"/>
                  <a:gd name="connsiteY41" fmla="*/ 94633 h 403224"/>
                  <a:gd name="connsiteX42" fmla="*/ 210167 w 526593"/>
                  <a:gd name="connsiteY42" fmla="*/ 76529 h 403224"/>
                  <a:gd name="connsiteX43" fmla="*/ 225759 w 526593"/>
                  <a:gd name="connsiteY43" fmla="*/ 68300 h 403224"/>
                  <a:gd name="connsiteX44" fmla="*/ 250376 w 526593"/>
                  <a:gd name="connsiteY44" fmla="*/ 54311 h 403224"/>
                  <a:gd name="connsiteX45" fmla="*/ 257762 w 526593"/>
                  <a:gd name="connsiteY45" fmla="*/ 45259 h 403224"/>
                  <a:gd name="connsiteX46" fmla="*/ 273353 w 526593"/>
                  <a:gd name="connsiteY46" fmla="*/ 18927 h 403224"/>
                  <a:gd name="connsiteX47" fmla="*/ 288124 w 526593"/>
                  <a:gd name="connsiteY47" fmla="*/ 823 h 403224"/>
                  <a:gd name="connsiteX48" fmla="*/ 288124 w 526593"/>
                  <a:gd name="connsiteY48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4197 w 526593"/>
                  <a:gd name="connsiteY4" fmla="*/ 43511 h 403224"/>
                  <a:gd name="connsiteX5" fmla="*/ 513787 w 526593"/>
                  <a:gd name="connsiteY5" fmla="*/ 45259 h 403224"/>
                  <a:gd name="connsiteX6" fmla="*/ 513787 w 526593"/>
                  <a:gd name="connsiteY6" fmla="*/ 51019 h 403224"/>
                  <a:gd name="connsiteX7" fmla="*/ 513787 w 526593"/>
                  <a:gd name="connsiteY7" fmla="*/ 51842 h 403224"/>
                  <a:gd name="connsiteX8" fmla="*/ 514260 w 526593"/>
                  <a:gd name="connsiteY8" fmla="*/ 46356 h 403224"/>
                  <a:gd name="connsiteX9" fmla="*/ 517137 w 526593"/>
                  <a:gd name="connsiteY9" fmla="*/ 33302 h 403224"/>
                  <a:gd name="connsiteX10" fmla="*/ 517549 w 526593"/>
                  <a:gd name="connsiteY10" fmla="*/ 31555 h 403224"/>
                  <a:gd name="connsiteX11" fmla="*/ 515390 w 526593"/>
                  <a:gd name="connsiteY11" fmla="*/ 16446 h 403224"/>
                  <a:gd name="connsiteX12" fmla="*/ 515082 w 526593"/>
                  <a:gd name="connsiteY12" fmla="*/ 14287 h 403224"/>
                  <a:gd name="connsiteX13" fmla="*/ 526593 w 526593"/>
                  <a:gd name="connsiteY13" fmla="*/ 15109 h 403224"/>
                  <a:gd name="connsiteX14" fmla="*/ 523304 w 526593"/>
                  <a:gd name="connsiteY14" fmla="*/ 38133 h 403224"/>
                  <a:gd name="connsiteX15" fmla="*/ 510971 w 526593"/>
                  <a:gd name="connsiteY15" fmla="*/ 117894 h 403224"/>
                  <a:gd name="connsiteX16" fmla="*/ 325969 w 526593"/>
                  <a:gd name="connsiteY16" fmla="*/ 108027 h 403224"/>
                  <a:gd name="connsiteX17" fmla="*/ 301302 w 526593"/>
                  <a:gd name="connsiteY17" fmla="*/ 265904 h 403224"/>
                  <a:gd name="connsiteX18" fmla="*/ 270879 w 526593"/>
                  <a:gd name="connsiteY18" fmla="*/ 274127 h 403224"/>
                  <a:gd name="connsiteX19" fmla="*/ 234701 w 526593"/>
                  <a:gd name="connsiteY19" fmla="*/ 296328 h 403224"/>
                  <a:gd name="connsiteX20" fmla="*/ 231412 w 526593"/>
                  <a:gd name="connsiteY20" fmla="*/ 322641 h 403224"/>
                  <a:gd name="connsiteX21" fmla="*/ 225657 w 526593"/>
                  <a:gd name="connsiteY21" fmla="*/ 395001 h 403224"/>
                  <a:gd name="connsiteX22" fmla="*/ 24210 w 526593"/>
                  <a:gd name="connsiteY22" fmla="*/ 384312 h 403224"/>
                  <a:gd name="connsiteX23" fmla="*/ 5299 w 526593"/>
                  <a:gd name="connsiteY23" fmla="*/ 392535 h 403224"/>
                  <a:gd name="connsiteX24" fmla="*/ 365 w 526593"/>
                  <a:gd name="connsiteY24" fmla="*/ 403224 h 403224"/>
                  <a:gd name="connsiteX25" fmla="*/ 365 w 526593"/>
                  <a:gd name="connsiteY25" fmla="*/ 395824 h 403224"/>
                  <a:gd name="connsiteX26" fmla="*/ 6943 w 526593"/>
                  <a:gd name="connsiteY26" fmla="*/ 373622 h 403224"/>
                  <a:gd name="connsiteX27" fmla="*/ 7481 w 526593"/>
                  <a:gd name="connsiteY27" fmla="*/ 374417 h 403224"/>
                  <a:gd name="connsiteX28" fmla="*/ 12405 w 526593"/>
                  <a:gd name="connsiteY28" fmla="*/ 353845 h 403224"/>
                  <a:gd name="connsiteX29" fmla="*/ 27996 w 526593"/>
                  <a:gd name="connsiteY29" fmla="*/ 326689 h 403224"/>
                  <a:gd name="connsiteX30" fmla="*/ 41125 w 526593"/>
                  <a:gd name="connsiteY30" fmla="*/ 320106 h 403224"/>
                  <a:gd name="connsiteX31" fmla="*/ 53434 w 526593"/>
                  <a:gd name="connsiteY31" fmla="*/ 302002 h 403224"/>
                  <a:gd name="connsiteX32" fmla="*/ 68205 w 526593"/>
                  <a:gd name="connsiteY32" fmla="*/ 281430 h 403224"/>
                  <a:gd name="connsiteX33" fmla="*/ 69025 w 526593"/>
                  <a:gd name="connsiteY33" fmla="*/ 269909 h 403224"/>
                  <a:gd name="connsiteX34" fmla="*/ 97746 w 526593"/>
                  <a:gd name="connsiteY34" fmla="*/ 234525 h 403224"/>
                  <a:gd name="connsiteX35" fmla="*/ 106773 w 526593"/>
                  <a:gd name="connsiteY35" fmla="*/ 217244 h 403224"/>
                  <a:gd name="connsiteX36" fmla="*/ 144520 w 526593"/>
                  <a:gd name="connsiteY36" fmla="*/ 182683 h 403224"/>
                  <a:gd name="connsiteX37" fmla="*/ 160932 w 526593"/>
                  <a:gd name="connsiteY37" fmla="*/ 161287 h 403224"/>
                  <a:gd name="connsiteX38" fmla="*/ 167497 w 526593"/>
                  <a:gd name="connsiteY38" fmla="*/ 147298 h 403224"/>
                  <a:gd name="connsiteX39" fmla="*/ 177344 w 526593"/>
                  <a:gd name="connsiteY39" fmla="*/ 126726 h 403224"/>
                  <a:gd name="connsiteX40" fmla="*/ 192935 w 526593"/>
                  <a:gd name="connsiteY40" fmla="*/ 94633 h 403224"/>
                  <a:gd name="connsiteX41" fmla="*/ 210167 w 526593"/>
                  <a:gd name="connsiteY41" fmla="*/ 76529 h 403224"/>
                  <a:gd name="connsiteX42" fmla="*/ 225759 w 526593"/>
                  <a:gd name="connsiteY42" fmla="*/ 68300 h 403224"/>
                  <a:gd name="connsiteX43" fmla="*/ 250376 w 526593"/>
                  <a:gd name="connsiteY43" fmla="*/ 54311 h 403224"/>
                  <a:gd name="connsiteX44" fmla="*/ 257762 w 526593"/>
                  <a:gd name="connsiteY44" fmla="*/ 45259 h 403224"/>
                  <a:gd name="connsiteX45" fmla="*/ 273353 w 526593"/>
                  <a:gd name="connsiteY45" fmla="*/ 18927 h 403224"/>
                  <a:gd name="connsiteX46" fmla="*/ 288124 w 526593"/>
                  <a:gd name="connsiteY46" fmla="*/ 823 h 403224"/>
                  <a:gd name="connsiteX47" fmla="*/ 288124 w 526593"/>
                  <a:gd name="connsiteY47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4197 w 526593"/>
                  <a:gd name="connsiteY4" fmla="*/ 43511 h 403224"/>
                  <a:gd name="connsiteX5" fmla="*/ 513787 w 526593"/>
                  <a:gd name="connsiteY5" fmla="*/ 45259 h 403224"/>
                  <a:gd name="connsiteX6" fmla="*/ 513787 w 526593"/>
                  <a:gd name="connsiteY6" fmla="*/ 51019 h 403224"/>
                  <a:gd name="connsiteX7" fmla="*/ 513787 w 526593"/>
                  <a:gd name="connsiteY7" fmla="*/ 51842 h 403224"/>
                  <a:gd name="connsiteX8" fmla="*/ 514260 w 526593"/>
                  <a:gd name="connsiteY8" fmla="*/ 46356 h 403224"/>
                  <a:gd name="connsiteX9" fmla="*/ 517137 w 526593"/>
                  <a:gd name="connsiteY9" fmla="*/ 33302 h 403224"/>
                  <a:gd name="connsiteX10" fmla="*/ 517549 w 526593"/>
                  <a:gd name="connsiteY10" fmla="*/ 31555 h 403224"/>
                  <a:gd name="connsiteX11" fmla="*/ 515390 w 526593"/>
                  <a:gd name="connsiteY11" fmla="*/ 16446 h 403224"/>
                  <a:gd name="connsiteX12" fmla="*/ 515082 w 526593"/>
                  <a:gd name="connsiteY12" fmla="*/ 14287 h 403224"/>
                  <a:gd name="connsiteX13" fmla="*/ 526593 w 526593"/>
                  <a:gd name="connsiteY13" fmla="*/ 15109 h 403224"/>
                  <a:gd name="connsiteX14" fmla="*/ 510971 w 526593"/>
                  <a:gd name="connsiteY14" fmla="*/ 117894 h 403224"/>
                  <a:gd name="connsiteX15" fmla="*/ 325969 w 526593"/>
                  <a:gd name="connsiteY15" fmla="*/ 108027 h 403224"/>
                  <a:gd name="connsiteX16" fmla="*/ 301302 w 526593"/>
                  <a:gd name="connsiteY16" fmla="*/ 265904 h 403224"/>
                  <a:gd name="connsiteX17" fmla="*/ 270879 w 526593"/>
                  <a:gd name="connsiteY17" fmla="*/ 274127 h 403224"/>
                  <a:gd name="connsiteX18" fmla="*/ 234701 w 526593"/>
                  <a:gd name="connsiteY18" fmla="*/ 296328 h 403224"/>
                  <a:gd name="connsiteX19" fmla="*/ 231412 w 526593"/>
                  <a:gd name="connsiteY19" fmla="*/ 322641 h 403224"/>
                  <a:gd name="connsiteX20" fmla="*/ 225657 w 526593"/>
                  <a:gd name="connsiteY20" fmla="*/ 395001 h 403224"/>
                  <a:gd name="connsiteX21" fmla="*/ 24210 w 526593"/>
                  <a:gd name="connsiteY21" fmla="*/ 384312 h 403224"/>
                  <a:gd name="connsiteX22" fmla="*/ 5299 w 526593"/>
                  <a:gd name="connsiteY22" fmla="*/ 392535 h 403224"/>
                  <a:gd name="connsiteX23" fmla="*/ 365 w 526593"/>
                  <a:gd name="connsiteY23" fmla="*/ 403224 h 403224"/>
                  <a:gd name="connsiteX24" fmla="*/ 365 w 526593"/>
                  <a:gd name="connsiteY24" fmla="*/ 395824 h 403224"/>
                  <a:gd name="connsiteX25" fmla="*/ 6943 w 526593"/>
                  <a:gd name="connsiteY25" fmla="*/ 373622 h 403224"/>
                  <a:gd name="connsiteX26" fmla="*/ 7481 w 526593"/>
                  <a:gd name="connsiteY26" fmla="*/ 374417 h 403224"/>
                  <a:gd name="connsiteX27" fmla="*/ 12405 w 526593"/>
                  <a:gd name="connsiteY27" fmla="*/ 353845 h 403224"/>
                  <a:gd name="connsiteX28" fmla="*/ 27996 w 526593"/>
                  <a:gd name="connsiteY28" fmla="*/ 326689 h 403224"/>
                  <a:gd name="connsiteX29" fmla="*/ 41125 w 526593"/>
                  <a:gd name="connsiteY29" fmla="*/ 320106 h 403224"/>
                  <a:gd name="connsiteX30" fmla="*/ 53434 w 526593"/>
                  <a:gd name="connsiteY30" fmla="*/ 302002 h 403224"/>
                  <a:gd name="connsiteX31" fmla="*/ 68205 w 526593"/>
                  <a:gd name="connsiteY31" fmla="*/ 281430 h 403224"/>
                  <a:gd name="connsiteX32" fmla="*/ 69025 w 526593"/>
                  <a:gd name="connsiteY32" fmla="*/ 269909 h 403224"/>
                  <a:gd name="connsiteX33" fmla="*/ 97746 w 526593"/>
                  <a:gd name="connsiteY33" fmla="*/ 234525 h 403224"/>
                  <a:gd name="connsiteX34" fmla="*/ 106773 w 526593"/>
                  <a:gd name="connsiteY34" fmla="*/ 217244 h 403224"/>
                  <a:gd name="connsiteX35" fmla="*/ 144520 w 526593"/>
                  <a:gd name="connsiteY35" fmla="*/ 182683 h 403224"/>
                  <a:gd name="connsiteX36" fmla="*/ 160932 w 526593"/>
                  <a:gd name="connsiteY36" fmla="*/ 161287 h 403224"/>
                  <a:gd name="connsiteX37" fmla="*/ 167497 w 526593"/>
                  <a:gd name="connsiteY37" fmla="*/ 147298 h 403224"/>
                  <a:gd name="connsiteX38" fmla="*/ 177344 w 526593"/>
                  <a:gd name="connsiteY38" fmla="*/ 126726 h 403224"/>
                  <a:gd name="connsiteX39" fmla="*/ 192935 w 526593"/>
                  <a:gd name="connsiteY39" fmla="*/ 94633 h 403224"/>
                  <a:gd name="connsiteX40" fmla="*/ 210167 w 526593"/>
                  <a:gd name="connsiteY40" fmla="*/ 76529 h 403224"/>
                  <a:gd name="connsiteX41" fmla="*/ 225759 w 526593"/>
                  <a:gd name="connsiteY41" fmla="*/ 68300 h 403224"/>
                  <a:gd name="connsiteX42" fmla="*/ 250376 w 526593"/>
                  <a:gd name="connsiteY42" fmla="*/ 54311 h 403224"/>
                  <a:gd name="connsiteX43" fmla="*/ 257762 w 526593"/>
                  <a:gd name="connsiteY43" fmla="*/ 45259 h 403224"/>
                  <a:gd name="connsiteX44" fmla="*/ 273353 w 526593"/>
                  <a:gd name="connsiteY44" fmla="*/ 18927 h 403224"/>
                  <a:gd name="connsiteX45" fmla="*/ 288124 w 526593"/>
                  <a:gd name="connsiteY45" fmla="*/ 823 h 403224"/>
                  <a:gd name="connsiteX46" fmla="*/ 288124 w 526593"/>
                  <a:gd name="connsiteY46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4197 w 526593"/>
                  <a:gd name="connsiteY4" fmla="*/ 43511 h 403224"/>
                  <a:gd name="connsiteX5" fmla="*/ 513787 w 526593"/>
                  <a:gd name="connsiteY5" fmla="*/ 45259 h 403224"/>
                  <a:gd name="connsiteX6" fmla="*/ 513787 w 526593"/>
                  <a:gd name="connsiteY6" fmla="*/ 51019 h 403224"/>
                  <a:gd name="connsiteX7" fmla="*/ 513787 w 526593"/>
                  <a:gd name="connsiteY7" fmla="*/ 51842 h 403224"/>
                  <a:gd name="connsiteX8" fmla="*/ 517137 w 526593"/>
                  <a:gd name="connsiteY8" fmla="*/ 33302 h 403224"/>
                  <a:gd name="connsiteX9" fmla="*/ 517549 w 526593"/>
                  <a:gd name="connsiteY9" fmla="*/ 31555 h 403224"/>
                  <a:gd name="connsiteX10" fmla="*/ 515390 w 526593"/>
                  <a:gd name="connsiteY10" fmla="*/ 16446 h 403224"/>
                  <a:gd name="connsiteX11" fmla="*/ 515082 w 526593"/>
                  <a:gd name="connsiteY11" fmla="*/ 14287 h 403224"/>
                  <a:gd name="connsiteX12" fmla="*/ 526593 w 526593"/>
                  <a:gd name="connsiteY12" fmla="*/ 15109 h 403224"/>
                  <a:gd name="connsiteX13" fmla="*/ 510971 w 526593"/>
                  <a:gd name="connsiteY13" fmla="*/ 117894 h 403224"/>
                  <a:gd name="connsiteX14" fmla="*/ 325969 w 526593"/>
                  <a:gd name="connsiteY14" fmla="*/ 108027 h 403224"/>
                  <a:gd name="connsiteX15" fmla="*/ 301302 w 526593"/>
                  <a:gd name="connsiteY15" fmla="*/ 265904 h 403224"/>
                  <a:gd name="connsiteX16" fmla="*/ 270879 w 526593"/>
                  <a:gd name="connsiteY16" fmla="*/ 274127 h 403224"/>
                  <a:gd name="connsiteX17" fmla="*/ 234701 w 526593"/>
                  <a:gd name="connsiteY17" fmla="*/ 296328 h 403224"/>
                  <a:gd name="connsiteX18" fmla="*/ 231412 w 526593"/>
                  <a:gd name="connsiteY18" fmla="*/ 322641 h 403224"/>
                  <a:gd name="connsiteX19" fmla="*/ 225657 w 526593"/>
                  <a:gd name="connsiteY19" fmla="*/ 395001 h 403224"/>
                  <a:gd name="connsiteX20" fmla="*/ 24210 w 526593"/>
                  <a:gd name="connsiteY20" fmla="*/ 384312 h 403224"/>
                  <a:gd name="connsiteX21" fmla="*/ 5299 w 526593"/>
                  <a:gd name="connsiteY21" fmla="*/ 392535 h 403224"/>
                  <a:gd name="connsiteX22" fmla="*/ 365 w 526593"/>
                  <a:gd name="connsiteY22" fmla="*/ 403224 h 403224"/>
                  <a:gd name="connsiteX23" fmla="*/ 365 w 526593"/>
                  <a:gd name="connsiteY23" fmla="*/ 395824 h 403224"/>
                  <a:gd name="connsiteX24" fmla="*/ 6943 w 526593"/>
                  <a:gd name="connsiteY24" fmla="*/ 373622 h 403224"/>
                  <a:gd name="connsiteX25" fmla="*/ 7481 w 526593"/>
                  <a:gd name="connsiteY25" fmla="*/ 374417 h 403224"/>
                  <a:gd name="connsiteX26" fmla="*/ 12405 w 526593"/>
                  <a:gd name="connsiteY26" fmla="*/ 353845 h 403224"/>
                  <a:gd name="connsiteX27" fmla="*/ 27996 w 526593"/>
                  <a:gd name="connsiteY27" fmla="*/ 326689 h 403224"/>
                  <a:gd name="connsiteX28" fmla="*/ 41125 w 526593"/>
                  <a:gd name="connsiteY28" fmla="*/ 320106 h 403224"/>
                  <a:gd name="connsiteX29" fmla="*/ 53434 w 526593"/>
                  <a:gd name="connsiteY29" fmla="*/ 302002 h 403224"/>
                  <a:gd name="connsiteX30" fmla="*/ 68205 w 526593"/>
                  <a:gd name="connsiteY30" fmla="*/ 281430 h 403224"/>
                  <a:gd name="connsiteX31" fmla="*/ 69025 w 526593"/>
                  <a:gd name="connsiteY31" fmla="*/ 269909 h 403224"/>
                  <a:gd name="connsiteX32" fmla="*/ 97746 w 526593"/>
                  <a:gd name="connsiteY32" fmla="*/ 234525 h 403224"/>
                  <a:gd name="connsiteX33" fmla="*/ 106773 w 526593"/>
                  <a:gd name="connsiteY33" fmla="*/ 217244 h 403224"/>
                  <a:gd name="connsiteX34" fmla="*/ 144520 w 526593"/>
                  <a:gd name="connsiteY34" fmla="*/ 182683 h 403224"/>
                  <a:gd name="connsiteX35" fmla="*/ 160932 w 526593"/>
                  <a:gd name="connsiteY35" fmla="*/ 161287 h 403224"/>
                  <a:gd name="connsiteX36" fmla="*/ 167497 w 526593"/>
                  <a:gd name="connsiteY36" fmla="*/ 147298 h 403224"/>
                  <a:gd name="connsiteX37" fmla="*/ 177344 w 526593"/>
                  <a:gd name="connsiteY37" fmla="*/ 126726 h 403224"/>
                  <a:gd name="connsiteX38" fmla="*/ 192935 w 526593"/>
                  <a:gd name="connsiteY38" fmla="*/ 94633 h 403224"/>
                  <a:gd name="connsiteX39" fmla="*/ 210167 w 526593"/>
                  <a:gd name="connsiteY39" fmla="*/ 76529 h 403224"/>
                  <a:gd name="connsiteX40" fmla="*/ 225759 w 526593"/>
                  <a:gd name="connsiteY40" fmla="*/ 68300 h 403224"/>
                  <a:gd name="connsiteX41" fmla="*/ 250376 w 526593"/>
                  <a:gd name="connsiteY41" fmla="*/ 54311 h 403224"/>
                  <a:gd name="connsiteX42" fmla="*/ 257762 w 526593"/>
                  <a:gd name="connsiteY42" fmla="*/ 45259 h 403224"/>
                  <a:gd name="connsiteX43" fmla="*/ 273353 w 526593"/>
                  <a:gd name="connsiteY43" fmla="*/ 18927 h 403224"/>
                  <a:gd name="connsiteX44" fmla="*/ 288124 w 526593"/>
                  <a:gd name="connsiteY44" fmla="*/ 823 h 403224"/>
                  <a:gd name="connsiteX45" fmla="*/ 288124 w 526593"/>
                  <a:gd name="connsiteY45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4197 w 526593"/>
                  <a:gd name="connsiteY4" fmla="*/ 43511 h 403224"/>
                  <a:gd name="connsiteX5" fmla="*/ 513787 w 526593"/>
                  <a:gd name="connsiteY5" fmla="*/ 45259 h 403224"/>
                  <a:gd name="connsiteX6" fmla="*/ 513787 w 526593"/>
                  <a:gd name="connsiteY6" fmla="*/ 51019 h 403224"/>
                  <a:gd name="connsiteX7" fmla="*/ 517137 w 526593"/>
                  <a:gd name="connsiteY7" fmla="*/ 33302 h 403224"/>
                  <a:gd name="connsiteX8" fmla="*/ 517549 w 526593"/>
                  <a:gd name="connsiteY8" fmla="*/ 31555 h 403224"/>
                  <a:gd name="connsiteX9" fmla="*/ 515390 w 526593"/>
                  <a:gd name="connsiteY9" fmla="*/ 16446 h 403224"/>
                  <a:gd name="connsiteX10" fmla="*/ 515082 w 526593"/>
                  <a:gd name="connsiteY10" fmla="*/ 14287 h 403224"/>
                  <a:gd name="connsiteX11" fmla="*/ 526593 w 526593"/>
                  <a:gd name="connsiteY11" fmla="*/ 15109 h 403224"/>
                  <a:gd name="connsiteX12" fmla="*/ 510971 w 526593"/>
                  <a:gd name="connsiteY12" fmla="*/ 117894 h 403224"/>
                  <a:gd name="connsiteX13" fmla="*/ 325969 w 526593"/>
                  <a:gd name="connsiteY13" fmla="*/ 108027 h 403224"/>
                  <a:gd name="connsiteX14" fmla="*/ 301302 w 526593"/>
                  <a:gd name="connsiteY14" fmla="*/ 265904 h 403224"/>
                  <a:gd name="connsiteX15" fmla="*/ 270879 w 526593"/>
                  <a:gd name="connsiteY15" fmla="*/ 274127 h 403224"/>
                  <a:gd name="connsiteX16" fmla="*/ 234701 w 526593"/>
                  <a:gd name="connsiteY16" fmla="*/ 296328 h 403224"/>
                  <a:gd name="connsiteX17" fmla="*/ 231412 w 526593"/>
                  <a:gd name="connsiteY17" fmla="*/ 322641 h 403224"/>
                  <a:gd name="connsiteX18" fmla="*/ 225657 w 526593"/>
                  <a:gd name="connsiteY18" fmla="*/ 395001 h 403224"/>
                  <a:gd name="connsiteX19" fmla="*/ 24210 w 526593"/>
                  <a:gd name="connsiteY19" fmla="*/ 384312 h 403224"/>
                  <a:gd name="connsiteX20" fmla="*/ 5299 w 526593"/>
                  <a:gd name="connsiteY20" fmla="*/ 392535 h 403224"/>
                  <a:gd name="connsiteX21" fmla="*/ 365 w 526593"/>
                  <a:gd name="connsiteY21" fmla="*/ 403224 h 403224"/>
                  <a:gd name="connsiteX22" fmla="*/ 365 w 526593"/>
                  <a:gd name="connsiteY22" fmla="*/ 395824 h 403224"/>
                  <a:gd name="connsiteX23" fmla="*/ 6943 w 526593"/>
                  <a:gd name="connsiteY23" fmla="*/ 373622 h 403224"/>
                  <a:gd name="connsiteX24" fmla="*/ 7481 w 526593"/>
                  <a:gd name="connsiteY24" fmla="*/ 374417 h 403224"/>
                  <a:gd name="connsiteX25" fmla="*/ 12405 w 526593"/>
                  <a:gd name="connsiteY25" fmla="*/ 353845 h 403224"/>
                  <a:gd name="connsiteX26" fmla="*/ 27996 w 526593"/>
                  <a:gd name="connsiteY26" fmla="*/ 326689 h 403224"/>
                  <a:gd name="connsiteX27" fmla="*/ 41125 w 526593"/>
                  <a:gd name="connsiteY27" fmla="*/ 320106 h 403224"/>
                  <a:gd name="connsiteX28" fmla="*/ 53434 w 526593"/>
                  <a:gd name="connsiteY28" fmla="*/ 302002 h 403224"/>
                  <a:gd name="connsiteX29" fmla="*/ 68205 w 526593"/>
                  <a:gd name="connsiteY29" fmla="*/ 281430 h 403224"/>
                  <a:gd name="connsiteX30" fmla="*/ 69025 w 526593"/>
                  <a:gd name="connsiteY30" fmla="*/ 269909 h 403224"/>
                  <a:gd name="connsiteX31" fmla="*/ 97746 w 526593"/>
                  <a:gd name="connsiteY31" fmla="*/ 234525 h 403224"/>
                  <a:gd name="connsiteX32" fmla="*/ 106773 w 526593"/>
                  <a:gd name="connsiteY32" fmla="*/ 217244 h 403224"/>
                  <a:gd name="connsiteX33" fmla="*/ 144520 w 526593"/>
                  <a:gd name="connsiteY33" fmla="*/ 182683 h 403224"/>
                  <a:gd name="connsiteX34" fmla="*/ 160932 w 526593"/>
                  <a:gd name="connsiteY34" fmla="*/ 161287 h 403224"/>
                  <a:gd name="connsiteX35" fmla="*/ 167497 w 526593"/>
                  <a:gd name="connsiteY35" fmla="*/ 147298 h 403224"/>
                  <a:gd name="connsiteX36" fmla="*/ 177344 w 526593"/>
                  <a:gd name="connsiteY36" fmla="*/ 126726 h 403224"/>
                  <a:gd name="connsiteX37" fmla="*/ 192935 w 526593"/>
                  <a:gd name="connsiteY37" fmla="*/ 94633 h 403224"/>
                  <a:gd name="connsiteX38" fmla="*/ 210167 w 526593"/>
                  <a:gd name="connsiteY38" fmla="*/ 76529 h 403224"/>
                  <a:gd name="connsiteX39" fmla="*/ 225759 w 526593"/>
                  <a:gd name="connsiteY39" fmla="*/ 68300 h 403224"/>
                  <a:gd name="connsiteX40" fmla="*/ 250376 w 526593"/>
                  <a:gd name="connsiteY40" fmla="*/ 54311 h 403224"/>
                  <a:gd name="connsiteX41" fmla="*/ 257762 w 526593"/>
                  <a:gd name="connsiteY41" fmla="*/ 45259 h 403224"/>
                  <a:gd name="connsiteX42" fmla="*/ 273353 w 526593"/>
                  <a:gd name="connsiteY42" fmla="*/ 18927 h 403224"/>
                  <a:gd name="connsiteX43" fmla="*/ 288124 w 526593"/>
                  <a:gd name="connsiteY43" fmla="*/ 823 h 403224"/>
                  <a:gd name="connsiteX44" fmla="*/ 288124 w 526593"/>
                  <a:gd name="connsiteY44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4197 w 526593"/>
                  <a:gd name="connsiteY4" fmla="*/ 43511 h 403224"/>
                  <a:gd name="connsiteX5" fmla="*/ 513787 w 526593"/>
                  <a:gd name="connsiteY5" fmla="*/ 45259 h 403224"/>
                  <a:gd name="connsiteX6" fmla="*/ 517137 w 526593"/>
                  <a:gd name="connsiteY6" fmla="*/ 33302 h 403224"/>
                  <a:gd name="connsiteX7" fmla="*/ 517549 w 526593"/>
                  <a:gd name="connsiteY7" fmla="*/ 31555 h 403224"/>
                  <a:gd name="connsiteX8" fmla="*/ 515390 w 526593"/>
                  <a:gd name="connsiteY8" fmla="*/ 16446 h 403224"/>
                  <a:gd name="connsiteX9" fmla="*/ 515082 w 526593"/>
                  <a:gd name="connsiteY9" fmla="*/ 14287 h 403224"/>
                  <a:gd name="connsiteX10" fmla="*/ 526593 w 526593"/>
                  <a:gd name="connsiteY10" fmla="*/ 15109 h 403224"/>
                  <a:gd name="connsiteX11" fmla="*/ 510971 w 526593"/>
                  <a:gd name="connsiteY11" fmla="*/ 117894 h 403224"/>
                  <a:gd name="connsiteX12" fmla="*/ 325969 w 526593"/>
                  <a:gd name="connsiteY12" fmla="*/ 108027 h 403224"/>
                  <a:gd name="connsiteX13" fmla="*/ 301302 w 526593"/>
                  <a:gd name="connsiteY13" fmla="*/ 265904 h 403224"/>
                  <a:gd name="connsiteX14" fmla="*/ 270879 w 526593"/>
                  <a:gd name="connsiteY14" fmla="*/ 274127 h 403224"/>
                  <a:gd name="connsiteX15" fmla="*/ 234701 w 526593"/>
                  <a:gd name="connsiteY15" fmla="*/ 296328 h 403224"/>
                  <a:gd name="connsiteX16" fmla="*/ 231412 w 526593"/>
                  <a:gd name="connsiteY16" fmla="*/ 322641 h 403224"/>
                  <a:gd name="connsiteX17" fmla="*/ 225657 w 526593"/>
                  <a:gd name="connsiteY17" fmla="*/ 395001 h 403224"/>
                  <a:gd name="connsiteX18" fmla="*/ 24210 w 526593"/>
                  <a:gd name="connsiteY18" fmla="*/ 384312 h 403224"/>
                  <a:gd name="connsiteX19" fmla="*/ 5299 w 526593"/>
                  <a:gd name="connsiteY19" fmla="*/ 392535 h 403224"/>
                  <a:gd name="connsiteX20" fmla="*/ 365 w 526593"/>
                  <a:gd name="connsiteY20" fmla="*/ 403224 h 403224"/>
                  <a:gd name="connsiteX21" fmla="*/ 365 w 526593"/>
                  <a:gd name="connsiteY21" fmla="*/ 395824 h 403224"/>
                  <a:gd name="connsiteX22" fmla="*/ 6943 w 526593"/>
                  <a:gd name="connsiteY22" fmla="*/ 373622 h 403224"/>
                  <a:gd name="connsiteX23" fmla="*/ 7481 w 526593"/>
                  <a:gd name="connsiteY23" fmla="*/ 374417 h 403224"/>
                  <a:gd name="connsiteX24" fmla="*/ 12405 w 526593"/>
                  <a:gd name="connsiteY24" fmla="*/ 353845 h 403224"/>
                  <a:gd name="connsiteX25" fmla="*/ 27996 w 526593"/>
                  <a:gd name="connsiteY25" fmla="*/ 326689 h 403224"/>
                  <a:gd name="connsiteX26" fmla="*/ 41125 w 526593"/>
                  <a:gd name="connsiteY26" fmla="*/ 320106 h 403224"/>
                  <a:gd name="connsiteX27" fmla="*/ 53434 w 526593"/>
                  <a:gd name="connsiteY27" fmla="*/ 302002 h 403224"/>
                  <a:gd name="connsiteX28" fmla="*/ 68205 w 526593"/>
                  <a:gd name="connsiteY28" fmla="*/ 281430 h 403224"/>
                  <a:gd name="connsiteX29" fmla="*/ 69025 w 526593"/>
                  <a:gd name="connsiteY29" fmla="*/ 269909 h 403224"/>
                  <a:gd name="connsiteX30" fmla="*/ 97746 w 526593"/>
                  <a:gd name="connsiteY30" fmla="*/ 234525 h 403224"/>
                  <a:gd name="connsiteX31" fmla="*/ 106773 w 526593"/>
                  <a:gd name="connsiteY31" fmla="*/ 217244 h 403224"/>
                  <a:gd name="connsiteX32" fmla="*/ 144520 w 526593"/>
                  <a:gd name="connsiteY32" fmla="*/ 182683 h 403224"/>
                  <a:gd name="connsiteX33" fmla="*/ 160932 w 526593"/>
                  <a:gd name="connsiteY33" fmla="*/ 161287 h 403224"/>
                  <a:gd name="connsiteX34" fmla="*/ 167497 w 526593"/>
                  <a:gd name="connsiteY34" fmla="*/ 147298 h 403224"/>
                  <a:gd name="connsiteX35" fmla="*/ 177344 w 526593"/>
                  <a:gd name="connsiteY35" fmla="*/ 126726 h 403224"/>
                  <a:gd name="connsiteX36" fmla="*/ 192935 w 526593"/>
                  <a:gd name="connsiteY36" fmla="*/ 94633 h 403224"/>
                  <a:gd name="connsiteX37" fmla="*/ 210167 w 526593"/>
                  <a:gd name="connsiteY37" fmla="*/ 76529 h 403224"/>
                  <a:gd name="connsiteX38" fmla="*/ 225759 w 526593"/>
                  <a:gd name="connsiteY38" fmla="*/ 68300 h 403224"/>
                  <a:gd name="connsiteX39" fmla="*/ 250376 w 526593"/>
                  <a:gd name="connsiteY39" fmla="*/ 54311 h 403224"/>
                  <a:gd name="connsiteX40" fmla="*/ 257762 w 526593"/>
                  <a:gd name="connsiteY40" fmla="*/ 45259 h 403224"/>
                  <a:gd name="connsiteX41" fmla="*/ 273353 w 526593"/>
                  <a:gd name="connsiteY41" fmla="*/ 18927 h 403224"/>
                  <a:gd name="connsiteX42" fmla="*/ 288124 w 526593"/>
                  <a:gd name="connsiteY42" fmla="*/ 823 h 403224"/>
                  <a:gd name="connsiteX43" fmla="*/ 288124 w 526593"/>
                  <a:gd name="connsiteY43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4197 w 526593"/>
                  <a:gd name="connsiteY4" fmla="*/ 43511 h 403224"/>
                  <a:gd name="connsiteX5" fmla="*/ 517137 w 526593"/>
                  <a:gd name="connsiteY5" fmla="*/ 33302 h 403224"/>
                  <a:gd name="connsiteX6" fmla="*/ 517549 w 526593"/>
                  <a:gd name="connsiteY6" fmla="*/ 31555 h 403224"/>
                  <a:gd name="connsiteX7" fmla="*/ 515390 w 526593"/>
                  <a:gd name="connsiteY7" fmla="*/ 16446 h 403224"/>
                  <a:gd name="connsiteX8" fmla="*/ 515082 w 526593"/>
                  <a:gd name="connsiteY8" fmla="*/ 14287 h 403224"/>
                  <a:gd name="connsiteX9" fmla="*/ 526593 w 526593"/>
                  <a:gd name="connsiteY9" fmla="*/ 15109 h 403224"/>
                  <a:gd name="connsiteX10" fmla="*/ 510971 w 526593"/>
                  <a:gd name="connsiteY10" fmla="*/ 117894 h 403224"/>
                  <a:gd name="connsiteX11" fmla="*/ 325969 w 526593"/>
                  <a:gd name="connsiteY11" fmla="*/ 108027 h 403224"/>
                  <a:gd name="connsiteX12" fmla="*/ 301302 w 526593"/>
                  <a:gd name="connsiteY12" fmla="*/ 265904 h 403224"/>
                  <a:gd name="connsiteX13" fmla="*/ 270879 w 526593"/>
                  <a:gd name="connsiteY13" fmla="*/ 274127 h 403224"/>
                  <a:gd name="connsiteX14" fmla="*/ 234701 w 526593"/>
                  <a:gd name="connsiteY14" fmla="*/ 296328 h 403224"/>
                  <a:gd name="connsiteX15" fmla="*/ 231412 w 526593"/>
                  <a:gd name="connsiteY15" fmla="*/ 322641 h 403224"/>
                  <a:gd name="connsiteX16" fmla="*/ 225657 w 526593"/>
                  <a:gd name="connsiteY16" fmla="*/ 395001 h 403224"/>
                  <a:gd name="connsiteX17" fmla="*/ 24210 w 526593"/>
                  <a:gd name="connsiteY17" fmla="*/ 384312 h 403224"/>
                  <a:gd name="connsiteX18" fmla="*/ 5299 w 526593"/>
                  <a:gd name="connsiteY18" fmla="*/ 392535 h 403224"/>
                  <a:gd name="connsiteX19" fmla="*/ 365 w 526593"/>
                  <a:gd name="connsiteY19" fmla="*/ 403224 h 403224"/>
                  <a:gd name="connsiteX20" fmla="*/ 365 w 526593"/>
                  <a:gd name="connsiteY20" fmla="*/ 395824 h 403224"/>
                  <a:gd name="connsiteX21" fmla="*/ 6943 w 526593"/>
                  <a:gd name="connsiteY21" fmla="*/ 373622 h 403224"/>
                  <a:gd name="connsiteX22" fmla="*/ 7481 w 526593"/>
                  <a:gd name="connsiteY22" fmla="*/ 374417 h 403224"/>
                  <a:gd name="connsiteX23" fmla="*/ 12405 w 526593"/>
                  <a:gd name="connsiteY23" fmla="*/ 353845 h 403224"/>
                  <a:gd name="connsiteX24" fmla="*/ 27996 w 526593"/>
                  <a:gd name="connsiteY24" fmla="*/ 326689 h 403224"/>
                  <a:gd name="connsiteX25" fmla="*/ 41125 w 526593"/>
                  <a:gd name="connsiteY25" fmla="*/ 320106 h 403224"/>
                  <a:gd name="connsiteX26" fmla="*/ 53434 w 526593"/>
                  <a:gd name="connsiteY26" fmla="*/ 302002 h 403224"/>
                  <a:gd name="connsiteX27" fmla="*/ 68205 w 526593"/>
                  <a:gd name="connsiteY27" fmla="*/ 281430 h 403224"/>
                  <a:gd name="connsiteX28" fmla="*/ 69025 w 526593"/>
                  <a:gd name="connsiteY28" fmla="*/ 269909 h 403224"/>
                  <a:gd name="connsiteX29" fmla="*/ 97746 w 526593"/>
                  <a:gd name="connsiteY29" fmla="*/ 234525 h 403224"/>
                  <a:gd name="connsiteX30" fmla="*/ 106773 w 526593"/>
                  <a:gd name="connsiteY30" fmla="*/ 217244 h 403224"/>
                  <a:gd name="connsiteX31" fmla="*/ 144520 w 526593"/>
                  <a:gd name="connsiteY31" fmla="*/ 182683 h 403224"/>
                  <a:gd name="connsiteX32" fmla="*/ 160932 w 526593"/>
                  <a:gd name="connsiteY32" fmla="*/ 161287 h 403224"/>
                  <a:gd name="connsiteX33" fmla="*/ 167497 w 526593"/>
                  <a:gd name="connsiteY33" fmla="*/ 147298 h 403224"/>
                  <a:gd name="connsiteX34" fmla="*/ 177344 w 526593"/>
                  <a:gd name="connsiteY34" fmla="*/ 126726 h 403224"/>
                  <a:gd name="connsiteX35" fmla="*/ 192935 w 526593"/>
                  <a:gd name="connsiteY35" fmla="*/ 94633 h 403224"/>
                  <a:gd name="connsiteX36" fmla="*/ 210167 w 526593"/>
                  <a:gd name="connsiteY36" fmla="*/ 76529 h 403224"/>
                  <a:gd name="connsiteX37" fmla="*/ 225759 w 526593"/>
                  <a:gd name="connsiteY37" fmla="*/ 68300 h 403224"/>
                  <a:gd name="connsiteX38" fmla="*/ 250376 w 526593"/>
                  <a:gd name="connsiteY38" fmla="*/ 54311 h 403224"/>
                  <a:gd name="connsiteX39" fmla="*/ 257762 w 526593"/>
                  <a:gd name="connsiteY39" fmla="*/ 45259 h 403224"/>
                  <a:gd name="connsiteX40" fmla="*/ 273353 w 526593"/>
                  <a:gd name="connsiteY40" fmla="*/ 18927 h 403224"/>
                  <a:gd name="connsiteX41" fmla="*/ 288124 w 526593"/>
                  <a:gd name="connsiteY41" fmla="*/ 823 h 403224"/>
                  <a:gd name="connsiteX42" fmla="*/ 288124 w 526593"/>
                  <a:gd name="connsiteY42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7137 w 526593"/>
                  <a:gd name="connsiteY4" fmla="*/ 33302 h 403224"/>
                  <a:gd name="connsiteX5" fmla="*/ 517549 w 526593"/>
                  <a:gd name="connsiteY5" fmla="*/ 31555 h 403224"/>
                  <a:gd name="connsiteX6" fmla="*/ 515390 w 526593"/>
                  <a:gd name="connsiteY6" fmla="*/ 16446 h 403224"/>
                  <a:gd name="connsiteX7" fmla="*/ 515082 w 526593"/>
                  <a:gd name="connsiteY7" fmla="*/ 14287 h 403224"/>
                  <a:gd name="connsiteX8" fmla="*/ 526593 w 526593"/>
                  <a:gd name="connsiteY8" fmla="*/ 15109 h 403224"/>
                  <a:gd name="connsiteX9" fmla="*/ 510971 w 526593"/>
                  <a:gd name="connsiteY9" fmla="*/ 117894 h 403224"/>
                  <a:gd name="connsiteX10" fmla="*/ 325969 w 526593"/>
                  <a:gd name="connsiteY10" fmla="*/ 108027 h 403224"/>
                  <a:gd name="connsiteX11" fmla="*/ 301302 w 526593"/>
                  <a:gd name="connsiteY11" fmla="*/ 265904 h 403224"/>
                  <a:gd name="connsiteX12" fmla="*/ 270879 w 526593"/>
                  <a:gd name="connsiteY12" fmla="*/ 274127 h 403224"/>
                  <a:gd name="connsiteX13" fmla="*/ 234701 w 526593"/>
                  <a:gd name="connsiteY13" fmla="*/ 296328 h 403224"/>
                  <a:gd name="connsiteX14" fmla="*/ 231412 w 526593"/>
                  <a:gd name="connsiteY14" fmla="*/ 322641 h 403224"/>
                  <a:gd name="connsiteX15" fmla="*/ 225657 w 526593"/>
                  <a:gd name="connsiteY15" fmla="*/ 395001 h 403224"/>
                  <a:gd name="connsiteX16" fmla="*/ 24210 w 526593"/>
                  <a:gd name="connsiteY16" fmla="*/ 384312 h 403224"/>
                  <a:gd name="connsiteX17" fmla="*/ 5299 w 526593"/>
                  <a:gd name="connsiteY17" fmla="*/ 392535 h 403224"/>
                  <a:gd name="connsiteX18" fmla="*/ 365 w 526593"/>
                  <a:gd name="connsiteY18" fmla="*/ 403224 h 403224"/>
                  <a:gd name="connsiteX19" fmla="*/ 365 w 526593"/>
                  <a:gd name="connsiteY19" fmla="*/ 395824 h 403224"/>
                  <a:gd name="connsiteX20" fmla="*/ 6943 w 526593"/>
                  <a:gd name="connsiteY20" fmla="*/ 373622 h 403224"/>
                  <a:gd name="connsiteX21" fmla="*/ 7481 w 526593"/>
                  <a:gd name="connsiteY21" fmla="*/ 374417 h 403224"/>
                  <a:gd name="connsiteX22" fmla="*/ 12405 w 526593"/>
                  <a:gd name="connsiteY22" fmla="*/ 353845 h 403224"/>
                  <a:gd name="connsiteX23" fmla="*/ 27996 w 526593"/>
                  <a:gd name="connsiteY23" fmla="*/ 326689 h 403224"/>
                  <a:gd name="connsiteX24" fmla="*/ 41125 w 526593"/>
                  <a:gd name="connsiteY24" fmla="*/ 320106 h 403224"/>
                  <a:gd name="connsiteX25" fmla="*/ 53434 w 526593"/>
                  <a:gd name="connsiteY25" fmla="*/ 302002 h 403224"/>
                  <a:gd name="connsiteX26" fmla="*/ 68205 w 526593"/>
                  <a:gd name="connsiteY26" fmla="*/ 281430 h 403224"/>
                  <a:gd name="connsiteX27" fmla="*/ 69025 w 526593"/>
                  <a:gd name="connsiteY27" fmla="*/ 269909 h 403224"/>
                  <a:gd name="connsiteX28" fmla="*/ 97746 w 526593"/>
                  <a:gd name="connsiteY28" fmla="*/ 234525 h 403224"/>
                  <a:gd name="connsiteX29" fmla="*/ 106773 w 526593"/>
                  <a:gd name="connsiteY29" fmla="*/ 217244 h 403224"/>
                  <a:gd name="connsiteX30" fmla="*/ 144520 w 526593"/>
                  <a:gd name="connsiteY30" fmla="*/ 182683 h 403224"/>
                  <a:gd name="connsiteX31" fmla="*/ 160932 w 526593"/>
                  <a:gd name="connsiteY31" fmla="*/ 161287 h 403224"/>
                  <a:gd name="connsiteX32" fmla="*/ 167497 w 526593"/>
                  <a:gd name="connsiteY32" fmla="*/ 147298 h 403224"/>
                  <a:gd name="connsiteX33" fmla="*/ 177344 w 526593"/>
                  <a:gd name="connsiteY33" fmla="*/ 126726 h 403224"/>
                  <a:gd name="connsiteX34" fmla="*/ 192935 w 526593"/>
                  <a:gd name="connsiteY34" fmla="*/ 94633 h 403224"/>
                  <a:gd name="connsiteX35" fmla="*/ 210167 w 526593"/>
                  <a:gd name="connsiteY35" fmla="*/ 76529 h 403224"/>
                  <a:gd name="connsiteX36" fmla="*/ 225759 w 526593"/>
                  <a:gd name="connsiteY36" fmla="*/ 68300 h 403224"/>
                  <a:gd name="connsiteX37" fmla="*/ 250376 w 526593"/>
                  <a:gd name="connsiteY37" fmla="*/ 54311 h 403224"/>
                  <a:gd name="connsiteX38" fmla="*/ 257762 w 526593"/>
                  <a:gd name="connsiteY38" fmla="*/ 45259 h 403224"/>
                  <a:gd name="connsiteX39" fmla="*/ 273353 w 526593"/>
                  <a:gd name="connsiteY39" fmla="*/ 18927 h 403224"/>
                  <a:gd name="connsiteX40" fmla="*/ 288124 w 526593"/>
                  <a:gd name="connsiteY40" fmla="*/ 823 h 403224"/>
                  <a:gd name="connsiteX41" fmla="*/ 288124 w 526593"/>
                  <a:gd name="connsiteY41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7137 w 526593"/>
                  <a:gd name="connsiteY4" fmla="*/ 33302 h 403224"/>
                  <a:gd name="connsiteX5" fmla="*/ 515390 w 526593"/>
                  <a:gd name="connsiteY5" fmla="*/ 16446 h 403224"/>
                  <a:gd name="connsiteX6" fmla="*/ 515082 w 526593"/>
                  <a:gd name="connsiteY6" fmla="*/ 14287 h 403224"/>
                  <a:gd name="connsiteX7" fmla="*/ 526593 w 526593"/>
                  <a:gd name="connsiteY7" fmla="*/ 15109 h 403224"/>
                  <a:gd name="connsiteX8" fmla="*/ 510971 w 526593"/>
                  <a:gd name="connsiteY8" fmla="*/ 117894 h 403224"/>
                  <a:gd name="connsiteX9" fmla="*/ 325969 w 526593"/>
                  <a:gd name="connsiteY9" fmla="*/ 108027 h 403224"/>
                  <a:gd name="connsiteX10" fmla="*/ 301302 w 526593"/>
                  <a:gd name="connsiteY10" fmla="*/ 265904 h 403224"/>
                  <a:gd name="connsiteX11" fmla="*/ 270879 w 526593"/>
                  <a:gd name="connsiteY11" fmla="*/ 274127 h 403224"/>
                  <a:gd name="connsiteX12" fmla="*/ 234701 w 526593"/>
                  <a:gd name="connsiteY12" fmla="*/ 296328 h 403224"/>
                  <a:gd name="connsiteX13" fmla="*/ 231412 w 526593"/>
                  <a:gd name="connsiteY13" fmla="*/ 322641 h 403224"/>
                  <a:gd name="connsiteX14" fmla="*/ 225657 w 526593"/>
                  <a:gd name="connsiteY14" fmla="*/ 395001 h 403224"/>
                  <a:gd name="connsiteX15" fmla="*/ 24210 w 526593"/>
                  <a:gd name="connsiteY15" fmla="*/ 384312 h 403224"/>
                  <a:gd name="connsiteX16" fmla="*/ 5299 w 526593"/>
                  <a:gd name="connsiteY16" fmla="*/ 392535 h 403224"/>
                  <a:gd name="connsiteX17" fmla="*/ 365 w 526593"/>
                  <a:gd name="connsiteY17" fmla="*/ 403224 h 403224"/>
                  <a:gd name="connsiteX18" fmla="*/ 365 w 526593"/>
                  <a:gd name="connsiteY18" fmla="*/ 395824 h 403224"/>
                  <a:gd name="connsiteX19" fmla="*/ 6943 w 526593"/>
                  <a:gd name="connsiteY19" fmla="*/ 373622 h 403224"/>
                  <a:gd name="connsiteX20" fmla="*/ 7481 w 526593"/>
                  <a:gd name="connsiteY20" fmla="*/ 374417 h 403224"/>
                  <a:gd name="connsiteX21" fmla="*/ 12405 w 526593"/>
                  <a:gd name="connsiteY21" fmla="*/ 353845 h 403224"/>
                  <a:gd name="connsiteX22" fmla="*/ 27996 w 526593"/>
                  <a:gd name="connsiteY22" fmla="*/ 326689 h 403224"/>
                  <a:gd name="connsiteX23" fmla="*/ 41125 w 526593"/>
                  <a:gd name="connsiteY23" fmla="*/ 320106 h 403224"/>
                  <a:gd name="connsiteX24" fmla="*/ 53434 w 526593"/>
                  <a:gd name="connsiteY24" fmla="*/ 302002 h 403224"/>
                  <a:gd name="connsiteX25" fmla="*/ 68205 w 526593"/>
                  <a:gd name="connsiteY25" fmla="*/ 281430 h 403224"/>
                  <a:gd name="connsiteX26" fmla="*/ 69025 w 526593"/>
                  <a:gd name="connsiteY26" fmla="*/ 269909 h 403224"/>
                  <a:gd name="connsiteX27" fmla="*/ 97746 w 526593"/>
                  <a:gd name="connsiteY27" fmla="*/ 234525 h 403224"/>
                  <a:gd name="connsiteX28" fmla="*/ 106773 w 526593"/>
                  <a:gd name="connsiteY28" fmla="*/ 217244 h 403224"/>
                  <a:gd name="connsiteX29" fmla="*/ 144520 w 526593"/>
                  <a:gd name="connsiteY29" fmla="*/ 182683 h 403224"/>
                  <a:gd name="connsiteX30" fmla="*/ 160932 w 526593"/>
                  <a:gd name="connsiteY30" fmla="*/ 161287 h 403224"/>
                  <a:gd name="connsiteX31" fmla="*/ 167497 w 526593"/>
                  <a:gd name="connsiteY31" fmla="*/ 147298 h 403224"/>
                  <a:gd name="connsiteX32" fmla="*/ 177344 w 526593"/>
                  <a:gd name="connsiteY32" fmla="*/ 126726 h 403224"/>
                  <a:gd name="connsiteX33" fmla="*/ 192935 w 526593"/>
                  <a:gd name="connsiteY33" fmla="*/ 94633 h 403224"/>
                  <a:gd name="connsiteX34" fmla="*/ 210167 w 526593"/>
                  <a:gd name="connsiteY34" fmla="*/ 76529 h 403224"/>
                  <a:gd name="connsiteX35" fmla="*/ 225759 w 526593"/>
                  <a:gd name="connsiteY35" fmla="*/ 68300 h 403224"/>
                  <a:gd name="connsiteX36" fmla="*/ 250376 w 526593"/>
                  <a:gd name="connsiteY36" fmla="*/ 54311 h 403224"/>
                  <a:gd name="connsiteX37" fmla="*/ 257762 w 526593"/>
                  <a:gd name="connsiteY37" fmla="*/ 45259 h 403224"/>
                  <a:gd name="connsiteX38" fmla="*/ 273353 w 526593"/>
                  <a:gd name="connsiteY38" fmla="*/ 18927 h 403224"/>
                  <a:gd name="connsiteX39" fmla="*/ 288124 w 526593"/>
                  <a:gd name="connsiteY39" fmla="*/ 823 h 403224"/>
                  <a:gd name="connsiteX40" fmla="*/ 288124 w 526593"/>
                  <a:gd name="connsiteY40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5390 w 526593"/>
                  <a:gd name="connsiteY4" fmla="*/ 16446 h 403224"/>
                  <a:gd name="connsiteX5" fmla="*/ 515082 w 526593"/>
                  <a:gd name="connsiteY5" fmla="*/ 14287 h 403224"/>
                  <a:gd name="connsiteX6" fmla="*/ 526593 w 526593"/>
                  <a:gd name="connsiteY6" fmla="*/ 15109 h 403224"/>
                  <a:gd name="connsiteX7" fmla="*/ 510971 w 526593"/>
                  <a:gd name="connsiteY7" fmla="*/ 117894 h 403224"/>
                  <a:gd name="connsiteX8" fmla="*/ 325969 w 526593"/>
                  <a:gd name="connsiteY8" fmla="*/ 108027 h 403224"/>
                  <a:gd name="connsiteX9" fmla="*/ 301302 w 526593"/>
                  <a:gd name="connsiteY9" fmla="*/ 265904 h 403224"/>
                  <a:gd name="connsiteX10" fmla="*/ 270879 w 526593"/>
                  <a:gd name="connsiteY10" fmla="*/ 274127 h 403224"/>
                  <a:gd name="connsiteX11" fmla="*/ 234701 w 526593"/>
                  <a:gd name="connsiteY11" fmla="*/ 296328 h 403224"/>
                  <a:gd name="connsiteX12" fmla="*/ 231412 w 526593"/>
                  <a:gd name="connsiteY12" fmla="*/ 322641 h 403224"/>
                  <a:gd name="connsiteX13" fmla="*/ 225657 w 526593"/>
                  <a:gd name="connsiteY13" fmla="*/ 395001 h 403224"/>
                  <a:gd name="connsiteX14" fmla="*/ 24210 w 526593"/>
                  <a:gd name="connsiteY14" fmla="*/ 384312 h 403224"/>
                  <a:gd name="connsiteX15" fmla="*/ 5299 w 526593"/>
                  <a:gd name="connsiteY15" fmla="*/ 392535 h 403224"/>
                  <a:gd name="connsiteX16" fmla="*/ 365 w 526593"/>
                  <a:gd name="connsiteY16" fmla="*/ 403224 h 403224"/>
                  <a:gd name="connsiteX17" fmla="*/ 365 w 526593"/>
                  <a:gd name="connsiteY17" fmla="*/ 395824 h 403224"/>
                  <a:gd name="connsiteX18" fmla="*/ 6943 w 526593"/>
                  <a:gd name="connsiteY18" fmla="*/ 373622 h 403224"/>
                  <a:gd name="connsiteX19" fmla="*/ 7481 w 526593"/>
                  <a:gd name="connsiteY19" fmla="*/ 374417 h 403224"/>
                  <a:gd name="connsiteX20" fmla="*/ 12405 w 526593"/>
                  <a:gd name="connsiteY20" fmla="*/ 353845 h 403224"/>
                  <a:gd name="connsiteX21" fmla="*/ 27996 w 526593"/>
                  <a:gd name="connsiteY21" fmla="*/ 326689 h 403224"/>
                  <a:gd name="connsiteX22" fmla="*/ 41125 w 526593"/>
                  <a:gd name="connsiteY22" fmla="*/ 320106 h 403224"/>
                  <a:gd name="connsiteX23" fmla="*/ 53434 w 526593"/>
                  <a:gd name="connsiteY23" fmla="*/ 302002 h 403224"/>
                  <a:gd name="connsiteX24" fmla="*/ 68205 w 526593"/>
                  <a:gd name="connsiteY24" fmla="*/ 281430 h 403224"/>
                  <a:gd name="connsiteX25" fmla="*/ 69025 w 526593"/>
                  <a:gd name="connsiteY25" fmla="*/ 269909 h 403224"/>
                  <a:gd name="connsiteX26" fmla="*/ 97746 w 526593"/>
                  <a:gd name="connsiteY26" fmla="*/ 234525 h 403224"/>
                  <a:gd name="connsiteX27" fmla="*/ 106773 w 526593"/>
                  <a:gd name="connsiteY27" fmla="*/ 217244 h 403224"/>
                  <a:gd name="connsiteX28" fmla="*/ 144520 w 526593"/>
                  <a:gd name="connsiteY28" fmla="*/ 182683 h 403224"/>
                  <a:gd name="connsiteX29" fmla="*/ 160932 w 526593"/>
                  <a:gd name="connsiteY29" fmla="*/ 161287 h 403224"/>
                  <a:gd name="connsiteX30" fmla="*/ 167497 w 526593"/>
                  <a:gd name="connsiteY30" fmla="*/ 147298 h 403224"/>
                  <a:gd name="connsiteX31" fmla="*/ 177344 w 526593"/>
                  <a:gd name="connsiteY31" fmla="*/ 126726 h 403224"/>
                  <a:gd name="connsiteX32" fmla="*/ 192935 w 526593"/>
                  <a:gd name="connsiteY32" fmla="*/ 94633 h 403224"/>
                  <a:gd name="connsiteX33" fmla="*/ 210167 w 526593"/>
                  <a:gd name="connsiteY33" fmla="*/ 76529 h 403224"/>
                  <a:gd name="connsiteX34" fmla="*/ 225759 w 526593"/>
                  <a:gd name="connsiteY34" fmla="*/ 68300 h 403224"/>
                  <a:gd name="connsiteX35" fmla="*/ 250376 w 526593"/>
                  <a:gd name="connsiteY35" fmla="*/ 54311 h 403224"/>
                  <a:gd name="connsiteX36" fmla="*/ 257762 w 526593"/>
                  <a:gd name="connsiteY36" fmla="*/ 45259 h 403224"/>
                  <a:gd name="connsiteX37" fmla="*/ 273353 w 526593"/>
                  <a:gd name="connsiteY37" fmla="*/ 18927 h 403224"/>
                  <a:gd name="connsiteX38" fmla="*/ 288124 w 526593"/>
                  <a:gd name="connsiteY38" fmla="*/ 823 h 403224"/>
                  <a:gd name="connsiteX39" fmla="*/ 288124 w 526593"/>
                  <a:gd name="connsiteY39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5390 w 526593"/>
                  <a:gd name="connsiteY3" fmla="*/ 16446 h 403224"/>
                  <a:gd name="connsiteX4" fmla="*/ 515082 w 526593"/>
                  <a:gd name="connsiteY4" fmla="*/ 14287 h 403224"/>
                  <a:gd name="connsiteX5" fmla="*/ 526593 w 526593"/>
                  <a:gd name="connsiteY5" fmla="*/ 15109 h 403224"/>
                  <a:gd name="connsiteX6" fmla="*/ 510971 w 526593"/>
                  <a:gd name="connsiteY6" fmla="*/ 117894 h 403224"/>
                  <a:gd name="connsiteX7" fmla="*/ 325969 w 526593"/>
                  <a:gd name="connsiteY7" fmla="*/ 108027 h 403224"/>
                  <a:gd name="connsiteX8" fmla="*/ 301302 w 526593"/>
                  <a:gd name="connsiteY8" fmla="*/ 265904 h 403224"/>
                  <a:gd name="connsiteX9" fmla="*/ 270879 w 526593"/>
                  <a:gd name="connsiteY9" fmla="*/ 274127 h 403224"/>
                  <a:gd name="connsiteX10" fmla="*/ 234701 w 526593"/>
                  <a:gd name="connsiteY10" fmla="*/ 296328 h 403224"/>
                  <a:gd name="connsiteX11" fmla="*/ 231412 w 526593"/>
                  <a:gd name="connsiteY11" fmla="*/ 322641 h 403224"/>
                  <a:gd name="connsiteX12" fmla="*/ 225657 w 526593"/>
                  <a:gd name="connsiteY12" fmla="*/ 395001 h 403224"/>
                  <a:gd name="connsiteX13" fmla="*/ 24210 w 526593"/>
                  <a:gd name="connsiteY13" fmla="*/ 384312 h 403224"/>
                  <a:gd name="connsiteX14" fmla="*/ 5299 w 526593"/>
                  <a:gd name="connsiteY14" fmla="*/ 392535 h 403224"/>
                  <a:gd name="connsiteX15" fmla="*/ 365 w 526593"/>
                  <a:gd name="connsiteY15" fmla="*/ 403224 h 403224"/>
                  <a:gd name="connsiteX16" fmla="*/ 365 w 526593"/>
                  <a:gd name="connsiteY16" fmla="*/ 395824 h 403224"/>
                  <a:gd name="connsiteX17" fmla="*/ 6943 w 526593"/>
                  <a:gd name="connsiteY17" fmla="*/ 373622 h 403224"/>
                  <a:gd name="connsiteX18" fmla="*/ 7481 w 526593"/>
                  <a:gd name="connsiteY18" fmla="*/ 374417 h 403224"/>
                  <a:gd name="connsiteX19" fmla="*/ 12405 w 526593"/>
                  <a:gd name="connsiteY19" fmla="*/ 353845 h 403224"/>
                  <a:gd name="connsiteX20" fmla="*/ 27996 w 526593"/>
                  <a:gd name="connsiteY20" fmla="*/ 326689 h 403224"/>
                  <a:gd name="connsiteX21" fmla="*/ 41125 w 526593"/>
                  <a:gd name="connsiteY21" fmla="*/ 320106 h 403224"/>
                  <a:gd name="connsiteX22" fmla="*/ 53434 w 526593"/>
                  <a:gd name="connsiteY22" fmla="*/ 302002 h 403224"/>
                  <a:gd name="connsiteX23" fmla="*/ 68205 w 526593"/>
                  <a:gd name="connsiteY23" fmla="*/ 281430 h 403224"/>
                  <a:gd name="connsiteX24" fmla="*/ 69025 w 526593"/>
                  <a:gd name="connsiteY24" fmla="*/ 269909 h 403224"/>
                  <a:gd name="connsiteX25" fmla="*/ 97746 w 526593"/>
                  <a:gd name="connsiteY25" fmla="*/ 234525 h 403224"/>
                  <a:gd name="connsiteX26" fmla="*/ 106773 w 526593"/>
                  <a:gd name="connsiteY26" fmla="*/ 217244 h 403224"/>
                  <a:gd name="connsiteX27" fmla="*/ 144520 w 526593"/>
                  <a:gd name="connsiteY27" fmla="*/ 182683 h 403224"/>
                  <a:gd name="connsiteX28" fmla="*/ 160932 w 526593"/>
                  <a:gd name="connsiteY28" fmla="*/ 161287 h 403224"/>
                  <a:gd name="connsiteX29" fmla="*/ 167497 w 526593"/>
                  <a:gd name="connsiteY29" fmla="*/ 147298 h 403224"/>
                  <a:gd name="connsiteX30" fmla="*/ 177344 w 526593"/>
                  <a:gd name="connsiteY30" fmla="*/ 126726 h 403224"/>
                  <a:gd name="connsiteX31" fmla="*/ 192935 w 526593"/>
                  <a:gd name="connsiteY31" fmla="*/ 94633 h 403224"/>
                  <a:gd name="connsiteX32" fmla="*/ 210167 w 526593"/>
                  <a:gd name="connsiteY32" fmla="*/ 76529 h 403224"/>
                  <a:gd name="connsiteX33" fmla="*/ 225759 w 526593"/>
                  <a:gd name="connsiteY33" fmla="*/ 68300 h 403224"/>
                  <a:gd name="connsiteX34" fmla="*/ 250376 w 526593"/>
                  <a:gd name="connsiteY34" fmla="*/ 54311 h 403224"/>
                  <a:gd name="connsiteX35" fmla="*/ 257762 w 526593"/>
                  <a:gd name="connsiteY35" fmla="*/ 45259 h 403224"/>
                  <a:gd name="connsiteX36" fmla="*/ 273353 w 526593"/>
                  <a:gd name="connsiteY36" fmla="*/ 18927 h 403224"/>
                  <a:gd name="connsiteX37" fmla="*/ 288124 w 526593"/>
                  <a:gd name="connsiteY37" fmla="*/ 823 h 403224"/>
                  <a:gd name="connsiteX38" fmla="*/ 288124 w 526593"/>
                  <a:gd name="connsiteY38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5390 w 526593"/>
                  <a:gd name="connsiteY2" fmla="*/ 16446 h 403224"/>
                  <a:gd name="connsiteX3" fmla="*/ 515082 w 526593"/>
                  <a:gd name="connsiteY3" fmla="*/ 14287 h 403224"/>
                  <a:gd name="connsiteX4" fmla="*/ 526593 w 526593"/>
                  <a:gd name="connsiteY4" fmla="*/ 15109 h 403224"/>
                  <a:gd name="connsiteX5" fmla="*/ 510971 w 526593"/>
                  <a:gd name="connsiteY5" fmla="*/ 117894 h 403224"/>
                  <a:gd name="connsiteX6" fmla="*/ 325969 w 526593"/>
                  <a:gd name="connsiteY6" fmla="*/ 108027 h 403224"/>
                  <a:gd name="connsiteX7" fmla="*/ 301302 w 526593"/>
                  <a:gd name="connsiteY7" fmla="*/ 265904 h 403224"/>
                  <a:gd name="connsiteX8" fmla="*/ 270879 w 526593"/>
                  <a:gd name="connsiteY8" fmla="*/ 274127 h 403224"/>
                  <a:gd name="connsiteX9" fmla="*/ 234701 w 526593"/>
                  <a:gd name="connsiteY9" fmla="*/ 296328 h 403224"/>
                  <a:gd name="connsiteX10" fmla="*/ 231412 w 526593"/>
                  <a:gd name="connsiteY10" fmla="*/ 322641 h 403224"/>
                  <a:gd name="connsiteX11" fmla="*/ 225657 w 526593"/>
                  <a:gd name="connsiteY11" fmla="*/ 395001 h 403224"/>
                  <a:gd name="connsiteX12" fmla="*/ 24210 w 526593"/>
                  <a:gd name="connsiteY12" fmla="*/ 384312 h 403224"/>
                  <a:gd name="connsiteX13" fmla="*/ 5299 w 526593"/>
                  <a:gd name="connsiteY13" fmla="*/ 392535 h 403224"/>
                  <a:gd name="connsiteX14" fmla="*/ 365 w 526593"/>
                  <a:gd name="connsiteY14" fmla="*/ 403224 h 403224"/>
                  <a:gd name="connsiteX15" fmla="*/ 365 w 526593"/>
                  <a:gd name="connsiteY15" fmla="*/ 395824 h 403224"/>
                  <a:gd name="connsiteX16" fmla="*/ 6943 w 526593"/>
                  <a:gd name="connsiteY16" fmla="*/ 373622 h 403224"/>
                  <a:gd name="connsiteX17" fmla="*/ 7481 w 526593"/>
                  <a:gd name="connsiteY17" fmla="*/ 374417 h 403224"/>
                  <a:gd name="connsiteX18" fmla="*/ 12405 w 526593"/>
                  <a:gd name="connsiteY18" fmla="*/ 353845 h 403224"/>
                  <a:gd name="connsiteX19" fmla="*/ 27996 w 526593"/>
                  <a:gd name="connsiteY19" fmla="*/ 326689 h 403224"/>
                  <a:gd name="connsiteX20" fmla="*/ 41125 w 526593"/>
                  <a:gd name="connsiteY20" fmla="*/ 320106 h 403224"/>
                  <a:gd name="connsiteX21" fmla="*/ 53434 w 526593"/>
                  <a:gd name="connsiteY21" fmla="*/ 302002 h 403224"/>
                  <a:gd name="connsiteX22" fmla="*/ 68205 w 526593"/>
                  <a:gd name="connsiteY22" fmla="*/ 281430 h 403224"/>
                  <a:gd name="connsiteX23" fmla="*/ 69025 w 526593"/>
                  <a:gd name="connsiteY23" fmla="*/ 269909 h 403224"/>
                  <a:gd name="connsiteX24" fmla="*/ 97746 w 526593"/>
                  <a:gd name="connsiteY24" fmla="*/ 234525 h 403224"/>
                  <a:gd name="connsiteX25" fmla="*/ 106773 w 526593"/>
                  <a:gd name="connsiteY25" fmla="*/ 217244 h 403224"/>
                  <a:gd name="connsiteX26" fmla="*/ 144520 w 526593"/>
                  <a:gd name="connsiteY26" fmla="*/ 182683 h 403224"/>
                  <a:gd name="connsiteX27" fmla="*/ 160932 w 526593"/>
                  <a:gd name="connsiteY27" fmla="*/ 161287 h 403224"/>
                  <a:gd name="connsiteX28" fmla="*/ 167497 w 526593"/>
                  <a:gd name="connsiteY28" fmla="*/ 147298 h 403224"/>
                  <a:gd name="connsiteX29" fmla="*/ 177344 w 526593"/>
                  <a:gd name="connsiteY29" fmla="*/ 126726 h 403224"/>
                  <a:gd name="connsiteX30" fmla="*/ 192935 w 526593"/>
                  <a:gd name="connsiteY30" fmla="*/ 94633 h 403224"/>
                  <a:gd name="connsiteX31" fmla="*/ 210167 w 526593"/>
                  <a:gd name="connsiteY31" fmla="*/ 76529 h 403224"/>
                  <a:gd name="connsiteX32" fmla="*/ 225759 w 526593"/>
                  <a:gd name="connsiteY32" fmla="*/ 68300 h 403224"/>
                  <a:gd name="connsiteX33" fmla="*/ 250376 w 526593"/>
                  <a:gd name="connsiteY33" fmla="*/ 54311 h 403224"/>
                  <a:gd name="connsiteX34" fmla="*/ 257762 w 526593"/>
                  <a:gd name="connsiteY34" fmla="*/ 45259 h 403224"/>
                  <a:gd name="connsiteX35" fmla="*/ 273353 w 526593"/>
                  <a:gd name="connsiteY35" fmla="*/ 18927 h 403224"/>
                  <a:gd name="connsiteX36" fmla="*/ 288124 w 526593"/>
                  <a:gd name="connsiteY36" fmla="*/ 823 h 403224"/>
                  <a:gd name="connsiteX37" fmla="*/ 288124 w 526593"/>
                  <a:gd name="connsiteY37" fmla="*/ 0 h 403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526593" h="403224">
                    <a:moveTo>
                      <a:pt x="288124" y="0"/>
                    </a:moveTo>
                    <a:cubicBezTo>
                      <a:pt x="366901" y="5760"/>
                      <a:pt x="436651" y="9875"/>
                      <a:pt x="514607" y="13989"/>
                    </a:cubicBezTo>
                    <a:lnTo>
                      <a:pt x="515390" y="16446"/>
                    </a:lnTo>
                    <a:cubicBezTo>
                      <a:pt x="515287" y="15726"/>
                      <a:pt x="515185" y="15007"/>
                      <a:pt x="515082" y="14287"/>
                    </a:cubicBezTo>
                    <a:cubicBezTo>
                      <a:pt x="518371" y="15109"/>
                      <a:pt x="522482" y="15109"/>
                      <a:pt x="526593" y="15109"/>
                    </a:cubicBezTo>
                    <a:lnTo>
                      <a:pt x="510971" y="117894"/>
                    </a:lnTo>
                    <a:lnTo>
                      <a:pt x="325969" y="108027"/>
                    </a:lnTo>
                    <a:cubicBezTo>
                      <a:pt x="316924" y="160652"/>
                      <a:pt x="308702" y="213278"/>
                      <a:pt x="301302" y="265904"/>
                    </a:cubicBezTo>
                    <a:cubicBezTo>
                      <a:pt x="290613" y="266726"/>
                      <a:pt x="281568" y="274127"/>
                      <a:pt x="270879" y="274127"/>
                    </a:cubicBezTo>
                    <a:cubicBezTo>
                      <a:pt x="257724" y="279060"/>
                      <a:pt x="244568" y="286461"/>
                      <a:pt x="234701" y="296328"/>
                    </a:cubicBezTo>
                    <a:cubicBezTo>
                      <a:pt x="227301" y="303729"/>
                      <a:pt x="231412" y="314418"/>
                      <a:pt x="231412" y="322641"/>
                    </a:cubicBezTo>
                    <a:cubicBezTo>
                      <a:pt x="229768" y="347309"/>
                      <a:pt x="227301" y="371155"/>
                      <a:pt x="225657" y="395001"/>
                    </a:cubicBezTo>
                    <a:lnTo>
                      <a:pt x="24210" y="384312"/>
                    </a:lnTo>
                    <a:cubicBezTo>
                      <a:pt x="15165" y="383490"/>
                      <a:pt x="6121" y="381023"/>
                      <a:pt x="5299" y="392535"/>
                    </a:cubicBezTo>
                    <a:cubicBezTo>
                      <a:pt x="4476" y="395824"/>
                      <a:pt x="2832" y="399113"/>
                      <a:pt x="365" y="403224"/>
                    </a:cubicBezTo>
                    <a:cubicBezTo>
                      <a:pt x="-457" y="403224"/>
                      <a:pt x="365" y="397468"/>
                      <a:pt x="365" y="395824"/>
                    </a:cubicBezTo>
                    <a:cubicBezTo>
                      <a:pt x="2010" y="388423"/>
                      <a:pt x="4476" y="381023"/>
                      <a:pt x="6943" y="373622"/>
                    </a:cubicBezTo>
                    <a:lnTo>
                      <a:pt x="7481" y="374417"/>
                    </a:lnTo>
                    <a:cubicBezTo>
                      <a:pt x="-1064" y="370984"/>
                      <a:pt x="11584" y="360428"/>
                      <a:pt x="12405" y="353845"/>
                    </a:cubicBezTo>
                    <a:cubicBezTo>
                      <a:pt x="18149" y="344793"/>
                      <a:pt x="23072" y="335741"/>
                      <a:pt x="27996" y="326689"/>
                    </a:cubicBezTo>
                    <a:cubicBezTo>
                      <a:pt x="32099" y="324220"/>
                      <a:pt x="37022" y="322575"/>
                      <a:pt x="41125" y="320106"/>
                    </a:cubicBezTo>
                    <a:cubicBezTo>
                      <a:pt x="46049" y="315169"/>
                      <a:pt x="49331" y="308585"/>
                      <a:pt x="53434" y="302002"/>
                    </a:cubicBezTo>
                    <a:cubicBezTo>
                      <a:pt x="57537" y="294596"/>
                      <a:pt x="62461" y="288013"/>
                      <a:pt x="68205" y="281430"/>
                    </a:cubicBezTo>
                    <a:cubicBezTo>
                      <a:pt x="71487" y="278138"/>
                      <a:pt x="68205" y="274024"/>
                      <a:pt x="69025" y="269909"/>
                    </a:cubicBezTo>
                    <a:cubicBezTo>
                      <a:pt x="78052" y="258389"/>
                      <a:pt x="88720" y="246868"/>
                      <a:pt x="97746" y="234525"/>
                    </a:cubicBezTo>
                    <a:cubicBezTo>
                      <a:pt x="100208" y="228765"/>
                      <a:pt x="101849" y="222182"/>
                      <a:pt x="106773" y="217244"/>
                    </a:cubicBezTo>
                    <a:cubicBezTo>
                      <a:pt x="118261" y="204901"/>
                      <a:pt x="131391" y="194203"/>
                      <a:pt x="144520" y="182683"/>
                    </a:cubicBezTo>
                    <a:cubicBezTo>
                      <a:pt x="150264" y="176099"/>
                      <a:pt x="155188" y="167871"/>
                      <a:pt x="160932" y="161287"/>
                    </a:cubicBezTo>
                    <a:cubicBezTo>
                      <a:pt x="165035" y="157996"/>
                      <a:pt x="165855" y="152236"/>
                      <a:pt x="167497" y="147298"/>
                    </a:cubicBezTo>
                    <a:cubicBezTo>
                      <a:pt x="169138" y="139069"/>
                      <a:pt x="173241" y="133309"/>
                      <a:pt x="177344" y="126726"/>
                    </a:cubicBezTo>
                    <a:cubicBezTo>
                      <a:pt x="183908" y="116851"/>
                      <a:pt x="188011" y="105331"/>
                      <a:pt x="192935" y="94633"/>
                    </a:cubicBezTo>
                    <a:cubicBezTo>
                      <a:pt x="197859" y="88050"/>
                      <a:pt x="204423" y="83112"/>
                      <a:pt x="210167" y="76529"/>
                    </a:cubicBezTo>
                    <a:cubicBezTo>
                      <a:pt x="213450" y="71592"/>
                      <a:pt x="220015" y="70769"/>
                      <a:pt x="225759" y="68300"/>
                    </a:cubicBezTo>
                    <a:cubicBezTo>
                      <a:pt x="234785" y="65832"/>
                      <a:pt x="242171" y="59249"/>
                      <a:pt x="250376" y="54311"/>
                    </a:cubicBezTo>
                    <a:cubicBezTo>
                      <a:pt x="254479" y="52665"/>
                      <a:pt x="256121" y="48551"/>
                      <a:pt x="257762" y="45259"/>
                    </a:cubicBezTo>
                    <a:cubicBezTo>
                      <a:pt x="261865" y="35385"/>
                      <a:pt x="267609" y="27156"/>
                      <a:pt x="273353" y="18927"/>
                    </a:cubicBezTo>
                    <a:cubicBezTo>
                      <a:pt x="278277" y="13166"/>
                      <a:pt x="282380" y="5760"/>
                      <a:pt x="288124" y="823"/>
                    </a:cubicBezTo>
                    <a:lnTo>
                      <a:pt x="288124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200" name="Rwanda"/>
              <p:cNvSpPr>
                <a:spLocks/>
              </p:cNvSpPr>
              <p:nvPr/>
            </p:nvSpPr>
            <p:spPr bwMode="auto">
              <a:xfrm>
                <a:off x="5006442" y="4608856"/>
                <a:ext cx="56966" cy="59250"/>
              </a:xfrm>
              <a:custGeom>
                <a:avLst/>
                <a:gdLst>
                  <a:gd name="T0" fmla="*/ 10800898 w 156"/>
                  <a:gd name="T1" fmla="*/ 5314637 h 136"/>
                  <a:gd name="T2" fmla="*/ 15201523 w 156"/>
                  <a:gd name="T3" fmla="*/ 379461 h 136"/>
                  <a:gd name="T4" fmla="*/ 16535111 w 156"/>
                  <a:gd name="T5" fmla="*/ 0 h 136"/>
                  <a:gd name="T6" fmla="*/ 16535111 w 156"/>
                  <a:gd name="T7" fmla="*/ 0 h 136"/>
                  <a:gd name="T8" fmla="*/ 16401460 w 156"/>
                  <a:gd name="T9" fmla="*/ 379461 h 136"/>
                  <a:gd name="T10" fmla="*/ 18268557 w 156"/>
                  <a:gd name="T11" fmla="*/ 4555279 h 136"/>
                  <a:gd name="T12" fmla="*/ 19868716 w 156"/>
                  <a:gd name="T13" fmla="*/ 12147119 h 136"/>
                  <a:gd name="T14" fmla="*/ 20135288 w 156"/>
                  <a:gd name="T15" fmla="*/ 18410629 h 136"/>
                  <a:gd name="T16" fmla="*/ 17468477 w 156"/>
                  <a:gd name="T17" fmla="*/ 19169987 h 136"/>
                  <a:gd name="T18" fmla="*/ 16934968 w 156"/>
                  <a:gd name="T19" fmla="*/ 19169987 h 136"/>
                  <a:gd name="T20" fmla="*/ 14134872 w 156"/>
                  <a:gd name="T21" fmla="*/ 18600578 h 136"/>
                  <a:gd name="T22" fmla="*/ 11467692 w 156"/>
                  <a:gd name="T23" fmla="*/ 18221116 h 136"/>
                  <a:gd name="T24" fmla="*/ 10934549 w 156"/>
                  <a:gd name="T25" fmla="*/ 23155855 h 136"/>
                  <a:gd name="T26" fmla="*/ 5467275 w 156"/>
                  <a:gd name="T27" fmla="*/ 25243545 h 136"/>
                  <a:gd name="T28" fmla="*/ 2400240 w 156"/>
                  <a:gd name="T29" fmla="*/ 22206548 h 136"/>
                  <a:gd name="T30" fmla="*/ 1733446 w 156"/>
                  <a:gd name="T31" fmla="*/ 23914777 h 136"/>
                  <a:gd name="T32" fmla="*/ 1066652 w 156"/>
                  <a:gd name="T33" fmla="*/ 23345368 h 136"/>
                  <a:gd name="T34" fmla="*/ 1600160 w 156"/>
                  <a:gd name="T35" fmla="*/ 18031168 h 136"/>
                  <a:gd name="T36" fmla="*/ 3333607 w 156"/>
                  <a:gd name="T37" fmla="*/ 10628839 h 136"/>
                  <a:gd name="T38" fmla="*/ 7734230 w 156"/>
                  <a:gd name="T39" fmla="*/ 4555279 h 136"/>
                  <a:gd name="T40" fmla="*/ 7867516 w 156"/>
                  <a:gd name="T41" fmla="*/ 4365331 h 136"/>
                  <a:gd name="T42" fmla="*/ 10800898 w 156"/>
                  <a:gd name="T43" fmla="*/ 5314637 h 1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56"/>
                  <a:gd name="T67" fmla="*/ 0 h 136"/>
                  <a:gd name="T68" fmla="*/ 156 w 156"/>
                  <a:gd name="T69" fmla="*/ 136 h 1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56" h="136">
                    <a:moveTo>
                      <a:pt x="81" y="28"/>
                    </a:moveTo>
                    <a:cubicBezTo>
                      <a:pt x="94" y="32"/>
                      <a:pt x="107" y="13"/>
                      <a:pt x="114" y="2"/>
                    </a:cubicBezTo>
                    <a:cubicBezTo>
                      <a:pt x="117" y="0"/>
                      <a:pt x="121" y="0"/>
                      <a:pt x="124" y="0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127" y="9"/>
                      <a:pt x="128" y="20"/>
                      <a:pt x="137" y="24"/>
                    </a:cubicBezTo>
                    <a:cubicBezTo>
                      <a:pt x="148" y="32"/>
                      <a:pt x="152" y="50"/>
                      <a:pt x="149" y="64"/>
                    </a:cubicBezTo>
                    <a:cubicBezTo>
                      <a:pt x="156" y="75"/>
                      <a:pt x="152" y="86"/>
                      <a:pt x="151" y="97"/>
                    </a:cubicBezTo>
                    <a:cubicBezTo>
                      <a:pt x="147" y="98"/>
                      <a:pt x="137" y="100"/>
                      <a:pt x="131" y="101"/>
                    </a:cubicBezTo>
                    <a:cubicBezTo>
                      <a:pt x="129" y="101"/>
                      <a:pt x="128" y="101"/>
                      <a:pt x="127" y="101"/>
                    </a:cubicBezTo>
                    <a:cubicBezTo>
                      <a:pt x="122" y="92"/>
                      <a:pt x="113" y="97"/>
                      <a:pt x="106" y="98"/>
                    </a:cubicBezTo>
                    <a:cubicBezTo>
                      <a:pt x="100" y="108"/>
                      <a:pt x="93" y="101"/>
                      <a:pt x="86" y="96"/>
                    </a:cubicBezTo>
                    <a:cubicBezTo>
                      <a:pt x="76" y="96"/>
                      <a:pt x="86" y="107"/>
                      <a:pt x="82" y="122"/>
                    </a:cubicBezTo>
                    <a:cubicBezTo>
                      <a:pt x="74" y="136"/>
                      <a:pt x="54" y="131"/>
                      <a:pt x="41" y="133"/>
                    </a:cubicBezTo>
                    <a:cubicBezTo>
                      <a:pt x="40" y="122"/>
                      <a:pt x="30" y="115"/>
                      <a:pt x="18" y="117"/>
                    </a:cubicBezTo>
                    <a:cubicBezTo>
                      <a:pt x="17" y="122"/>
                      <a:pt x="16" y="126"/>
                      <a:pt x="13" y="126"/>
                    </a:cubicBezTo>
                    <a:cubicBezTo>
                      <a:pt x="12" y="126"/>
                      <a:pt x="10" y="125"/>
                      <a:pt x="8" y="123"/>
                    </a:cubicBezTo>
                    <a:cubicBezTo>
                      <a:pt x="1" y="116"/>
                      <a:pt x="0" y="98"/>
                      <a:pt x="12" y="95"/>
                    </a:cubicBezTo>
                    <a:cubicBezTo>
                      <a:pt x="33" y="91"/>
                      <a:pt x="20" y="69"/>
                      <a:pt x="25" y="56"/>
                    </a:cubicBezTo>
                    <a:cubicBezTo>
                      <a:pt x="33" y="42"/>
                      <a:pt x="44" y="32"/>
                      <a:pt x="58" y="24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64" y="27"/>
                      <a:pt x="82" y="13"/>
                      <a:pt x="81" y="28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3334201" name="Russia"/>
              <p:cNvGrpSpPr>
                <a:grpSpLocks/>
              </p:cNvGrpSpPr>
              <p:nvPr/>
            </p:nvGrpSpPr>
            <p:grpSpPr bwMode="auto">
              <a:xfrm>
                <a:off x="4860622" y="2088715"/>
                <a:ext cx="3334048" cy="1164848"/>
                <a:chOff x="4860622" y="2069626"/>
                <a:chExt cx="3334048" cy="1164848"/>
              </a:xfrm>
            </p:grpSpPr>
            <p:sp>
              <p:nvSpPr>
                <p:cNvPr id="805" name="Russia"/>
                <p:cNvSpPr>
                  <a:spLocks/>
                </p:cNvSpPr>
                <p:nvPr>
                  <p:custDataLst>
                    <p:tags r:id="rId141"/>
                  </p:custDataLst>
                </p:nvPr>
              </p:nvSpPr>
              <p:spPr bwMode="auto">
                <a:xfrm>
                  <a:off x="7812446" y="2921647"/>
                  <a:ext cx="12078" cy="34505"/>
                </a:xfrm>
                <a:custGeom>
                  <a:avLst/>
                  <a:gdLst/>
                  <a:ahLst/>
                  <a:cxnLst>
                    <a:cxn ang="0">
                      <a:pos x="0" y="4"/>
                    </a:cxn>
                    <a:cxn ang="0">
                      <a:pos x="0" y="6"/>
                    </a:cxn>
                    <a:cxn ang="0">
                      <a:pos x="2" y="4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2" h="6">
                      <a:moveTo>
                        <a:pt x="0" y="4"/>
                      </a:move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06" name="Russia"/>
                <p:cNvSpPr>
                  <a:spLocks/>
                </p:cNvSpPr>
                <p:nvPr>
                  <p:custDataLst>
                    <p:tags r:id="rId142"/>
                  </p:custDataLst>
                </p:nvPr>
              </p:nvSpPr>
              <p:spPr bwMode="auto">
                <a:xfrm>
                  <a:off x="8112692" y="2531736"/>
                  <a:ext cx="82826" cy="1207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10" y="2"/>
                    </a:cxn>
                    <a:cxn ang="0">
                      <a:pos x="15" y="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5" h="2">
                      <a:moveTo>
                        <a:pt x="0" y="0"/>
                      </a:moveTo>
                      <a:lnTo>
                        <a:pt x="2" y="2"/>
                      </a:lnTo>
                      <a:lnTo>
                        <a:pt x="10" y="2"/>
                      </a:lnTo>
                      <a:lnTo>
                        <a:pt x="15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07" name="Russia"/>
                <p:cNvSpPr>
                  <a:spLocks/>
                </p:cNvSpPr>
                <p:nvPr>
                  <p:custDataLst>
                    <p:tags r:id="rId143"/>
                  </p:custDataLst>
                </p:nvPr>
              </p:nvSpPr>
              <p:spPr bwMode="auto">
                <a:xfrm>
                  <a:off x="8112692" y="2531736"/>
                  <a:ext cx="82826" cy="1207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10" y="2"/>
                    </a:cxn>
                    <a:cxn ang="0">
                      <a:pos x="15" y="2"/>
                    </a:cxn>
                  </a:cxnLst>
                  <a:rect l="0" t="0" r="r" b="b"/>
                  <a:pathLst>
                    <a:path w="15" h="2">
                      <a:moveTo>
                        <a:pt x="0" y="0"/>
                      </a:moveTo>
                      <a:lnTo>
                        <a:pt x="2" y="2"/>
                      </a:lnTo>
                      <a:lnTo>
                        <a:pt x="10" y="2"/>
                      </a:lnTo>
                      <a:lnTo>
                        <a:pt x="15" y="2"/>
                      </a:lnTo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08" name="Russia"/>
                <p:cNvSpPr>
                  <a:spLocks noChangeShapeType="1"/>
                </p:cNvSpPr>
                <p:nvPr>
                  <p:custDataLst>
                    <p:tags r:id="rId144"/>
                  </p:custDataLst>
                </p:nvPr>
              </p:nvSpPr>
              <p:spPr bwMode="auto">
                <a:xfrm flipH="1" flipV="1">
                  <a:off x="8112692" y="2543812"/>
                  <a:ext cx="55218" cy="10352"/>
                </a:xfrm>
                <a:prstGeom prst="line">
                  <a:avLst/>
                </a:pr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09" name="Russia"/>
                <p:cNvSpPr>
                  <a:spLocks/>
                </p:cNvSpPr>
                <p:nvPr>
                  <p:custDataLst>
                    <p:tags r:id="rId145"/>
                  </p:custDataLst>
                </p:nvPr>
              </p:nvSpPr>
              <p:spPr bwMode="auto">
                <a:xfrm>
                  <a:off x="7762405" y="2671482"/>
                  <a:ext cx="12079" cy="10352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0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10" name="Russia"/>
                <p:cNvSpPr>
                  <a:spLocks noChangeShapeType="1"/>
                </p:cNvSpPr>
                <p:nvPr>
                  <p:custDataLst>
                    <p:tags r:id="rId146"/>
                  </p:custDataLst>
                </p:nvPr>
              </p:nvSpPr>
              <p:spPr bwMode="auto">
                <a:xfrm>
                  <a:off x="7651970" y="2341956"/>
                  <a:ext cx="22433" cy="12076"/>
                </a:xfrm>
                <a:prstGeom prst="line">
                  <a:avLst/>
                </a:pr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11" name="Russia"/>
                <p:cNvSpPr>
                  <a:spLocks/>
                </p:cNvSpPr>
                <p:nvPr>
                  <p:custDataLst>
                    <p:tags r:id="rId147"/>
                  </p:custDataLst>
                </p:nvPr>
              </p:nvSpPr>
              <p:spPr bwMode="auto">
                <a:xfrm>
                  <a:off x="7651970" y="2331604"/>
                  <a:ext cx="65571" cy="10352"/>
                </a:xfrm>
                <a:custGeom>
                  <a:avLst/>
                  <a:gdLst/>
                  <a:ahLst/>
                  <a:cxnLst>
                    <a:cxn ang="0">
                      <a:pos x="4" y="2"/>
                    </a:cxn>
                    <a:cxn ang="0">
                      <a:pos x="12" y="0"/>
                    </a:cxn>
                    <a:cxn ang="0">
                      <a:pos x="0" y="0"/>
                    </a:cxn>
                    <a:cxn ang="0">
                      <a:pos x="4" y="2"/>
                    </a:cxn>
                  </a:cxnLst>
                  <a:rect l="0" t="0" r="r" b="b"/>
                  <a:pathLst>
                    <a:path w="12" h="2">
                      <a:moveTo>
                        <a:pt x="4" y="2"/>
                      </a:moveTo>
                      <a:lnTo>
                        <a:pt x="12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12" name="Russia"/>
                <p:cNvSpPr>
                  <a:spLocks/>
                </p:cNvSpPr>
                <p:nvPr>
                  <p:custDataLst>
                    <p:tags r:id="rId148"/>
                  </p:custDataLst>
                </p:nvPr>
              </p:nvSpPr>
              <p:spPr bwMode="auto">
                <a:xfrm>
                  <a:off x="7651970" y="2331604"/>
                  <a:ext cx="65571" cy="10352"/>
                </a:xfrm>
                <a:custGeom>
                  <a:avLst/>
                  <a:gdLst/>
                  <a:ahLst/>
                  <a:cxnLst>
                    <a:cxn ang="0">
                      <a:pos x="4" y="2"/>
                    </a:cxn>
                    <a:cxn ang="0">
                      <a:pos x="1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2" h="2">
                      <a:moveTo>
                        <a:pt x="4" y="2"/>
                      </a:moveTo>
                      <a:lnTo>
                        <a:pt x="1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13" name="Russia"/>
                <p:cNvSpPr>
                  <a:spLocks/>
                </p:cNvSpPr>
                <p:nvPr>
                  <p:custDataLst>
                    <p:tags r:id="rId149"/>
                  </p:custDataLst>
                </p:nvPr>
              </p:nvSpPr>
              <p:spPr bwMode="auto">
                <a:xfrm>
                  <a:off x="6875473" y="2253967"/>
                  <a:ext cx="55218" cy="27604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10" y="5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10" h="5">
                      <a:moveTo>
                        <a:pt x="0" y="5"/>
                      </a:moveTo>
                      <a:lnTo>
                        <a:pt x="10" y="5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14" name="Russia"/>
                <p:cNvSpPr>
                  <a:spLocks noChangeShapeType="1"/>
                </p:cNvSpPr>
                <p:nvPr>
                  <p:custDataLst>
                    <p:tags r:id="rId150"/>
                  </p:custDataLst>
                </p:nvPr>
              </p:nvSpPr>
              <p:spPr bwMode="auto">
                <a:xfrm>
                  <a:off x="6835786" y="2269495"/>
                  <a:ext cx="17255" cy="5175"/>
                </a:xfrm>
                <a:prstGeom prst="line">
                  <a:avLst/>
                </a:pr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15" name="Russia"/>
                <p:cNvSpPr>
                  <a:spLocks/>
                </p:cNvSpPr>
                <p:nvPr>
                  <p:custDataLst>
                    <p:tags r:id="rId151"/>
                  </p:custDataLst>
                </p:nvPr>
              </p:nvSpPr>
              <p:spPr bwMode="auto">
                <a:xfrm>
                  <a:off x="6896180" y="2231539"/>
                  <a:ext cx="94906" cy="1035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7" y="2"/>
                    </a:cxn>
                    <a:cxn ang="0">
                      <a:pos x="17" y="0"/>
                    </a:cxn>
                    <a:cxn ang="0">
                      <a:pos x="8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7" h="2">
                      <a:moveTo>
                        <a:pt x="0" y="0"/>
                      </a:moveTo>
                      <a:lnTo>
                        <a:pt x="17" y="2"/>
                      </a:lnTo>
                      <a:lnTo>
                        <a:pt x="17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16" name="Russia"/>
                <p:cNvSpPr>
                  <a:spLocks/>
                </p:cNvSpPr>
                <p:nvPr>
                  <p:custDataLst>
                    <p:tags r:id="rId152"/>
                  </p:custDataLst>
                </p:nvPr>
              </p:nvSpPr>
              <p:spPr bwMode="auto">
                <a:xfrm>
                  <a:off x="6725351" y="2203934"/>
                  <a:ext cx="160475" cy="37956"/>
                </a:xfrm>
                <a:custGeom>
                  <a:avLst/>
                  <a:gdLst/>
                  <a:ahLst/>
                  <a:cxnLst>
                    <a:cxn ang="0">
                      <a:pos x="4" y="5"/>
                    </a:cxn>
                    <a:cxn ang="0">
                      <a:pos x="14" y="7"/>
                    </a:cxn>
                    <a:cxn ang="0">
                      <a:pos x="27" y="7"/>
                    </a:cxn>
                    <a:cxn ang="0">
                      <a:pos x="29" y="5"/>
                    </a:cxn>
                    <a:cxn ang="0">
                      <a:pos x="14" y="0"/>
                    </a:cxn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2" y="3"/>
                    </a:cxn>
                    <a:cxn ang="0">
                      <a:pos x="4" y="5"/>
                    </a:cxn>
                  </a:cxnLst>
                  <a:rect l="0" t="0" r="r" b="b"/>
                  <a:pathLst>
                    <a:path w="29" h="7">
                      <a:moveTo>
                        <a:pt x="4" y="5"/>
                      </a:moveTo>
                      <a:lnTo>
                        <a:pt x="14" y="7"/>
                      </a:lnTo>
                      <a:lnTo>
                        <a:pt x="27" y="7"/>
                      </a:lnTo>
                      <a:lnTo>
                        <a:pt x="29" y="5"/>
                      </a:lnTo>
                      <a:lnTo>
                        <a:pt x="14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2" y="3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17" name="Russia"/>
                <p:cNvSpPr>
                  <a:spLocks/>
                </p:cNvSpPr>
                <p:nvPr>
                  <p:custDataLst>
                    <p:tags r:id="rId153"/>
                  </p:custDataLst>
                </p:nvPr>
              </p:nvSpPr>
              <p:spPr bwMode="auto">
                <a:xfrm>
                  <a:off x="6014425" y="2119395"/>
                  <a:ext cx="82826" cy="32781"/>
                </a:xfrm>
                <a:custGeom>
                  <a:avLst/>
                  <a:gdLst/>
                  <a:ahLst/>
                  <a:cxnLst>
                    <a:cxn ang="0">
                      <a:pos x="0" y="6"/>
                    </a:cxn>
                    <a:cxn ang="0">
                      <a:pos x="15" y="6"/>
                    </a:cxn>
                    <a:cxn ang="0">
                      <a:pos x="13" y="4"/>
                    </a:cxn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0" y="6"/>
                    </a:cxn>
                  </a:cxnLst>
                  <a:rect l="0" t="0" r="r" b="b"/>
                  <a:pathLst>
                    <a:path w="15" h="6">
                      <a:moveTo>
                        <a:pt x="0" y="6"/>
                      </a:moveTo>
                      <a:lnTo>
                        <a:pt x="15" y="6"/>
                      </a:lnTo>
                      <a:lnTo>
                        <a:pt x="13" y="4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18" name="Russia"/>
                <p:cNvSpPr>
                  <a:spLocks/>
                </p:cNvSpPr>
                <p:nvPr>
                  <p:custDataLst>
                    <p:tags r:id="rId154"/>
                  </p:custDataLst>
                </p:nvPr>
              </p:nvSpPr>
              <p:spPr bwMode="auto">
                <a:xfrm>
                  <a:off x="5831517" y="2091791"/>
                  <a:ext cx="172555" cy="50033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15" y="9"/>
                    </a:cxn>
                    <a:cxn ang="0">
                      <a:pos x="31" y="9"/>
                    </a:cxn>
                    <a:cxn ang="0">
                      <a:pos x="29" y="5"/>
                    </a:cxn>
                    <a:cxn ang="0">
                      <a:pos x="8" y="0"/>
                    </a:cxn>
                    <a:cxn ang="0">
                      <a:pos x="2" y="0"/>
                    </a:cxn>
                    <a:cxn ang="0">
                      <a:pos x="2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31" h="9">
                      <a:moveTo>
                        <a:pt x="0" y="2"/>
                      </a:moveTo>
                      <a:lnTo>
                        <a:pt x="15" y="9"/>
                      </a:lnTo>
                      <a:lnTo>
                        <a:pt x="31" y="9"/>
                      </a:lnTo>
                      <a:lnTo>
                        <a:pt x="29" y="5"/>
                      </a:lnTo>
                      <a:lnTo>
                        <a:pt x="8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19" name="Russia"/>
                <p:cNvSpPr>
                  <a:spLocks/>
                </p:cNvSpPr>
                <p:nvPr>
                  <p:custDataLst>
                    <p:tags r:id="rId155"/>
                  </p:custDataLst>
                </p:nvPr>
              </p:nvSpPr>
              <p:spPr bwMode="auto">
                <a:xfrm>
                  <a:off x="5265537" y="2191857"/>
                  <a:ext cx="265734" cy="150099"/>
                </a:xfrm>
                <a:custGeom>
                  <a:avLst/>
                  <a:gdLst/>
                  <a:ahLst/>
                  <a:cxnLst>
                    <a:cxn ang="0">
                      <a:pos x="4" y="25"/>
                    </a:cxn>
                    <a:cxn ang="0">
                      <a:pos x="12" y="27"/>
                    </a:cxn>
                    <a:cxn ang="0">
                      <a:pos x="23" y="27"/>
                    </a:cxn>
                    <a:cxn ang="0">
                      <a:pos x="16" y="25"/>
                    </a:cxn>
                    <a:cxn ang="0">
                      <a:pos x="14" y="18"/>
                    </a:cxn>
                    <a:cxn ang="0">
                      <a:pos x="25" y="7"/>
                    </a:cxn>
                    <a:cxn ang="0">
                      <a:pos x="48" y="2"/>
                    </a:cxn>
                    <a:cxn ang="0">
                      <a:pos x="46" y="0"/>
                    </a:cxn>
                    <a:cxn ang="0">
                      <a:pos x="43" y="0"/>
                    </a:cxn>
                    <a:cxn ang="0">
                      <a:pos x="37" y="0"/>
                    </a:cxn>
                    <a:cxn ang="0">
                      <a:pos x="23" y="2"/>
                    </a:cxn>
                    <a:cxn ang="0">
                      <a:pos x="8" y="7"/>
                    </a:cxn>
                    <a:cxn ang="0">
                      <a:pos x="8" y="11"/>
                    </a:cxn>
                    <a:cxn ang="0">
                      <a:pos x="6" y="11"/>
                    </a:cxn>
                    <a:cxn ang="0">
                      <a:pos x="8" y="16"/>
                    </a:cxn>
                    <a:cxn ang="0">
                      <a:pos x="4" y="18"/>
                    </a:cxn>
                    <a:cxn ang="0">
                      <a:pos x="6" y="18"/>
                    </a:cxn>
                    <a:cxn ang="0">
                      <a:pos x="0" y="20"/>
                    </a:cxn>
                    <a:cxn ang="0">
                      <a:pos x="2" y="23"/>
                    </a:cxn>
                    <a:cxn ang="0">
                      <a:pos x="4" y="25"/>
                    </a:cxn>
                  </a:cxnLst>
                  <a:rect l="0" t="0" r="r" b="b"/>
                  <a:pathLst>
                    <a:path w="48" h="27">
                      <a:moveTo>
                        <a:pt x="4" y="25"/>
                      </a:moveTo>
                      <a:lnTo>
                        <a:pt x="12" y="27"/>
                      </a:lnTo>
                      <a:lnTo>
                        <a:pt x="23" y="27"/>
                      </a:lnTo>
                      <a:lnTo>
                        <a:pt x="16" y="25"/>
                      </a:lnTo>
                      <a:lnTo>
                        <a:pt x="14" y="18"/>
                      </a:lnTo>
                      <a:lnTo>
                        <a:pt x="25" y="7"/>
                      </a:lnTo>
                      <a:lnTo>
                        <a:pt x="48" y="2"/>
                      </a:lnTo>
                      <a:lnTo>
                        <a:pt x="46" y="0"/>
                      </a:lnTo>
                      <a:lnTo>
                        <a:pt x="43" y="0"/>
                      </a:lnTo>
                      <a:lnTo>
                        <a:pt x="37" y="0"/>
                      </a:lnTo>
                      <a:lnTo>
                        <a:pt x="23" y="2"/>
                      </a:lnTo>
                      <a:lnTo>
                        <a:pt x="8" y="7"/>
                      </a:lnTo>
                      <a:lnTo>
                        <a:pt x="8" y="11"/>
                      </a:lnTo>
                      <a:lnTo>
                        <a:pt x="6" y="11"/>
                      </a:lnTo>
                      <a:lnTo>
                        <a:pt x="8" y="16"/>
                      </a:lnTo>
                      <a:lnTo>
                        <a:pt x="4" y="18"/>
                      </a:lnTo>
                      <a:lnTo>
                        <a:pt x="6" y="18"/>
                      </a:lnTo>
                      <a:lnTo>
                        <a:pt x="0" y="20"/>
                      </a:lnTo>
                      <a:lnTo>
                        <a:pt x="2" y="23"/>
                      </a:lnTo>
                      <a:lnTo>
                        <a:pt x="4" y="25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20" name="Russia"/>
                <p:cNvSpPr>
                  <a:spLocks/>
                </p:cNvSpPr>
                <p:nvPr>
                  <p:custDataLst>
                    <p:tags r:id="rId156"/>
                  </p:custDataLst>
                </p:nvPr>
              </p:nvSpPr>
              <p:spPr bwMode="auto">
                <a:xfrm>
                  <a:off x="5279342" y="2352308"/>
                  <a:ext cx="50040" cy="10352"/>
                </a:xfrm>
                <a:custGeom>
                  <a:avLst/>
                  <a:gdLst/>
                  <a:ahLst/>
                  <a:cxnLst>
                    <a:cxn ang="0">
                      <a:pos x="3" y="2"/>
                    </a:cxn>
                    <a:cxn ang="0">
                      <a:pos x="5" y="2"/>
                    </a:cxn>
                    <a:cxn ang="0">
                      <a:pos x="9" y="0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3" y="2"/>
                    </a:cxn>
                  </a:cxnLst>
                  <a:rect l="0" t="0" r="r" b="b"/>
                  <a:pathLst>
                    <a:path w="9" h="2">
                      <a:moveTo>
                        <a:pt x="3" y="2"/>
                      </a:move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21" name="Russia"/>
                <p:cNvSpPr>
                  <a:spLocks/>
                </p:cNvSpPr>
                <p:nvPr>
                  <p:custDataLst>
                    <p:tags r:id="rId157"/>
                  </p:custDataLst>
                </p:nvPr>
              </p:nvSpPr>
              <p:spPr bwMode="auto">
                <a:xfrm>
                  <a:off x="5265537" y="2091791"/>
                  <a:ext cx="127691" cy="10352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14" y="2"/>
                    </a:cxn>
                    <a:cxn ang="0">
                      <a:pos x="16" y="2"/>
                    </a:cxn>
                    <a:cxn ang="0">
                      <a:pos x="14" y="0"/>
                    </a:cxn>
                    <a:cxn ang="0">
                      <a:pos x="23" y="0"/>
                    </a:cxn>
                    <a:cxn ang="0">
                      <a:pos x="21" y="0"/>
                    </a:cxn>
                    <a:cxn ang="0">
                      <a:pos x="10" y="2"/>
                    </a:cxn>
                    <a:cxn ang="0">
                      <a:pos x="2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23" h="2">
                      <a:moveTo>
                        <a:pt x="0" y="2"/>
                      </a:moveTo>
                      <a:lnTo>
                        <a:pt x="14" y="2"/>
                      </a:lnTo>
                      <a:lnTo>
                        <a:pt x="16" y="2"/>
                      </a:lnTo>
                      <a:lnTo>
                        <a:pt x="14" y="0"/>
                      </a:lnTo>
                      <a:lnTo>
                        <a:pt x="23" y="0"/>
                      </a:lnTo>
                      <a:lnTo>
                        <a:pt x="21" y="0"/>
                      </a:lnTo>
                      <a:lnTo>
                        <a:pt x="10" y="2"/>
                      </a:lnTo>
                      <a:lnTo>
                        <a:pt x="2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22" name="Russia"/>
                <p:cNvSpPr>
                  <a:spLocks/>
                </p:cNvSpPr>
                <p:nvPr>
                  <p:custDataLst>
                    <p:tags r:id="rId158"/>
                  </p:custDataLst>
                </p:nvPr>
              </p:nvSpPr>
              <p:spPr bwMode="auto">
                <a:xfrm>
                  <a:off x="5215496" y="2069363"/>
                  <a:ext cx="82826" cy="22428"/>
                </a:xfrm>
                <a:custGeom>
                  <a:avLst/>
                  <a:gdLst/>
                  <a:ahLst/>
                  <a:cxnLst>
                    <a:cxn ang="0">
                      <a:pos x="0" y="4"/>
                    </a:cxn>
                    <a:cxn ang="0">
                      <a:pos x="15" y="4"/>
                    </a:cxn>
                    <a:cxn ang="0">
                      <a:pos x="13" y="4"/>
                    </a:cxn>
                    <a:cxn ang="0">
                      <a:pos x="13" y="0"/>
                    </a:cxn>
                    <a:cxn ang="0">
                      <a:pos x="7" y="4"/>
                    </a:cxn>
                    <a:cxn ang="0">
                      <a:pos x="2" y="4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15" h="4">
                      <a:moveTo>
                        <a:pt x="0" y="4"/>
                      </a:moveTo>
                      <a:lnTo>
                        <a:pt x="15" y="4"/>
                      </a:lnTo>
                      <a:lnTo>
                        <a:pt x="13" y="4"/>
                      </a:lnTo>
                      <a:lnTo>
                        <a:pt x="13" y="0"/>
                      </a:lnTo>
                      <a:lnTo>
                        <a:pt x="7" y="4"/>
                      </a:lnTo>
                      <a:lnTo>
                        <a:pt x="2" y="4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23" name="Russia"/>
                <p:cNvSpPr>
                  <a:spLocks noChangeShapeType="1"/>
                </p:cNvSpPr>
                <p:nvPr>
                  <p:custDataLst>
                    <p:tags r:id="rId159"/>
                  </p:custDataLst>
                </p:nvPr>
              </p:nvSpPr>
              <p:spPr bwMode="auto">
                <a:xfrm>
                  <a:off x="5203417" y="2119395"/>
                  <a:ext cx="34511" cy="5176"/>
                </a:xfrm>
                <a:prstGeom prst="line">
                  <a:avLst/>
                </a:pr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24" name="Russia"/>
                <p:cNvSpPr>
                  <a:spLocks/>
                </p:cNvSpPr>
                <p:nvPr>
                  <p:custDataLst>
                    <p:tags r:id="rId160"/>
                  </p:custDataLst>
                </p:nvPr>
              </p:nvSpPr>
              <p:spPr bwMode="auto">
                <a:xfrm>
                  <a:off x="5065374" y="2091791"/>
                  <a:ext cx="105258" cy="10352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13" y="2"/>
                    </a:cxn>
                    <a:cxn ang="0">
                      <a:pos x="17" y="2"/>
                    </a:cxn>
                    <a:cxn ang="0">
                      <a:pos x="19" y="2"/>
                    </a:cxn>
                    <a:cxn ang="0">
                      <a:pos x="9" y="0"/>
                    </a:cxn>
                    <a:cxn ang="0">
                      <a:pos x="4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19" h="2">
                      <a:moveTo>
                        <a:pt x="0" y="2"/>
                      </a:moveTo>
                      <a:lnTo>
                        <a:pt x="13" y="2"/>
                      </a:lnTo>
                      <a:lnTo>
                        <a:pt x="17" y="2"/>
                      </a:lnTo>
                      <a:lnTo>
                        <a:pt x="19" y="2"/>
                      </a:lnTo>
                      <a:lnTo>
                        <a:pt x="9" y="0"/>
                      </a:lnTo>
                      <a:lnTo>
                        <a:pt x="4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25" name="Russia"/>
                <p:cNvSpPr>
                  <a:spLocks/>
                </p:cNvSpPr>
                <p:nvPr>
                  <p:custDataLst>
                    <p:tags r:id="rId161"/>
                  </p:custDataLst>
                </p:nvPr>
              </p:nvSpPr>
              <p:spPr bwMode="auto">
                <a:xfrm>
                  <a:off x="7419021" y="2821581"/>
                  <a:ext cx="205340" cy="250164"/>
                </a:xfrm>
                <a:custGeom>
                  <a:avLst/>
                  <a:gdLst/>
                  <a:ahLst/>
                  <a:cxnLst>
                    <a:cxn ang="0">
                      <a:pos x="2" y="6"/>
                    </a:cxn>
                    <a:cxn ang="0">
                      <a:pos x="25" y="33"/>
                    </a:cxn>
                    <a:cxn ang="0">
                      <a:pos x="29" y="42"/>
                    </a:cxn>
                    <a:cxn ang="0">
                      <a:pos x="31" y="45"/>
                    </a:cxn>
                    <a:cxn ang="0">
                      <a:pos x="31" y="42"/>
                    </a:cxn>
                    <a:cxn ang="0">
                      <a:pos x="37" y="42"/>
                    </a:cxn>
                    <a:cxn ang="0">
                      <a:pos x="25" y="33"/>
                    </a:cxn>
                    <a:cxn ang="0">
                      <a:pos x="25" y="27"/>
                    </a:cxn>
                    <a:cxn ang="0">
                      <a:pos x="31" y="27"/>
                    </a:cxn>
                    <a:cxn ang="0">
                      <a:pos x="6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" y="4"/>
                    </a:cxn>
                    <a:cxn ang="0">
                      <a:pos x="2" y="6"/>
                    </a:cxn>
                  </a:cxnLst>
                  <a:rect l="0" t="0" r="r" b="b"/>
                  <a:pathLst>
                    <a:path w="37" h="45">
                      <a:moveTo>
                        <a:pt x="2" y="6"/>
                      </a:moveTo>
                      <a:lnTo>
                        <a:pt x="25" y="33"/>
                      </a:lnTo>
                      <a:lnTo>
                        <a:pt x="29" y="42"/>
                      </a:lnTo>
                      <a:lnTo>
                        <a:pt x="31" y="45"/>
                      </a:lnTo>
                      <a:lnTo>
                        <a:pt x="31" y="42"/>
                      </a:lnTo>
                      <a:lnTo>
                        <a:pt x="37" y="42"/>
                      </a:lnTo>
                      <a:lnTo>
                        <a:pt x="25" y="33"/>
                      </a:lnTo>
                      <a:lnTo>
                        <a:pt x="25" y="27"/>
                      </a:lnTo>
                      <a:lnTo>
                        <a:pt x="31" y="27"/>
                      </a:ln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26" name="Russia"/>
                <p:cNvSpPr>
                  <a:spLocks/>
                </p:cNvSpPr>
                <p:nvPr>
                  <p:custDataLst>
                    <p:tags r:id="rId162"/>
                  </p:custDataLst>
                </p:nvPr>
              </p:nvSpPr>
              <p:spPr bwMode="auto">
                <a:xfrm>
                  <a:off x="4860033" y="2181505"/>
                  <a:ext cx="3207794" cy="1052416"/>
                </a:xfrm>
                <a:custGeom>
                  <a:avLst/>
                  <a:gdLst/>
                  <a:ahLst/>
                  <a:cxnLst>
                    <a:cxn ang="0">
                      <a:pos x="158" y="38"/>
                    </a:cxn>
                    <a:cxn ang="0">
                      <a:pos x="156" y="38"/>
                    </a:cxn>
                    <a:cxn ang="0">
                      <a:pos x="135" y="18"/>
                    </a:cxn>
                    <a:cxn ang="0">
                      <a:pos x="137" y="43"/>
                    </a:cxn>
                    <a:cxn ang="0">
                      <a:pos x="108" y="43"/>
                    </a:cxn>
                    <a:cxn ang="0">
                      <a:pos x="71" y="47"/>
                    </a:cxn>
                    <a:cxn ang="0">
                      <a:pos x="56" y="43"/>
                    </a:cxn>
                    <a:cxn ang="0">
                      <a:pos x="48" y="61"/>
                    </a:cxn>
                    <a:cxn ang="0">
                      <a:pos x="25" y="61"/>
                    </a:cxn>
                    <a:cxn ang="0">
                      <a:pos x="29" y="38"/>
                    </a:cxn>
                    <a:cxn ang="0">
                      <a:pos x="6" y="45"/>
                    </a:cxn>
                    <a:cxn ang="0">
                      <a:pos x="14" y="70"/>
                    </a:cxn>
                    <a:cxn ang="0">
                      <a:pos x="0" y="90"/>
                    </a:cxn>
                    <a:cxn ang="0">
                      <a:pos x="23" y="117"/>
                    </a:cxn>
                    <a:cxn ang="0">
                      <a:pos x="33" y="128"/>
                    </a:cxn>
                    <a:cxn ang="0">
                      <a:pos x="58" y="139"/>
                    </a:cxn>
                    <a:cxn ang="0">
                      <a:pos x="54" y="155"/>
                    </a:cxn>
                    <a:cxn ang="0">
                      <a:pos x="48" y="166"/>
                    </a:cxn>
                    <a:cxn ang="0">
                      <a:pos x="94" y="184"/>
                    </a:cxn>
                    <a:cxn ang="0">
                      <a:pos x="89" y="166"/>
                    </a:cxn>
                    <a:cxn ang="0">
                      <a:pos x="89" y="148"/>
                    </a:cxn>
                    <a:cxn ang="0">
                      <a:pos x="96" y="133"/>
                    </a:cxn>
                    <a:cxn ang="0">
                      <a:pos x="119" y="133"/>
                    </a:cxn>
                    <a:cxn ang="0">
                      <a:pos x="148" y="130"/>
                    </a:cxn>
                    <a:cxn ang="0">
                      <a:pos x="137" y="117"/>
                    </a:cxn>
                    <a:cxn ang="0">
                      <a:pos x="175" y="108"/>
                    </a:cxn>
                    <a:cxn ang="0">
                      <a:pos x="192" y="117"/>
                    </a:cxn>
                    <a:cxn ang="0">
                      <a:pos x="227" y="133"/>
                    </a:cxn>
                    <a:cxn ang="0">
                      <a:pos x="254" y="146"/>
                    </a:cxn>
                    <a:cxn ang="0">
                      <a:pos x="296" y="133"/>
                    </a:cxn>
                    <a:cxn ang="0">
                      <a:pos x="348" y="142"/>
                    </a:cxn>
                    <a:cxn ang="0">
                      <a:pos x="382" y="130"/>
                    </a:cxn>
                    <a:cxn ang="0">
                      <a:pos x="413" y="133"/>
                    </a:cxn>
                    <a:cxn ang="0">
                      <a:pos x="452" y="146"/>
                    </a:cxn>
                    <a:cxn ang="0">
                      <a:pos x="455" y="175"/>
                    </a:cxn>
                    <a:cxn ang="0">
                      <a:pos x="475" y="164"/>
                    </a:cxn>
                    <a:cxn ang="0">
                      <a:pos x="444" y="117"/>
                    </a:cxn>
                    <a:cxn ang="0">
                      <a:pos x="436" y="106"/>
                    </a:cxn>
                    <a:cxn ang="0">
                      <a:pos x="475" y="90"/>
                    </a:cxn>
                    <a:cxn ang="0">
                      <a:pos x="494" y="79"/>
                    </a:cxn>
                    <a:cxn ang="0">
                      <a:pos x="513" y="79"/>
                    </a:cxn>
                    <a:cxn ang="0">
                      <a:pos x="509" y="108"/>
                    </a:cxn>
                    <a:cxn ang="0">
                      <a:pos x="538" y="112"/>
                    </a:cxn>
                    <a:cxn ang="0">
                      <a:pos x="521" y="94"/>
                    </a:cxn>
                    <a:cxn ang="0">
                      <a:pos x="530" y="81"/>
                    </a:cxn>
                    <a:cxn ang="0">
                      <a:pos x="561" y="72"/>
                    </a:cxn>
                    <a:cxn ang="0">
                      <a:pos x="540" y="54"/>
                    </a:cxn>
                    <a:cxn ang="0">
                      <a:pos x="578" y="54"/>
                    </a:cxn>
                    <a:cxn ang="0">
                      <a:pos x="482" y="31"/>
                    </a:cxn>
                    <a:cxn ang="0">
                      <a:pos x="475" y="31"/>
                    </a:cxn>
                    <a:cxn ang="0">
                      <a:pos x="398" y="22"/>
                    </a:cxn>
                    <a:cxn ang="0">
                      <a:pos x="342" y="22"/>
                    </a:cxn>
                    <a:cxn ang="0">
                      <a:pos x="302" y="13"/>
                    </a:cxn>
                    <a:cxn ang="0">
                      <a:pos x="269" y="11"/>
                    </a:cxn>
                    <a:cxn ang="0">
                      <a:pos x="267" y="9"/>
                    </a:cxn>
                    <a:cxn ang="0">
                      <a:pos x="217" y="2"/>
                    </a:cxn>
                    <a:cxn ang="0">
                      <a:pos x="167" y="18"/>
                    </a:cxn>
                    <a:cxn ang="0">
                      <a:pos x="167" y="29"/>
                    </a:cxn>
                  </a:cxnLst>
                  <a:rect l="0" t="0" r="r" b="b"/>
                  <a:pathLst>
                    <a:path w="578" h="189">
                      <a:moveTo>
                        <a:pt x="152" y="20"/>
                      </a:moveTo>
                      <a:lnTo>
                        <a:pt x="148" y="27"/>
                      </a:lnTo>
                      <a:lnTo>
                        <a:pt x="152" y="29"/>
                      </a:lnTo>
                      <a:lnTo>
                        <a:pt x="152" y="36"/>
                      </a:lnTo>
                      <a:lnTo>
                        <a:pt x="156" y="38"/>
                      </a:lnTo>
                      <a:lnTo>
                        <a:pt x="158" y="38"/>
                      </a:lnTo>
                      <a:lnTo>
                        <a:pt x="164" y="45"/>
                      </a:lnTo>
                      <a:lnTo>
                        <a:pt x="160" y="47"/>
                      </a:lnTo>
                      <a:lnTo>
                        <a:pt x="156" y="52"/>
                      </a:lnTo>
                      <a:lnTo>
                        <a:pt x="150" y="47"/>
                      </a:lnTo>
                      <a:lnTo>
                        <a:pt x="156" y="45"/>
                      </a:lnTo>
                      <a:lnTo>
                        <a:pt x="156" y="38"/>
                      </a:lnTo>
                      <a:lnTo>
                        <a:pt x="152" y="38"/>
                      </a:lnTo>
                      <a:lnTo>
                        <a:pt x="148" y="27"/>
                      </a:lnTo>
                      <a:lnTo>
                        <a:pt x="144" y="27"/>
                      </a:lnTo>
                      <a:lnTo>
                        <a:pt x="144" y="20"/>
                      </a:lnTo>
                      <a:lnTo>
                        <a:pt x="137" y="18"/>
                      </a:lnTo>
                      <a:lnTo>
                        <a:pt x="135" y="18"/>
                      </a:lnTo>
                      <a:lnTo>
                        <a:pt x="133" y="18"/>
                      </a:lnTo>
                      <a:lnTo>
                        <a:pt x="127" y="27"/>
                      </a:lnTo>
                      <a:lnTo>
                        <a:pt x="129" y="29"/>
                      </a:lnTo>
                      <a:lnTo>
                        <a:pt x="129" y="36"/>
                      </a:lnTo>
                      <a:lnTo>
                        <a:pt x="142" y="38"/>
                      </a:lnTo>
                      <a:lnTo>
                        <a:pt x="137" y="43"/>
                      </a:lnTo>
                      <a:lnTo>
                        <a:pt x="102" y="29"/>
                      </a:lnTo>
                      <a:lnTo>
                        <a:pt x="102" y="31"/>
                      </a:lnTo>
                      <a:lnTo>
                        <a:pt x="112" y="38"/>
                      </a:lnTo>
                      <a:lnTo>
                        <a:pt x="108" y="38"/>
                      </a:lnTo>
                      <a:lnTo>
                        <a:pt x="110" y="43"/>
                      </a:lnTo>
                      <a:lnTo>
                        <a:pt x="108" y="43"/>
                      </a:lnTo>
                      <a:lnTo>
                        <a:pt x="104" y="38"/>
                      </a:lnTo>
                      <a:lnTo>
                        <a:pt x="94" y="38"/>
                      </a:lnTo>
                      <a:lnTo>
                        <a:pt x="94" y="43"/>
                      </a:lnTo>
                      <a:lnTo>
                        <a:pt x="87" y="38"/>
                      </a:lnTo>
                      <a:lnTo>
                        <a:pt x="71" y="45"/>
                      </a:lnTo>
                      <a:lnTo>
                        <a:pt x="71" y="47"/>
                      </a:lnTo>
                      <a:lnTo>
                        <a:pt x="68" y="47"/>
                      </a:lnTo>
                      <a:lnTo>
                        <a:pt x="58" y="45"/>
                      </a:lnTo>
                      <a:lnTo>
                        <a:pt x="64" y="45"/>
                      </a:lnTo>
                      <a:lnTo>
                        <a:pt x="62" y="43"/>
                      </a:lnTo>
                      <a:lnTo>
                        <a:pt x="50" y="38"/>
                      </a:lnTo>
                      <a:lnTo>
                        <a:pt x="56" y="43"/>
                      </a:lnTo>
                      <a:lnTo>
                        <a:pt x="56" y="47"/>
                      </a:lnTo>
                      <a:lnTo>
                        <a:pt x="58" y="52"/>
                      </a:lnTo>
                      <a:lnTo>
                        <a:pt x="56" y="52"/>
                      </a:lnTo>
                      <a:lnTo>
                        <a:pt x="50" y="52"/>
                      </a:lnTo>
                      <a:lnTo>
                        <a:pt x="41" y="54"/>
                      </a:lnTo>
                      <a:lnTo>
                        <a:pt x="48" y="61"/>
                      </a:lnTo>
                      <a:lnTo>
                        <a:pt x="33" y="56"/>
                      </a:lnTo>
                      <a:lnTo>
                        <a:pt x="31" y="56"/>
                      </a:lnTo>
                      <a:lnTo>
                        <a:pt x="37" y="61"/>
                      </a:lnTo>
                      <a:lnTo>
                        <a:pt x="39" y="63"/>
                      </a:lnTo>
                      <a:lnTo>
                        <a:pt x="33" y="63"/>
                      </a:lnTo>
                      <a:lnTo>
                        <a:pt x="25" y="61"/>
                      </a:lnTo>
                      <a:lnTo>
                        <a:pt x="25" y="54"/>
                      </a:lnTo>
                      <a:lnTo>
                        <a:pt x="14" y="47"/>
                      </a:lnTo>
                      <a:lnTo>
                        <a:pt x="37" y="52"/>
                      </a:lnTo>
                      <a:lnTo>
                        <a:pt x="48" y="47"/>
                      </a:lnTo>
                      <a:lnTo>
                        <a:pt x="46" y="45"/>
                      </a:lnTo>
                      <a:lnTo>
                        <a:pt x="29" y="38"/>
                      </a:lnTo>
                      <a:lnTo>
                        <a:pt x="14" y="31"/>
                      </a:lnTo>
                      <a:lnTo>
                        <a:pt x="8" y="36"/>
                      </a:lnTo>
                      <a:lnTo>
                        <a:pt x="2" y="38"/>
                      </a:lnTo>
                      <a:lnTo>
                        <a:pt x="0" y="38"/>
                      </a:lnTo>
                      <a:lnTo>
                        <a:pt x="0" y="43"/>
                      </a:lnTo>
                      <a:lnTo>
                        <a:pt x="6" y="45"/>
                      </a:lnTo>
                      <a:lnTo>
                        <a:pt x="6" y="47"/>
                      </a:lnTo>
                      <a:lnTo>
                        <a:pt x="8" y="54"/>
                      </a:lnTo>
                      <a:lnTo>
                        <a:pt x="8" y="56"/>
                      </a:lnTo>
                      <a:lnTo>
                        <a:pt x="10" y="61"/>
                      </a:lnTo>
                      <a:lnTo>
                        <a:pt x="10" y="63"/>
                      </a:lnTo>
                      <a:lnTo>
                        <a:pt x="14" y="70"/>
                      </a:lnTo>
                      <a:lnTo>
                        <a:pt x="2" y="81"/>
                      </a:lnTo>
                      <a:lnTo>
                        <a:pt x="6" y="81"/>
                      </a:lnTo>
                      <a:lnTo>
                        <a:pt x="8" y="85"/>
                      </a:lnTo>
                      <a:lnTo>
                        <a:pt x="6" y="88"/>
                      </a:lnTo>
                      <a:lnTo>
                        <a:pt x="2" y="88"/>
                      </a:lnTo>
                      <a:lnTo>
                        <a:pt x="0" y="90"/>
                      </a:lnTo>
                      <a:lnTo>
                        <a:pt x="2" y="94"/>
                      </a:lnTo>
                      <a:lnTo>
                        <a:pt x="2" y="97"/>
                      </a:lnTo>
                      <a:lnTo>
                        <a:pt x="8" y="103"/>
                      </a:lnTo>
                      <a:lnTo>
                        <a:pt x="16" y="106"/>
                      </a:lnTo>
                      <a:lnTo>
                        <a:pt x="18" y="112"/>
                      </a:lnTo>
                      <a:lnTo>
                        <a:pt x="23" y="117"/>
                      </a:lnTo>
                      <a:lnTo>
                        <a:pt x="25" y="117"/>
                      </a:lnTo>
                      <a:lnTo>
                        <a:pt x="25" y="121"/>
                      </a:lnTo>
                      <a:lnTo>
                        <a:pt x="18" y="121"/>
                      </a:lnTo>
                      <a:lnTo>
                        <a:pt x="23" y="128"/>
                      </a:lnTo>
                      <a:lnTo>
                        <a:pt x="31" y="124"/>
                      </a:lnTo>
                      <a:lnTo>
                        <a:pt x="33" y="128"/>
                      </a:lnTo>
                      <a:lnTo>
                        <a:pt x="33" y="130"/>
                      </a:lnTo>
                      <a:lnTo>
                        <a:pt x="37" y="130"/>
                      </a:lnTo>
                      <a:lnTo>
                        <a:pt x="39" y="137"/>
                      </a:lnTo>
                      <a:lnTo>
                        <a:pt x="48" y="137"/>
                      </a:lnTo>
                      <a:lnTo>
                        <a:pt x="50" y="139"/>
                      </a:lnTo>
                      <a:lnTo>
                        <a:pt x="58" y="139"/>
                      </a:lnTo>
                      <a:lnTo>
                        <a:pt x="58" y="142"/>
                      </a:lnTo>
                      <a:lnTo>
                        <a:pt x="58" y="146"/>
                      </a:lnTo>
                      <a:lnTo>
                        <a:pt x="58" y="151"/>
                      </a:lnTo>
                      <a:lnTo>
                        <a:pt x="56" y="148"/>
                      </a:lnTo>
                      <a:lnTo>
                        <a:pt x="54" y="151"/>
                      </a:lnTo>
                      <a:lnTo>
                        <a:pt x="54" y="155"/>
                      </a:lnTo>
                      <a:lnTo>
                        <a:pt x="58" y="155"/>
                      </a:lnTo>
                      <a:lnTo>
                        <a:pt x="50" y="157"/>
                      </a:lnTo>
                      <a:lnTo>
                        <a:pt x="54" y="157"/>
                      </a:lnTo>
                      <a:lnTo>
                        <a:pt x="50" y="164"/>
                      </a:lnTo>
                      <a:lnTo>
                        <a:pt x="48" y="164"/>
                      </a:lnTo>
                      <a:lnTo>
                        <a:pt x="48" y="166"/>
                      </a:lnTo>
                      <a:lnTo>
                        <a:pt x="50" y="166"/>
                      </a:lnTo>
                      <a:lnTo>
                        <a:pt x="64" y="175"/>
                      </a:lnTo>
                      <a:lnTo>
                        <a:pt x="77" y="175"/>
                      </a:lnTo>
                      <a:lnTo>
                        <a:pt x="81" y="180"/>
                      </a:lnTo>
                      <a:lnTo>
                        <a:pt x="87" y="180"/>
                      </a:lnTo>
                      <a:lnTo>
                        <a:pt x="94" y="184"/>
                      </a:lnTo>
                      <a:lnTo>
                        <a:pt x="96" y="189"/>
                      </a:lnTo>
                      <a:lnTo>
                        <a:pt x="98" y="189"/>
                      </a:lnTo>
                      <a:lnTo>
                        <a:pt x="102" y="184"/>
                      </a:lnTo>
                      <a:lnTo>
                        <a:pt x="96" y="180"/>
                      </a:lnTo>
                      <a:lnTo>
                        <a:pt x="96" y="173"/>
                      </a:lnTo>
                      <a:lnTo>
                        <a:pt x="89" y="166"/>
                      </a:lnTo>
                      <a:lnTo>
                        <a:pt x="94" y="160"/>
                      </a:lnTo>
                      <a:lnTo>
                        <a:pt x="96" y="160"/>
                      </a:lnTo>
                      <a:lnTo>
                        <a:pt x="98" y="157"/>
                      </a:lnTo>
                      <a:lnTo>
                        <a:pt x="96" y="151"/>
                      </a:lnTo>
                      <a:lnTo>
                        <a:pt x="89" y="151"/>
                      </a:lnTo>
                      <a:lnTo>
                        <a:pt x="89" y="148"/>
                      </a:lnTo>
                      <a:lnTo>
                        <a:pt x="87" y="146"/>
                      </a:lnTo>
                      <a:lnTo>
                        <a:pt x="89" y="137"/>
                      </a:lnTo>
                      <a:lnTo>
                        <a:pt x="94" y="139"/>
                      </a:lnTo>
                      <a:lnTo>
                        <a:pt x="96" y="139"/>
                      </a:lnTo>
                      <a:lnTo>
                        <a:pt x="94" y="133"/>
                      </a:lnTo>
                      <a:lnTo>
                        <a:pt x="96" y="133"/>
                      </a:lnTo>
                      <a:lnTo>
                        <a:pt x="102" y="130"/>
                      </a:lnTo>
                      <a:lnTo>
                        <a:pt x="104" y="130"/>
                      </a:lnTo>
                      <a:lnTo>
                        <a:pt x="108" y="128"/>
                      </a:lnTo>
                      <a:lnTo>
                        <a:pt x="112" y="130"/>
                      </a:lnTo>
                      <a:lnTo>
                        <a:pt x="119" y="137"/>
                      </a:lnTo>
                      <a:lnTo>
                        <a:pt x="119" y="133"/>
                      </a:lnTo>
                      <a:lnTo>
                        <a:pt x="121" y="133"/>
                      </a:lnTo>
                      <a:lnTo>
                        <a:pt x="127" y="133"/>
                      </a:lnTo>
                      <a:lnTo>
                        <a:pt x="133" y="133"/>
                      </a:lnTo>
                      <a:lnTo>
                        <a:pt x="137" y="133"/>
                      </a:lnTo>
                      <a:lnTo>
                        <a:pt x="144" y="133"/>
                      </a:lnTo>
                      <a:lnTo>
                        <a:pt x="148" y="130"/>
                      </a:lnTo>
                      <a:lnTo>
                        <a:pt x="137" y="128"/>
                      </a:lnTo>
                      <a:lnTo>
                        <a:pt x="142" y="124"/>
                      </a:lnTo>
                      <a:lnTo>
                        <a:pt x="137" y="124"/>
                      </a:lnTo>
                      <a:lnTo>
                        <a:pt x="142" y="121"/>
                      </a:lnTo>
                      <a:lnTo>
                        <a:pt x="142" y="117"/>
                      </a:lnTo>
                      <a:lnTo>
                        <a:pt x="137" y="117"/>
                      </a:lnTo>
                      <a:lnTo>
                        <a:pt x="137" y="115"/>
                      </a:lnTo>
                      <a:lnTo>
                        <a:pt x="144" y="115"/>
                      </a:lnTo>
                      <a:lnTo>
                        <a:pt x="158" y="112"/>
                      </a:lnTo>
                      <a:lnTo>
                        <a:pt x="167" y="112"/>
                      </a:lnTo>
                      <a:lnTo>
                        <a:pt x="167" y="108"/>
                      </a:lnTo>
                      <a:lnTo>
                        <a:pt x="175" y="108"/>
                      </a:lnTo>
                      <a:lnTo>
                        <a:pt x="177" y="112"/>
                      </a:lnTo>
                      <a:lnTo>
                        <a:pt x="177" y="115"/>
                      </a:lnTo>
                      <a:lnTo>
                        <a:pt x="183" y="115"/>
                      </a:lnTo>
                      <a:lnTo>
                        <a:pt x="190" y="115"/>
                      </a:lnTo>
                      <a:lnTo>
                        <a:pt x="190" y="117"/>
                      </a:lnTo>
                      <a:lnTo>
                        <a:pt x="192" y="117"/>
                      </a:lnTo>
                      <a:lnTo>
                        <a:pt x="198" y="115"/>
                      </a:lnTo>
                      <a:lnTo>
                        <a:pt x="200" y="115"/>
                      </a:lnTo>
                      <a:lnTo>
                        <a:pt x="208" y="121"/>
                      </a:lnTo>
                      <a:lnTo>
                        <a:pt x="221" y="133"/>
                      </a:lnTo>
                      <a:lnTo>
                        <a:pt x="223" y="130"/>
                      </a:lnTo>
                      <a:lnTo>
                        <a:pt x="227" y="133"/>
                      </a:lnTo>
                      <a:lnTo>
                        <a:pt x="235" y="133"/>
                      </a:lnTo>
                      <a:lnTo>
                        <a:pt x="246" y="139"/>
                      </a:lnTo>
                      <a:lnTo>
                        <a:pt x="248" y="142"/>
                      </a:lnTo>
                      <a:lnTo>
                        <a:pt x="252" y="139"/>
                      </a:lnTo>
                      <a:lnTo>
                        <a:pt x="254" y="142"/>
                      </a:lnTo>
                      <a:lnTo>
                        <a:pt x="254" y="146"/>
                      </a:lnTo>
                      <a:lnTo>
                        <a:pt x="256" y="142"/>
                      </a:lnTo>
                      <a:lnTo>
                        <a:pt x="271" y="133"/>
                      </a:lnTo>
                      <a:lnTo>
                        <a:pt x="279" y="137"/>
                      </a:lnTo>
                      <a:lnTo>
                        <a:pt x="286" y="139"/>
                      </a:lnTo>
                      <a:lnTo>
                        <a:pt x="296" y="139"/>
                      </a:lnTo>
                      <a:lnTo>
                        <a:pt x="296" y="133"/>
                      </a:lnTo>
                      <a:lnTo>
                        <a:pt x="294" y="130"/>
                      </a:lnTo>
                      <a:lnTo>
                        <a:pt x="296" y="128"/>
                      </a:lnTo>
                      <a:lnTo>
                        <a:pt x="308" y="130"/>
                      </a:lnTo>
                      <a:lnTo>
                        <a:pt x="317" y="137"/>
                      </a:lnTo>
                      <a:lnTo>
                        <a:pt x="327" y="137"/>
                      </a:lnTo>
                      <a:lnTo>
                        <a:pt x="348" y="142"/>
                      </a:lnTo>
                      <a:lnTo>
                        <a:pt x="359" y="139"/>
                      </a:lnTo>
                      <a:lnTo>
                        <a:pt x="365" y="137"/>
                      </a:lnTo>
                      <a:lnTo>
                        <a:pt x="373" y="139"/>
                      </a:lnTo>
                      <a:lnTo>
                        <a:pt x="379" y="139"/>
                      </a:lnTo>
                      <a:lnTo>
                        <a:pt x="384" y="137"/>
                      </a:lnTo>
                      <a:lnTo>
                        <a:pt x="382" y="130"/>
                      </a:lnTo>
                      <a:lnTo>
                        <a:pt x="384" y="128"/>
                      </a:lnTo>
                      <a:lnTo>
                        <a:pt x="379" y="124"/>
                      </a:lnTo>
                      <a:lnTo>
                        <a:pt x="382" y="121"/>
                      </a:lnTo>
                      <a:lnTo>
                        <a:pt x="390" y="117"/>
                      </a:lnTo>
                      <a:lnTo>
                        <a:pt x="402" y="121"/>
                      </a:lnTo>
                      <a:lnTo>
                        <a:pt x="413" y="133"/>
                      </a:lnTo>
                      <a:lnTo>
                        <a:pt x="419" y="139"/>
                      </a:lnTo>
                      <a:lnTo>
                        <a:pt x="427" y="142"/>
                      </a:lnTo>
                      <a:lnTo>
                        <a:pt x="436" y="146"/>
                      </a:lnTo>
                      <a:lnTo>
                        <a:pt x="442" y="151"/>
                      </a:lnTo>
                      <a:lnTo>
                        <a:pt x="444" y="151"/>
                      </a:lnTo>
                      <a:lnTo>
                        <a:pt x="452" y="146"/>
                      </a:lnTo>
                      <a:lnTo>
                        <a:pt x="455" y="151"/>
                      </a:lnTo>
                      <a:lnTo>
                        <a:pt x="455" y="155"/>
                      </a:lnTo>
                      <a:lnTo>
                        <a:pt x="459" y="166"/>
                      </a:lnTo>
                      <a:lnTo>
                        <a:pt x="452" y="164"/>
                      </a:lnTo>
                      <a:lnTo>
                        <a:pt x="450" y="166"/>
                      </a:lnTo>
                      <a:lnTo>
                        <a:pt x="455" y="175"/>
                      </a:lnTo>
                      <a:lnTo>
                        <a:pt x="455" y="180"/>
                      </a:lnTo>
                      <a:lnTo>
                        <a:pt x="459" y="175"/>
                      </a:lnTo>
                      <a:lnTo>
                        <a:pt x="463" y="180"/>
                      </a:lnTo>
                      <a:lnTo>
                        <a:pt x="469" y="175"/>
                      </a:lnTo>
                      <a:lnTo>
                        <a:pt x="469" y="169"/>
                      </a:lnTo>
                      <a:lnTo>
                        <a:pt x="475" y="164"/>
                      </a:lnTo>
                      <a:lnTo>
                        <a:pt x="475" y="146"/>
                      </a:lnTo>
                      <a:lnTo>
                        <a:pt x="467" y="133"/>
                      </a:lnTo>
                      <a:lnTo>
                        <a:pt x="461" y="121"/>
                      </a:lnTo>
                      <a:lnTo>
                        <a:pt x="450" y="115"/>
                      </a:lnTo>
                      <a:lnTo>
                        <a:pt x="446" y="117"/>
                      </a:lnTo>
                      <a:lnTo>
                        <a:pt x="444" y="117"/>
                      </a:lnTo>
                      <a:lnTo>
                        <a:pt x="444" y="115"/>
                      </a:lnTo>
                      <a:lnTo>
                        <a:pt x="442" y="115"/>
                      </a:lnTo>
                      <a:lnTo>
                        <a:pt x="442" y="117"/>
                      </a:lnTo>
                      <a:lnTo>
                        <a:pt x="438" y="112"/>
                      </a:lnTo>
                      <a:lnTo>
                        <a:pt x="430" y="112"/>
                      </a:lnTo>
                      <a:lnTo>
                        <a:pt x="436" y="106"/>
                      </a:lnTo>
                      <a:lnTo>
                        <a:pt x="438" y="88"/>
                      </a:lnTo>
                      <a:lnTo>
                        <a:pt x="444" y="88"/>
                      </a:lnTo>
                      <a:lnTo>
                        <a:pt x="463" y="88"/>
                      </a:lnTo>
                      <a:lnTo>
                        <a:pt x="463" y="85"/>
                      </a:lnTo>
                      <a:lnTo>
                        <a:pt x="473" y="85"/>
                      </a:lnTo>
                      <a:lnTo>
                        <a:pt x="475" y="90"/>
                      </a:lnTo>
                      <a:lnTo>
                        <a:pt x="490" y="88"/>
                      </a:lnTo>
                      <a:lnTo>
                        <a:pt x="484" y="88"/>
                      </a:lnTo>
                      <a:lnTo>
                        <a:pt x="482" y="85"/>
                      </a:lnTo>
                      <a:lnTo>
                        <a:pt x="484" y="74"/>
                      </a:lnTo>
                      <a:lnTo>
                        <a:pt x="494" y="74"/>
                      </a:lnTo>
                      <a:lnTo>
                        <a:pt x="494" y="79"/>
                      </a:lnTo>
                      <a:lnTo>
                        <a:pt x="500" y="81"/>
                      </a:lnTo>
                      <a:lnTo>
                        <a:pt x="503" y="74"/>
                      </a:lnTo>
                      <a:lnTo>
                        <a:pt x="500" y="70"/>
                      </a:lnTo>
                      <a:lnTo>
                        <a:pt x="507" y="70"/>
                      </a:lnTo>
                      <a:lnTo>
                        <a:pt x="507" y="72"/>
                      </a:lnTo>
                      <a:lnTo>
                        <a:pt x="513" y="79"/>
                      </a:lnTo>
                      <a:lnTo>
                        <a:pt x="509" y="81"/>
                      </a:lnTo>
                      <a:lnTo>
                        <a:pt x="507" y="94"/>
                      </a:lnTo>
                      <a:lnTo>
                        <a:pt x="503" y="97"/>
                      </a:lnTo>
                      <a:lnTo>
                        <a:pt x="507" y="99"/>
                      </a:lnTo>
                      <a:lnTo>
                        <a:pt x="503" y="99"/>
                      </a:lnTo>
                      <a:lnTo>
                        <a:pt x="509" y="108"/>
                      </a:lnTo>
                      <a:lnTo>
                        <a:pt x="534" y="133"/>
                      </a:lnTo>
                      <a:lnTo>
                        <a:pt x="534" y="130"/>
                      </a:lnTo>
                      <a:lnTo>
                        <a:pt x="534" y="121"/>
                      </a:lnTo>
                      <a:lnTo>
                        <a:pt x="538" y="121"/>
                      </a:lnTo>
                      <a:lnTo>
                        <a:pt x="532" y="115"/>
                      </a:lnTo>
                      <a:lnTo>
                        <a:pt x="538" y="112"/>
                      </a:lnTo>
                      <a:lnTo>
                        <a:pt x="532" y="106"/>
                      </a:lnTo>
                      <a:lnTo>
                        <a:pt x="534" y="103"/>
                      </a:lnTo>
                      <a:lnTo>
                        <a:pt x="530" y="99"/>
                      </a:lnTo>
                      <a:lnTo>
                        <a:pt x="525" y="97"/>
                      </a:lnTo>
                      <a:lnTo>
                        <a:pt x="523" y="97"/>
                      </a:lnTo>
                      <a:lnTo>
                        <a:pt x="521" y="94"/>
                      </a:lnTo>
                      <a:lnTo>
                        <a:pt x="521" y="88"/>
                      </a:lnTo>
                      <a:lnTo>
                        <a:pt x="517" y="85"/>
                      </a:lnTo>
                      <a:lnTo>
                        <a:pt x="521" y="85"/>
                      </a:lnTo>
                      <a:lnTo>
                        <a:pt x="523" y="81"/>
                      </a:lnTo>
                      <a:lnTo>
                        <a:pt x="530" y="85"/>
                      </a:lnTo>
                      <a:lnTo>
                        <a:pt x="530" y="81"/>
                      </a:lnTo>
                      <a:lnTo>
                        <a:pt x="532" y="81"/>
                      </a:lnTo>
                      <a:lnTo>
                        <a:pt x="542" y="85"/>
                      </a:lnTo>
                      <a:lnTo>
                        <a:pt x="540" y="81"/>
                      </a:lnTo>
                      <a:lnTo>
                        <a:pt x="548" y="72"/>
                      </a:lnTo>
                      <a:lnTo>
                        <a:pt x="553" y="70"/>
                      </a:lnTo>
                      <a:lnTo>
                        <a:pt x="561" y="72"/>
                      </a:lnTo>
                      <a:lnTo>
                        <a:pt x="561" y="70"/>
                      </a:lnTo>
                      <a:lnTo>
                        <a:pt x="540" y="61"/>
                      </a:lnTo>
                      <a:lnTo>
                        <a:pt x="546" y="61"/>
                      </a:lnTo>
                      <a:lnTo>
                        <a:pt x="546" y="56"/>
                      </a:lnTo>
                      <a:lnTo>
                        <a:pt x="546" y="54"/>
                      </a:lnTo>
                      <a:lnTo>
                        <a:pt x="540" y="54"/>
                      </a:lnTo>
                      <a:lnTo>
                        <a:pt x="542" y="52"/>
                      </a:lnTo>
                      <a:lnTo>
                        <a:pt x="548" y="54"/>
                      </a:lnTo>
                      <a:lnTo>
                        <a:pt x="561" y="56"/>
                      </a:lnTo>
                      <a:lnTo>
                        <a:pt x="578" y="61"/>
                      </a:lnTo>
                      <a:lnTo>
                        <a:pt x="571" y="54"/>
                      </a:lnTo>
                      <a:lnTo>
                        <a:pt x="578" y="54"/>
                      </a:lnTo>
                      <a:lnTo>
                        <a:pt x="578" y="52"/>
                      </a:lnTo>
                      <a:lnTo>
                        <a:pt x="563" y="47"/>
                      </a:lnTo>
                      <a:lnTo>
                        <a:pt x="555" y="47"/>
                      </a:lnTo>
                      <a:lnTo>
                        <a:pt x="521" y="38"/>
                      </a:lnTo>
                      <a:lnTo>
                        <a:pt x="503" y="31"/>
                      </a:lnTo>
                      <a:lnTo>
                        <a:pt x="482" y="31"/>
                      </a:lnTo>
                      <a:lnTo>
                        <a:pt x="490" y="38"/>
                      </a:lnTo>
                      <a:lnTo>
                        <a:pt x="486" y="38"/>
                      </a:lnTo>
                      <a:lnTo>
                        <a:pt x="477" y="36"/>
                      </a:lnTo>
                      <a:lnTo>
                        <a:pt x="482" y="36"/>
                      </a:lnTo>
                      <a:lnTo>
                        <a:pt x="482" y="31"/>
                      </a:lnTo>
                      <a:lnTo>
                        <a:pt x="475" y="31"/>
                      </a:lnTo>
                      <a:lnTo>
                        <a:pt x="475" y="36"/>
                      </a:lnTo>
                      <a:lnTo>
                        <a:pt x="452" y="36"/>
                      </a:lnTo>
                      <a:lnTo>
                        <a:pt x="444" y="31"/>
                      </a:lnTo>
                      <a:lnTo>
                        <a:pt x="436" y="29"/>
                      </a:lnTo>
                      <a:lnTo>
                        <a:pt x="415" y="29"/>
                      </a:lnTo>
                      <a:lnTo>
                        <a:pt x="398" y="22"/>
                      </a:lnTo>
                      <a:lnTo>
                        <a:pt x="365" y="20"/>
                      </a:lnTo>
                      <a:lnTo>
                        <a:pt x="365" y="22"/>
                      </a:lnTo>
                      <a:lnTo>
                        <a:pt x="371" y="27"/>
                      </a:lnTo>
                      <a:lnTo>
                        <a:pt x="356" y="22"/>
                      </a:lnTo>
                      <a:lnTo>
                        <a:pt x="354" y="27"/>
                      </a:lnTo>
                      <a:lnTo>
                        <a:pt x="342" y="22"/>
                      </a:lnTo>
                      <a:lnTo>
                        <a:pt x="344" y="27"/>
                      </a:lnTo>
                      <a:lnTo>
                        <a:pt x="344" y="29"/>
                      </a:lnTo>
                      <a:lnTo>
                        <a:pt x="331" y="22"/>
                      </a:lnTo>
                      <a:lnTo>
                        <a:pt x="331" y="20"/>
                      </a:lnTo>
                      <a:lnTo>
                        <a:pt x="323" y="18"/>
                      </a:lnTo>
                      <a:lnTo>
                        <a:pt x="302" y="13"/>
                      </a:lnTo>
                      <a:lnTo>
                        <a:pt x="308" y="18"/>
                      </a:lnTo>
                      <a:lnTo>
                        <a:pt x="296" y="18"/>
                      </a:lnTo>
                      <a:lnTo>
                        <a:pt x="292" y="18"/>
                      </a:lnTo>
                      <a:lnTo>
                        <a:pt x="288" y="18"/>
                      </a:lnTo>
                      <a:lnTo>
                        <a:pt x="275" y="18"/>
                      </a:lnTo>
                      <a:lnTo>
                        <a:pt x="269" y="11"/>
                      </a:lnTo>
                      <a:lnTo>
                        <a:pt x="263" y="11"/>
                      </a:lnTo>
                      <a:lnTo>
                        <a:pt x="271" y="13"/>
                      </a:lnTo>
                      <a:lnTo>
                        <a:pt x="260" y="13"/>
                      </a:lnTo>
                      <a:lnTo>
                        <a:pt x="263" y="18"/>
                      </a:lnTo>
                      <a:lnTo>
                        <a:pt x="252" y="18"/>
                      </a:lnTo>
                      <a:lnTo>
                        <a:pt x="267" y="9"/>
                      </a:lnTo>
                      <a:lnTo>
                        <a:pt x="263" y="4"/>
                      </a:lnTo>
                      <a:lnTo>
                        <a:pt x="252" y="2"/>
                      </a:lnTo>
                      <a:lnTo>
                        <a:pt x="238" y="2"/>
                      </a:lnTo>
                      <a:lnTo>
                        <a:pt x="231" y="0"/>
                      </a:lnTo>
                      <a:lnTo>
                        <a:pt x="223" y="0"/>
                      </a:lnTo>
                      <a:lnTo>
                        <a:pt x="217" y="2"/>
                      </a:lnTo>
                      <a:lnTo>
                        <a:pt x="217" y="4"/>
                      </a:lnTo>
                      <a:lnTo>
                        <a:pt x="198" y="4"/>
                      </a:lnTo>
                      <a:lnTo>
                        <a:pt x="187" y="9"/>
                      </a:lnTo>
                      <a:lnTo>
                        <a:pt x="181" y="11"/>
                      </a:lnTo>
                      <a:lnTo>
                        <a:pt x="187" y="13"/>
                      </a:lnTo>
                      <a:lnTo>
                        <a:pt x="167" y="18"/>
                      </a:lnTo>
                      <a:lnTo>
                        <a:pt x="169" y="20"/>
                      </a:lnTo>
                      <a:lnTo>
                        <a:pt x="177" y="22"/>
                      </a:lnTo>
                      <a:lnTo>
                        <a:pt x="175" y="22"/>
                      </a:lnTo>
                      <a:lnTo>
                        <a:pt x="158" y="20"/>
                      </a:lnTo>
                      <a:lnTo>
                        <a:pt x="156" y="22"/>
                      </a:lnTo>
                      <a:lnTo>
                        <a:pt x="167" y="29"/>
                      </a:lnTo>
                      <a:lnTo>
                        <a:pt x="156" y="27"/>
                      </a:lnTo>
                      <a:lnTo>
                        <a:pt x="154" y="25"/>
                      </a:lnTo>
                      <a:lnTo>
                        <a:pt x="152" y="2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34202" name="Romania"/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733029" y="3025053"/>
                <a:ext cx="227448" cy="139336"/>
              </a:xfrm>
              <a:custGeom>
                <a:avLst/>
                <a:gdLst>
                  <a:gd name="T0" fmla="*/ 205258 w 41"/>
                  <a:gd name="T1" fmla="*/ 89175 h 25"/>
                  <a:gd name="T2" fmla="*/ 227448 w 41"/>
                  <a:gd name="T3" fmla="*/ 89175 h 25"/>
                  <a:gd name="T4" fmla="*/ 227448 w 41"/>
                  <a:gd name="T5" fmla="*/ 100322 h 25"/>
                  <a:gd name="T6" fmla="*/ 205258 w 41"/>
                  <a:gd name="T7" fmla="*/ 117042 h 25"/>
                  <a:gd name="T8" fmla="*/ 216353 w 41"/>
                  <a:gd name="T9" fmla="*/ 139336 h 25"/>
                  <a:gd name="T10" fmla="*/ 171973 w 41"/>
                  <a:gd name="T11" fmla="*/ 117042 h 25"/>
                  <a:gd name="T12" fmla="*/ 138688 w 41"/>
                  <a:gd name="T13" fmla="*/ 139336 h 25"/>
                  <a:gd name="T14" fmla="*/ 88760 w 41"/>
                  <a:gd name="T15" fmla="*/ 139336 h 25"/>
                  <a:gd name="T16" fmla="*/ 77665 w 41"/>
                  <a:gd name="T17" fmla="*/ 117042 h 25"/>
                  <a:gd name="T18" fmla="*/ 66570 w 41"/>
                  <a:gd name="T19" fmla="*/ 100322 h 25"/>
                  <a:gd name="T20" fmla="*/ 44380 w 41"/>
                  <a:gd name="T21" fmla="*/ 100322 h 25"/>
                  <a:gd name="T22" fmla="*/ 0 w 41"/>
                  <a:gd name="T23" fmla="*/ 66881 h 25"/>
                  <a:gd name="T24" fmla="*/ 22190 w 41"/>
                  <a:gd name="T25" fmla="*/ 66881 h 25"/>
                  <a:gd name="T26" fmla="*/ 33285 w 41"/>
                  <a:gd name="T27" fmla="*/ 50161 h 25"/>
                  <a:gd name="T28" fmla="*/ 44380 w 41"/>
                  <a:gd name="T29" fmla="*/ 16720 h 25"/>
                  <a:gd name="T30" fmla="*/ 66570 w 41"/>
                  <a:gd name="T31" fmla="*/ 0 h 25"/>
                  <a:gd name="T32" fmla="*/ 116498 w 41"/>
                  <a:gd name="T33" fmla="*/ 16720 h 25"/>
                  <a:gd name="T34" fmla="*/ 160878 w 41"/>
                  <a:gd name="T35" fmla="*/ 0 h 25"/>
                  <a:gd name="T36" fmla="*/ 183068 w 41"/>
                  <a:gd name="T37" fmla="*/ 39014 h 25"/>
                  <a:gd name="T38" fmla="*/ 194163 w 41"/>
                  <a:gd name="T39" fmla="*/ 66881 h 25"/>
                  <a:gd name="T40" fmla="*/ 205258 w 41"/>
                  <a:gd name="T41" fmla="*/ 89175 h 2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1"/>
                  <a:gd name="T64" fmla="*/ 0 h 25"/>
                  <a:gd name="T65" fmla="*/ 41 w 41"/>
                  <a:gd name="T66" fmla="*/ 25 h 2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1" h="25">
                    <a:moveTo>
                      <a:pt x="37" y="16"/>
                    </a:moveTo>
                    <a:lnTo>
                      <a:pt x="41" y="16"/>
                    </a:lnTo>
                    <a:lnTo>
                      <a:pt x="41" y="18"/>
                    </a:lnTo>
                    <a:lnTo>
                      <a:pt x="37" y="21"/>
                    </a:lnTo>
                    <a:lnTo>
                      <a:pt x="39" y="25"/>
                    </a:lnTo>
                    <a:lnTo>
                      <a:pt x="31" y="21"/>
                    </a:lnTo>
                    <a:lnTo>
                      <a:pt x="25" y="25"/>
                    </a:lnTo>
                    <a:lnTo>
                      <a:pt x="16" y="25"/>
                    </a:lnTo>
                    <a:lnTo>
                      <a:pt x="14" y="21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6" y="9"/>
                    </a:lnTo>
                    <a:lnTo>
                      <a:pt x="8" y="3"/>
                    </a:lnTo>
                    <a:lnTo>
                      <a:pt x="12" y="0"/>
                    </a:lnTo>
                    <a:lnTo>
                      <a:pt x="21" y="3"/>
                    </a:lnTo>
                    <a:lnTo>
                      <a:pt x="29" y="0"/>
                    </a:lnTo>
                    <a:lnTo>
                      <a:pt x="33" y="7"/>
                    </a:lnTo>
                    <a:lnTo>
                      <a:pt x="35" y="12"/>
                    </a:lnTo>
                    <a:lnTo>
                      <a:pt x="37" y="16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20" name="Qatar"/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5517468" y="3725735"/>
                <a:ext cx="34511" cy="50033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4" y="0"/>
                  </a:cxn>
                  <a:cxn ang="0">
                    <a:pos x="6" y="0"/>
                  </a:cxn>
                  <a:cxn ang="0">
                    <a:pos x="6" y="7"/>
                  </a:cxn>
                  <a:cxn ang="0">
                    <a:pos x="4" y="9"/>
                  </a:cxn>
                  <a:cxn ang="0">
                    <a:pos x="2" y="7"/>
                  </a:cxn>
                  <a:cxn ang="0">
                    <a:pos x="0" y="2"/>
                  </a:cxn>
                </a:cxnLst>
                <a:rect l="0" t="0" r="r" b="b"/>
                <a:pathLst>
                  <a:path w="6" h="9">
                    <a:moveTo>
                      <a:pt x="0" y="2"/>
                    </a:moveTo>
                    <a:lnTo>
                      <a:pt x="4" y="0"/>
                    </a:lnTo>
                    <a:lnTo>
                      <a:pt x="6" y="0"/>
                    </a:lnTo>
                    <a:lnTo>
                      <a:pt x="6" y="7"/>
                    </a:lnTo>
                    <a:lnTo>
                      <a:pt x="4" y="9"/>
                    </a:lnTo>
                    <a:lnTo>
                      <a:pt x="2" y="7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204" name="Portugal"/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022949" y="3225696"/>
                <a:ext cx="94308" cy="150483"/>
              </a:xfrm>
              <a:custGeom>
                <a:avLst/>
                <a:gdLst>
                  <a:gd name="T0" fmla="*/ 72118 w 17"/>
                  <a:gd name="T1" fmla="*/ 100322 h 27"/>
                  <a:gd name="T2" fmla="*/ 72118 w 17"/>
                  <a:gd name="T3" fmla="*/ 78028 h 27"/>
                  <a:gd name="T4" fmla="*/ 83213 w 17"/>
                  <a:gd name="T5" fmla="*/ 50161 h 27"/>
                  <a:gd name="T6" fmla="*/ 83213 w 17"/>
                  <a:gd name="T7" fmla="*/ 39014 h 27"/>
                  <a:gd name="T8" fmla="*/ 94308 w 17"/>
                  <a:gd name="T9" fmla="*/ 0 h 27"/>
                  <a:gd name="T10" fmla="*/ 83213 w 17"/>
                  <a:gd name="T11" fmla="*/ 0 h 27"/>
                  <a:gd name="T12" fmla="*/ 38833 w 17"/>
                  <a:gd name="T13" fmla="*/ 0 h 27"/>
                  <a:gd name="T14" fmla="*/ 38833 w 17"/>
                  <a:gd name="T15" fmla="*/ 27867 h 27"/>
                  <a:gd name="T16" fmla="*/ 0 w 17"/>
                  <a:gd name="T17" fmla="*/ 89175 h 27"/>
                  <a:gd name="T18" fmla="*/ 11095 w 17"/>
                  <a:gd name="T19" fmla="*/ 100322 h 27"/>
                  <a:gd name="T20" fmla="*/ 11095 w 17"/>
                  <a:gd name="T21" fmla="*/ 150483 h 27"/>
                  <a:gd name="T22" fmla="*/ 72118 w 17"/>
                  <a:gd name="T23" fmla="*/ 139336 h 27"/>
                  <a:gd name="T24" fmla="*/ 72118 w 17"/>
                  <a:gd name="T25" fmla="*/ 128189 h 27"/>
                  <a:gd name="T26" fmla="*/ 72118 w 17"/>
                  <a:gd name="T27" fmla="*/ 100322 h 2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7"/>
                  <a:gd name="T43" fmla="*/ 0 h 27"/>
                  <a:gd name="T44" fmla="*/ 17 w 17"/>
                  <a:gd name="T45" fmla="*/ 27 h 2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7" h="27">
                    <a:moveTo>
                      <a:pt x="13" y="18"/>
                    </a:moveTo>
                    <a:lnTo>
                      <a:pt x="13" y="14"/>
                    </a:lnTo>
                    <a:lnTo>
                      <a:pt x="15" y="9"/>
                    </a:lnTo>
                    <a:lnTo>
                      <a:pt x="15" y="7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7" y="0"/>
                    </a:lnTo>
                    <a:lnTo>
                      <a:pt x="7" y="5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2" y="27"/>
                    </a:lnTo>
                    <a:lnTo>
                      <a:pt x="13" y="25"/>
                    </a:lnTo>
                    <a:lnTo>
                      <a:pt x="13" y="23"/>
                    </a:lnTo>
                    <a:lnTo>
                      <a:pt x="13" y="18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22" name="Poland"/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594299" y="2825143"/>
                <a:ext cx="227772" cy="165626"/>
              </a:xfrm>
              <a:custGeom>
                <a:avLst/>
                <a:gdLst/>
                <a:ahLst/>
                <a:cxnLst>
                  <a:cxn ang="0">
                    <a:pos x="39" y="18"/>
                  </a:cxn>
                  <a:cxn ang="0">
                    <a:pos x="37" y="16"/>
                  </a:cxn>
                  <a:cxn ang="0">
                    <a:pos x="39" y="9"/>
                  </a:cxn>
                  <a:cxn ang="0">
                    <a:pos x="37" y="3"/>
                  </a:cxn>
                  <a:cxn ang="0">
                    <a:pos x="33" y="3"/>
                  </a:cxn>
                  <a:cxn ang="0">
                    <a:pos x="23" y="0"/>
                  </a:cxn>
                  <a:cxn ang="0">
                    <a:pos x="18" y="3"/>
                  </a:cxn>
                  <a:cxn ang="0">
                    <a:pos x="16" y="0"/>
                  </a:cxn>
                  <a:cxn ang="0">
                    <a:pos x="0" y="5"/>
                  </a:cxn>
                  <a:cxn ang="0">
                    <a:pos x="2" y="21"/>
                  </a:cxn>
                  <a:cxn ang="0">
                    <a:pos x="8" y="21"/>
                  </a:cxn>
                  <a:cxn ang="0">
                    <a:pos x="10" y="25"/>
                  </a:cxn>
                  <a:cxn ang="0">
                    <a:pos x="14" y="25"/>
                  </a:cxn>
                  <a:cxn ang="0">
                    <a:pos x="25" y="30"/>
                  </a:cxn>
                  <a:cxn ang="0">
                    <a:pos x="31" y="30"/>
                  </a:cxn>
                  <a:cxn ang="0">
                    <a:pos x="33" y="30"/>
                  </a:cxn>
                  <a:cxn ang="0">
                    <a:pos x="41" y="25"/>
                  </a:cxn>
                  <a:cxn ang="0">
                    <a:pos x="39" y="23"/>
                  </a:cxn>
                  <a:cxn ang="0">
                    <a:pos x="39" y="18"/>
                  </a:cxn>
                </a:cxnLst>
                <a:rect l="0" t="0" r="r" b="b"/>
                <a:pathLst>
                  <a:path w="41" h="30">
                    <a:moveTo>
                      <a:pt x="39" y="18"/>
                    </a:moveTo>
                    <a:lnTo>
                      <a:pt x="37" y="16"/>
                    </a:lnTo>
                    <a:lnTo>
                      <a:pt x="39" y="9"/>
                    </a:lnTo>
                    <a:lnTo>
                      <a:pt x="37" y="3"/>
                    </a:lnTo>
                    <a:lnTo>
                      <a:pt x="33" y="3"/>
                    </a:lnTo>
                    <a:lnTo>
                      <a:pt x="23" y="0"/>
                    </a:lnTo>
                    <a:lnTo>
                      <a:pt x="18" y="3"/>
                    </a:lnTo>
                    <a:lnTo>
                      <a:pt x="16" y="0"/>
                    </a:lnTo>
                    <a:lnTo>
                      <a:pt x="0" y="5"/>
                    </a:lnTo>
                    <a:lnTo>
                      <a:pt x="2" y="21"/>
                    </a:lnTo>
                    <a:lnTo>
                      <a:pt x="8" y="21"/>
                    </a:lnTo>
                    <a:lnTo>
                      <a:pt x="10" y="25"/>
                    </a:lnTo>
                    <a:lnTo>
                      <a:pt x="14" y="25"/>
                    </a:lnTo>
                    <a:lnTo>
                      <a:pt x="25" y="30"/>
                    </a:lnTo>
                    <a:lnTo>
                      <a:pt x="31" y="30"/>
                    </a:lnTo>
                    <a:lnTo>
                      <a:pt x="33" y="30"/>
                    </a:lnTo>
                    <a:lnTo>
                      <a:pt x="41" y="25"/>
                    </a:lnTo>
                    <a:lnTo>
                      <a:pt x="39" y="23"/>
                    </a:lnTo>
                    <a:lnTo>
                      <a:pt x="39" y="18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523" name="Philippines"/>
              <p:cNvGrpSpPr/>
              <p:nvPr/>
            </p:nvGrpSpPr>
            <p:grpSpPr>
              <a:xfrm>
                <a:off x="7312617" y="3983684"/>
                <a:ext cx="244090" cy="401289"/>
                <a:chOff x="7312617" y="3964595"/>
                <a:chExt cx="244090" cy="401289"/>
              </a:xfrm>
              <a:solidFill>
                <a:srgbClr val="EE8B8B"/>
              </a:solidFill>
            </p:grpSpPr>
            <p:sp>
              <p:nvSpPr>
                <p:cNvPr id="799" name="Philippines"/>
                <p:cNvSpPr>
                  <a:spLocks/>
                </p:cNvSpPr>
                <p:nvPr/>
              </p:nvSpPr>
              <p:spPr bwMode="auto">
                <a:xfrm>
                  <a:off x="7356997" y="3964595"/>
                  <a:ext cx="127592" cy="172777"/>
                </a:xfrm>
                <a:custGeom>
                  <a:avLst/>
                  <a:gdLst/>
                  <a:ahLst/>
                  <a:cxnLst>
                    <a:cxn ang="0">
                      <a:pos x="0" y="11"/>
                    </a:cxn>
                    <a:cxn ang="0">
                      <a:pos x="0" y="20"/>
                    </a:cxn>
                    <a:cxn ang="0">
                      <a:pos x="5" y="20"/>
                    </a:cxn>
                    <a:cxn ang="0">
                      <a:pos x="5" y="27"/>
                    </a:cxn>
                    <a:cxn ang="0">
                      <a:pos x="9" y="27"/>
                    </a:cxn>
                    <a:cxn ang="0">
                      <a:pos x="13" y="31"/>
                    </a:cxn>
                    <a:cxn ang="0">
                      <a:pos x="13" y="27"/>
                    </a:cxn>
                    <a:cxn ang="0">
                      <a:pos x="17" y="31"/>
                    </a:cxn>
                    <a:cxn ang="0">
                      <a:pos x="23" y="31"/>
                    </a:cxn>
                    <a:cxn ang="0">
                      <a:pos x="19" y="27"/>
                    </a:cxn>
                    <a:cxn ang="0">
                      <a:pos x="13" y="24"/>
                    </a:cxn>
                    <a:cxn ang="0">
                      <a:pos x="11" y="27"/>
                    </a:cxn>
                    <a:cxn ang="0">
                      <a:pos x="11" y="24"/>
                    </a:cxn>
                    <a:cxn ang="0">
                      <a:pos x="9" y="18"/>
                    </a:cxn>
                    <a:cxn ang="0">
                      <a:pos x="11" y="9"/>
                    </a:cxn>
                    <a:cxn ang="0">
                      <a:pos x="9" y="6"/>
                    </a:cxn>
                    <a:cxn ang="0">
                      <a:pos x="9" y="0"/>
                    </a:cxn>
                    <a:cxn ang="0">
                      <a:pos x="0" y="0"/>
                    </a:cxn>
                    <a:cxn ang="0">
                      <a:pos x="2" y="11"/>
                    </a:cxn>
                    <a:cxn ang="0">
                      <a:pos x="0" y="11"/>
                    </a:cxn>
                  </a:cxnLst>
                  <a:rect l="0" t="0" r="r" b="b"/>
                  <a:pathLst>
                    <a:path w="23" h="31">
                      <a:moveTo>
                        <a:pt x="0" y="11"/>
                      </a:moveTo>
                      <a:lnTo>
                        <a:pt x="0" y="20"/>
                      </a:lnTo>
                      <a:lnTo>
                        <a:pt x="5" y="20"/>
                      </a:lnTo>
                      <a:lnTo>
                        <a:pt x="5" y="27"/>
                      </a:lnTo>
                      <a:lnTo>
                        <a:pt x="9" y="27"/>
                      </a:lnTo>
                      <a:lnTo>
                        <a:pt x="13" y="31"/>
                      </a:lnTo>
                      <a:lnTo>
                        <a:pt x="13" y="27"/>
                      </a:lnTo>
                      <a:lnTo>
                        <a:pt x="17" y="31"/>
                      </a:lnTo>
                      <a:lnTo>
                        <a:pt x="23" y="31"/>
                      </a:lnTo>
                      <a:lnTo>
                        <a:pt x="19" y="27"/>
                      </a:lnTo>
                      <a:lnTo>
                        <a:pt x="13" y="24"/>
                      </a:lnTo>
                      <a:lnTo>
                        <a:pt x="11" y="27"/>
                      </a:lnTo>
                      <a:lnTo>
                        <a:pt x="11" y="24"/>
                      </a:lnTo>
                      <a:lnTo>
                        <a:pt x="9" y="18"/>
                      </a:lnTo>
                      <a:lnTo>
                        <a:pt x="11" y="9"/>
                      </a:lnTo>
                      <a:lnTo>
                        <a:pt x="9" y="6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2" y="11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00" name="Philippines"/>
                <p:cNvSpPr>
                  <a:spLocks/>
                </p:cNvSpPr>
                <p:nvPr/>
              </p:nvSpPr>
              <p:spPr bwMode="auto">
                <a:xfrm>
                  <a:off x="7312617" y="4198679"/>
                  <a:ext cx="55475" cy="89175"/>
                </a:xfrm>
                <a:custGeom>
                  <a:avLst/>
                  <a:gdLst/>
                  <a:ahLst/>
                  <a:cxnLst>
                    <a:cxn ang="0">
                      <a:pos x="0" y="16"/>
                    </a:cxn>
                    <a:cxn ang="0">
                      <a:pos x="10" y="3"/>
                    </a:cxn>
                    <a:cxn ang="0">
                      <a:pos x="8" y="0"/>
                    </a:cxn>
                    <a:cxn ang="0">
                      <a:pos x="8" y="3"/>
                    </a:cxn>
                    <a:cxn ang="0">
                      <a:pos x="4" y="9"/>
                    </a:cxn>
                    <a:cxn ang="0">
                      <a:pos x="0" y="14"/>
                    </a:cxn>
                    <a:cxn ang="0">
                      <a:pos x="0" y="16"/>
                    </a:cxn>
                  </a:cxnLst>
                  <a:rect l="0" t="0" r="r" b="b"/>
                  <a:pathLst>
                    <a:path w="10" h="16">
                      <a:moveTo>
                        <a:pt x="0" y="16"/>
                      </a:moveTo>
                      <a:lnTo>
                        <a:pt x="10" y="3"/>
                      </a:lnTo>
                      <a:lnTo>
                        <a:pt x="8" y="0"/>
                      </a:lnTo>
                      <a:lnTo>
                        <a:pt x="8" y="3"/>
                      </a:lnTo>
                      <a:lnTo>
                        <a:pt x="4" y="9"/>
                      </a:lnTo>
                      <a:lnTo>
                        <a:pt x="0" y="14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01" name="Philippines"/>
                <p:cNvSpPr>
                  <a:spLocks/>
                </p:cNvSpPr>
                <p:nvPr/>
              </p:nvSpPr>
              <p:spPr bwMode="auto">
                <a:xfrm>
                  <a:off x="7368092" y="4115078"/>
                  <a:ext cx="38833" cy="5016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" y="9"/>
                    </a:cxn>
                    <a:cxn ang="0">
                      <a:pos x="7" y="6"/>
                    </a:cxn>
                    <a:cxn ang="0">
                      <a:pos x="7" y="4"/>
                    </a:cxn>
                    <a:cxn ang="0">
                      <a:pos x="3" y="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7" h="9">
                      <a:moveTo>
                        <a:pt x="0" y="0"/>
                      </a:moveTo>
                      <a:lnTo>
                        <a:pt x="7" y="9"/>
                      </a:lnTo>
                      <a:lnTo>
                        <a:pt x="7" y="6"/>
                      </a:lnTo>
                      <a:lnTo>
                        <a:pt x="7" y="4"/>
                      </a:lnTo>
                      <a:lnTo>
                        <a:pt x="3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02" name="Philippines"/>
                <p:cNvSpPr>
                  <a:spLocks/>
                </p:cNvSpPr>
                <p:nvPr/>
              </p:nvSpPr>
              <p:spPr bwMode="auto">
                <a:xfrm>
                  <a:off x="7484590" y="4148518"/>
                  <a:ext cx="22190" cy="891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" y="7"/>
                    </a:cxn>
                    <a:cxn ang="0">
                      <a:pos x="0" y="7"/>
                    </a:cxn>
                    <a:cxn ang="0">
                      <a:pos x="0" y="9"/>
                    </a:cxn>
                    <a:cxn ang="0">
                      <a:pos x="2" y="9"/>
                    </a:cxn>
                    <a:cxn ang="0">
                      <a:pos x="2" y="16"/>
                    </a:cxn>
                    <a:cxn ang="0">
                      <a:pos x="4" y="12"/>
                    </a:cxn>
                    <a:cxn ang="0">
                      <a:pos x="2" y="9"/>
                    </a:cxn>
                    <a:cxn ang="0">
                      <a:pos x="4" y="9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" h="16">
                      <a:moveTo>
                        <a:pt x="0" y="0"/>
                      </a:move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2" y="9"/>
                      </a:lnTo>
                      <a:lnTo>
                        <a:pt x="2" y="16"/>
                      </a:lnTo>
                      <a:lnTo>
                        <a:pt x="4" y="12"/>
                      </a:lnTo>
                      <a:lnTo>
                        <a:pt x="2" y="9"/>
                      </a:lnTo>
                      <a:lnTo>
                        <a:pt x="4" y="9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03" name="Philippines"/>
                <p:cNvSpPr>
                  <a:spLocks/>
                </p:cNvSpPr>
                <p:nvPr/>
              </p:nvSpPr>
              <p:spPr bwMode="auto">
                <a:xfrm>
                  <a:off x="7418020" y="4165239"/>
                  <a:ext cx="77665" cy="100322"/>
                </a:xfrm>
                <a:custGeom>
                  <a:avLst/>
                  <a:gdLst/>
                  <a:ahLst/>
                  <a:cxnLst>
                    <a:cxn ang="0">
                      <a:pos x="0" y="9"/>
                    </a:cxn>
                    <a:cxn ang="0">
                      <a:pos x="6" y="9"/>
                    </a:cxn>
                    <a:cxn ang="0">
                      <a:pos x="6" y="13"/>
                    </a:cxn>
                    <a:cxn ang="0">
                      <a:pos x="2" y="13"/>
                    </a:cxn>
                    <a:cxn ang="0">
                      <a:pos x="6" y="18"/>
                    </a:cxn>
                    <a:cxn ang="0">
                      <a:pos x="8" y="15"/>
                    </a:cxn>
                    <a:cxn ang="0">
                      <a:pos x="8" y="13"/>
                    </a:cxn>
                    <a:cxn ang="0">
                      <a:pos x="8" y="15"/>
                    </a:cxn>
                    <a:cxn ang="0">
                      <a:pos x="12" y="13"/>
                    </a:cxn>
                    <a:cxn ang="0">
                      <a:pos x="12" y="15"/>
                    </a:cxn>
                    <a:cxn ang="0">
                      <a:pos x="14" y="15"/>
                    </a:cxn>
                    <a:cxn ang="0">
                      <a:pos x="14" y="13"/>
                    </a:cxn>
                    <a:cxn ang="0">
                      <a:pos x="12" y="13"/>
                    </a:cxn>
                    <a:cxn ang="0">
                      <a:pos x="12" y="6"/>
                    </a:cxn>
                    <a:cxn ang="0">
                      <a:pos x="8" y="9"/>
                    </a:cxn>
                    <a:cxn ang="0">
                      <a:pos x="6" y="4"/>
                    </a:cxn>
                    <a:cxn ang="0">
                      <a:pos x="2" y="4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0" y="9"/>
                    </a:cxn>
                  </a:cxnLst>
                  <a:rect l="0" t="0" r="r" b="b"/>
                  <a:pathLst>
                    <a:path w="14" h="18">
                      <a:moveTo>
                        <a:pt x="0" y="9"/>
                      </a:moveTo>
                      <a:lnTo>
                        <a:pt x="6" y="9"/>
                      </a:lnTo>
                      <a:lnTo>
                        <a:pt x="6" y="13"/>
                      </a:lnTo>
                      <a:lnTo>
                        <a:pt x="2" y="13"/>
                      </a:lnTo>
                      <a:lnTo>
                        <a:pt x="6" y="18"/>
                      </a:lnTo>
                      <a:lnTo>
                        <a:pt x="8" y="15"/>
                      </a:lnTo>
                      <a:lnTo>
                        <a:pt x="8" y="13"/>
                      </a:lnTo>
                      <a:lnTo>
                        <a:pt x="8" y="15"/>
                      </a:lnTo>
                      <a:lnTo>
                        <a:pt x="12" y="13"/>
                      </a:lnTo>
                      <a:lnTo>
                        <a:pt x="12" y="15"/>
                      </a:lnTo>
                      <a:lnTo>
                        <a:pt x="14" y="15"/>
                      </a:lnTo>
                      <a:lnTo>
                        <a:pt x="14" y="13"/>
                      </a:lnTo>
                      <a:lnTo>
                        <a:pt x="12" y="13"/>
                      </a:lnTo>
                      <a:lnTo>
                        <a:pt x="12" y="6"/>
                      </a:lnTo>
                      <a:lnTo>
                        <a:pt x="8" y="9"/>
                      </a:lnTo>
                      <a:lnTo>
                        <a:pt x="6" y="4"/>
                      </a:lnTo>
                      <a:lnTo>
                        <a:pt x="2" y="4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04" name="Philippines"/>
                <p:cNvSpPr>
                  <a:spLocks/>
                </p:cNvSpPr>
                <p:nvPr/>
              </p:nvSpPr>
              <p:spPr bwMode="auto">
                <a:xfrm>
                  <a:off x="7429115" y="4237694"/>
                  <a:ext cx="127592" cy="128190"/>
                </a:xfrm>
                <a:custGeom>
                  <a:avLst/>
                  <a:gdLst/>
                  <a:ahLst/>
                  <a:cxnLst>
                    <a:cxn ang="0">
                      <a:pos x="0" y="14"/>
                    </a:cxn>
                    <a:cxn ang="0">
                      <a:pos x="0" y="18"/>
                    </a:cxn>
                    <a:cxn ang="0">
                      <a:pos x="4" y="11"/>
                    </a:cxn>
                    <a:cxn ang="0">
                      <a:pos x="4" y="14"/>
                    </a:cxn>
                    <a:cxn ang="0">
                      <a:pos x="10" y="11"/>
                    </a:cxn>
                    <a:cxn ang="0">
                      <a:pos x="12" y="14"/>
                    </a:cxn>
                    <a:cxn ang="0">
                      <a:pos x="10" y="20"/>
                    </a:cxn>
                    <a:cxn ang="0">
                      <a:pos x="19" y="23"/>
                    </a:cxn>
                    <a:cxn ang="0">
                      <a:pos x="19" y="20"/>
                    </a:cxn>
                    <a:cxn ang="0">
                      <a:pos x="19" y="18"/>
                    </a:cxn>
                    <a:cxn ang="0">
                      <a:pos x="19" y="14"/>
                    </a:cxn>
                    <a:cxn ang="0">
                      <a:pos x="21" y="20"/>
                    </a:cxn>
                    <a:cxn ang="0">
                      <a:pos x="23" y="14"/>
                    </a:cxn>
                    <a:cxn ang="0">
                      <a:pos x="21" y="5"/>
                    </a:cxn>
                    <a:cxn ang="0">
                      <a:pos x="14" y="0"/>
                    </a:cxn>
                    <a:cxn ang="0">
                      <a:pos x="19" y="5"/>
                    </a:cxn>
                    <a:cxn ang="0">
                      <a:pos x="14" y="5"/>
                    </a:cxn>
                    <a:cxn ang="0">
                      <a:pos x="12" y="5"/>
                    </a:cxn>
                    <a:cxn ang="0">
                      <a:pos x="12" y="9"/>
                    </a:cxn>
                    <a:cxn ang="0">
                      <a:pos x="10" y="11"/>
                    </a:cxn>
                    <a:cxn ang="0">
                      <a:pos x="10" y="9"/>
                    </a:cxn>
                    <a:cxn ang="0">
                      <a:pos x="6" y="9"/>
                    </a:cxn>
                    <a:cxn ang="0">
                      <a:pos x="0" y="11"/>
                    </a:cxn>
                    <a:cxn ang="0">
                      <a:pos x="0" y="14"/>
                    </a:cxn>
                  </a:cxnLst>
                  <a:rect l="0" t="0" r="r" b="b"/>
                  <a:pathLst>
                    <a:path w="23" h="23">
                      <a:moveTo>
                        <a:pt x="0" y="14"/>
                      </a:moveTo>
                      <a:lnTo>
                        <a:pt x="0" y="18"/>
                      </a:lnTo>
                      <a:lnTo>
                        <a:pt x="4" y="11"/>
                      </a:lnTo>
                      <a:lnTo>
                        <a:pt x="4" y="14"/>
                      </a:lnTo>
                      <a:lnTo>
                        <a:pt x="10" y="11"/>
                      </a:lnTo>
                      <a:lnTo>
                        <a:pt x="12" y="14"/>
                      </a:lnTo>
                      <a:lnTo>
                        <a:pt x="10" y="20"/>
                      </a:lnTo>
                      <a:lnTo>
                        <a:pt x="19" y="23"/>
                      </a:lnTo>
                      <a:lnTo>
                        <a:pt x="19" y="20"/>
                      </a:lnTo>
                      <a:lnTo>
                        <a:pt x="19" y="18"/>
                      </a:lnTo>
                      <a:lnTo>
                        <a:pt x="19" y="14"/>
                      </a:lnTo>
                      <a:lnTo>
                        <a:pt x="21" y="20"/>
                      </a:lnTo>
                      <a:lnTo>
                        <a:pt x="23" y="14"/>
                      </a:lnTo>
                      <a:lnTo>
                        <a:pt x="21" y="5"/>
                      </a:lnTo>
                      <a:lnTo>
                        <a:pt x="14" y="0"/>
                      </a:lnTo>
                      <a:lnTo>
                        <a:pt x="19" y="5"/>
                      </a:lnTo>
                      <a:lnTo>
                        <a:pt x="14" y="5"/>
                      </a:lnTo>
                      <a:lnTo>
                        <a:pt x="12" y="5"/>
                      </a:lnTo>
                      <a:lnTo>
                        <a:pt x="12" y="9"/>
                      </a:lnTo>
                      <a:lnTo>
                        <a:pt x="10" y="11"/>
                      </a:lnTo>
                      <a:lnTo>
                        <a:pt x="10" y="9"/>
                      </a:lnTo>
                      <a:lnTo>
                        <a:pt x="6" y="9"/>
                      </a:lnTo>
                      <a:lnTo>
                        <a:pt x="0" y="11"/>
                      </a:lnTo>
                      <a:lnTo>
                        <a:pt x="0" y="1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524" name="Peru"/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2114687" y="4569394"/>
                <a:ext cx="338207" cy="590043"/>
              </a:xfrm>
              <a:custGeom>
                <a:avLst/>
                <a:gdLst/>
                <a:ahLst/>
                <a:cxnLst>
                  <a:cxn ang="0">
                    <a:pos x="2" y="21"/>
                  </a:cxn>
                  <a:cxn ang="0">
                    <a:pos x="0" y="25"/>
                  </a:cxn>
                  <a:cxn ang="0">
                    <a:pos x="2" y="34"/>
                  </a:cxn>
                  <a:cxn ang="0">
                    <a:pos x="0" y="34"/>
                  </a:cxn>
                  <a:cxn ang="0">
                    <a:pos x="4" y="41"/>
                  </a:cxn>
                  <a:cxn ang="0">
                    <a:pos x="10" y="50"/>
                  </a:cxn>
                  <a:cxn ang="0">
                    <a:pos x="27" y="86"/>
                  </a:cxn>
                  <a:cxn ang="0">
                    <a:pos x="52" y="106"/>
                  </a:cxn>
                  <a:cxn ang="0">
                    <a:pos x="58" y="102"/>
                  </a:cxn>
                  <a:cxn ang="0">
                    <a:pos x="61" y="95"/>
                  </a:cxn>
                  <a:cxn ang="0">
                    <a:pos x="58" y="93"/>
                  </a:cxn>
                  <a:cxn ang="0">
                    <a:pos x="58" y="72"/>
                  </a:cxn>
                  <a:cxn ang="0">
                    <a:pos x="56" y="63"/>
                  </a:cxn>
                  <a:cxn ang="0">
                    <a:pos x="50" y="63"/>
                  </a:cxn>
                  <a:cxn ang="0">
                    <a:pos x="50" y="57"/>
                  </a:cxn>
                  <a:cxn ang="0">
                    <a:pos x="44" y="59"/>
                  </a:cxn>
                  <a:cxn ang="0">
                    <a:pos x="40" y="52"/>
                  </a:cxn>
                  <a:cxn ang="0">
                    <a:pos x="36" y="43"/>
                  </a:cxn>
                  <a:cxn ang="0">
                    <a:pos x="40" y="34"/>
                  </a:cxn>
                  <a:cxn ang="0">
                    <a:pos x="42" y="30"/>
                  </a:cxn>
                  <a:cxn ang="0">
                    <a:pos x="52" y="25"/>
                  </a:cxn>
                  <a:cxn ang="0">
                    <a:pos x="50" y="23"/>
                  </a:cxn>
                  <a:cxn ang="0">
                    <a:pos x="50" y="16"/>
                  </a:cxn>
                  <a:cxn ang="0">
                    <a:pos x="48" y="14"/>
                  </a:cxn>
                  <a:cxn ang="0">
                    <a:pos x="36" y="16"/>
                  </a:cxn>
                  <a:cxn ang="0">
                    <a:pos x="33" y="7"/>
                  </a:cxn>
                  <a:cxn ang="0">
                    <a:pos x="27" y="0"/>
                  </a:cxn>
                  <a:cxn ang="0">
                    <a:pos x="25" y="0"/>
                  </a:cxn>
                  <a:cxn ang="0">
                    <a:pos x="27" y="7"/>
                  </a:cxn>
                  <a:cxn ang="0">
                    <a:pos x="25" y="9"/>
                  </a:cxn>
                  <a:cxn ang="0">
                    <a:pos x="21" y="16"/>
                  </a:cxn>
                  <a:cxn ang="0">
                    <a:pos x="13" y="21"/>
                  </a:cxn>
                  <a:cxn ang="0">
                    <a:pos x="8" y="30"/>
                  </a:cxn>
                  <a:cxn ang="0">
                    <a:pos x="2" y="25"/>
                  </a:cxn>
                  <a:cxn ang="0">
                    <a:pos x="2" y="23"/>
                  </a:cxn>
                  <a:cxn ang="0">
                    <a:pos x="2" y="21"/>
                  </a:cxn>
                </a:cxnLst>
                <a:rect l="0" t="0" r="r" b="b"/>
                <a:pathLst>
                  <a:path w="61" h="106">
                    <a:moveTo>
                      <a:pt x="2" y="21"/>
                    </a:moveTo>
                    <a:lnTo>
                      <a:pt x="0" y="25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4" y="41"/>
                    </a:lnTo>
                    <a:lnTo>
                      <a:pt x="10" y="50"/>
                    </a:lnTo>
                    <a:lnTo>
                      <a:pt x="27" y="86"/>
                    </a:lnTo>
                    <a:lnTo>
                      <a:pt x="52" y="106"/>
                    </a:lnTo>
                    <a:lnTo>
                      <a:pt x="58" y="102"/>
                    </a:lnTo>
                    <a:lnTo>
                      <a:pt x="61" y="95"/>
                    </a:lnTo>
                    <a:lnTo>
                      <a:pt x="58" y="93"/>
                    </a:lnTo>
                    <a:lnTo>
                      <a:pt x="58" y="72"/>
                    </a:lnTo>
                    <a:lnTo>
                      <a:pt x="56" y="63"/>
                    </a:lnTo>
                    <a:lnTo>
                      <a:pt x="50" y="63"/>
                    </a:lnTo>
                    <a:lnTo>
                      <a:pt x="50" y="57"/>
                    </a:lnTo>
                    <a:lnTo>
                      <a:pt x="44" y="59"/>
                    </a:lnTo>
                    <a:lnTo>
                      <a:pt x="40" y="52"/>
                    </a:lnTo>
                    <a:lnTo>
                      <a:pt x="36" y="43"/>
                    </a:lnTo>
                    <a:lnTo>
                      <a:pt x="40" y="34"/>
                    </a:lnTo>
                    <a:lnTo>
                      <a:pt x="42" y="30"/>
                    </a:lnTo>
                    <a:lnTo>
                      <a:pt x="52" y="25"/>
                    </a:lnTo>
                    <a:lnTo>
                      <a:pt x="50" y="23"/>
                    </a:lnTo>
                    <a:lnTo>
                      <a:pt x="50" y="16"/>
                    </a:lnTo>
                    <a:lnTo>
                      <a:pt x="48" y="14"/>
                    </a:lnTo>
                    <a:lnTo>
                      <a:pt x="36" y="16"/>
                    </a:lnTo>
                    <a:lnTo>
                      <a:pt x="33" y="7"/>
                    </a:lnTo>
                    <a:lnTo>
                      <a:pt x="27" y="0"/>
                    </a:lnTo>
                    <a:lnTo>
                      <a:pt x="25" y="0"/>
                    </a:lnTo>
                    <a:lnTo>
                      <a:pt x="27" y="7"/>
                    </a:lnTo>
                    <a:lnTo>
                      <a:pt x="25" y="9"/>
                    </a:lnTo>
                    <a:lnTo>
                      <a:pt x="21" y="16"/>
                    </a:lnTo>
                    <a:lnTo>
                      <a:pt x="13" y="21"/>
                    </a:lnTo>
                    <a:lnTo>
                      <a:pt x="8" y="30"/>
                    </a:lnTo>
                    <a:lnTo>
                      <a:pt x="2" y="25"/>
                    </a:lnTo>
                    <a:lnTo>
                      <a:pt x="2" y="23"/>
                    </a:lnTo>
                    <a:lnTo>
                      <a:pt x="2" y="21"/>
                    </a:lnTo>
                    <a:close/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208" name="Paraguay"/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2624980" y="5187546"/>
                <a:ext cx="221900" cy="273098"/>
              </a:xfrm>
              <a:custGeom>
                <a:avLst/>
                <a:gdLst>
                  <a:gd name="T0" fmla="*/ 221900 w 40"/>
                  <a:gd name="T1" fmla="*/ 211790 h 49"/>
                  <a:gd name="T2" fmla="*/ 221900 w 40"/>
                  <a:gd name="T3" fmla="*/ 150483 h 49"/>
                  <a:gd name="T4" fmla="*/ 194163 w 40"/>
                  <a:gd name="T5" fmla="*/ 150483 h 49"/>
                  <a:gd name="T6" fmla="*/ 194163 w 40"/>
                  <a:gd name="T7" fmla="*/ 100322 h 49"/>
                  <a:gd name="T8" fmla="*/ 171972 w 40"/>
                  <a:gd name="T9" fmla="*/ 100322 h 49"/>
                  <a:gd name="T10" fmla="*/ 127592 w 40"/>
                  <a:gd name="T11" fmla="*/ 89175 h 49"/>
                  <a:gd name="T12" fmla="*/ 116497 w 40"/>
                  <a:gd name="T13" fmla="*/ 39014 h 49"/>
                  <a:gd name="T14" fmla="*/ 105403 w 40"/>
                  <a:gd name="T15" fmla="*/ 0 h 49"/>
                  <a:gd name="T16" fmla="*/ 22190 w 40"/>
                  <a:gd name="T17" fmla="*/ 22294 h 49"/>
                  <a:gd name="T18" fmla="*/ 0 w 40"/>
                  <a:gd name="T19" fmla="*/ 100322 h 49"/>
                  <a:gd name="T20" fmla="*/ 66570 w 40"/>
                  <a:gd name="T21" fmla="*/ 150483 h 49"/>
                  <a:gd name="T22" fmla="*/ 105403 w 40"/>
                  <a:gd name="T23" fmla="*/ 172776 h 49"/>
                  <a:gd name="T24" fmla="*/ 149782 w 40"/>
                  <a:gd name="T25" fmla="*/ 189497 h 49"/>
                  <a:gd name="T26" fmla="*/ 149782 w 40"/>
                  <a:gd name="T27" fmla="*/ 222937 h 49"/>
                  <a:gd name="T28" fmla="*/ 127592 w 40"/>
                  <a:gd name="T29" fmla="*/ 261951 h 49"/>
                  <a:gd name="T30" fmla="*/ 194163 w 40"/>
                  <a:gd name="T31" fmla="*/ 273098 h 49"/>
                  <a:gd name="T32" fmla="*/ 205258 w 40"/>
                  <a:gd name="T33" fmla="*/ 273098 h 49"/>
                  <a:gd name="T34" fmla="*/ 221900 w 40"/>
                  <a:gd name="T35" fmla="*/ 239657 h 49"/>
                  <a:gd name="T36" fmla="*/ 221900 w 40"/>
                  <a:gd name="T37" fmla="*/ 222937 h 49"/>
                  <a:gd name="T38" fmla="*/ 221900 w 40"/>
                  <a:gd name="T39" fmla="*/ 211790 h 49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40"/>
                  <a:gd name="T61" fmla="*/ 0 h 49"/>
                  <a:gd name="T62" fmla="*/ 40 w 40"/>
                  <a:gd name="T63" fmla="*/ 49 h 49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40" h="49">
                    <a:moveTo>
                      <a:pt x="40" y="38"/>
                    </a:moveTo>
                    <a:lnTo>
                      <a:pt x="40" y="27"/>
                    </a:lnTo>
                    <a:lnTo>
                      <a:pt x="35" y="27"/>
                    </a:lnTo>
                    <a:lnTo>
                      <a:pt x="35" y="18"/>
                    </a:lnTo>
                    <a:lnTo>
                      <a:pt x="31" y="18"/>
                    </a:lnTo>
                    <a:lnTo>
                      <a:pt x="23" y="16"/>
                    </a:lnTo>
                    <a:lnTo>
                      <a:pt x="21" y="7"/>
                    </a:lnTo>
                    <a:lnTo>
                      <a:pt x="19" y="0"/>
                    </a:lnTo>
                    <a:lnTo>
                      <a:pt x="4" y="4"/>
                    </a:lnTo>
                    <a:lnTo>
                      <a:pt x="0" y="18"/>
                    </a:lnTo>
                    <a:lnTo>
                      <a:pt x="12" y="27"/>
                    </a:lnTo>
                    <a:lnTo>
                      <a:pt x="19" y="31"/>
                    </a:lnTo>
                    <a:lnTo>
                      <a:pt x="27" y="34"/>
                    </a:lnTo>
                    <a:lnTo>
                      <a:pt x="27" y="40"/>
                    </a:lnTo>
                    <a:lnTo>
                      <a:pt x="23" y="47"/>
                    </a:lnTo>
                    <a:lnTo>
                      <a:pt x="35" y="49"/>
                    </a:lnTo>
                    <a:lnTo>
                      <a:pt x="37" y="49"/>
                    </a:lnTo>
                    <a:lnTo>
                      <a:pt x="40" y="43"/>
                    </a:lnTo>
                    <a:lnTo>
                      <a:pt x="40" y="40"/>
                    </a:lnTo>
                    <a:lnTo>
                      <a:pt x="40" y="38"/>
                    </a:lnTo>
                    <a:close/>
                  </a:path>
                </a:pathLst>
              </a:custGeom>
              <a:solidFill>
                <a:srgbClr val="778025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526" name="Papua New Guinea"/>
              <p:cNvGrpSpPr/>
              <p:nvPr/>
            </p:nvGrpSpPr>
            <p:grpSpPr>
              <a:xfrm>
                <a:off x="7939484" y="4658070"/>
                <a:ext cx="393874" cy="261952"/>
                <a:chOff x="7939484" y="4638981"/>
                <a:chExt cx="393874" cy="261952"/>
              </a:xfrm>
              <a:solidFill>
                <a:srgbClr val="EE8B8B"/>
              </a:solidFill>
            </p:grpSpPr>
            <p:sp>
              <p:nvSpPr>
                <p:cNvPr id="795" name="Papua New Guinea"/>
                <p:cNvSpPr>
                  <a:spLocks/>
                </p:cNvSpPr>
                <p:nvPr/>
              </p:nvSpPr>
              <p:spPr bwMode="auto">
                <a:xfrm>
                  <a:off x="7939484" y="4638981"/>
                  <a:ext cx="227448" cy="26195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0" y="5"/>
                    </a:cxn>
                    <a:cxn ang="0">
                      <a:pos x="18" y="9"/>
                    </a:cxn>
                    <a:cxn ang="0">
                      <a:pos x="23" y="16"/>
                    </a:cxn>
                    <a:cxn ang="0">
                      <a:pos x="27" y="18"/>
                    </a:cxn>
                    <a:cxn ang="0">
                      <a:pos x="31" y="18"/>
                    </a:cxn>
                    <a:cxn ang="0">
                      <a:pos x="31" y="23"/>
                    </a:cxn>
                    <a:cxn ang="0">
                      <a:pos x="27" y="25"/>
                    </a:cxn>
                    <a:cxn ang="0">
                      <a:pos x="27" y="27"/>
                    </a:cxn>
                    <a:cxn ang="0">
                      <a:pos x="31" y="32"/>
                    </a:cxn>
                    <a:cxn ang="0">
                      <a:pos x="33" y="36"/>
                    </a:cxn>
                    <a:cxn ang="0">
                      <a:pos x="37" y="36"/>
                    </a:cxn>
                    <a:cxn ang="0">
                      <a:pos x="37" y="41"/>
                    </a:cxn>
                    <a:cxn ang="0">
                      <a:pos x="39" y="41"/>
                    </a:cxn>
                    <a:cxn ang="0">
                      <a:pos x="41" y="43"/>
                    </a:cxn>
                    <a:cxn ang="0">
                      <a:pos x="41" y="47"/>
                    </a:cxn>
                    <a:cxn ang="0">
                      <a:pos x="39" y="47"/>
                    </a:cxn>
                    <a:cxn ang="0">
                      <a:pos x="37" y="43"/>
                    </a:cxn>
                    <a:cxn ang="0">
                      <a:pos x="27" y="43"/>
                    </a:cxn>
                    <a:cxn ang="0">
                      <a:pos x="23" y="32"/>
                    </a:cxn>
                    <a:cxn ang="0">
                      <a:pos x="16" y="27"/>
                    </a:cxn>
                    <a:cxn ang="0">
                      <a:pos x="14" y="27"/>
                    </a:cxn>
                    <a:cxn ang="0">
                      <a:pos x="8" y="34"/>
                    </a:cxn>
                    <a:cxn ang="0">
                      <a:pos x="6" y="36"/>
                    </a:cxn>
                    <a:cxn ang="0">
                      <a:pos x="0" y="36"/>
                    </a:cxn>
                    <a:cxn ang="0">
                      <a:pos x="0" y="1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1" h="47">
                      <a:moveTo>
                        <a:pt x="0" y="0"/>
                      </a:moveTo>
                      <a:lnTo>
                        <a:pt x="10" y="5"/>
                      </a:lnTo>
                      <a:lnTo>
                        <a:pt x="18" y="9"/>
                      </a:lnTo>
                      <a:lnTo>
                        <a:pt x="23" y="16"/>
                      </a:lnTo>
                      <a:lnTo>
                        <a:pt x="27" y="18"/>
                      </a:lnTo>
                      <a:lnTo>
                        <a:pt x="31" y="18"/>
                      </a:lnTo>
                      <a:lnTo>
                        <a:pt x="31" y="23"/>
                      </a:lnTo>
                      <a:lnTo>
                        <a:pt x="27" y="25"/>
                      </a:lnTo>
                      <a:lnTo>
                        <a:pt x="27" y="27"/>
                      </a:lnTo>
                      <a:lnTo>
                        <a:pt x="31" y="32"/>
                      </a:lnTo>
                      <a:lnTo>
                        <a:pt x="33" y="36"/>
                      </a:lnTo>
                      <a:lnTo>
                        <a:pt x="37" y="36"/>
                      </a:lnTo>
                      <a:lnTo>
                        <a:pt x="37" y="41"/>
                      </a:lnTo>
                      <a:lnTo>
                        <a:pt x="39" y="41"/>
                      </a:lnTo>
                      <a:lnTo>
                        <a:pt x="41" y="43"/>
                      </a:lnTo>
                      <a:lnTo>
                        <a:pt x="41" y="47"/>
                      </a:lnTo>
                      <a:lnTo>
                        <a:pt x="39" y="47"/>
                      </a:lnTo>
                      <a:lnTo>
                        <a:pt x="37" y="43"/>
                      </a:lnTo>
                      <a:lnTo>
                        <a:pt x="27" y="43"/>
                      </a:lnTo>
                      <a:lnTo>
                        <a:pt x="23" y="32"/>
                      </a:lnTo>
                      <a:lnTo>
                        <a:pt x="16" y="27"/>
                      </a:lnTo>
                      <a:lnTo>
                        <a:pt x="14" y="27"/>
                      </a:lnTo>
                      <a:lnTo>
                        <a:pt x="8" y="34"/>
                      </a:lnTo>
                      <a:lnTo>
                        <a:pt x="6" y="36"/>
                      </a:lnTo>
                      <a:lnTo>
                        <a:pt x="0" y="36"/>
                      </a:lnTo>
                      <a:lnTo>
                        <a:pt x="0" y="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96" name="Papua New Guinea"/>
                <p:cNvSpPr>
                  <a:spLocks/>
                </p:cNvSpPr>
                <p:nvPr/>
              </p:nvSpPr>
              <p:spPr bwMode="auto">
                <a:xfrm>
                  <a:off x="8122552" y="4689141"/>
                  <a:ext cx="116498" cy="78028"/>
                </a:xfrm>
                <a:custGeom>
                  <a:avLst/>
                  <a:gdLst/>
                  <a:ahLst/>
                  <a:cxnLst>
                    <a:cxn ang="0">
                      <a:pos x="0" y="7"/>
                    </a:cxn>
                    <a:cxn ang="0">
                      <a:pos x="4" y="14"/>
                    </a:cxn>
                    <a:cxn ang="0">
                      <a:pos x="13" y="14"/>
                    </a:cxn>
                    <a:cxn ang="0">
                      <a:pos x="17" y="7"/>
                    </a:cxn>
                    <a:cxn ang="0">
                      <a:pos x="21" y="5"/>
                    </a:cxn>
                    <a:cxn ang="0">
                      <a:pos x="21" y="0"/>
                    </a:cxn>
                    <a:cxn ang="0">
                      <a:pos x="17" y="0"/>
                    </a:cxn>
                    <a:cxn ang="0">
                      <a:pos x="17" y="5"/>
                    </a:cxn>
                    <a:cxn ang="0">
                      <a:pos x="15" y="5"/>
                    </a:cxn>
                    <a:cxn ang="0">
                      <a:pos x="13" y="7"/>
                    </a:cxn>
                    <a:cxn ang="0">
                      <a:pos x="6" y="7"/>
                    </a:cxn>
                    <a:cxn ang="0">
                      <a:pos x="0" y="7"/>
                    </a:cxn>
                  </a:cxnLst>
                  <a:rect l="0" t="0" r="r" b="b"/>
                  <a:pathLst>
                    <a:path w="21" h="14">
                      <a:moveTo>
                        <a:pt x="0" y="7"/>
                      </a:moveTo>
                      <a:lnTo>
                        <a:pt x="4" y="14"/>
                      </a:lnTo>
                      <a:lnTo>
                        <a:pt x="13" y="14"/>
                      </a:lnTo>
                      <a:lnTo>
                        <a:pt x="17" y="7"/>
                      </a:lnTo>
                      <a:lnTo>
                        <a:pt x="21" y="5"/>
                      </a:lnTo>
                      <a:lnTo>
                        <a:pt x="21" y="0"/>
                      </a:lnTo>
                      <a:lnTo>
                        <a:pt x="17" y="0"/>
                      </a:lnTo>
                      <a:lnTo>
                        <a:pt x="17" y="5"/>
                      </a:lnTo>
                      <a:lnTo>
                        <a:pt x="15" y="5"/>
                      </a:lnTo>
                      <a:lnTo>
                        <a:pt x="13" y="7"/>
                      </a:lnTo>
                      <a:lnTo>
                        <a:pt x="6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97" name="Papua New Guinea"/>
                <p:cNvSpPr>
                  <a:spLocks/>
                </p:cNvSpPr>
                <p:nvPr/>
              </p:nvSpPr>
              <p:spPr bwMode="auto">
                <a:xfrm>
                  <a:off x="8205764" y="4638981"/>
                  <a:ext cx="44380" cy="7802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6" y="7"/>
                    </a:cxn>
                    <a:cxn ang="0">
                      <a:pos x="8" y="14"/>
                    </a:cxn>
                    <a:cxn ang="0">
                      <a:pos x="8" y="7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8" h="14">
                      <a:moveTo>
                        <a:pt x="0" y="0"/>
                      </a:moveTo>
                      <a:lnTo>
                        <a:pt x="6" y="7"/>
                      </a:lnTo>
                      <a:lnTo>
                        <a:pt x="8" y="14"/>
                      </a:lnTo>
                      <a:lnTo>
                        <a:pt x="8" y="7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98" name="Papua New Guinea"/>
                <p:cNvSpPr>
                  <a:spLocks/>
                </p:cNvSpPr>
                <p:nvPr/>
              </p:nvSpPr>
              <p:spPr bwMode="auto">
                <a:xfrm>
                  <a:off x="8294525" y="4728156"/>
                  <a:ext cx="38833" cy="5016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7" y="7"/>
                    </a:cxn>
                    <a:cxn ang="0">
                      <a:pos x="2" y="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7" h="9">
                      <a:moveTo>
                        <a:pt x="0" y="0"/>
                      </a:moveTo>
                      <a:lnTo>
                        <a:pt x="2" y="9"/>
                      </a:lnTo>
                      <a:lnTo>
                        <a:pt x="7" y="7"/>
                      </a:lnTo>
                      <a:lnTo>
                        <a:pt x="2" y="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grpSp>
            <p:nvGrpSpPr>
              <p:cNvPr id="527" name="Panama"/>
              <p:cNvGrpSpPr/>
              <p:nvPr/>
            </p:nvGrpSpPr>
            <p:grpSpPr>
              <a:xfrm>
                <a:off x="2070229" y="4267929"/>
                <a:ext cx="149783" cy="66881"/>
                <a:chOff x="2070229" y="4248840"/>
                <a:chExt cx="149783" cy="66881"/>
              </a:xfrm>
              <a:solidFill>
                <a:srgbClr val="EF7A04"/>
              </a:solidFill>
            </p:grpSpPr>
            <p:sp>
              <p:nvSpPr>
                <p:cNvPr id="790" name="Panama"/>
                <p:cNvSpPr>
                  <a:spLocks/>
                </p:cNvSpPr>
                <p:nvPr/>
              </p:nvSpPr>
              <p:spPr bwMode="auto">
                <a:xfrm>
                  <a:off x="2136799" y="4265560"/>
                  <a:ext cx="22190" cy="1114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4" y="2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" h="2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91" name="Panama"/>
                <p:cNvSpPr>
                  <a:spLocks/>
                </p:cNvSpPr>
                <p:nvPr/>
              </p:nvSpPr>
              <p:spPr bwMode="auto">
                <a:xfrm>
                  <a:off x="2136799" y="4248840"/>
                  <a:ext cx="22190" cy="1672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4" y="3"/>
                    </a:cxn>
                    <a:cxn ang="0">
                      <a:pos x="2" y="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" h="3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grpSp>
              <p:nvGrpSpPr>
                <p:cNvPr id="792" name="Panama"/>
                <p:cNvGrpSpPr/>
                <p:nvPr/>
              </p:nvGrpSpPr>
              <p:grpSpPr>
                <a:xfrm>
                  <a:off x="2070229" y="4248840"/>
                  <a:ext cx="149783" cy="66881"/>
                  <a:chOff x="2070229" y="4248840"/>
                  <a:chExt cx="149783" cy="66881"/>
                </a:xfrm>
                <a:grpFill/>
              </p:grpSpPr>
              <p:sp>
                <p:nvSpPr>
                  <p:cNvPr id="793" name="Panama"/>
                  <p:cNvSpPr>
                    <a:spLocks/>
                  </p:cNvSpPr>
                  <p:nvPr/>
                </p:nvSpPr>
                <p:spPr bwMode="auto">
                  <a:xfrm>
                    <a:off x="2158989" y="4248840"/>
                    <a:ext cx="61023" cy="66881"/>
                  </a:xfrm>
                  <a:custGeom>
                    <a:avLst/>
                    <a:gdLst/>
                    <a:ahLst/>
                    <a:cxnLst>
                      <a:cxn ang="0">
                        <a:pos x="11" y="7"/>
                      </a:cxn>
                      <a:cxn ang="0">
                        <a:pos x="5" y="0"/>
                      </a:cxn>
                      <a:cxn ang="0">
                        <a:pos x="2" y="0"/>
                      </a:cxn>
                      <a:cxn ang="0">
                        <a:pos x="0" y="0"/>
                      </a:cxn>
                      <a:cxn ang="0">
                        <a:pos x="0" y="3"/>
                      </a:cxn>
                      <a:cxn ang="0">
                        <a:pos x="5" y="7"/>
                      </a:cxn>
                      <a:cxn ang="0">
                        <a:pos x="5" y="9"/>
                      </a:cxn>
                      <a:cxn ang="0">
                        <a:pos x="9" y="12"/>
                      </a:cxn>
                      <a:cxn ang="0">
                        <a:pos x="11" y="9"/>
                      </a:cxn>
                      <a:cxn ang="0">
                        <a:pos x="11" y="7"/>
                      </a:cxn>
                    </a:cxnLst>
                    <a:rect l="0" t="0" r="r" b="b"/>
                    <a:pathLst>
                      <a:path w="11" h="12">
                        <a:moveTo>
                          <a:pt x="11" y="7"/>
                        </a:moveTo>
                        <a:lnTo>
                          <a:pt x="5" y="0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3"/>
                        </a:lnTo>
                        <a:lnTo>
                          <a:pt x="5" y="7"/>
                        </a:lnTo>
                        <a:lnTo>
                          <a:pt x="5" y="9"/>
                        </a:lnTo>
                        <a:lnTo>
                          <a:pt x="9" y="12"/>
                        </a:lnTo>
                        <a:lnTo>
                          <a:pt x="11" y="9"/>
                        </a:lnTo>
                        <a:lnTo>
                          <a:pt x="11" y="7"/>
                        </a:lnTo>
                        <a:close/>
                      </a:path>
                    </a:pathLst>
                  </a:custGeom>
                  <a:grpFill/>
                  <a:ln w="6350">
                    <a:solidFill>
                      <a:schemeClr val="bg1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dirty="0">
                      <a:solidFill>
                        <a:srgbClr val="000000"/>
                      </a:solidFill>
                      <a:latin typeface="Arial"/>
                      <a:cs typeface="+mn-cs"/>
                    </a:endParaRPr>
                  </a:p>
                </p:txBody>
              </p:sp>
              <p:sp>
                <p:nvSpPr>
                  <p:cNvPr id="794" name="Panama"/>
                  <p:cNvSpPr>
                    <a:spLocks/>
                  </p:cNvSpPr>
                  <p:nvPr/>
                </p:nvSpPr>
                <p:spPr bwMode="auto">
                  <a:xfrm>
                    <a:off x="2070229" y="4248840"/>
                    <a:ext cx="88760" cy="66881"/>
                  </a:xfrm>
                  <a:custGeom>
                    <a:avLst/>
                    <a:gdLst/>
                    <a:ahLst/>
                    <a:cxnLst>
                      <a:cxn ang="0">
                        <a:pos x="2" y="0"/>
                      </a:cxn>
                      <a:cxn ang="0">
                        <a:pos x="4" y="3"/>
                      </a:cxn>
                      <a:cxn ang="0">
                        <a:pos x="8" y="3"/>
                      </a:cxn>
                      <a:cxn ang="0">
                        <a:pos x="12" y="0"/>
                      </a:cxn>
                      <a:cxn ang="0">
                        <a:pos x="16" y="3"/>
                      </a:cxn>
                      <a:cxn ang="0">
                        <a:pos x="10" y="7"/>
                      </a:cxn>
                      <a:cxn ang="0">
                        <a:pos x="12" y="12"/>
                      </a:cxn>
                      <a:cxn ang="0">
                        <a:pos x="10" y="12"/>
                      </a:cxn>
                      <a:cxn ang="0">
                        <a:pos x="8" y="9"/>
                      </a:cxn>
                      <a:cxn ang="0">
                        <a:pos x="0" y="7"/>
                      </a:cxn>
                      <a:cxn ang="0">
                        <a:pos x="0" y="5"/>
                      </a:cxn>
                      <a:cxn ang="0">
                        <a:pos x="2" y="0"/>
                      </a:cxn>
                    </a:cxnLst>
                    <a:rect l="0" t="0" r="r" b="b"/>
                    <a:pathLst>
                      <a:path w="16" h="12">
                        <a:moveTo>
                          <a:pt x="2" y="0"/>
                        </a:moveTo>
                        <a:lnTo>
                          <a:pt x="4" y="3"/>
                        </a:lnTo>
                        <a:lnTo>
                          <a:pt x="8" y="3"/>
                        </a:lnTo>
                        <a:lnTo>
                          <a:pt x="12" y="0"/>
                        </a:lnTo>
                        <a:lnTo>
                          <a:pt x="16" y="3"/>
                        </a:lnTo>
                        <a:lnTo>
                          <a:pt x="10" y="7"/>
                        </a:lnTo>
                        <a:lnTo>
                          <a:pt x="12" y="12"/>
                        </a:lnTo>
                        <a:lnTo>
                          <a:pt x="10" y="12"/>
                        </a:lnTo>
                        <a:lnTo>
                          <a:pt x="8" y="9"/>
                        </a:lnTo>
                        <a:lnTo>
                          <a:pt x="0" y="7"/>
                        </a:lnTo>
                        <a:lnTo>
                          <a:pt x="0" y="5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grpFill/>
                  <a:ln w="6350">
                    <a:solidFill>
                      <a:schemeClr val="bg1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dirty="0">
                      <a:solidFill>
                        <a:srgbClr val="000000"/>
                      </a:solidFill>
                      <a:latin typeface="Arial"/>
                      <a:cs typeface="+mn-cs"/>
                    </a:endParaRPr>
                  </a:p>
                </p:txBody>
              </p:sp>
            </p:grpSp>
          </p:grpSp>
          <p:sp>
            <p:nvSpPr>
              <p:cNvPr id="528" name="Palestine"/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5125768" y="3520428"/>
                <a:ext cx="22433" cy="37956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4" y="7"/>
                  </a:cxn>
                  <a:cxn ang="0">
                    <a:pos x="4" y="5"/>
                  </a:cxn>
                  <a:cxn ang="0">
                    <a:pos x="2" y="0"/>
                  </a:cxn>
                  <a:cxn ang="0">
                    <a:pos x="0" y="3"/>
                  </a:cxn>
                  <a:cxn ang="0">
                    <a:pos x="0" y="5"/>
                  </a:cxn>
                </a:cxnLst>
                <a:rect l="0" t="0" r="r" b="b"/>
                <a:pathLst>
                  <a:path w="4" h="7">
                    <a:moveTo>
                      <a:pt x="0" y="5"/>
                    </a:moveTo>
                    <a:lnTo>
                      <a:pt x="4" y="7"/>
                    </a:lnTo>
                    <a:lnTo>
                      <a:pt x="4" y="5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212" name="Pakistan"/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5787054" y="3376179"/>
                <a:ext cx="393872" cy="429155"/>
              </a:xfrm>
              <a:custGeom>
                <a:avLst/>
                <a:gdLst>
                  <a:gd name="T0" fmla="*/ 216352 w 71"/>
                  <a:gd name="T1" fmla="*/ 418008 h 77"/>
                  <a:gd name="T2" fmla="*/ 266280 w 71"/>
                  <a:gd name="T3" fmla="*/ 418008 h 77"/>
                  <a:gd name="T4" fmla="*/ 266280 w 71"/>
                  <a:gd name="T5" fmla="*/ 406861 h 77"/>
                  <a:gd name="T6" fmla="*/ 266280 w 71"/>
                  <a:gd name="T7" fmla="*/ 367847 h 77"/>
                  <a:gd name="T8" fmla="*/ 249637 w 71"/>
                  <a:gd name="T9" fmla="*/ 367847 h 77"/>
                  <a:gd name="T10" fmla="*/ 249637 w 71"/>
                  <a:gd name="T11" fmla="*/ 356700 h 77"/>
                  <a:gd name="T12" fmla="*/ 227447 w 71"/>
                  <a:gd name="T13" fmla="*/ 328833 h 77"/>
                  <a:gd name="T14" fmla="*/ 227447 w 71"/>
                  <a:gd name="T15" fmla="*/ 317686 h 77"/>
                  <a:gd name="T16" fmla="*/ 249637 w 71"/>
                  <a:gd name="T17" fmla="*/ 306539 h 77"/>
                  <a:gd name="T18" fmla="*/ 266280 w 71"/>
                  <a:gd name="T19" fmla="*/ 306539 h 77"/>
                  <a:gd name="T20" fmla="*/ 277375 w 71"/>
                  <a:gd name="T21" fmla="*/ 306539 h 77"/>
                  <a:gd name="T22" fmla="*/ 343945 w 71"/>
                  <a:gd name="T23" fmla="*/ 189497 h 77"/>
                  <a:gd name="T24" fmla="*/ 332850 w 71"/>
                  <a:gd name="T25" fmla="*/ 167203 h 77"/>
                  <a:gd name="T26" fmla="*/ 343945 w 71"/>
                  <a:gd name="T27" fmla="*/ 167203 h 77"/>
                  <a:gd name="T28" fmla="*/ 310660 w 71"/>
                  <a:gd name="T29" fmla="*/ 128189 h 77"/>
                  <a:gd name="T30" fmla="*/ 310660 w 71"/>
                  <a:gd name="T31" fmla="*/ 89175 h 77"/>
                  <a:gd name="T32" fmla="*/ 299565 w 71"/>
                  <a:gd name="T33" fmla="*/ 78028 h 77"/>
                  <a:gd name="T34" fmla="*/ 343945 w 71"/>
                  <a:gd name="T35" fmla="*/ 78028 h 77"/>
                  <a:gd name="T36" fmla="*/ 377230 w 71"/>
                  <a:gd name="T37" fmla="*/ 78028 h 77"/>
                  <a:gd name="T38" fmla="*/ 393872 w 71"/>
                  <a:gd name="T39" fmla="*/ 66881 h 77"/>
                  <a:gd name="T40" fmla="*/ 343945 w 71"/>
                  <a:gd name="T41" fmla="*/ 39014 h 77"/>
                  <a:gd name="T42" fmla="*/ 332850 w 71"/>
                  <a:gd name="T43" fmla="*/ 0 h 77"/>
                  <a:gd name="T44" fmla="*/ 299565 w 71"/>
                  <a:gd name="T45" fmla="*/ 0 h 77"/>
                  <a:gd name="T46" fmla="*/ 277375 w 71"/>
                  <a:gd name="T47" fmla="*/ 0 h 77"/>
                  <a:gd name="T48" fmla="*/ 266280 w 71"/>
                  <a:gd name="T49" fmla="*/ 0 h 77"/>
                  <a:gd name="T50" fmla="*/ 227447 w 71"/>
                  <a:gd name="T51" fmla="*/ 27867 h 77"/>
                  <a:gd name="T52" fmla="*/ 227447 w 71"/>
                  <a:gd name="T53" fmla="*/ 78028 h 77"/>
                  <a:gd name="T54" fmla="*/ 227447 w 71"/>
                  <a:gd name="T55" fmla="*/ 89175 h 77"/>
                  <a:gd name="T56" fmla="*/ 205257 w 71"/>
                  <a:gd name="T57" fmla="*/ 89175 h 77"/>
                  <a:gd name="T58" fmla="*/ 216352 w 71"/>
                  <a:gd name="T59" fmla="*/ 117042 h 77"/>
                  <a:gd name="T60" fmla="*/ 205257 w 71"/>
                  <a:gd name="T61" fmla="*/ 128189 h 77"/>
                  <a:gd name="T62" fmla="*/ 205257 w 71"/>
                  <a:gd name="T63" fmla="*/ 178350 h 77"/>
                  <a:gd name="T64" fmla="*/ 138687 w 71"/>
                  <a:gd name="T65" fmla="*/ 189497 h 77"/>
                  <a:gd name="T66" fmla="*/ 138687 w 71"/>
                  <a:gd name="T67" fmla="*/ 228511 h 77"/>
                  <a:gd name="T68" fmla="*/ 33285 w 71"/>
                  <a:gd name="T69" fmla="*/ 239658 h 77"/>
                  <a:gd name="T70" fmla="*/ 0 w 71"/>
                  <a:gd name="T71" fmla="*/ 228511 h 77"/>
                  <a:gd name="T72" fmla="*/ 33285 w 71"/>
                  <a:gd name="T73" fmla="*/ 278672 h 77"/>
                  <a:gd name="T74" fmla="*/ 44380 w 71"/>
                  <a:gd name="T75" fmla="*/ 278672 h 77"/>
                  <a:gd name="T76" fmla="*/ 55475 w 71"/>
                  <a:gd name="T77" fmla="*/ 317686 h 77"/>
                  <a:gd name="T78" fmla="*/ 55475 w 71"/>
                  <a:gd name="T79" fmla="*/ 328833 h 77"/>
                  <a:gd name="T80" fmla="*/ 33285 w 71"/>
                  <a:gd name="T81" fmla="*/ 356700 h 77"/>
                  <a:gd name="T82" fmla="*/ 33285 w 71"/>
                  <a:gd name="T83" fmla="*/ 378994 h 77"/>
                  <a:gd name="T84" fmla="*/ 88760 w 71"/>
                  <a:gd name="T85" fmla="*/ 378994 h 77"/>
                  <a:gd name="T86" fmla="*/ 110950 w 71"/>
                  <a:gd name="T87" fmla="*/ 378994 h 77"/>
                  <a:gd name="T88" fmla="*/ 160877 w 71"/>
                  <a:gd name="T89" fmla="*/ 378994 h 77"/>
                  <a:gd name="T90" fmla="*/ 183067 w 71"/>
                  <a:gd name="T91" fmla="*/ 429155 h 77"/>
                  <a:gd name="T92" fmla="*/ 205257 w 71"/>
                  <a:gd name="T93" fmla="*/ 429155 h 77"/>
                  <a:gd name="T94" fmla="*/ 216352 w 71"/>
                  <a:gd name="T95" fmla="*/ 418008 h 7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1"/>
                  <a:gd name="T145" fmla="*/ 0 h 77"/>
                  <a:gd name="T146" fmla="*/ 71 w 71"/>
                  <a:gd name="T147" fmla="*/ 77 h 77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1" h="77">
                    <a:moveTo>
                      <a:pt x="39" y="75"/>
                    </a:moveTo>
                    <a:lnTo>
                      <a:pt x="48" y="75"/>
                    </a:lnTo>
                    <a:lnTo>
                      <a:pt x="48" y="73"/>
                    </a:lnTo>
                    <a:lnTo>
                      <a:pt x="48" y="66"/>
                    </a:lnTo>
                    <a:lnTo>
                      <a:pt x="45" y="66"/>
                    </a:lnTo>
                    <a:lnTo>
                      <a:pt x="45" y="64"/>
                    </a:lnTo>
                    <a:lnTo>
                      <a:pt x="41" y="59"/>
                    </a:lnTo>
                    <a:lnTo>
                      <a:pt x="41" y="57"/>
                    </a:lnTo>
                    <a:lnTo>
                      <a:pt x="45" y="55"/>
                    </a:lnTo>
                    <a:lnTo>
                      <a:pt x="48" y="55"/>
                    </a:lnTo>
                    <a:lnTo>
                      <a:pt x="50" y="55"/>
                    </a:lnTo>
                    <a:lnTo>
                      <a:pt x="62" y="34"/>
                    </a:lnTo>
                    <a:lnTo>
                      <a:pt x="60" y="30"/>
                    </a:lnTo>
                    <a:lnTo>
                      <a:pt x="62" y="30"/>
                    </a:lnTo>
                    <a:lnTo>
                      <a:pt x="56" y="23"/>
                    </a:lnTo>
                    <a:lnTo>
                      <a:pt x="56" y="16"/>
                    </a:lnTo>
                    <a:lnTo>
                      <a:pt x="54" y="14"/>
                    </a:lnTo>
                    <a:lnTo>
                      <a:pt x="62" y="14"/>
                    </a:lnTo>
                    <a:lnTo>
                      <a:pt x="68" y="14"/>
                    </a:lnTo>
                    <a:lnTo>
                      <a:pt x="71" y="12"/>
                    </a:lnTo>
                    <a:lnTo>
                      <a:pt x="62" y="7"/>
                    </a:lnTo>
                    <a:lnTo>
                      <a:pt x="60" y="0"/>
                    </a:lnTo>
                    <a:lnTo>
                      <a:pt x="54" y="0"/>
                    </a:lnTo>
                    <a:lnTo>
                      <a:pt x="50" y="0"/>
                    </a:lnTo>
                    <a:lnTo>
                      <a:pt x="48" y="0"/>
                    </a:lnTo>
                    <a:lnTo>
                      <a:pt x="41" y="5"/>
                    </a:lnTo>
                    <a:lnTo>
                      <a:pt x="41" y="14"/>
                    </a:lnTo>
                    <a:lnTo>
                      <a:pt x="41" y="16"/>
                    </a:lnTo>
                    <a:lnTo>
                      <a:pt x="37" y="16"/>
                    </a:lnTo>
                    <a:lnTo>
                      <a:pt x="39" y="21"/>
                    </a:lnTo>
                    <a:lnTo>
                      <a:pt x="37" y="23"/>
                    </a:lnTo>
                    <a:lnTo>
                      <a:pt x="37" y="32"/>
                    </a:lnTo>
                    <a:lnTo>
                      <a:pt x="25" y="34"/>
                    </a:lnTo>
                    <a:lnTo>
                      <a:pt x="25" y="41"/>
                    </a:lnTo>
                    <a:lnTo>
                      <a:pt x="6" y="43"/>
                    </a:lnTo>
                    <a:lnTo>
                      <a:pt x="0" y="41"/>
                    </a:lnTo>
                    <a:lnTo>
                      <a:pt x="6" y="50"/>
                    </a:lnTo>
                    <a:lnTo>
                      <a:pt x="8" y="50"/>
                    </a:lnTo>
                    <a:lnTo>
                      <a:pt x="10" y="57"/>
                    </a:lnTo>
                    <a:lnTo>
                      <a:pt x="10" y="59"/>
                    </a:lnTo>
                    <a:lnTo>
                      <a:pt x="6" y="64"/>
                    </a:lnTo>
                    <a:lnTo>
                      <a:pt x="6" y="68"/>
                    </a:lnTo>
                    <a:lnTo>
                      <a:pt x="16" y="68"/>
                    </a:lnTo>
                    <a:lnTo>
                      <a:pt x="20" y="68"/>
                    </a:lnTo>
                    <a:lnTo>
                      <a:pt x="29" y="68"/>
                    </a:lnTo>
                    <a:lnTo>
                      <a:pt x="33" y="77"/>
                    </a:lnTo>
                    <a:lnTo>
                      <a:pt x="37" y="77"/>
                    </a:lnTo>
                    <a:lnTo>
                      <a:pt x="39" y="75"/>
                    </a:lnTo>
                    <a:close/>
                  </a:path>
                </a:pathLst>
              </a:custGeom>
              <a:solidFill>
                <a:srgbClr val="EE8B8B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30" name="Oman"/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5598568" y="3782670"/>
                <a:ext cx="188085" cy="251890"/>
              </a:xfrm>
              <a:custGeom>
                <a:avLst/>
                <a:gdLst/>
                <a:ahLst/>
                <a:cxnLst>
                  <a:cxn ang="0">
                    <a:pos x="9" y="45"/>
                  </a:cxn>
                  <a:cxn ang="0">
                    <a:pos x="11" y="45"/>
                  </a:cxn>
                  <a:cxn ang="0">
                    <a:pos x="15" y="38"/>
                  </a:cxn>
                  <a:cxn ang="0">
                    <a:pos x="19" y="38"/>
                  </a:cxn>
                  <a:cxn ang="0">
                    <a:pos x="23" y="33"/>
                  </a:cxn>
                  <a:cxn ang="0">
                    <a:pos x="25" y="33"/>
                  </a:cxn>
                  <a:cxn ang="0">
                    <a:pos x="25" y="27"/>
                  </a:cxn>
                  <a:cxn ang="0">
                    <a:pos x="31" y="18"/>
                  </a:cxn>
                  <a:cxn ang="0">
                    <a:pos x="34" y="11"/>
                  </a:cxn>
                  <a:cxn ang="0">
                    <a:pos x="27" y="4"/>
                  </a:cxn>
                  <a:cxn ang="0">
                    <a:pos x="19" y="2"/>
                  </a:cxn>
                  <a:cxn ang="0">
                    <a:pos x="17" y="0"/>
                  </a:cxn>
                  <a:cxn ang="0">
                    <a:pos x="15" y="2"/>
                  </a:cxn>
                  <a:cxn ang="0">
                    <a:pos x="15" y="4"/>
                  </a:cxn>
                  <a:cxn ang="0">
                    <a:pos x="11" y="4"/>
                  </a:cxn>
                  <a:cxn ang="0">
                    <a:pos x="15" y="9"/>
                  </a:cxn>
                  <a:cxn ang="0">
                    <a:pos x="17" y="11"/>
                  </a:cxn>
                  <a:cxn ang="0">
                    <a:pos x="17" y="18"/>
                  </a:cxn>
                  <a:cxn ang="0">
                    <a:pos x="11" y="29"/>
                  </a:cxn>
                  <a:cxn ang="0">
                    <a:pos x="0" y="38"/>
                  </a:cxn>
                  <a:cxn ang="0">
                    <a:pos x="2" y="45"/>
                  </a:cxn>
                  <a:cxn ang="0">
                    <a:pos x="4" y="45"/>
                  </a:cxn>
                  <a:cxn ang="0">
                    <a:pos x="9" y="45"/>
                  </a:cxn>
                </a:cxnLst>
                <a:rect l="0" t="0" r="r" b="b"/>
                <a:pathLst>
                  <a:path w="34" h="45">
                    <a:moveTo>
                      <a:pt x="9" y="45"/>
                    </a:moveTo>
                    <a:lnTo>
                      <a:pt x="11" y="45"/>
                    </a:lnTo>
                    <a:lnTo>
                      <a:pt x="15" y="38"/>
                    </a:lnTo>
                    <a:lnTo>
                      <a:pt x="19" y="38"/>
                    </a:lnTo>
                    <a:lnTo>
                      <a:pt x="23" y="33"/>
                    </a:lnTo>
                    <a:lnTo>
                      <a:pt x="25" y="33"/>
                    </a:lnTo>
                    <a:lnTo>
                      <a:pt x="25" y="27"/>
                    </a:lnTo>
                    <a:lnTo>
                      <a:pt x="31" y="18"/>
                    </a:lnTo>
                    <a:lnTo>
                      <a:pt x="34" y="11"/>
                    </a:lnTo>
                    <a:lnTo>
                      <a:pt x="27" y="4"/>
                    </a:lnTo>
                    <a:lnTo>
                      <a:pt x="19" y="2"/>
                    </a:lnTo>
                    <a:lnTo>
                      <a:pt x="17" y="0"/>
                    </a:lnTo>
                    <a:lnTo>
                      <a:pt x="15" y="2"/>
                    </a:lnTo>
                    <a:lnTo>
                      <a:pt x="15" y="4"/>
                    </a:lnTo>
                    <a:lnTo>
                      <a:pt x="11" y="4"/>
                    </a:lnTo>
                    <a:lnTo>
                      <a:pt x="15" y="9"/>
                    </a:lnTo>
                    <a:lnTo>
                      <a:pt x="17" y="11"/>
                    </a:lnTo>
                    <a:lnTo>
                      <a:pt x="17" y="18"/>
                    </a:lnTo>
                    <a:lnTo>
                      <a:pt x="11" y="29"/>
                    </a:lnTo>
                    <a:lnTo>
                      <a:pt x="0" y="38"/>
                    </a:lnTo>
                    <a:lnTo>
                      <a:pt x="2" y="45"/>
                    </a:lnTo>
                    <a:lnTo>
                      <a:pt x="4" y="45"/>
                    </a:lnTo>
                    <a:lnTo>
                      <a:pt x="9" y="4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3334214" name="Norway"/>
              <p:cNvGrpSpPr>
                <a:grpSpLocks/>
              </p:cNvGrpSpPr>
              <p:nvPr/>
            </p:nvGrpSpPr>
            <p:grpSpPr bwMode="auto">
              <a:xfrm>
                <a:off x="4405727" y="2122155"/>
                <a:ext cx="499275" cy="601932"/>
                <a:chOff x="4405727" y="2103066"/>
                <a:chExt cx="499275" cy="601932"/>
              </a:xfrm>
            </p:grpSpPr>
            <p:sp>
              <p:nvSpPr>
                <p:cNvPr id="788" name="Norway"/>
                <p:cNvSpPr>
                  <a:spLocks/>
                </p:cNvSpPr>
                <p:nvPr>
                  <p:custDataLst>
                    <p:tags r:id="rId139"/>
                  </p:custDataLst>
                </p:nvPr>
              </p:nvSpPr>
              <p:spPr bwMode="auto">
                <a:xfrm>
                  <a:off x="4533906" y="2103869"/>
                  <a:ext cx="265734" cy="89714"/>
                </a:xfrm>
                <a:custGeom>
                  <a:avLst/>
                  <a:gdLst/>
                  <a:ahLst/>
                  <a:cxnLst>
                    <a:cxn ang="0">
                      <a:pos x="0" y="3"/>
                    </a:cxn>
                    <a:cxn ang="0">
                      <a:pos x="2" y="7"/>
                    </a:cxn>
                    <a:cxn ang="0">
                      <a:pos x="4" y="9"/>
                    </a:cxn>
                    <a:cxn ang="0">
                      <a:pos x="9" y="9"/>
                    </a:cxn>
                    <a:cxn ang="0">
                      <a:pos x="9" y="14"/>
                    </a:cxn>
                    <a:cxn ang="0">
                      <a:pos x="17" y="16"/>
                    </a:cxn>
                    <a:cxn ang="0">
                      <a:pos x="21" y="9"/>
                    </a:cxn>
                    <a:cxn ang="0">
                      <a:pos x="27" y="9"/>
                    </a:cxn>
                    <a:cxn ang="0">
                      <a:pos x="27" y="14"/>
                    </a:cxn>
                    <a:cxn ang="0">
                      <a:pos x="42" y="14"/>
                    </a:cxn>
                    <a:cxn ang="0">
                      <a:pos x="21" y="7"/>
                    </a:cxn>
                    <a:cxn ang="0">
                      <a:pos x="21" y="3"/>
                    </a:cxn>
                    <a:cxn ang="0">
                      <a:pos x="36" y="7"/>
                    </a:cxn>
                    <a:cxn ang="0">
                      <a:pos x="48" y="3"/>
                    </a:cxn>
                    <a:cxn ang="0">
                      <a:pos x="44" y="0"/>
                    </a:cxn>
                    <a:cxn ang="0">
                      <a:pos x="25" y="0"/>
                    </a:cxn>
                    <a:cxn ang="0">
                      <a:pos x="13" y="3"/>
                    </a:cxn>
                    <a:cxn ang="0">
                      <a:pos x="6" y="3"/>
                    </a:cxn>
                    <a:cxn ang="0">
                      <a:pos x="0" y="3"/>
                    </a:cxn>
                  </a:cxnLst>
                  <a:rect l="0" t="0" r="r" b="b"/>
                  <a:pathLst>
                    <a:path w="48" h="16">
                      <a:moveTo>
                        <a:pt x="0" y="3"/>
                      </a:moveTo>
                      <a:lnTo>
                        <a:pt x="2" y="7"/>
                      </a:lnTo>
                      <a:lnTo>
                        <a:pt x="4" y="9"/>
                      </a:lnTo>
                      <a:lnTo>
                        <a:pt x="9" y="9"/>
                      </a:lnTo>
                      <a:lnTo>
                        <a:pt x="9" y="14"/>
                      </a:lnTo>
                      <a:lnTo>
                        <a:pt x="17" y="16"/>
                      </a:lnTo>
                      <a:lnTo>
                        <a:pt x="21" y="9"/>
                      </a:lnTo>
                      <a:lnTo>
                        <a:pt x="27" y="9"/>
                      </a:lnTo>
                      <a:lnTo>
                        <a:pt x="27" y="14"/>
                      </a:lnTo>
                      <a:lnTo>
                        <a:pt x="42" y="14"/>
                      </a:lnTo>
                      <a:lnTo>
                        <a:pt x="21" y="7"/>
                      </a:lnTo>
                      <a:lnTo>
                        <a:pt x="21" y="3"/>
                      </a:lnTo>
                      <a:lnTo>
                        <a:pt x="36" y="7"/>
                      </a:lnTo>
                      <a:lnTo>
                        <a:pt x="48" y="3"/>
                      </a:lnTo>
                      <a:lnTo>
                        <a:pt x="44" y="0"/>
                      </a:lnTo>
                      <a:lnTo>
                        <a:pt x="25" y="0"/>
                      </a:lnTo>
                      <a:lnTo>
                        <a:pt x="13" y="3"/>
                      </a:lnTo>
                      <a:lnTo>
                        <a:pt x="6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89" name="Norway"/>
                <p:cNvSpPr>
                  <a:spLocks/>
                </p:cNvSpPr>
                <p:nvPr>
                  <p:custDataLst>
                    <p:tags r:id="rId140"/>
                  </p:custDataLst>
                </p:nvPr>
              </p:nvSpPr>
              <p:spPr bwMode="auto">
                <a:xfrm>
                  <a:off x="4406215" y="2331605"/>
                  <a:ext cx="498683" cy="372659"/>
                </a:xfrm>
                <a:custGeom>
                  <a:avLst/>
                  <a:gdLst/>
                  <a:ahLst/>
                  <a:cxnLst>
                    <a:cxn ang="0">
                      <a:pos x="52" y="11"/>
                    </a:cxn>
                    <a:cxn ang="0">
                      <a:pos x="52" y="16"/>
                    </a:cxn>
                    <a:cxn ang="0">
                      <a:pos x="48" y="11"/>
                    </a:cxn>
                    <a:cxn ang="0">
                      <a:pos x="44" y="16"/>
                    </a:cxn>
                    <a:cxn ang="0">
                      <a:pos x="42" y="16"/>
                    </a:cxn>
                    <a:cxn ang="0">
                      <a:pos x="40" y="20"/>
                    </a:cxn>
                    <a:cxn ang="0">
                      <a:pos x="34" y="25"/>
                    </a:cxn>
                    <a:cxn ang="0">
                      <a:pos x="32" y="34"/>
                    </a:cxn>
                    <a:cxn ang="0">
                      <a:pos x="34" y="36"/>
                    </a:cxn>
                    <a:cxn ang="0">
                      <a:pos x="25" y="36"/>
                    </a:cxn>
                    <a:cxn ang="0">
                      <a:pos x="25" y="43"/>
                    </a:cxn>
                    <a:cxn ang="0">
                      <a:pos x="27" y="52"/>
                    </a:cxn>
                    <a:cxn ang="0">
                      <a:pos x="25" y="52"/>
                    </a:cxn>
                    <a:cxn ang="0">
                      <a:pos x="27" y="58"/>
                    </a:cxn>
                    <a:cxn ang="0">
                      <a:pos x="25" y="58"/>
                    </a:cxn>
                    <a:cxn ang="0">
                      <a:pos x="23" y="61"/>
                    </a:cxn>
                    <a:cxn ang="0">
                      <a:pos x="19" y="61"/>
                    </a:cxn>
                    <a:cxn ang="0">
                      <a:pos x="9" y="67"/>
                    </a:cxn>
                    <a:cxn ang="0">
                      <a:pos x="2" y="67"/>
                    </a:cxn>
                    <a:cxn ang="0">
                      <a:pos x="2" y="61"/>
                    </a:cxn>
                    <a:cxn ang="0">
                      <a:pos x="0" y="61"/>
                    </a:cxn>
                    <a:cxn ang="0">
                      <a:pos x="2" y="58"/>
                    </a:cxn>
                    <a:cxn ang="0">
                      <a:pos x="0" y="54"/>
                    </a:cxn>
                    <a:cxn ang="0">
                      <a:pos x="0" y="52"/>
                    </a:cxn>
                    <a:cxn ang="0">
                      <a:pos x="0" y="47"/>
                    </a:cxn>
                    <a:cxn ang="0">
                      <a:pos x="9" y="43"/>
                    </a:cxn>
                    <a:cxn ang="0">
                      <a:pos x="11" y="43"/>
                    </a:cxn>
                    <a:cxn ang="0">
                      <a:pos x="13" y="36"/>
                    </a:cxn>
                    <a:cxn ang="0">
                      <a:pos x="17" y="38"/>
                    </a:cxn>
                    <a:cxn ang="0">
                      <a:pos x="25" y="29"/>
                    </a:cxn>
                    <a:cxn ang="0">
                      <a:pos x="32" y="20"/>
                    </a:cxn>
                    <a:cxn ang="0">
                      <a:pos x="40" y="16"/>
                    </a:cxn>
                    <a:cxn ang="0">
                      <a:pos x="36" y="16"/>
                    </a:cxn>
                    <a:cxn ang="0">
                      <a:pos x="34" y="11"/>
                    </a:cxn>
                    <a:cxn ang="0">
                      <a:pos x="40" y="9"/>
                    </a:cxn>
                    <a:cxn ang="0">
                      <a:pos x="40" y="11"/>
                    </a:cxn>
                    <a:cxn ang="0">
                      <a:pos x="42" y="11"/>
                    </a:cxn>
                    <a:cxn ang="0">
                      <a:pos x="44" y="11"/>
                    </a:cxn>
                    <a:cxn ang="0">
                      <a:pos x="42" y="11"/>
                    </a:cxn>
                    <a:cxn ang="0">
                      <a:pos x="42" y="9"/>
                    </a:cxn>
                    <a:cxn ang="0">
                      <a:pos x="48" y="4"/>
                    </a:cxn>
                    <a:cxn ang="0">
                      <a:pos x="57" y="4"/>
                    </a:cxn>
                    <a:cxn ang="0">
                      <a:pos x="63" y="2"/>
                    </a:cxn>
                    <a:cxn ang="0">
                      <a:pos x="67" y="2"/>
                    </a:cxn>
                    <a:cxn ang="0">
                      <a:pos x="71" y="0"/>
                    </a:cxn>
                    <a:cxn ang="0">
                      <a:pos x="71" y="2"/>
                    </a:cxn>
                    <a:cxn ang="0">
                      <a:pos x="73" y="2"/>
                    </a:cxn>
                    <a:cxn ang="0">
                      <a:pos x="75" y="2"/>
                    </a:cxn>
                    <a:cxn ang="0">
                      <a:pos x="80" y="0"/>
                    </a:cxn>
                    <a:cxn ang="0">
                      <a:pos x="82" y="2"/>
                    </a:cxn>
                    <a:cxn ang="0">
                      <a:pos x="90" y="2"/>
                    </a:cxn>
                    <a:cxn ang="0">
                      <a:pos x="82" y="4"/>
                    </a:cxn>
                    <a:cxn ang="0">
                      <a:pos x="90" y="9"/>
                    </a:cxn>
                    <a:cxn ang="0">
                      <a:pos x="84" y="11"/>
                    </a:cxn>
                    <a:cxn ang="0">
                      <a:pos x="84" y="9"/>
                    </a:cxn>
                    <a:cxn ang="0">
                      <a:pos x="80" y="4"/>
                    </a:cxn>
                    <a:cxn ang="0">
                      <a:pos x="73" y="4"/>
                    </a:cxn>
                    <a:cxn ang="0">
                      <a:pos x="73" y="11"/>
                    </a:cxn>
                    <a:cxn ang="0">
                      <a:pos x="71" y="11"/>
                    </a:cxn>
                    <a:cxn ang="0">
                      <a:pos x="63" y="11"/>
                    </a:cxn>
                    <a:cxn ang="0">
                      <a:pos x="57" y="9"/>
                    </a:cxn>
                    <a:cxn ang="0">
                      <a:pos x="54" y="11"/>
                    </a:cxn>
                    <a:cxn ang="0">
                      <a:pos x="52" y="11"/>
                    </a:cxn>
                  </a:cxnLst>
                  <a:rect l="0" t="0" r="r" b="b"/>
                  <a:pathLst>
                    <a:path w="90" h="67">
                      <a:moveTo>
                        <a:pt x="52" y="11"/>
                      </a:moveTo>
                      <a:lnTo>
                        <a:pt x="52" y="16"/>
                      </a:lnTo>
                      <a:lnTo>
                        <a:pt x="48" y="11"/>
                      </a:lnTo>
                      <a:lnTo>
                        <a:pt x="44" y="16"/>
                      </a:lnTo>
                      <a:lnTo>
                        <a:pt x="42" y="16"/>
                      </a:lnTo>
                      <a:lnTo>
                        <a:pt x="40" y="20"/>
                      </a:lnTo>
                      <a:lnTo>
                        <a:pt x="34" y="25"/>
                      </a:lnTo>
                      <a:lnTo>
                        <a:pt x="32" y="34"/>
                      </a:lnTo>
                      <a:lnTo>
                        <a:pt x="34" y="36"/>
                      </a:lnTo>
                      <a:lnTo>
                        <a:pt x="25" y="36"/>
                      </a:lnTo>
                      <a:lnTo>
                        <a:pt x="25" y="43"/>
                      </a:lnTo>
                      <a:lnTo>
                        <a:pt x="27" y="52"/>
                      </a:lnTo>
                      <a:lnTo>
                        <a:pt x="25" y="52"/>
                      </a:lnTo>
                      <a:lnTo>
                        <a:pt x="27" y="58"/>
                      </a:lnTo>
                      <a:lnTo>
                        <a:pt x="25" y="58"/>
                      </a:lnTo>
                      <a:lnTo>
                        <a:pt x="23" y="61"/>
                      </a:lnTo>
                      <a:lnTo>
                        <a:pt x="19" y="61"/>
                      </a:lnTo>
                      <a:lnTo>
                        <a:pt x="9" y="67"/>
                      </a:lnTo>
                      <a:lnTo>
                        <a:pt x="2" y="67"/>
                      </a:lnTo>
                      <a:lnTo>
                        <a:pt x="2" y="61"/>
                      </a:lnTo>
                      <a:lnTo>
                        <a:pt x="0" y="61"/>
                      </a:lnTo>
                      <a:lnTo>
                        <a:pt x="2" y="58"/>
                      </a:lnTo>
                      <a:lnTo>
                        <a:pt x="0" y="54"/>
                      </a:lnTo>
                      <a:lnTo>
                        <a:pt x="0" y="52"/>
                      </a:lnTo>
                      <a:lnTo>
                        <a:pt x="0" y="47"/>
                      </a:lnTo>
                      <a:lnTo>
                        <a:pt x="9" y="43"/>
                      </a:lnTo>
                      <a:lnTo>
                        <a:pt x="11" y="43"/>
                      </a:lnTo>
                      <a:lnTo>
                        <a:pt x="13" y="36"/>
                      </a:lnTo>
                      <a:lnTo>
                        <a:pt x="17" y="38"/>
                      </a:lnTo>
                      <a:lnTo>
                        <a:pt x="25" y="29"/>
                      </a:lnTo>
                      <a:lnTo>
                        <a:pt x="32" y="20"/>
                      </a:lnTo>
                      <a:lnTo>
                        <a:pt x="40" y="16"/>
                      </a:lnTo>
                      <a:lnTo>
                        <a:pt x="36" y="16"/>
                      </a:lnTo>
                      <a:lnTo>
                        <a:pt x="34" y="11"/>
                      </a:lnTo>
                      <a:lnTo>
                        <a:pt x="40" y="9"/>
                      </a:lnTo>
                      <a:lnTo>
                        <a:pt x="40" y="11"/>
                      </a:lnTo>
                      <a:lnTo>
                        <a:pt x="42" y="11"/>
                      </a:lnTo>
                      <a:lnTo>
                        <a:pt x="44" y="11"/>
                      </a:lnTo>
                      <a:lnTo>
                        <a:pt x="42" y="11"/>
                      </a:lnTo>
                      <a:lnTo>
                        <a:pt x="42" y="9"/>
                      </a:lnTo>
                      <a:lnTo>
                        <a:pt x="48" y="4"/>
                      </a:lnTo>
                      <a:lnTo>
                        <a:pt x="57" y="4"/>
                      </a:lnTo>
                      <a:lnTo>
                        <a:pt x="63" y="2"/>
                      </a:lnTo>
                      <a:lnTo>
                        <a:pt x="67" y="2"/>
                      </a:lnTo>
                      <a:lnTo>
                        <a:pt x="71" y="0"/>
                      </a:lnTo>
                      <a:lnTo>
                        <a:pt x="71" y="2"/>
                      </a:lnTo>
                      <a:lnTo>
                        <a:pt x="73" y="2"/>
                      </a:lnTo>
                      <a:lnTo>
                        <a:pt x="75" y="2"/>
                      </a:lnTo>
                      <a:lnTo>
                        <a:pt x="80" y="0"/>
                      </a:lnTo>
                      <a:lnTo>
                        <a:pt x="82" y="2"/>
                      </a:lnTo>
                      <a:lnTo>
                        <a:pt x="90" y="2"/>
                      </a:lnTo>
                      <a:lnTo>
                        <a:pt x="82" y="4"/>
                      </a:lnTo>
                      <a:lnTo>
                        <a:pt x="90" y="9"/>
                      </a:lnTo>
                      <a:lnTo>
                        <a:pt x="84" y="11"/>
                      </a:lnTo>
                      <a:lnTo>
                        <a:pt x="84" y="9"/>
                      </a:lnTo>
                      <a:lnTo>
                        <a:pt x="80" y="4"/>
                      </a:lnTo>
                      <a:lnTo>
                        <a:pt x="73" y="4"/>
                      </a:lnTo>
                      <a:lnTo>
                        <a:pt x="73" y="11"/>
                      </a:lnTo>
                      <a:lnTo>
                        <a:pt x="71" y="11"/>
                      </a:lnTo>
                      <a:lnTo>
                        <a:pt x="63" y="11"/>
                      </a:lnTo>
                      <a:lnTo>
                        <a:pt x="57" y="9"/>
                      </a:lnTo>
                      <a:lnTo>
                        <a:pt x="54" y="11"/>
                      </a:lnTo>
                      <a:lnTo>
                        <a:pt x="52" y="11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532" name="North Korea"/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7268898" y="3202978"/>
                <a:ext cx="115612" cy="150098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2"/>
                  </a:cxn>
                  <a:cxn ang="0">
                    <a:pos x="12" y="4"/>
                  </a:cxn>
                  <a:cxn ang="0">
                    <a:pos x="12" y="9"/>
                  </a:cxn>
                  <a:cxn ang="0">
                    <a:pos x="8" y="4"/>
                  </a:cxn>
                  <a:cxn ang="0">
                    <a:pos x="0" y="18"/>
                  </a:cxn>
                  <a:cxn ang="0">
                    <a:pos x="8" y="18"/>
                  </a:cxn>
                  <a:cxn ang="0">
                    <a:pos x="8" y="27"/>
                  </a:cxn>
                  <a:cxn ang="0">
                    <a:pos x="16" y="27"/>
                  </a:cxn>
                  <a:cxn ang="0">
                    <a:pos x="18" y="27"/>
                  </a:cxn>
                  <a:cxn ang="0">
                    <a:pos x="21" y="22"/>
                  </a:cxn>
                  <a:cxn ang="0">
                    <a:pos x="16" y="20"/>
                  </a:cxn>
                  <a:cxn ang="0">
                    <a:pos x="12" y="13"/>
                  </a:cxn>
                  <a:cxn ang="0">
                    <a:pos x="21" y="11"/>
                  </a:cxn>
                  <a:cxn ang="0">
                    <a:pos x="18" y="4"/>
                  </a:cxn>
                  <a:cxn ang="0">
                    <a:pos x="21" y="0"/>
                  </a:cxn>
                  <a:cxn ang="0">
                    <a:pos x="18" y="0"/>
                  </a:cxn>
                  <a:cxn ang="0">
                    <a:pos x="16" y="0"/>
                  </a:cxn>
                </a:cxnLst>
                <a:rect l="0" t="0" r="r" b="b"/>
                <a:pathLst>
                  <a:path w="21" h="27">
                    <a:moveTo>
                      <a:pt x="16" y="0"/>
                    </a:moveTo>
                    <a:lnTo>
                      <a:pt x="16" y="2"/>
                    </a:lnTo>
                    <a:lnTo>
                      <a:pt x="12" y="4"/>
                    </a:lnTo>
                    <a:lnTo>
                      <a:pt x="12" y="9"/>
                    </a:lnTo>
                    <a:lnTo>
                      <a:pt x="8" y="4"/>
                    </a:lnTo>
                    <a:lnTo>
                      <a:pt x="0" y="18"/>
                    </a:lnTo>
                    <a:lnTo>
                      <a:pt x="8" y="18"/>
                    </a:lnTo>
                    <a:lnTo>
                      <a:pt x="8" y="27"/>
                    </a:lnTo>
                    <a:lnTo>
                      <a:pt x="16" y="27"/>
                    </a:lnTo>
                    <a:lnTo>
                      <a:pt x="18" y="27"/>
                    </a:lnTo>
                    <a:lnTo>
                      <a:pt x="21" y="22"/>
                    </a:lnTo>
                    <a:lnTo>
                      <a:pt x="16" y="20"/>
                    </a:lnTo>
                    <a:lnTo>
                      <a:pt x="12" y="13"/>
                    </a:lnTo>
                    <a:lnTo>
                      <a:pt x="21" y="11"/>
                    </a:lnTo>
                    <a:lnTo>
                      <a:pt x="18" y="4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216" name="Nigeria"/>
              <p:cNvSpPr>
                <a:spLocks/>
              </p:cNvSpPr>
              <p:nvPr/>
            </p:nvSpPr>
            <p:spPr bwMode="auto">
              <a:xfrm>
                <a:off x="4292616" y="4118999"/>
                <a:ext cx="328430" cy="317948"/>
              </a:xfrm>
              <a:custGeom>
                <a:avLst/>
                <a:gdLst>
                  <a:gd name="T0" fmla="*/ 923891 w 904"/>
                  <a:gd name="T1" fmla="*/ 107201099 h 737"/>
                  <a:gd name="T2" fmla="*/ 131881 w 904"/>
                  <a:gd name="T3" fmla="*/ 107015162 h 737"/>
                  <a:gd name="T4" fmla="*/ 1055772 w 904"/>
                  <a:gd name="T5" fmla="*/ 90637179 h 737"/>
                  <a:gd name="T6" fmla="*/ 923891 w 904"/>
                  <a:gd name="T7" fmla="*/ 76120290 h 737"/>
                  <a:gd name="T8" fmla="*/ 4883580 w 904"/>
                  <a:gd name="T9" fmla="*/ 66070203 h 737"/>
                  <a:gd name="T10" fmla="*/ 6863607 w 904"/>
                  <a:gd name="T11" fmla="*/ 58439454 h 737"/>
                  <a:gd name="T12" fmla="*/ 9503398 w 904"/>
                  <a:gd name="T13" fmla="*/ 51367365 h 737"/>
                  <a:gd name="T14" fmla="*/ 11219299 w 904"/>
                  <a:gd name="T15" fmla="*/ 43736615 h 737"/>
                  <a:gd name="T16" fmla="*/ 10031284 w 904"/>
                  <a:gd name="T17" fmla="*/ 31453128 h 737"/>
                  <a:gd name="T18" fmla="*/ 10427289 w 904"/>
                  <a:gd name="T19" fmla="*/ 29592032 h 737"/>
                  <a:gd name="T20" fmla="*/ 13727213 w 904"/>
                  <a:gd name="T21" fmla="*/ 16750296 h 737"/>
                  <a:gd name="T22" fmla="*/ 18214787 w 904"/>
                  <a:gd name="T23" fmla="*/ 4839108 h 737"/>
                  <a:gd name="T24" fmla="*/ 28114556 w 904"/>
                  <a:gd name="T25" fmla="*/ 1302853 h 737"/>
                  <a:gd name="T26" fmla="*/ 38013957 w 904"/>
                  <a:gd name="T27" fmla="*/ 4839108 h 737"/>
                  <a:gd name="T28" fmla="*/ 44613436 w 904"/>
                  <a:gd name="T29" fmla="*/ 13399976 h 737"/>
                  <a:gd name="T30" fmla="*/ 52796947 w 904"/>
                  <a:gd name="T31" fmla="*/ 8933606 h 737"/>
                  <a:gd name="T32" fmla="*/ 63752483 w 904"/>
                  <a:gd name="T33" fmla="*/ 15819748 h 737"/>
                  <a:gd name="T34" fmla="*/ 75367785 w 904"/>
                  <a:gd name="T35" fmla="*/ 9677785 h 737"/>
                  <a:gd name="T36" fmla="*/ 87114967 w 904"/>
                  <a:gd name="T37" fmla="*/ 8747237 h 737"/>
                  <a:gd name="T38" fmla="*/ 97278515 w 904"/>
                  <a:gd name="T39" fmla="*/ 12283491 h 737"/>
                  <a:gd name="T40" fmla="*/ 104273999 w 904"/>
                  <a:gd name="T41" fmla="*/ 6327898 h 737"/>
                  <a:gd name="T42" fmla="*/ 112721623 w 904"/>
                  <a:gd name="T43" fmla="*/ 12841733 h 737"/>
                  <a:gd name="T44" fmla="*/ 117473321 w 904"/>
                  <a:gd name="T45" fmla="*/ 24752919 h 737"/>
                  <a:gd name="T46" fmla="*/ 117605202 w 904"/>
                  <a:gd name="T47" fmla="*/ 35175318 h 737"/>
                  <a:gd name="T48" fmla="*/ 108629692 w 904"/>
                  <a:gd name="T49" fmla="*/ 44667163 h 737"/>
                  <a:gd name="T50" fmla="*/ 104405880 w 904"/>
                  <a:gd name="T51" fmla="*/ 56764727 h 737"/>
                  <a:gd name="T52" fmla="*/ 101238202 w 904"/>
                  <a:gd name="T53" fmla="*/ 65884266 h 737"/>
                  <a:gd name="T54" fmla="*/ 96090499 w 904"/>
                  <a:gd name="T55" fmla="*/ 77050838 h 737"/>
                  <a:gd name="T56" fmla="*/ 93846690 w 904"/>
                  <a:gd name="T57" fmla="*/ 85053893 h 737"/>
                  <a:gd name="T58" fmla="*/ 90678649 w 904"/>
                  <a:gd name="T59" fmla="*/ 95848159 h 737"/>
                  <a:gd name="T60" fmla="*/ 85795071 w 904"/>
                  <a:gd name="T61" fmla="*/ 105526372 h 737"/>
                  <a:gd name="T62" fmla="*/ 80647368 w 904"/>
                  <a:gd name="T63" fmla="*/ 99012108 h 737"/>
                  <a:gd name="T64" fmla="*/ 78007576 w 904"/>
                  <a:gd name="T65" fmla="*/ 96592770 h 737"/>
                  <a:gd name="T66" fmla="*/ 78007576 w 904"/>
                  <a:gd name="T67" fmla="*/ 96592770 h 737"/>
                  <a:gd name="T68" fmla="*/ 70351962 w 904"/>
                  <a:gd name="T69" fmla="*/ 101059571 h 737"/>
                  <a:gd name="T70" fmla="*/ 64148125 w 904"/>
                  <a:gd name="T71" fmla="*/ 110179111 h 737"/>
                  <a:gd name="T72" fmla="*/ 61244572 w 904"/>
                  <a:gd name="T73" fmla="*/ 117437582 h 737"/>
                  <a:gd name="T74" fmla="*/ 56624755 w 904"/>
                  <a:gd name="T75" fmla="*/ 130837554 h 737"/>
                  <a:gd name="T76" fmla="*/ 54380968 w 904"/>
                  <a:gd name="T77" fmla="*/ 128790522 h 737"/>
                  <a:gd name="T78" fmla="*/ 47517353 w 904"/>
                  <a:gd name="T79" fmla="*/ 133443260 h 737"/>
                  <a:gd name="T80" fmla="*/ 41841401 w 904"/>
                  <a:gd name="T81" fmla="*/ 133070955 h 737"/>
                  <a:gd name="T82" fmla="*/ 38937848 w 904"/>
                  <a:gd name="T83" fmla="*/ 134932050 h 737"/>
                  <a:gd name="T84" fmla="*/ 34449911 w 904"/>
                  <a:gd name="T85" fmla="*/ 137165450 h 737"/>
                  <a:gd name="T86" fmla="*/ 31414114 w 904"/>
                  <a:gd name="T87" fmla="*/ 134746113 h 737"/>
                  <a:gd name="T88" fmla="*/ 26926541 w 904"/>
                  <a:gd name="T89" fmla="*/ 128790522 h 737"/>
                  <a:gd name="T90" fmla="*/ 26794297 w 904"/>
                  <a:gd name="T91" fmla="*/ 120415162 h 737"/>
                  <a:gd name="T92" fmla="*/ 24550511 w 904"/>
                  <a:gd name="T93" fmla="*/ 117809887 h 737"/>
                  <a:gd name="T94" fmla="*/ 22570843 w 904"/>
                  <a:gd name="T95" fmla="*/ 114273633 h 737"/>
                  <a:gd name="T96" fmla="*/ 19535046 w 904"/>
                  <a:gd name="T97" fmla="*/ 109434500 h 737"/>
                  <a:gd name="T98" fmla="*/ 12011312 w 904"/>
                  <a:gd name="T99" fmla="*/ 106456920 h 73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904"/>
                  <a:gd name="T151" fmla="*/ 0 h 737"/>
                  <a:gd name="T152" fmla="*/ 904 w 904"/>
                  <a:gd name="T153" fmla="*/ 737 h 737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904" h="737">
                    <a:moveTo>
                      <a:pt x="35" y="574"/>
                    </a:moveTo>
                    <a:cubicBezTo>
                      <a:pt x="26" y="575"/>
                      <a:pt x="16" y="575"/>
                      <a:pt x="7" y="576"/>
                    </a:cubicBezTo>
                    <a:cubicBezTo>
                      <a:pt x="5" y="576"/>
                      <a:pt x="3" y="576"/>
                      <a:pt x="1" y="576"/>
                    </a:cubicBezTo>
                    <a:cubicBezTo>
                      <a:pt x="1" y="575"/>
                      <a:pt x="1" y="575"/>
                      <a:pt x="1" y="575"/>
                    </a:cubicBezTo>
                    <a:cubicBezTo>
                      <a:pt x="3" y="559"/>
                      <a:pt x="8" y="542"/>
                      <a:pt x="3" y="526"/>
                    </a:cubicBezTo>
                    <a:cubicBezTo>
                      <a:pt x="10" y="515"/>
                      <a:pt x="1" y="499"/>
                      <a:pt x="8" y="487"/>
                    </a:cubicBezTo>
                    <a:cubicBezTo>
                      <a:pt x="0" y="477"/>
                      <a:pt x="7" y="465"/>
                      <a:pt x="1" y="453"/>
                    </a:cubicBezTo>
                    <a:cubicBezTo>
                      <a:pt x="7" y="439"/>
                      <a:pt x="1" y="424"/>
                      <a:pt x="7" y="409"/>
                    </a:cubicBezTo>
                    <a:cubicBezTo>
                      <a:pt x="6" y="397"/>
                      <a:pt x="7" y="386"/>
                      <a:pt x="9" y="374"/>
                    </a:cubicBezTo>
                    <a:cubicBezTo>
                      <a:pt x="12" y="360"/>
                      <a:pt x="37" y="374"/>
                      <a:pt x="37" y="355"/>
                    </a:cubicBezTo>
                    <a:cubicBezTo>
                      <a:pt x="40" y="345"/>
                      <a:pt x="35" y="335"/>
                      <a:pt x="45" y="329"/>
                    </a:cubicBezTo>
                    <a:cubicBezTo>
                      <a:pt x="46" y="322"/>
                      <a:pt x="58" y="322"/>
                      <a:pt x="52" y="314"/>
                    </a:cubicBezTo>
                    <a:cubicBezTo>
                      <a:pt x="57" y="305"/>
                      <a:pt x="75" y="311"/>
                      <a:pt x="74" y="295"/>
                    </a:cubicBezTo>
                    <a:cubicBezTo>
                      <a:pt x="80" y="289"/>
                      <a:pt x="78" y="282"/>
                      <a:pt x="72" y="276"/>
                    </a:cubicBezTo>
                    <a:cubicBezTo>
                      <a:pt x="73" y="268"/>
                      <a:pt x="80" y="261"/>
                      <a:pt x="87" y="265"/>
                    </a:cubicBezTo>
                    <a:cubicBezTo>
                      <a:pt x="94" y="255"/>
                      <a:pt x="93" y="244"/>
                      <a:pt x="85" y="235"/>
                    </a:cubicBezTo>
                    <a:cubicBezTo>
                      <a:pt x="89" y="221"/>
                      <a:pt x="81" y="208"/>
                      <a:pt x="72" y="197"/>
                    </a:cubicBezTo>
                    <a:cubicBezTo>
                      <a:pt x="62" y="189"/>
                      <a:pt x="70" y="177"/>
                      <a:pt x="76" y="169"/>
                    </a:cubicBezTo>
                    <a:cubicBezTo>
                      <a:pt x="77" y="167"/>
                      <a:pt x="77" y="167"/>
                      <a:pt x="77" y="167"/>
                    </a:cubicBezTo>
                    <a:cubicBezTo>
                      <a:pt x="81" y="167"/>
                      <a:pt x="84" y="164"/>
                      <a:pt x="79" y="159"/>
                    </a:cubicBezTo>
                    <a:cubicBezTo>
                      <a:pt x="80" y="146"/>
                      <a:pt x="81" y="132"/>
                      <a:pt x="82" y="117"/>
                    </a:cubicBezTo>
                    <a:cubicBezTo>
                      <a:pt x="78" y="102"/>
                      <a:pt x="95" y="98"/>
                      <a:pt x="104" y="90"/>
                    </a:cubicBezTo>
                    <a:cubicBezTo>
                      <a:pt x="113" y="79"/>
                      <a:pt x="120" y="66"/>
                      <a:pt x="120" y="52"/>
                    </a:cubicBezTo>
                    <a:cubicBezTo>
                      <a:pt x="114" y="36"/>
                      <a:pt x="130" y="34"/>
                      <a:pt x="138" y="26"/>
                    </a:cubicBezTo>
                    <a:cubicBezTo>
                      <a:pt x="145" y="16"/>
                      <a:pt x="158" y="18"/>
                      <a:pt x="168" y="14"/>
                    </a:cubicBezTo>
                    <a:cubicBezTo>
                      <a:pt x="182" y="13"/>
                      <a:pt x="202" y="22"/>
                      <a:pt x="213" y="7"/>
                    </a:cubicBezTo>
                    <a:cubicBezTo>
                      <a:pt x="226" y="0"/>
                      <a:pt x="238" y="13"/>
                      <a:pt x="251" y="17"/>
                    </a:cubicBezTo>
                    <a:cubicBezTo>
                      <a:pt x="263" y="25"/>
                      <a:pt x="277" y="17"/>
                      <a:pt x="288" y="26"/>
                    </a:cubicBezTo>
                    <a:cubicBezTo>
                      <a:pt x="297" y="35"/>
                      <a:pt x="307" y="44"/>
                      <a:pt x="312" y="56"/>
                    </a:cubicBezTo>
                    <a:cubicBezTo>
                      <a:pt x="316" y="66"/>
                      <a:pt x="326" y="77"/>
                      <a:pt x="338" y="72"/>
                    </a:cubicBezTo>
                    <a:cubicBezTo>
                      <a:pt x="343" y="63"/>
                      <a:pt x="352" y="64"/>
                      <a:pt x="360" y="64"/>
                    </a:cubicBezTo>
                    <a:cubicBezTo>
                      <a:pt x="374" y="59"/>
                      <a:pt x="385" y="44"/>
                      <a:pt x="400" y="48"/>
                    </a:cubicBezTo>
                    <a:cubicBezTo>
                      <a:pt x="419" y="47"/>
                      <a:pt x="427" y="67"/>
                      <a:pt x="444" y="68"/>
                    </a:cubicBezTo>
                    <a:cubicBezTo>
                      <a:pt x="454" y="79"/>
                      <a:pt x="468" y="85"/>
                      <a:pt x="483" y="85"/>
                    </a:cubicBezTo>
                    <a:cubicBezTo>
                      <a:pt x="498" y="85"/>
                      <a:pt x="514" y="92"/>
                      <a:pt x="528" y="86"/>
                    </a:cubicBezTo>
                    <a:cubicBezTo>
                      <a:pt x="539" y="72"/>
                      <a:pt x="552" y="57"/>
                      <a:pt x="571" y="52"/>
                    </a:cubicBezTo>
                    <a:cubicBezTo>
                      <a:pt x="586" y="53"/>
                      <a:pt x="601" y="43"/>
                      <a:pt x="616" y="46"/>
                    </a:cubicBezTo>
                    <a:cubicBezTo>
                      <a:pt x="631" y="50"/>
                      <a:pt x="645" y="44"/>
                      <a:pt x="660" y="47"/>
                    </a:cubicBezTo>
                    <a:cubicBezTo>
                      <a:pt x="675" y="51"/>
                      <a:pt x="691" y="54"/>
                      <a:pt x="704" y="64"/>
                    </a:cubicBezTo>
                    <a:cubicBezTo>
                      <a:pt x="714" y="64"/>
                      <a:pt x="729" y="74"/>
                      <a:pt x="737" y="66"/>
                    </a:cubicBezTo>
                    <a:cubicBezTo>
                      <a:pt x="741" y="53"/>
                      <a:pt x="753" y="54"/>
                      <a:pt x="760" y="44"/>
                    </a:cubicBezTo>
                    <a:cubicBezTo>
                      <a:pt x="767" y="33"/>
                      <a:pt x="781" y="35"/>
                      <a:pt x="790" y="34"/>
                    </a:cubicBezTo>
                    <a:cubicBezTo>
                      <a:pt x="795" y="20"/>
                      <a:pt x="809" y="20"/>
                      <a:pt x="821" y="21"/>
                    </a:cubicBezTo>
                    <a:cubicBezTo>
                      <a:pt x="832" y="37"/>
                      <a:pt x="843" y="53"/>
                      <a:pt x="854" y="69"/>
                    </a:cubicBezTo>
                    <a:cubicBezTo>
                      <a:pt x="856" y="86"/>
                      <a:pt x="864" y="103"/>
                      <a:pt x="862" y="120"/>
                    </a:cubicBezTo>
                    <a:cubicBezTo>
                      <a:pt x="868" y="129"/>
                      <a:pt x="887" y="117"/>
                      <a:pt x="890" y="133"/>
                    </a:cubicBezTo>
                    <a:cubicBezTo>
                      <a:pt x="903" y="138"/>
                      <a:pt x="893" y="153"/>
                      <a:pt x="894" y="163"/>
                    </a:cubicBezTo>
                    <a:cubicBezTo>
                      <a:pt x="885" y="172"/>
                      <a:pt x="904" y="182"/>
                      <a:pt x="891" y="189"/>
                    </a:cubicBezTo>
                    <a:cubicBezTo>
                      <a:pt x="876" y="194"/>
                      <a:pt x="865" y="213"/>
                      <a:pt x="848" y="205"/>
                    </a:cubicBezTo>
                    <a:cubicBezTo>
                      <a:pt x="835" y="213"/>
                      <a:pt x="832" y="228"/>
                      <a:pt x="823" y="240"/>
                    </a:cubicBezTo>
                    <a:cubicBezTo>
                      <a:pt x="811" y="252"/>
                      <a:pt x="811" y="270"/>
                      <a:pt x="807" y="286"/>
                    </a:cubicBezTo>
                    <a:cubicBezTo>
                      <a:pt x="805" y="296"/>
                      <a:pt x="787" y="290"/>
                      <a:pt x="791" y="305"/>
                    </a:cubicBezTo>
                    <a:cubicBezTo>
                      <a:pt x="793" y="317"/>
                      <a:pt x="795" y="340"/>
                      <a:pt x="776" y="338"/>
                    </a:cubicBezTo>
                    <a:cubicBezTo>
                      <a:pt x="771" y="343"/>
                      <a:pt x="758" y="348"/>
                      <a:pt x="767" y="354"/>
                    </a:cubicBezTo>
                    <a:cubicBezTo>
                      <a:pt x="757" y="367"/>
                      <a:pt x="766" y="389"/>
                      <a:pt x="750" y="398"/>
                    </a:cubicBezTo>
                    <a:cubicBezTo>
                      <a:pt x="748" y="411"/>
                      <a:pt x="723" y="397"/>
                      <a:pt x="728" y="414"/>
                    </a:cubicBezTo>
                    <a:cubicBezTo>
                      <a:pt x="723" y="420"/>
                      <a:pt x="711" y="420"/>
                      <a:pt x="716" y="431"/>
                    </a:cubicBezTo>
                    <a:cubicBezTo>
                      <a:pt x="714" y="440"/>
                      <a:pt x="713" y="449"/>
                      <a:pt x="711" y="457"/>
                    </a:cubicBezTo>
                    <a:cubicBezTo>
                      <a:pt x="696" y="468"/>
                      <a:pt x="703" y="488"/>
                      <a:pt x="686" y="497"/>
                    </a:cubicBezTo>
                    <a:cubicBezTo>
                      <a:pt x="679" y="504"/>
                      <a:pt x="679" y="509"/>
                      <a:pt x="687" y="515"/>
                    </a:cubicBezTo>
                    <a:cubicBezTo>
                      <a:pt x="687" y="528"/>
                      <a:pt x="657" y="529"/>
                      <a:pt x="666" y="547"/>
                    </a:cubicBezTo>
                    <a:cubicBezTo>
                      <a:pt x="663" y="556"/>
                      <a:pt x="653" y="558"/>
                      <a:pt x="650" y="567"/>
                    </a:cubicBezTo>
                    <a:cubicBezTo>
                      <a:pt x="638" y="574"/>
                      <a:pt x="623" y="567"/>
                      <a:pt x="628" y="552"/>
                    </a:cubicBezTo>
                    <a:cubicBezTo>
                      <a:pt x="628" y="541"/>
                      <a:pt x="610" y="545"/>
                      <a:pt x="611" y="532"/>
                    </a:cubicBezTo>
                    <a:cubicBezTo>
                      <a:pt x="606" y="528"/>
                      <a:pt x="592" y="520"/>
                      <a:pt x="591" y="519"/>
                    </a:cubicBezTo>
                    <a:cubicBezTo>
                      <a:pt x="591" y="519"/>
                      <a:pt x="591" y="519"/>
                      <a:pt x="591" y="519"/>
                    </a:cubicBezTo>
                    <a:cubicBezTo>
                      <a:pt x="591" y="519"/>
                      <a:pt x="591" y="519"/>
                      <a:pt x="591" y="519"/>
                    </a:cubicBezTo>
                    <a:cubicBezTo>
                      <a:pt x="591" y="519"/>
                      <a:pt x="591" y="519"/>
                      <a:pt x="591" y="519"/>
                    </a:cubicBezTo>
                    <a:cubicBezTo>
                      <a:pt x="591" y="535"/>
                      <a:pt x="575" y="540"/>
                      <a:pt x="563" y="534"/>
                    </a:cubicBezTo>
                    <a:cubicBezTo>
                      <a:pt x="557" y="515"/>
                      <a:pt x="546" y="544"/>
                      <a:pt x="533" y="543"/>
                    </a:cubicBezTo>
                    <a:cubicBezTo>
                      <a:pt x="526" y="546"/>
                      <a:pt x="529" y="564"/>
                      <a:pt x="516" y="564"/>
                    </a:cubicBezTo>
                    <a:cubicBezTo>
                      <a:pt x="505" y="573"/>
                      <a:pt x="496" y="582"/>
                      <a:pt x="486" y="592"/>
                    </a:cubicBezTo>
                    <a:cubicBezTo>
                      <a:pt x="477" y="599"/>
                      <a:pt x="471" y="609"/>
                      <a:pt x="462" y="614"/>
                    </a:cubicBezTo>
                    <a:cubicBezTo>
                      <a:pt x="462" y="621"/>
                      <a:pt x="458" y="627"/>
                      <a:pt x="464" y="631"/>
                    </a:cubicBezTo>
                    <a:cubicBezTo>
                      <a:pt x="458" y="645"/>
                      <a:pt x="461" y="662"/>
                      <a:pt x="450" y="674"/>
                    </a:cubicBezTo>
                    <a:cubicBezTo>
                      <a:pt x="444" y="684"/>
                      <a:pt x="434" y="694"/>
                      <a:pt x="429" y="703"/>
                    </a:cubicBezTo>
                    <a:cubicBezTo>
                      <a:pt x="427" y="699"/>
                      <a:pt x="424" y="696"/>
                      <a:pt x="422" y="692"/>
                    </a:cubicBezTo>
                    <a:cubicBezTo>
                      <a:pt x="419" y="689"/>
                      <a:pt x="412" y="685"/>
                      <a:pt x="412" y="692"/>
                    </a:cubicBezTo>
                    <a:cubicBezTo>
                      <a:pt x="408" y="699"/>
                      <a:pt x="408" y="708"/>
                      <a:pt x="407" y="716"/>
                    </a:cubicBezTo>
                    <a:cubicBezTo>
                      <a:pt x="391" y="715"/>
                      <a:pt x="375" y="715"/>
                      <a:pt x="360" y="717"/>
                    </a:cubicBezTo>
                    <a:cubicBezTo>
                      <a:pt x="349" y="713"/>
                      <a:pt x="339" y="707"/>
                      <a:pt x="328" y="704"/>
                    </a:cubicBezTo>
                    <a:cubicBezTo>
                      <a:pt x="325" y="708"/>
                      <a:pt x="323" y="714"/>
                      <a:pt x="317" y="715"/>
                    </a:cubicBezTo>
                    <a:cubicBezTo>
                      <a:pt x="314" y="719"/>
                      <a:pt x="312" y="723"/>
                      <a:pt x="307" y="724"/>
                    </a:cubicBezTo>
                    <a:cubicBezTo>
                      <a:pt x="302" y="723"/>
                      <a:pt x="300" y="731"/>
                      <a:pt x="295" y="725"/>
                    </a:cubicBezTo>
                    <a:cubicBezTo>
                      <a:pt x="291" y="720"/>
                      <a:pt x="287" y="731"/>
                      <a:pt x="285" y="724"/>
                    </a:cubicBezTo>
                    <a:cubicBezTo>
                      <a:pt x="277" y="729"/>
                      <a:pt x="269" y="733"/>
                      <a:pt x="261" y="737"/>
                    </a:cubicBezTo>
                    <a:cubicBezTo>
                      <a:pt x="259" y="735"/>
                      <a:pt x="259" y="728"/>
                      <a:pt x="257" y="724"/>
                    </a:cubicBezTo>
                    <a:cubicBezTo>
                      <a:pt x="251" y="725"/>
                      <a:pt x="244" y="727"/>
                      <a:pt x="238" y="724"/>
                    </a:cubicBezTo>
                    <a:cubicBezTo>
                      <a:pt x="234" y="722"/>
                      <a:pt x="228" y="723"/>
                      <a:pt x="226" y="719"/>
                    </a:cubicBezTo>
                    <a:cubicBezTo>
                      <a:pt x="221" y="709"/>
                      <a:pt x="212" y="700"/>
                      <a:pt x="204" y="692"/>
                    </a:cubicBezTo>
                    <a:cubicBezTo>
                      <a:pt x="201" y="681"/>
                      <a:pt x="197" y="669"/>
                      <a:pt x="197" y="657"/>
                    </a:cubicBezTo>
                    <a:cubicBezTo>
                      <a:pt x="195" y="652"/>
                      <a:pt x="199" y="649"/>
                      <a:pt x="203" y="647"/>
                    </a:cubicBezTo>
                    <a:cubicBezTo>
                      <a:pt x="204" y="646"/>
                      <a:pt x="195" y="646"/>
                      <a:pt x="193" y="644"/>
                    </a:cubicBezTo>
                    <a:cubicBezTo>
                      <a:pt x="187" y="644"/>
                      <a:pt x="188" y="637"/>
                      <a:pt x="186" y="633"/>
                    </a:cubicBezTo>
                    <a:cubicBezTo>
                      <a:pt x="186" y="629"/>
                      <a:pt x="182" y="626"/>
                      <a:pt x="179" y="623"/>
                    </a:cubicBezTo>
                    <a:cubicBezTo>
                      <a:pt x="178" y="618"/>
                      <a:pt x="176" y="614"/>
                      <a:pt x="171" y="614"/>
                    </a:cubicBezTo>
                    <a:cubicBezTo>
                      <a:pt x="169" y="608"/>
                      <a:pt x="165" y="604"/>
                      <a:pt x="162" y="599"/>
                    </a:cubicBezTo>
                    <a:cubicBezTo>
                      <a:pt x="159" y="593"/>
                      <a:pt x="153" y="591"/>
                      <a:pt x="148" y="588"/>
                    </a:cubicBezTo>
                    <a:cubicBezTo>
                      <a:pt x="141" y="585"/>
                      <a:pt x="135" y="579"/>
                      <a:pt x="127" y="577"/>
                    </a:cubicBezTo>
                    <a:cubicBezTo>
                      <a:pt x="116" y="573"/>
                      <a:pt x="103" y="574"/>
                      <a:pt x="91" y="572"/>
                    </a:cubicBezTo>
                    <a:cubicBezTo>
                      <a:pt x="72" y="571"/>
                      <a:pt x="54" y="573"/>
                      <a:pt x="35" y="574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34" name="Niger"/>
              <p:cNvSpPr>
                <a:spLocks/>
              </p:cNvSpPr>
              <p:nvPr/>
            </p:nvSpPr>
            <p:spPr bwMode="auto">
              <a:xfrm>
                <a:off x="4226758" y="3811999"/>
                <a:ext cx="429661" cy="379560"/>
              </a:xfrm>
              <a:custGeom>
                <a:avLst/>
                <a:gdLst>
                  <a:gd name="T0" fmla="*/ 28 w 1180"/>
                  <a:gd name="T1" fmla="*/ 629 h 878"/>
                  <a:gd name="T2" fmla="*/ 38 w 1180"/>
                  <a:gd name="T3" fmla="*/ 627 h 878"/>
                  <a:gd name="T4" fmla="*/ 117 w 1180"/>
                  <a:gd name="T5" fmla="*/ 606 h 878"/>
                  <a:gd name="T6" fmla="*/ 252 w 1180"/>
                  <a:gd name="T7" fmla="*/ 602 h 878"/>
                  <a:gd name="T8" fmla="*/ 290 w 1180"/>
                  <a:gd name="T9" fmla="*/ 564 h 878"/>
                  <a:gd name="T10" fmla="*/ 317 w 1180"/>
                  <a:gd name="T11" fmla="*/ 476 h 878"/>
                  <a:gd name="T12" fmla="*/ 437 w 1180"/>
                  <a:gd name="T13" fmla="*/ 299 h 878"/>
                  <a:gd name="T14" fmla="*/ 888 w 1180"/>
                  <a:gd name="T15" fmla="*/ 0 h 878"/>
                  <a:gd name="T16" fmla="*/ 995 w 1180"/>
                  <a:gd name="T17" fmla="*/ 26 h 878"/>
                  <a:gd name="T18" fmla="*/ 1059 w 1180"/>
                  <a:gd name="T19" fmla="*/ 62 h 878"/>
                  <a:gd name="T20" fmla="*/ 1112 w 1180"/>
                  <a:gd name="T21" fmla="*/ 99 h 878"/>
                  <a:gd name="T22" fmla="*/ 1146 w 1180"/>
                  <a:gd name="T23" fmla="*/ 191 h 878"/>
                  <a:gd name="T24" fmla="*/ 1165 w 1180"/>
                  <a:gd name="T25" fmla="*/ 250 h 878"/>
                  <a:gd name="T26" fmla="*/ 1142 w 1180"/>
                  <a:gd name="T27" fmla="*/ 405 h 878"/>
                  <a:gd name="T28" fmla="*/ 1052 w 1180"/>
                  <a:gd name="T29" fmla="*/ 585 h 878"/>
                  <a:gd name="T30" fmla="*/ 1004 w 1180"/>
                  <a:gd name="T31" fmla="*/ 662 h 878"/>
                  <a:gd name="T32" fmla="*/ 1000 w 1180"/>
                  <a:gd name="T33" fmla="*/ 732 h 878"/>
                  <a:gd name="T34" fmla="*/ 939 w 1180"/>
                  <a:gd name="T35" fmla="*/ 755 h 878"/>
                  <a:gd name="T36" fmla="*/ 883 w 1180"/>
                  <a:gd name="T37" fmla="*/ 775 h 878"/>
                  <a:gd name="T38" fmla="*/ 795 w 1180"/>
                  <a:gd name="T39" fmla="*/ 757 h 878"/>
                  <a:gd name="T40" fmla="*/ 707 w 1180"/>
                  <a:gd name="T41" fmla="*/ 797 h 878"/>
                  <a:gd name="T42" fmla="*/ 623 w 1180"/>
                  <a:gd name="T43" fmla="*/ 779 h 878"/>
                  <a:gd name="T44" fmla="*/ 539 w 1180"/>
                  <a:gd name="T45" fmla="*/ 775 h 878"/>
                  <a:gd name="T46" fmla="*/ 491 w 1180"/>
                  <a:gd name="T47" fmla="*/ 767 h 878"/>
                  <a:gd name="T48" fmla="*/ 430 w 1180"/>
                  <a:gd name="T49" fmla="*/ 728 h 878"/>
                  <a:gd name="T50" fmla="*/ 347 w 1180"/>
                  <a:gd name="T51" fmla="*/ 725 h 878"/>
                  <a:gd name="T52" fmla="*/ 299 w 1180"/>
                  <a:gd name="T53" fmla="*/ 763 h 878"/>
                  <a:gd name="T54" fmla="*/ 261 w 1180"/>
                  <a:gd name="T55" fmla="*/ 828 h 878"/>
                  <a:gd name="T56" fmla="*/ 256 w 1180"/>
                  <a:gd name="T57" fmla="*/ 878 h 878"/>
                  <a:gd name="T58" fmla="*/ 213 w 1180"/>
                  <a:gd name="T59" fmla="*/ 838 h 878"/>
                  <a:gd name="T60" fmla="*/ 168 w 1180"/>
                  <a:gd name="T61" fmla="*/ 851 h 878"/>
                  <a:gd name="T62" fmla="*/ 165 w 1180"/>
                  <a:gd name="T63" fmla="*/ 861 h 878"/>
                  <a:gd name="T64" fmla="*/ 156 w 1180"/>
                  <a:gd name="T65" fmla="*/ 815 h 878"/>
                  <a:gd name="T66" fmla="*/ 89 w 1180"/>
                  <a:gd name="T67" fmla="*/ 790 h 878"/>
                  <a:gd name="T68" fmla="*/ 76 w 1180"/>
                  <a:gd name="T69" fmla="*/ 754 h 878"/>
                  <a:gd name="T70" fmla="*/ 53 w 1180"/>
                  <a:gd name="T71" fmla="*/ 729 h 878"/>
                  <a:gd name="T72" fmla="*/ 24 w 1180"/>
                  <a:gd name="T73" fmla="*/ 692 h 878"/>
                  <a:gd name="T74" fmla="*/ 17 w 1180"/>
                  <a:gd name="T75" fmla="*/ 633 h 8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80" h="878">
                    <a:moveTo>
                      <a:pt x="17" y="633"/>
                    </a:moveTo>
                    <a:cubicBezTo>
                      <a:pt x="18" y="628"/>
                      <a:pt x="20" y="625"/>
                      <a:pt x="28" y="629"/>
                    </a:cubicBezTo>
                    <a:cubicBezTo>
                      <a:pt x="31" y="630"/>
                      <a:pt x="35" y="629"/>
                      <a:pt x="38" y="627"/>
                    </a:cubicBezTo>
                    <a:cubicBezTo>
                      <a:pt x="38" y="627"/>
                      <a:pt x="38" y="627"/>
                      <a:pt x="38" y="627"/>
                    </a:cubicBezTo>
                    <a:cubicBezTo>
                      <a:pt x="54" y="634"/>
                      <a:pt x="75" y="631"/>
                      <a:pt x="85" y="617"/>
                    </a:cubicBezTo>
                    <a:cubicBezTo>
                      <a:pt x="93" y="606"/>
                      <a:pt x="105" y="605"/>
                      <a:pt x="117" y="606"/>
                    </a:cubicBezTo>
                    <a:cubicBezTo>
                      <a:pt x="151" y="604"/>
                      <a:pt x="186" y="602"/>
                      <a:pt x="221" y="604"/>
                    </a:cubicBezTo>
                    <a:cubicBezTo>
                      <a:pt x="226" y="591"/>
                      <a:pt x="241" y="603"/>
                      <a:pt x="252" y="602"/>
                    </a:cubicBezTo>
                    <a:cubicBezTo>
                      <a:pt x="263" y="608"/>
                      <a:pt x="258" y="589"/>
                      <a:pt x="269" y="587"/>
                    </a:cubicBezTo>
                    <a:cubicBezTo>
                      <a:pt x="277" y="579"/>
                      <a:pt x="292" y="579"/>
                      <a:pt x="290" y="564"/>
                    </a:cubicBezTo>
                    <a:cubicBezTo>
                      <a:pt x="298" y="550"/>
                      <a:pt x="298" y="533"/>
                      <a:pt x="312" y="523"/>
                    </a:cubicBezTo>
                    <a:cubicBezTo>
                      <a:pt x="312" y="507"/>
                      <a:pt x="312" y="491"/>
                      <a:pt x="317" y="476"/>
                    </a:cubicBezTo>
                    <a:cubicBezTo>
                      <a:pt x="320" y="424"/>
                      <a:pt x="321" y="372"/>
                      <a:pt x="324" y="320"/>
                    </a:cubicBezTo>
                    <a:cubicBezTo>
                      <a:pt x="362" y="313"/>
                      <a:pt x="399" y="306"/>
                      <a:pt x="437" y="299"/>
                    </a:cubicBezTo>
                    <a:cubicBezTo>
                      <a:pt x="478" y="265"/>
                      <a:pt x="518" y="230"/>
                      <a:pt x="559" y="196"/>
                    </a:cubicBezTo>
                    <a:cubicBezTo>
                      <a:pt x="668" y="130"/>
                      <a:pt x="778" y="64"/>
                      <a:pt x="888" y="0"/>
                    </a:cubicBezTo>
                    <a:cubicBezTo>
                      <a:pt x="888" y="0"/>
                      <a:pt x="888" y="0"/>
                      <a:pt x="888" y="0"/>
                    </a:cubicBezTo>
                    <a:cubicBezTo>
                      <a:pt x="924" y="9"/>
                      <a:pt x="960" y="16"/>
                      <a:pt x="995" y="26"/>
                    </a:cubicBezTo>
                    <a:cubicBezTo>
                      <a:pt x="1010" y="33"/>
                      <a:pt x="1020" y="46"/>
                      <a:pt x="1033" y="56"/>
                    </a:cubicBezTo>
                    <a:cubicBezTo>
                      <a:pt x="1041" y="64"/>
                      <a:pt x="1049" y="72"/>
                      <a:pt x="1059" y="62"/>
                    </a:cubicBezTo>
                    <a:cubicBezTo>
                      <a:pt x="1073" y="54"/>
                      <a:pt x="1087" y="47"/>
                      <a:pt x="1101" y="40"/>
                    </a:cubicBezTo>
                    <a:cubicBezTo>
                      <a:pt x="1105" y="59"/>
                      <a:pt x="1109" y="79"/>
                      <a:pt x="1112" y="99"/>
                    </a:cubicBezTo>
                    <a:cubicBezTo>
                      <a:pt x="1117" y="115"/>
                      <a:pt x="1114" y="133"/>
                      <a:pt x="1116" y="150"/>
                    </a:cubicBezTo>
                    <a:cubicBezTo>
                      <a:pt x="1128" y="162"/>
                      <a:pt x="1136" y="177"/>
                      <a:pt x="1146" y="191"/>
                    </a:cubicBezTo>
                    <a:cubicBezTo>
                      <a:pt x="1133" y="199"/>
                      <a:pt x="1148" y="211"/>
                      <a:pt x="1156" y="217"/>
                    </a:cubicBezTo>
                    <a:cubicBezTo>
                      <a:pt x="1164" y="226"/>
                      <a:pt x="1180" y="237"/>
                      <a:pt x="1165" y="250"/>
                    </a:cubicBezTo>
                    <a:cubicBezTo>
                      <a:pt x="1155" y="264"/>
                      <a:pt x="1154" y="281"/>
                      <a:pt x="1152" y="298"/>
                    </a:cubicBezTo>
                    <a:cubicBezTo>
                      <a:pt x="1147" y="333"/>
                      <a:pt x="1144" y="369"/>
                      <a:pt x="1142" y="405"/>
                    </a:cubicBezTo>
                    <a:cubicBezTo>
                      <a:pt x="1141" y="434"/>
                      <a:pt x="1139" y="464"/>
                      <a:pt x="1137" y="493"/>
                    </a:cubicBezTo>
                    <a:cubicBezTo>
                      <a:pt x="1109" y="524"/>
                      <a:pt x="1079" y="553"/>
                      <a:pt x="1052" y="585"/>
                    </a:cubicBezTo>
                    <a:cubicBezTo>
                      <a:pt x="1041" y="602"/>
                      <a:pt x="1029" y="619"/>
                      <a:pt x="1016" y="635"/>
                    </a:cubicBezTo>
                    <a:cubicBezTo>
                      <a:pt x="1008" y="643"/>
                      <a:pt x="1016" y="657"/>
                      <a:pt x="1004" y="662"/>
                    </a:cubicBezTo>
                    <a:cubicBezTo>
                      <a:pt x="1009" y="676"/>
                      <a:pt x="981" y="670"/>
                      <a:pt x="989" y="685"/>
                    </a:cubicBezTo>
                    <a:cubicBezTo>
                      <a:pt x="993" y="701"/>
                      <a:pt x="996" y="716"/>
                      <a:pt x="1000" y="732"/>
                    </a:cubicBezTo>
                    <a:cubicBezTo>
                      <a:pt x="988" y="731"/>
                      <a:pt x="974" y="731"/>
                      <a:pt x="969" y="745"/>
                    </a:cubicBezTo>
                    <a:cubicBezTo>
                      <a:pt x="960" y="746"/>
                      <a:pt x="946" y="744"/>
                      <a:pt x="939" y="755"/>
                    </a:cubicBezTo>
                    <a:cubicBezTo>
                      <a:pt x="932" y="765"/>
                      <a:pt x="920" y="764"/>
                      <a:pt x="916" y="777"/>
                    </a:cubicBezTo>
                    <a:cubicBezTo>
                      <a:pt x="908" y="785"/>
                      <a:pt x="893" y="775"/>
                      <a:pt x="883" y="775"/>
                    </a:cubicBezTo>
                    <a:cubicBezTo>
                      <a:pt x="870" y="765"/>
                      <a:pt x="854" y="762"/>
                      <a:pt x="839" y="758"/>
                    </a:cubicBezTo>
                    <a:cubicBezTo>
                      <a:pt x="824" y="755"/>
                      <a:pt x="810" y="761"/>
                      <a:pt x="795" y="757"/>
                    </a:cubicBezTo>
                    <a:cubicBezTo>
                      <a:pt x="780" y="754"/>
                      <a:pt x="765" y="764"/>
                      <a:pt x="750" y="763"/>
                    </a:cubicBezTo>
                    <a:cubicBezTo>
                      <a:pt x="731" y="768"/>
                      <a:pt x="718" y="783"/>
                      <a:pt x="707" y="797"/>
                    </a:cubicBezTo>
                    <a:cubicBezTo>
                      <a:pt x="693" y="803"/>
                      <a:pt x="677" y="796"/>
                      <a:pt x="662" y="796"/>
                    </a:cubicBezTo>
                    <a:cubicBezTo>
                      <a:pt x="647" y="796"/>
                      <a:pt x="633" y="790"/>
                      <a:pt x="623" y="779"/>
                    </a:cubicBezTo>
                    <a:cubicBezTo>
                      <a:pt x="606" y="778"/>
                      <a:pt x="598" y="758"/>
                      <a:pt x="579" y="759"/>
                    </a:cubicBezTo>
                    <a:cubicBezTo>
                      <a:pt x="564" y="755"/>
                      <a:pt x="553" y="770"/>
                      <a:pt x="539" y="775"/>
                    </a:cubicBezTo>
                    <a:cubicBezTo>
                      <a:pt x="531" y="775"/>
                      <a:pt x="522" y="774"/>
                      <a:pt x="517" y="783"/>
                    </a:cubicBezTo>
                    <a:cubicBezTo>
                      <a:pt x="505" y="788"/>
                      <a:pt x="495" y="777"/>
                      <a:pt x="491" y="767"/>
                    </a:cubicBezTo>
                    <a:cubicBezTo>
                      <a:pt x="486" y="755"/>
                      <a:pt x="476" y="746"/>
                      <a:pt x="467" y="737"/>
                    </a:cubicBezTo>
                    <a:cubicBezTo>
                      <a:pt x="456" y="728"/>
                      <a:pt x="442" y="736"/>
                      <a:pt x="430" y="728"/>
                    </a:cubicBezTo>
                    <a:cubicBezTo>
                      <a:pt x="417" y="724"/>
                      <a:pt x="405" y="711"/>
                      <a:pt x="392" y="718"/>
                    </a:cubicBezTo>
                    <a:cubicBezTo>
                      <a:pt x="381" y="733"/>
                      <a:pt x="361" y="724"/>
                      <a:pt x="347" y="725"/>
                    </a:cubicBezTo>
                    <a:cubicBezTo>
                      <a:pt x="337" y="729"/>
                      <a:pt x="324" y="727"/>
                      <a:pt x="317" y="737"/>
                    </a:cubicBezTo>
                    <a:cubicBezTo>
                      <a:pt x="309" y="745"/>
                      <a:pt x="293" y="747"/>
                      <a:pt x="299" y="763"/>
                    </a:cubicBezTo>
                    <a:cubicBezTo>
                      <a:pt x="299" y="777"/>
                      <a:pt x="292" y="790"/>
                      <a:pt x="283" y="801"/>
                    </a:cubicBezTo>
                    <a:cubicBezTo>
                      <a:pt x="274" y="809"/>
                      <a:pt x="257" y="813"/>
                      <a:pt x="261" y="828"/>
                    </a:cubicBezTo>
                    <a:cubicBezTo>
                      <a:pt x="260" y="843"/>
                      <a:pt x="259" y="857"/>
                      <a:pt x="258" y="870"/>
                    </a:cubicBezTo>
                    <a:cubicBezTo>
                      <a:pt x="263" y="875"/>
                      <a:pt x="260" y="878"/>
                      <a:pt x="256" y="878"/>
                    </a:cubicBezTo>
                    <a:cubicBezTo>
                      <a:pt x="252" y="877"/>
                      <a:pt x="248" y="875"/>
                      <a:pt x="248" y="870"/>
                    </a:cubicBezTo>
                    <a:cubicBezTo>
                      <a:pt x="231" y="866"/>
                      <a:pt x="227" y="848"/>
                      <a:pt x="213" y="838"/>
                    </a:cubicBezTo>
                    <a:cubicBezTo>
                      <a:pt x="207" y="828"/>
                      <a:pt x="196" y="823"/>
                      <a:pt x="187" y="833"/>
                    </a:cubicBezTo>
                    <a:cubicBezTo>
                      <a:pt x="177" y="834"/>
                      <a:pt x="159" y="836"/>
                      <a:pt x="168" y="851"/>
                    </a:cubicBezTo>
                    <a:cubicBezTo>
                      <a:pt x="173" y="854"/>
                      <a:pt x="169" y="862"/>
                      <a:pt x="166" y="862"/>
                    </a:cubicBezTo>
                    <a:cubicBezTo>
                      <a:pt x="166" y="862"/>
                      <a:pt x="165" y="862"/>
                      <a:pt x="165" y="861"/>
                    </a:cubicBezTo>
                    <a:cubicBezTo>
                      <a:pt x="158" y="852"/>
                      <a:pt x="152" y="841"/>
                      <a:pt x="145" y="832"/>
                    </a:cubicBezTo>
                    <a:cubicBezTo>
                      <a:pt x="139" y="820"/>
                      <a:pt x="166" y="828"/>
                      <a:pt x="156" y="815"/>
                    </a:cubicBezTo>
                    <a:cubicBezTo>
                      <a:pt x="155" y="802"/>
                      <a:pt x="137" y="795"/>
                      <a:pt x="129" y="808"/>
                    </a:cubicBezTo>
                    <a:cubicBezTo>
                      <a:pt x="114" y="813"/>
                      <a:pt x="100" y="801"/>
                      <a:pt x="89" y="790"/>
                    </a:cubicBezTo>
                    <a:cubicBezTo>
                      <a:pt x="83" y="781"/>
                      <a:pt x="72" y="780"/>
                      <a:pt x="66" y="772"/>
                    </a:cubicBezTo>
                    <a:cubicBezTo>
                      <a:pt x="67" y="765"/>
                      <a:pt x="64" y="744"/>
                      <a:pt x="76" y="754"/>
                    </a:cubicBezTo>
                    <a:cubicBezTo>
                      <a:pt x="82" y="754"/>
                      <a:pt x="93" y="752"/>
                      <a:pt x="81" y="748"/>
                    </a:cubicBezTo>
                    <a:cubicBezTo>
                      <a:pt x="68" y="747"/>
                      <a:pt x="68" y="729"/>
                      <a:pt x="53" y="729"/>
                    </a:cubicBezTo>
                    <a:cubicBezTo>
                      <a:pt x="49" y="725"/>
                      <a:pt x="37" y="728"/>
                      <a:pt x="39" y="719"/>
                    </a:cubicBezTo>
                    <a:cubicBezTo>
                      <a:pt x="32" y="712"/>
                      <a:pt x="26" y="702"/>
                      <a:pt x="24" y="692"/>
                    </a:cubicBezTo>
                    <a:cubicBezTo>
                      <a:pt x="36" y="676"/>
                      <a:pt x="0" y="669"/>
                      <a:pt x="15" y="652"/>
                    </a:cubicBezTo>
                    <a:cubicBezTo>
                      <a:pt x="16" y="647"/>
                      <a:pt x="15" y="638"/>
                      <a:pt x="17" y="633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218" name="Nicaragua"/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1964827" y="4084006"/>
                <a:ext cx="116498" cy="133762"/>
              </a:xfrm>
              <a:custGeom>
                <a:avLst/>
                <a:gdLst>
                  <a:gd name="T0" fmla="*/ 83213 w 21"/>
                  <a:gd name="T1" fmla="*/ 133762 h 24"/>
                  <a:gd name="T2" fmla="*/ 116498 w 21"/>
                  <a:gd name="T3" fmla="*/ 33441 h 24"/>
                  <a:gd name="T4" fmla="*/ 116498 w 21"/>
                  <a:gd name="T5" fmla="*/ 0 h 24"/>
                  <a:gd name="T6" fmla="*/ 66570 w 21"/>
                  <a:gd name="T7" fmla="*/ 11147 h 24"/>
                  <a:gd name="T8" fmla="*/ 0 w 21"/>
                  <a:gd name="T9" fmla="*/ 72454 h 24"/>
                  <a:gd name="T10" fmla="*/ 0 w 21"/>
                  <a:gd name="T11" fmla="*/ 83601 h 24"/>
                  <a:gd name="T12" fmla="*/ 33285 w 21"/>
                  <a:gd name="T13" fmla="*/ 133762 h 24"/>
                  <a:gd name="T14" fmla="*/ 55475 w 21"/>
                  <a:gd name="T15" fmla="*/ 133762 h 24"/>
                  <a:gd name="T16" fmla="*/ 83213 w 21"/>
                  <a:gd name="T17" fmla="*/ 133762 h 2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1"/>
                  <a:gd name="T28" fmla="*/ 0 h 24"/>
                  <a:gd name="T29" fmla="*/ 21 w 21"/>
                  <a:gd name="T30" fmla="*/ 24 h 2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1" h="24">
                    <a:moveTo>
                      <a:pt x="15" y="24"/>
                    </a:moveTo>
                    <a:lnTo>
                      <a:pt x="21" y="6"/>
                    </a:lnTo>
                    <a:lnTo>
                      <a:pt x="21" y="0"/>
                    </a:lnTo>
                    <a:lnTo>
                      <a:pt x="12" y="2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6" y="24"/>
                    </a:lnTo>
                    <a:lnTo>
                      <a:pt x="10" y="24"/>
                    </a:lnTo>
                    <a:lnTo>
                      <a:pt x="15" y="24"/>
                    </a:lnTo>
                    <a:close/>
                  </a:path>
                </a:pathLst>
              </a:custGeom>
              <a:solidFill>
                <a:srgbClr val="EF7A04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536" name="New Zealand"/>
              <p:cNvGrpSpPr/>
              <p:nvPr/>
            </p:nvGrpSpPr>
            <p:grpSpPr>
              <a:xfrm>
                <a:off x="8155837" y="5689156"/>
                <a:ext cx="477085" cy="401287"/>
                <a:chOff x="8155837" y="5670067"/>
                <a:chExt cx="477085" cy="401287"/>
              </a:xfrm>
              <a:solidFill>
                <a:srgbClr val="EE8B8B"/>
              </a:solidFill>
            </p:grpSpPr>
            <p:sp>
              <p:nvSpPr>
                <p:cNvPr id="785" name="New Zealand"/>
                <p:cNvSpPr>
                  <a:spLocks/>
                </p:cNvSpPr>
                <p:nvPr/>
              </p:nvSpPr>
              <p:spPr bwMode="auto">
                <a:xfrm>
                  <a:off x="8472045" y="5670067"/>
                  <a:ext cx="160877" cy="211791"/>
                </a:xfrm>
                <a:custGeom>
                  <a:avLst/>
                  <a:gdLst/>
                  <a:ahLst/>
                  <a:cxnLst>
                    <a:cxn ang="0">
                      <a:pos x="0" y="27"/>
                    </a:cxn>
                    <a:cxn ang="0">
                      <a:pos x="6" y="31"/>
                    </a:cxn>
                    <a:cxn ang="0">
                      <a:pos x="0" y="38"/>
                    </a:cxn>
                    <a:cxn ang="0">
                      <a:pos x="2" y="38"/>
                    </a:cxn>
                    <a:cxn ang="0">
                      <a:pos x="16" y="27"/>
                    </a:cxn>
                    <a:cxn ang="0">
                      <a:pos x="23" y="22"/>
                    </a:cxn>
                    <a:cxn ang="0">
                      <a:pos x="29" y="18"/>
                    </a:cxn>
                    <a:cxn ang="0">
                      <a:pos x="25" y="18"/>
                    </a:cxn>
                    <a:cxn ang="0">
                      <a:pos x="18" y="20"/>
                    </a:cxn>
                    <a:cxn ang="0">
                      <a:pos x="16" y="18"/>
                    </a:cxn>
                    <a:cxn ang="0">
                      <a:pos x="18" y="11"/>
                    </a:cxn>
                    <a:cxn ang="0">
                      <a:pos x="16" y="11"/>
                    </a:cxn>
                    <a:cxn ang="0">
                      <a:pos x="16" y="13"/>
                    </a:cxn>
                    <a:cxn ang="0">
                      <a:pos x="14" y="13"/>
                    </a:cxn>
                    <a:cxn ang="0">
                      <a:pos x="16" y="4"/>
                    </a:cxn>
                    <a:cxn ang="0">
                      <a:pos x="16" y="2"/>
                    </a:cxn>
                    <a:cxn ang="0">
                      <a:pos x="14" y="2"/>
                    </a:cxn>
                    <a:cxn ang="0">
                      <a:pos x="10" y="0"/>
                    </a:cxn>
                    <a:cxn ang="0">
                      <a:pos x="10" y="13"/>
                    </a:cxn>
                    <a:cxn ang="0">
                      <a:pos x="14" y="13"/>
                    </a:cxn>
                    <a:cxn ang="0">
                      <a:pos x="6" y="22"/>
                    </a:cxn>
                    <a:cxn ang="0">
                      <a:pos x="2" y="25"/>
                    </a:cxn>
                    <a:cxn ang="0">
                      <a:pos x="0" y="27"/>
                    </a:cxn>
                  </a:cxnLst>
                  <a:rect l="0" t="0" r="r" b="b"/>
                  <a:pathLst>
                    <a:path w="29" h="38">
                      <a:moveTo>
                        <a:pt x="0" y="27"/>
                      </a:moveTo>
                      <a:lnTo>
                        <a:pt x="6" y="31"/>
                      </a:lnTo>
                      <a:lnTo>
                        <a:pt x="0" y="38"/>
                      </a:lnTo>
                      <a:lnTo>
                        <a:pt x="2" y="38"/>
                      </a:lnTo>
                      <a:lnTo>
                        <a:pt x="16" y="27"/>
                      </a:lnTo>
                      <a:lnTo>
                        <a:pt x="23" y="22"/>
                      </a:lnTo>
                      <a:lnTo>
                        <a:pt x="29" y="18"/>
                      </a:lnTo>
                      <a:lnTo>
                        <a:pt x="25" y="18"/>
                      </a:lnTo>
                      <a:lnTo>
                        <a:pt x="18" y="20"/>
                      </a:lnTo>
                      <a:lnTo>
                        <a:pt x="16" y="18"/>
                      </a:lnTo>
                      <a:lnTo>
                        <a:pt x="18" y="11"/>
                      </a:lnTo>
                      <a:lnTo>
                        <a:pt x="16" y="11"/>
                      </a:lnTo>
                      <a:lnTo>
                        <a:pt x="16" y="13"/>
                      </a:lnTo>
                      <a:lnTo>
                        <a:pt x="14" y="13"/>
                      </a:lnTo>
                      <a:lnTo>
                        <a:pt x="16" y="4"/>
                      </a:lnTo>
                      <a:lnTo>
                        <a:pt x="16" y="2"/>
                      </a:lnTo>
                      <a:lnTo>
                        <a:pt x="14" y="2"/>
                      </a:lnTo>
                      <a:lnTo>
                        <a:pt x="10" y="0"/>
                      </a:lnTo>
                      <a:lnTo>
                        <a:pt x="10" y="13"/>
                      </a:lnTo>
                      <a:lnTo>
                        <a:pt x="14" y="13"/>
                      </a:lnTo>
                      <a:lnTo>
                        <a:pt x="6" y="22"/>
                      </a:lnTo>
                      <a:lnTo>
                        <a:pt x="2" y="25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86" name="New Zealand"/>
                <p:cNvSpPr>
                  <a:spLocks/>
                </p:cNvSpPr>
                <p:nvPr/>
              </p:nvSpPr>
              <p:spPr bwMode="auto">
                <a:xfrm>
                  <a:off x="8166933" y="5870710"/>
                  <a:ext cx="294018" cy="189497"/>
                </a:xfrm>
                <a:custGeom>
                  <a:avLst/>
                  <a:gdLst/>
                  <a:ahLst/>
                  <a:cxnLst>
                    <a:cxn ang="0">
                      <a:pos x="0" y="29"/>
                    </a:cxn>
                    <a:cxn ang="0">
                      <a:pos x="5" y="29"/>
                    </a:cxn>
                    <a:cxn ang="0">
                      <a:pos x="5" y="34"/>
                    </a:cxn>
                    <a:cxn ang="0">
                      <a:pos x="7" y="34"/>
                    </a:cxn>
                    <a:cxn ang="0">
                      <a:pos x="15" y="29"/>
                    </a:cxn>
                    <a:cxn ang="0">
                      <a:pos x="25" y="20"/>
                    </a:cxn>
                    <a:cxn ang="0">
                      <a:pos x="38" y="18"/>
                    </a:cxn>
                    <a:cxn ang="0">
                      <a:pos x="38" y="11"/>
                    </a:cxn>
                    <a:cxn ang="0">
                      <a:pos x="48" y="7"/>
                    </a:cxn>
                    <a:cxn ang="0">
                      <a:pos x="53" y="2"/>
                    </a:cxn>
                    <a:cxn ang="0">
                      <a:pos x="48" y="2"/>
                    </a:cxn>
                    <a:cxn ang="0">
                      <a:pos x="53" y="0"/>
                    </a:cxn>
                    <a:cxn ang="0">
                      <a:pos x="46" y="2"/>
                    </a:cxn>
                    <a:cxn ang="0">
                      <a:pos x="46" y="0"/>
                    </a:cxn>
                    <a:cxn ang="0">
                      <a:pos x="44" y="0"/>
                    </a:cxn>
                    <a:cxn ang="0">
                      <a:pos x="32" y="11"/>
                    </a:cxn>
                    <a:cxn ang="0">
                      <a:pos x="15" y="18"/>
                    </a:cxn>
                    <a:cxn ang="0">
                      <a:pos x="7" y="25"/>
                    </a:cxn>
                    <a:cxn ang="0">
                      <a:pos x="0" y="29"/>
                    </a:cxn>
                  </a:cxnLst>
                  <a:rect l="0" t="0" r="r" b="b"/>
                  <a:pathLst>
                    <a:path w="53" h="34">
                      <a:moveTo>
                        <a:pt x="0" y="29"/>
                      </a:moveTo>
                      <a:lnTo>
                        <a:pt x="5" y="29"/>
                      </a:lnTo>
                      <a:lnTo>
                        <a:pt x="5" y="34"/>
                      </a:lnTo>
                      <a:lnTo>
                        <a:pt x="7" y="34"/>
                      </a:lnTo>
                      <a:lnTo>
                        <a:pt x="15" y="29"/>
                      </a:lnTo>
                      <a:lnTo>
                        <a:pt x="25" y="20"/>
                      </a:lnTo>
                      <a:lnTo>
                        <a:pt x="38" y="18"/>
                      </a:lnTo>
                      <a:lnTo>
                        <a:pt x="38" y="11"/>
                      </a:lnTo>
                      <a:lnTo>
                        <a:pt x="48" y="7"/>
                      </a:lnTo>
                      <a:lnTo>
                        <a:pt x="53" y="2"/>
                      </a:lnTo>
                      <a:lnTo>
                        <a:pt x="48" y="2"/>
                      </a:lnTo>
                      <a:lnTo>
                        <a:pt x="53" y="0"/>
                      </a:lnTo>
                      <a:lnTo>
                        <a:pt x="46" y="2"/>
                      </a:lnTo>
                      <a:lnTo>
                        <a:pt x="46" y="0"/>
                      </a:lnTo>
                      <a:lnTo>
                        <a:pt x="44" y="0"/>
                      </a:lnTo>
                      <a:lnTo>
                        <a:pt x="32" y="11"/>
                      </a:lnTo>
                      <a:lnTo>
                        <a:pt x="15" y="18"/>
                      </a:lnTo>
                      <a:lnTo>
                        <a:pt x="7" y="25"/>
                      </a:lnTo>
                      <a:lnTo>
                        <a:pt x="0" y="29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87" name="New Zealand"/>
                <p:cNvSpPr>
                  <a:spLocks/>
                </p:cNvSpPr>
                <p:nvPr/>
              </p:nvSpPr>
              <p:spPr bwMode="auto">
                <a:xfrm>
                  <a:off x="8155837" y="6060207"/>
                  <a:ext cx="38833" cy="11147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7" y="2"/>
                    </a:cxn>
                    <a:cxn ang="0">
                      <a:pos x="7" y="0"/>
                    </a:cxn>
                    <a:cxn ang="0">
                      <a:pos x="2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7" h="2">
                      <a:moveTo>
                        <a:pt x="0" y="2"/>
                      </a:move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34220" name="Netherlands"/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361347" y="2852276"/>
                <a:ext cx="94308" cy="89175"/>
              </a:xfrm>
              <a:custGeom>
                <a:avLst/>
                <a:gdLst>
                  <a:gd name="T0" fmla="*/ 0 w 17"/>
                  <a:gd name="T1" fmla="*/ 72455 h 16"/>
                  <a:gd name="T2" fmla="*/ 22190 w 17"/>
                  <a:gd name="T3" fmla="*/ 22294 h 16"/>
                  <a:gd name="T4" fmla="*/ 22190 w 17"/>
                  <a:gd name="T5" fmla="*/ 39014 h 16"/>
                  <a:gd name="T6" fmla="*/ 44380 w 17"/>
                  <a:gd name="T7" fmla="*/ 39014 h 16"/>
                  <a:gd name="T8" fmla="*/ 55475 w 17"/>
                  <a:gd name="T9" fmla="*/ 39014 h 16"/>
                  <a:gd name="T10" fmla="*/ 44380 w 17"/>
                  <a:gd name="T11" fmla="*/ 22294 h 16"/>
                  <a:gd name="T12" fmla="*/ 94308 w 17"/>
                  <a:gd name="T13" fmla="*/ 0 h 16"/>
                  <a:gd name="T14" fmla="*/ 66570 w 17"/>
                  <a:gd name="T15" fmla="*/ 39014 h 16"/>
                  <a:gd name="T16" fmla="*/ 55475 w 17"/>
                  <a:gd name="T17" fmla="*/ 61308 h 16"/>
                  <a:gd name="T18" fmla="*/ 55475 w 17"/>
                  <a:gd name="T19" fmla="*/ 89175 h 16"/>
                  <a:gd name="T20" fmla="*/ 22190 w 17"/>
                  <a:gd name="T21" fmla="*/ 72455 h 16"/>
                  <a:gd name="T22" fmla="*/ 11095 w 17"/>
                  <a:gd name="T23" fmla="*/ 72455 h 16"/>
                  <a:gd name="T24" fmla="*/ 0 w 17"/>
                  <a:gd name="T25" fmla="*/ 72455 h 1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7"/>
                  <a:gd name="T40" fmla="*/ 0 h 16"/>
                  <a:gd name="T41" fmla="*/ 17 w 17"/>
                  <a:gd name="T42" fmla="*/ 16 h 1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7" h="16">
                    <a:moveTo>
                      <a:pt x="0" y="13"/>
                    </a:moveTo>
                    <a:lnTo>
                      <a:pt x="4" y="4"/>
                    </a:lnTo>
                    <a:lnTo>
                      <a:pt x="4" y="7"/>
                    </a:lnTo>
                    <a:lnTo>
                      <a:pt x="8" y="7"/>
                    </a:lnTo>
                    <a:lnTo>
                      <a:pt x="10" y="7"/>
                    </a:lnTo>
                    <a:lnTo>
                      <a:pt x="8" y="4"/>
                    </a:lnTo>
                    <a:lnTo>
                      <a:pt x="17" y="0"/>
                    </a:lnTo>
                    <a:lnTo>
                      <a:pt x="12" y="7"/>
                    </a:lnTo>
                    <a:lnTo>
                      <a:pt x="10" y="11"/>
                    </a:lnTo>
                    <a:lnTo>
                      <a:pt x="10" y="16"/>
                    </a:lnTo>
                    <a:lnTo>
                      <a:pt x="4" y="13"/>
                    </a:lnTo>
                    <a:lnTo>
                      <a:pt x="2" y="13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38" name="Nepal"/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6269806" y="3604966"/>
                <a:ext cx="222595" cy="127670"/>
              </a:xfrm>
              <a:custGeom>
                <a:avLst/>
                <a:gdLst/>
                <a:ahLst/>
                <a:cxnLst>
                  <a:cxn ang="0">
                    <a:pos x="38" y="18"/>
                  </a:cxn>
                  <a:cxn ang="0">
                    <a:pos x="38" y="14"/>
                  </a:cxn>
                  <a:cxn ang="0">
                    <a:pos x="29" y="14"/>
                  </a:cxn>
                  <a:cxn ang="0">
                    <a:pos x="17" y="2"/>
                  </a:cxn>
                  <a:cxn ang="0">
                    <a:pos x="15" y="7"/>
                  </a:cxn>
                  <a:cxn ang="0">
                    <a:pos x="9" y="0"/>
                  </a:cxn>
                  <a:cxn ang="0">
                    <a:pos x="2" y="0"/>
                  </a:cxn>
                  <a:cxn ang="0">
                    <a:pos x="0" y="7"/>
                  </a:cxn>
                  <a:cxn ang="0">
                    <a:pos x="15" y="16"/>
                  </a:cxn>
                  <a:cxn ang="0">
                    <a:pos x="21" y="16"/>
                  </a:cxn>
                  <a:cxn ang="0">
                    <a:pos x="25" y="18"/>
                  </a:cxn>
                  <a:cxn ang="0">
                    <a:pos x="34" y="23"/>
                  </a:cxn>
                  <a:cxn ang="0">
                    <a:pos x="40" y="23"/>
                  </a:cxn>
                  <a:cxn ang="0">
                    <a:pos x="38" y="20"/>
                  </a:cxn>
                  <a:cxn ang="0">
                    <a:pos x="38" y="18"/>
                  </a:cxn>
                </a:cxnLst>
                <a:rect l="0" t="0" r="r" b="b"/>
                <a:pathLst>
                  <a:path w="40" h="23">
                    <a:moveTo>
                      <a:pt x="38" y="18"/>
                    </a:moveTo>
                    <a:lnTo>
                      <a:pt x="38" y="14"/>
                    </a:lnTo>
                    <a:lnTo>
                      <a:pt x="29" y="14"/>
                    </a:lnTo>
                    <a:lnTo>
                      <a:pt x="17" y="2"/>
                    </a:lnTo>
                    <a:lnTo>
                      <a:pt x="15" y="7"/>
                    </a:lnTo>
                    <a:lnTo>
                      <a:pt x="9" y="0"/>
                    </a:lnTo>
                    <a:lnTo>
                      <a:pt x="2" y="0"/>
                    </a:lnTo>
                    <a:lnTo>
                      <a:pt x="0" y="7"/>
                    </a:lnTo>
                    <a:lnTo>
                      <a:pt x="15" y="16"/>
                    </a:lnTo>
                    <a:lnTo>
                      <a:pt x="21" y="16"/>
                    </a:lnTo>
                    <a:lnTo>
                      <a:pt x="25" y="18"/>
                    </a:lnTo>
                    <a:lnTo>
                      <a:pt x="34" y="23"/>
                    </a:lnTo>
                    <a:lnTo>
                      <a:pt x="40" y="23"/>
                    </a:lnTo>
                    <a:lnTo>
                      <a:pt x="38" y="20"/>
                    </a:lnTo>
                    <a:lnTo>
                      <a:pt x="38" y="18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39" name="Namibia"/>
              <p:cNvSpPr>
                <a:spLocks/>
              </p:cNvSpPr>
              <p:nvPr/>
            </p:nvSpPr>
            <p:spPr bwMode="auto">
              <a:xfrm>
                <a:off x="4537356" y="5124932"/>
                <a:ext cx="360639" cy="386461"/>
              </a:xfrm>
              <a:custGeom>
                <a:avLst/>
                <a:gdLst>
                  <a:gd name="T0" fmla="*/ 12 w 992"/>
                  <a:gd name="T1" fmla="*/ 25 h 898"/>
                  <a:gd name="T2" fmla="*/ 50 w 992"/>
                  <a:gd name="T3" fmla="*/ 21 h 898"/>
                  <a:gd name="T4" fmla="*/ 139 w 992"/>
                  <a:gd name="T5" fmla="*/ 12 h 898"/>
                  <a:gd name="T6" fmla="*/ 214 w 992"/>
                  <a:gd name="T7" fmla="*/ 33 h 898"/>
                  <a:gd name="T8" fmla="*/ 501 w 992"/>
                  <a:gd name="T9" fmla="*/ 38 h 898"/>
                  <a:gd name="T10" fmla="*/ 574 w 992"/>
                  <a:gd name="T11" fmla="*/ 70 h 898"/>
                  <a:gd name="T12" fmla="*/ 666 w 992"/>
                  <a:gd name="T13" fmla="*/ 81 h 898"/>
                  <a:gd name="T14" fmla="*/ 864 w 992"/>
                  <a:gd name="T15" fmla="*/ 55 h 898"/>
                  <a:gd name="T16" fmla="*/ 905 w 992"/>
                  <a:gd name="T17" fmla="*/ 47 h 898"/>
                  <a:gd name="T18" fmla="*/ 986 w 992"/>
                  <a:gd name="T19" fmla="*/ 63 h 898"/>
                  <a:gd name="T20" fmla="*/ 985 w 992"/>
                  <a:gd name="T21" fmla="*/ 69 h 898"/>
                  <a:gd name="T22" fmla="*/ 933 w 992"/>
                  <a:gd name="T23" fmla="*/ 81 h 898"/>
                  <a:gd name="T24" fmla="*/ 868 w 992"/>
                  <a:gd name="T25" fmla="*/ 110 h 898"/>
                  <a:gd name="T26" fmla="*/ 799 w 992"/>
                  <a:gd name="T27" fmla="*/ 89 h 898"/>
                  <a:gd name="T28" fmla="*/ 682 w 992"/>
                  <a:gd name="T29" fmla="*/ 119 h 898"/>
                  <a:gd name="T30" fmla="*/ 680 w 992"/>
                  <a:gd name="T31" fmla="*/ 230 h 898"/>
                  <a:gd name="T32" fmla="*/ 604 w 992"/>
                  <a:gd name="T33" fmla="*/ 378 h 898"/>
                  <a:gd name="T34" fmla="*/ 600 w 992"/>
                  <a:gd name="T35" fmla="*/ 582 h 898"/>
                  <a:gd name="T36" fmla="*/ 598 w 992"/>
                  <a:gd name="T37" fmla="*/ 600 h 898"/>
                  <a:gd name="T38" fmla="*/ 590 w 992"/>
                  <a:gd name="T39" fmla="*/ 851 h 898"/>
                  <a:gd name="T40" fmla="*/ 539 w 992"/>
                  <a:gd name="T41" fmla="*/ 887 h 898"/>
                  <a:gd name="T42" fmla="*/ 463 w 992"/>
                  <a:gd name="T43" fmla="*/ 886 h 898"/>
                  <a:gd name="T44" fmla="*/ 412 w 992"/>
                  <a:gd name="T45" fmla="*/ 863 h 898"/>
                  <a:gd name="T46" fmla="*/ 385 w 992"/>
                  <a:gd name="T47" fmla="*/ 823 h 898"/>
                  <a:gd name="T48" fmla="*/ 351 w 992"/>
                  <a:gd name="T49" fmla="*/ 861 h 898"/>
                  <a:gd name="T50" fmla="*/ 343 w 992"/>
                  <a:gd name="T51" fmla="*/ 867 h 898"/>
                  <a:gd name="T52" fmla="*/ 316 w 992"/>
                  <a:gd name="T53" fmla="*/ 846 h 898"/>
                  <a:gd name="T54" fmla="*/ 282 w 992"/>
                  <a:gd name="T55" fmla="*/ 805 h 898"/>
                  <a:gd name="T56" fmla="*/ 255 w 992"/>
                  <a:gd name="T57" fmla="*/ 748 h 898"/>
                  <a:gd name="T58" fmla="*/ 241 w 992"/>
                  <a:gd name="T59" fmla="*/ 697 h 898"/>
                  <a:gd name="T60" fmla="*/ 236 w 992"/>
                  <a:gd name="T61" fmla="*/ 670 h 898"/>
                  <a:gd name="T62" fmla="*/ 230 w 992"/>
                  <a:gd name="T63" fmla="*/ 602 h 898"/>
                  <a:gd name="T64" fmla="*/ 205 w 992"/>
                  <a:gd name="T65" fmla="*/ 546 h 898"/>
                  <a:gd name="T66" fmla="*/ 202 w 992"/>
                  <a:gd name="T67" fmla="*/ 466 h 898"/>
                  <a:gd name="T68" fmla="*/ 191 w 992"/>
                  <a:gd name="T69" fmla="*/ 397 h 898"/>
                  <a:gd name="T70" fmla="*/ 159 w 992"/>
                  <a:gd name="T71" fmla="*/ 346 h 898"/>
                  <a:gd name="T72" fmla="*/ 119 w 992"/>
                  <a:gd name="T73" fmla="*/ 279 h 898"/>
                  <a:gd name="T74" fmla="*/ 102 w 992"/>
                  <a:gd name="T75" fmla="*/ 244 h 898"/>
                  <a:gd name="T76" fmla="*/ 77 w 992"/>
                  <a:gd name="T77" fmla="*/ 196 h 898"/>
                  <a:gd name="T78" fmla="*/ 58 w 992"/>
                  <a:gd name="T79" fmla="*/ 164 h 898"/>
                  <a:gd name="T80" fmla="*/ 35 w 992"/>
                  <a:gd name="T81" fmla="*/ 133 h 898"/>
                  <a:gd name="T82" fmla="*/ 8 w 992"/>
                  <a:gd name="T83" fmla="*/ 96 h 898"/>
                  <a:gd name="T84" fmla="*/ 1 w 992"/>
                  <a:gd name="T85" fmla="*/ 51 h 898"/>
                  <a:gd name="T86" fmla="*/ 2 w 992"/>
                  <a:gd name="T87" fmla="*/ 24 h 8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92" h="898">
                    <a:moveTo>
                      <a:pt x="2" y="24"/>
                    </a:moveTo>
                    <a:cubicBezTo>
                      <a:pt x="12" y="25"/>
                      <a:pt x="12" y="25"/>
                      <a:pt x="12" y="25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25" y="15"/>
                      <a:pt x="34" y="15"/>
                      <a:pt x="50" y="21"/>
                    </a:cubicBezTo>
                    <a:cubicBezTo>
                      <a:pt x="67" y="26"/>
                      <a:pt x="82" y="14"/>
                      <a:pt x="98" y="5"/>
                    </a:cubicBezTo>
                    <a:cubicBezTo>
                      <a:pt x="111" y="1"/>
                      <a:pt x="128" y="0"/>
                      <a:pt x="139" y="12"/>
                    </a:cubicBezTo>
                    <a:cubicBezTo>
                      <a:pt x="147" y="24"/>
                      <a:pt x="163" y="27"/>
                      <a:pt x="174" y="36"/>
                    </a:cubicBezTo>
                    <a:cubicBezTo>
                      <a:pt x="188" y="36"/>
                      <a:pt x="200" y="31"/>
                      <a:pt x="214" y="33"/>
                    </a:cubicBezTo>
                    <a:cubicBezTo>
                      <a:pt x="298" y="33"/>
                      <a:pt x="382" y="34"/>
                      <a:pt x="467" y="34"/>
                    </a:cubicBezTo>
                    <a:cubicBezTo>
                      <a:pt x="478" y="35"/>
                      <a:pt x="492" y="29"/>
                      <a:pt x="501" y="38"/>
                    </a:cubicBezTo>
                    <a:cubicBezTo>
                      <a:pt x="509" y="49"/>
                      <a:pt x="518" y="61"/>
                      <a:pt x="532" y="65"/>
                    </a:cubicBezTo>
                    <a:cubicBezTo>
                      <a:pt x="546" y="67"/>
                      <a:pt x="560" y="65"/>
                      <a:pt x="574" y="70"/>
                    </a:cubicBezTo>
                    <a:cubicBezTo>
                      <a:pt x="591" y="68"/>
                      <a:pt x="608" y="72"/>
                      <a:pt x="625" y="72"/>
                    </a:cubicBezTo>
                    <a:cubicBezTo>
                      <a:pt x="640" y="66"/>
                      <a:pt x="651" y="82"/>
                      <a:pt x="666" y="81"/>
                    </a:cubicBezTo>
                    <a:cubicBezTo>
                      <a:pt x="680" y="83"/>
                      <a:pt x="698" y="68"/>
                      <a:pt x="711" y="82"/>
                    </a:cubicBezTo>
                    <a:cubicBezTo>
                      <a:pt x="762" y="73"/>
                      <a:pt x="813" y="64"/>
                      <a:pt x="864" y="55"/>
                    </a:cubicBezTo>
                    <a:cubicBezTo>
                      <a:pt x="864" y="53"/>
                      <a:pt x="864" y="53"/>
                      <a:pt x="864" y="53"/>
                    </a:cubicBezTo>
                    <a:cubicBezTo>
                      <a:pt x="878" y="55"/>
                      <a:pt x="892" y="48"/>
                      <a:pt x="905" y="47"/>
                    </a:cubicBezTo>
                    <a:cubicBezTo>
                      <a:pt x="921" y="41"/>
                      <a:pt x="937" y="48"/>
                      <a:pt x="951" y="46"/>
                    </a:cubicBezTo>
                    <a:cubicBezTo>
                      <a:pt x="965" y="46"/>
                      <a:pt x="978" y="52"/>
                      <a:pt x="986" y="63"/>
                    </a:cubicBezTo>
                    <a:cubicBezTo>
                      <a:pt x="990" y="68"/>
                      <a:pt x="992" y="69"/>
                      <a:pt x="992" y="69"/>
                    </a:cubicBezTo>
                    <a:cubicBezTo>
                      <a:pt x="992" y="69"/>
                      <a:pt x="988" y="67"/>
                      <a:pt x="985" y="69"/>
                    </a:cubicBezTo>
                    <a:cubicBezTo>
                      <a:pt x="974" y="72"/>
                      <a:pt x="961" y="68"/>
                      <a:pt x="952" y="78"/>
                    </a:cubicBezTo>
                    <a:cubicBezTo>
                      <a:pt x="947" y="85"/>
                      <a:pt x="936" y="93"/>
                      <a:pt x="933" y="81"/>
                    </a:cubicBezTo>
                    <a:cubicBezTo>
                      <a:pt x="919" y="81"/>
                      <a:pt x="908" y="92"/>
                      <a:pt x="895" y="99"/>
                    </a:cubicBezTo>
                    <a:cubicBezTo>
                      <a:pt x="889" y="105"/>
                      <a:pt x="871" y="129"/>
                      <a:pt x="868" y="110"/>
                    </a:cubicBezTo>
                    <a:cubicBezTo>
                      <a:pt x="867" y="98"/>
                      <a:pt x="853" y="95"/>
                      <a:pt x="851" y="84"/>
                    </a:cubicBezTo>
                    <a:cubicBezTo>
                      <a:pt x="834" y="79"/>
                      <a:pt x="816" y="88"/>
                      <a:pt x="799" y="89"/>
                    </a:cubicBezTo>
                    <a:cubicBezTo>
                      <a:pt x="769" y="94"/>
                      <a:pt x="740" y="101"/>
                      <a:pt x="710" y="104"/>
                    </a:cubicBezTo>
                    <a:cubicBezTo>
                      <a:pt x="698" y="105"/>
                      <a:pt x="676" y="99"/>
                      <a:pt x="682" y="119"/>
                    </a:cubicBezTo>
                    <a:cubicBezTo>
                      <a:pt x="681" y="156"/>
                      <a:pt x="680" y="193"/>
                      <a:pt x="679" y="230"/>
                    </a:cubicBezTo>
                    <a:cubicBezTo>
                      <a:pt x="680" y="230"/>
                      <a:pt x="680" y="230"/>
                      <a:pt x="680" y="230"/>
                    </a:cubicBezTo>
                    <a:cubicBezTo>
                      <a:pt x="678" y="280"/>
                      <a:pt x="677" y="329"/>
                      <a:pt x="675" y="379"/>
                    </a:cubicBezTo>
                    <a:cubicBezTo>
                      <a:pt x="652" y="379"/>
                      <a:pt x="628" y="378"/>
                      <a:pt x="604" y="378"/>
                    </a:cubicBezTo>
                    <a:cubicBezTo>
                      <a:pt x="602" y="435"/>
                      <a:pt x="601" y="493"/>
                      <a:pt x="599" y="550"/>
                    </a:cubicBezTo>
                    <a:cubicBezTo>
                      <a:pt x="599" y="560"/>
                      <a:pt x="597" y="573"/>
                      <a:pt x="600" y="582"/>
                    </a:cubicBezTo>
                    <a:cubicBezTo>
                      <a:pt x="598" y="583"/>
                      <a:pt x="598" y="583"/>
                      <a:pt x="598" y="583"/>
                    </a:cubicBezTo>
                    <a:cubicBezTo>
                      <a:pt x="598" y="589"/>
                      <a:pt x="598" y="595"/>
                      <a:pt x="598" y="600"/>
                    </a:cubicBezTo>
                    <a:cubicBezTo>
                      <a:pt x="598" y="600"/>
                      <a:pt x="598" y="600"/>
                      <a:pt x="598" y="600"/>
                    </a:cubicBezTo>
                    <a:cubicBezTo>
                      <a:pt x="595" y="684"/>
                      <a:pt x="593" y="768"/>
                      <a:pt x="590" y="851"/>
                    </a:cubicBezTo>
                    <a:cubicBezTo>
                      <a:pt x="576" y="858"/>
                      <a:pt x="557" y="857"/>
                      <a:pt x="551" y="873"/>
                    </a:cubicBezTo>
                    <a:cubicBezTo>
                      <a:pt x="542" y="873"/>
                      <a:pt x="534" y="878"/>
                      <a:pt x="539" y="887"/>
                    </a:cubicBezTo>
                    <a:cubicBezTo>
                      <a:pt x="525" y="898"/>
                      <a:pt x="514" y="878"/>
                      <a:pt x="498" y="882"/>
                    </a:cubicBezTo>
                    <a:cubicBezTo>
                      <a:pt x="487" y="886"/>
                      <a:pt x="475" y="886"/>
                      <a:pt x="463" y="886"/>
                    </a:cubicBezTo>
                    <a:cubicBezTo>
                      <a:pt x="451" y="881"/>
                      <a:pt x="440" y="873"/>
                      <a:pt x="427" y="876"/>
                    </a:cubicBezTo>
                    <a:cubicBezTo>
                      <a:pt x="425" y="866"/>
                      <a:pt x="407" y="877"/>
                      <a:pt x="412" y="863"/>
                    </a:cubicBezTo>
                    <a:cubicBezTo>
                      <a:pt x="401" y="855"/>
                      <a:pt x="419" y="845"/>
                      <a:pt x="407" y="837"/>
                    </a:cubicBezTo>
                    <a:cubicBezTo>
                      <a:pt x="394" y="842"/>
                      <a:pt x="400" y="818"/>
                      <a:pt x="385" y="823"/>
                    </a:cubicBezTo>
                    <a:cubicBezTo>
                      <a:pt x="376" y="825"/>
                      <a:pt x="372" y="837"/>
                      <a:pt x="370" y="844"/>
                    </a:cubicBezTo>
                    <a:cubicBezTo>
                      <a:pt x="373" y="856"/>
                      <a:pt x="357" y="853"/>
                      <a:pt x="351" y="861"/>
                    </a:cubicBezTo>
                    <a:cubicBezTo>
                      <a:pt x="343" y="866"/>
                      <a:pt x="343" y="866"/>
                      <a:pt x="343" y="866"/>
                    </a:cubicBezTo>
                    <a:cubicBezTo>
                      <a:pt x="343" y="867"/>
                      <a:pt x="343" y="867"/>
                      <a:pt x="343" y="867"/>
                    </a:cubicBezTo>
                    <a:cubicBezTo>
                      <a:pt x="341" y="866"/>
                      <a:pt x="339" y="866"/>
                      <a:pt x="337" y="867"/>
                    </a:cubicBezTo>
                    <a:cubicBezTo>
                      <a:pt x="329" y="860"/>
                      <a:pt x="323" y="852"/>
                      <a:pt x="316" y="846"/>
                    </a:cubicBezTo>
                    <a:cubicBezTo>
                      <a:pt x="310" y="842"/>
                      <a:pt x="304" y="838"/>
                      <a:pt x="299" y="833"/>
                    </a:cubicBezTo>
                    <a:cubicBezTo>
                      <a:pt x="291" y="825"/>
                      <a:pt x="288" y="814"/>
                      <a:pt x="282" y="805"/>
                    </a:cubicBezTo>
                    <a:cubicBezTo>
                      <a:pt x="275" y="795"/>
                      <a:pt x="268" y="786"/>
                      <a:pt x="260" y="777"/>
                    </a:cubicBezTo>
                    <a:cubicBezTo>
                      <a:pt x="257" y="767"/>
                      <a:pt x="257" y="757"/>
                      <a:pt x="255" y="748"/>
                    </a:cubicBezTo>
                    <a:cubicBezTo>
                      <a:pt x="251" y="739"/>
                      <a:pt x="250" y="731"/>
                      <a:pt x="249" y="722"/>
                    </a:cubicBezTo>
                    <a:cubicBezTo>
                      <a:pt x="249" y="713"/>
                      <a:pt x="245" y="705"/>
                      <a:pt x="241" y="697"/>
                    </a:cubicBezTo>
                    <a:cubicBezTo>
                      <a:pt x="240" y="693"/>
                      <a:pt x="242" y="689"/>
                      <a:pt x="242" y="685"/>
                    </a:cubicBezTo>
                    <a:cubicBezTo>
                      <a:pt x="241" y="680"/>
                      <a:pt x="238" y="674"/>
                      <a:pt x="236" y="670"/>
                    </a:cubicBezTo>
                    <a:cubicBezTo>
                      <a:pt x="230" y="659"/>
                      <a:pt x="230" y="647"/>
                      <a:pt x="230" y="635"/>
                    </a:cubicBezTo>
                    <a:cubicBezTo>
                      <a:pt x="228" y="624"/>
                      <a:pt x="233" y="613"/>
                      <a:pt x="230" y="602"/>
                    </a:cubicBezTo>
                    <a:cubicBezTo>
                      <a:pt x="227" y="590"/>
                      <a:pt x="218" y="580"/>
                      <a:pt x="214" y="568"/>
                    </a:cubicBezTo>
                    <a:cubicBezTo>
                      <a:pt x="213" y="560"/>
                      <a:pt x="207" y="553"/>
                      <a:pt x="205" y="546"/>
                    </a:cubicBezTo>
                    <a:cubicBezTo>
                      <a:pt x="202" y="536"/>
                      <a:pt x="204" y="526"/>
                      <a:pt x="204" y="516"/>
                    </a:cubicBezTo>
                    <a:cubicBezTo>
                      <a:pt x="203" y="499"/>
                      <a:pt x="204" y="483"/>
                      <a:pt x="202" y="466"/>
                    </a:cubicBezTo>
                    <a:cubicBezTo>
                      <a:pt x="204" y="454"/>
                      <a:pt x="206" y="441"/>
                      <a:pt x="203" y="429"/>
                    </a:cubicBezTo>
                    <a:cubicBezTo>
                      <a:pt x="202" y="417"/>
                      <a:pt x="196" y="407"/>
                      <a:pt x="191" y="397"/>
                    </a:cubicBezTo>
                    <a:cubicBezTo>
                      <a:pt x="183" y="386"/>
                      <a:pt x="174" y="376"/>
                      <a:pt x="165" y="365"/>
                    </a:cubicBezTo>
                    <a:cubicBezTo>
                      <a:pt x="162" y="359"/>
                      <a:pt x="158" y="353"/>
                      <a:pt x="159" y="346"/>
                    </a:cubicBezTo>
                    <a:cubicBezTo>
                      <a:pt x="150" y="336"/>
                      <a:pt x="142" y="326"/>
                      <a:pt x="137" y="314"/>
                    </a:cubicBezTo>
                    <a:cubicBezTo>
                      <a:pt x="130" y="303"/>
                      <a:pt x="123" y="292"/>
                      <a:pt x="119" y="279"/>
                    </a:cubicBezTo>
                    <a:cubicBezTo>
                      <a:pt x="119" y="273"/>
                      <a:pt x="113" y="269"/>
                      <a:pt x="112" y="262"/>
                    </a:cubicBezTo>
                    <a:cubicBezTo>
                      <a:pt x="112" y="255"/>
                      <a:pt x="106" y="249"/>
                      <a:pt x="102" y="244"/>
                    </a:cubicBezTo>
                    <a:cubicBezTo>
                      <a:pt x="98" y="235"/>
                      <a:pt x="92" y="228"/>
                      <a:pt x="88" y="220"/>
                    </a:cubicBezTo>
                    <a:cubicBezTo>
                      <a:pt x="86" y="211"/>
                      <a:pt x="79" y="204"/>
                      <a:pt x="77" y="196"/>
                    </a:cubicBezTo>
                    <a:cubicBezTo>
                      <a:pt x="77" y="189"/>
                      <a:pt x="70" y="186"/>
                      <a:pt x="67" y="180"/>
                    </a:cubicBezTo>
                    <a:cubicBezTo>
                      <a:pt x="62" y="176"/>
                      <a:pt x="64" y="168"/>
                      <a:pt x="58" y="164"/>
                    </a:cubicBezTo>
                    <a:cubicBezTo>
                      <a:pt x="53" y="160"/>
                      <a:pt x="50" y="154"/>
                      <a:pt x="48" y="148"/>
                    </a:cubicBezTo>
                    <a:cubicBezTo>
                      <a:pt x="44" y="143"/>
                      <a:pt x="41" y="137"/>
                      <a:pt x="35" y="133"/>
                    </a:cubicBezTo>
                    <a:cubicBezTo>
                      <a:pt x="32" y="130"/>
                      <a:pt x="28" y="129"/>
                      <a:pt x="26" y="125"/>
                    </a:cubicBezTo>
                    <a:cubicBezTo>
                      <a:pt x="18" y="117"/>
                      <a:pt x="14" y="106"/>
                      <a:pt x="8" y="96"/>
                    </a:cubicBezTo>
                    <a:cubicBezTo>
                      <a:pt x="4" y="91"/>
                      <a:pt x="6" y="85"/>
                      <a:pt x="5" y="79"/>
                    </a:cubicBezTo>
                    <a:cubicBezTo>
                      <a:pt x="1" y="70"/>
                      <a:pt x="0" y="60"/>
                      <a:pt x="1" y="51"/>
                    </a:cubicBezTo>
                    <a:cubicBezTo>
                      <a:pt x="0" y="42"/>
                      <a:pt x="2" y="33"/>
                      <a:pt x="1" y="24"/>
                    </a:cubicBezTo>
                    <a:lnTo>
                      <a:pt x="2" y="24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40" name="Myanmar"/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6618367" y="3682604"/>
                <a:ext cx="232948" cy="584867"/>
              </a:xfrm>
              <a:custGeom>
                <a:avLst/>
                <a:gdLst/>
                <a:ahLst/>
                <a:cxnLst>
                  <a:cxn ang="0">
                    <a:pos x="39" y="90"/>
                  </a:cxn>
                  <a:cxn ang="0">
                    <a:pos x="37" y="78"/>
                  </a:cxn>
                  <a:cxn ang="0">
                    <a:pos x="31" y="74"/>
                  </a:cxn>
                  <a:cxn ang="0">
                    <a:pos x="33" y="65"/>
                  </a:cxn>
                  <a:cxn ang="0">
                    <a:pos x="27" y="54"/>
                  </a:cxn>
                  <a:cxn ang="0">
                    <a:pos x="27" y="47"/>
                  </a:cxn>
                  <a:cxn ang="0">
                    <a:pos x="37" y="42"/>
                  </a:cxn>
                  <a:cxn ang="0">
                    <a:pos x="42" y="36"/>
                  </a:cxn>
                  <a:cxn ang="0">
                    <a:pos x="37" y="36"/>
                  </a:cxn>
                  <a:cxn ang="0">
                    <a:pos x="31" y="31"/>
                  </a:cxn>
                  <a:cxn ang="0">
                    <a:pos x="31" y="27"/>
                  </a:cxn>
                  <a:cxn ang="0">
                    <a:pos x="27" y="27"/>
                  </a:cxn>
                  <a:cxn ang="0">
                    <a:pos x="27" y="20"/>
                  </a:cxn>
                  <a:cxn ang="0">
                    <a:pos x="23" y="22"/>
                  </a:cxn>
                  <a:cxn ang="0">
                    <a:pos x="25" y="4"/>
                  </a:cxn>
                  <a:cxn ang="0">
                    <a:pos x="23" y="0"/>
                  </a:cxn>
                  <a:cxn ang="0">
                    <a:pos x="17" y="0"/>
                  </a:cxn>
                  <a:cxn ang="0">
                    <a:pos x="17" y="2"/>
                  </a:cxn>
                  <a:cxn ang="0">
                    <a:pos x="14" y="2"/>
                  </a:cxn>
                  <a:cxn ang="0">
                    <a:pos x="8" y="9"/>
                  </a:cxn>
                  <a:cxn ang="0">
                    <a:pos x="6" y="22"/>
                  </a:cxn>
                  <a:cxn ang="0">
                    <a:pos x="2" y="22"/>
                  </a:cxn>
                  <a:cxn ang="0">
                    <a:pos x="2" y="31"/>
                  </a:cxn>
                  <a:cxn ang="0">
                    <a:pos x="0" y="31"/>
                  </a:cxn>
                  <a:cxn ang="0">
                    <a:pos x="0" y="38"/>
                  </a:cxn>
                  <a:cxn ang="0">
                    <a:pos x="6" y="45"/>
                  </a:cxn>
                  <a:cxn ang="0">
                    <a:pos x="8" y="51"/>
                  </a:cxn>
                  <a:cxn ang="0">
                    <a:pos x="10" y="51"/>
                  </a:cxn>
                  <a:cxn ang="0">
                    <a:pos x="14" y="60"/>
                  </a:cxn>
                  <a:cxn ang="0">
                    <a:pos x="10" y="65"/>
                  </a:cxn>
                  <a:cxn ang="0">
                    <a:pos x="19" y="69"/>
                  </a:cxn>
                  <a:cxn ang="0">
                    <a:pos x="25" y="63"/>
                  </a:cxn>
                  <a:cxn ang="0">
                    <a:pos x="27" y="65"/>
                  </a:cxn>
                  <a:cxn ang="0">
                    <a:pos x="37" y="87"/>
                  </a:cxn>
                  <a:cxn ang="0">
                    <a:pos x="33" y="90"/>
                  </a:cxn>
                  <a:cxn ang="0">
                    <a:pos x="37" y="96"/>
                  </a:cxn>
                  <a:cxn ang="0">
                    <a:pos x="33" y="105"/>
                  </a:cxn>
                  <a:cxn ang="0">
                    <a:pos x="35" y="99"/>
                  </a:cxn>
                  <a:cxn ang="0">
                    <a:pos x="39" y="90"/>
                  </a:cxn>
                </a:cxnLst>
                <a:rect l="0" t="0" r="r" b="b"/>
                <a:pathLst>
                  <a:path w="42" h="105">
                    <a:moveTo>
                      <a:pt x="39" y="90"/>
                    </a:moveTo>
                    <a:lnTo>
                      <a:pt x="37" y="78"/>
                    </a:lnTo>
                    <a:lnTo>
                      <a:pt x="31" y="74"/>
                    </a:lnTo>
                    <a:lnTo>
                      <a:pt x="33" y="65"/>
                    </a:lnTo>
                    <a:lnTo>
                      <a:pt x="27" y="54"/>
                    </a:lnTo>
                    <a:lnTo>
                      <a:pt x="27" y="47"/>
                    </a:lnTo>
                    <a:lnTo>
                      <a:pt x="37" y="42"/>
                    </a:lnTo>
                    <a:lnTo>
                      <a:pt x="42" y="36"/>
                    </a:lnTo>
                    <a:lnTo>
                      <a:pt x="37" y="36"/>
                    </a:lnTo>
                    <a:lnTo>
                      <a:pt x="31" y="31"/>
                    </a:lnTo>
                    <a:lnTo>
                      <a:pt x="31" y="27"/>
                    </a:lnTo>
                    <a:lnTo>
                      <a:pt x="27" y="27"/>
                    </a:lnTo>
                    <a:lnTo>
                      <a:pt x="27" y="20"/>
                    </a:lnTo>
                    <a:lnTo>
                      <a:pt x="23" y="22"/>
                    </a:lnTo>
                    <a:lnTo>
                      <a:pt x="25" y="4"/>
                    </a:lnTo>
                    <a:lnTo>
                      <a:pt x="23" y="0"/>
                    </a:lnTo>
                    <a:lnTo>
                      <a:pt x="17" y="0"/>
                    </a:lnTo>
                    <a:lnTo>
                      <a:pt x="17" y="2"/>
                    </a:lnTo>
                    <a:lnTo>
                      <a:pt x="14" y="2"/>
                    </a:lnTo>
                    <a:lnTo>
                      <a:pt x="8" y="9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31"/>
                    </a:lnTo>
                    <a:lnTo>
                      <a:pt x="0" y="31"/>
                    </a:lnTo>
                    <a:lnTo>
                      <a:pt x="0" y="38"/>
                    </a:lnTo>
                    <a:lnTo>
                      <a:pt x="6" y="45"/>
                    </a:lnTo>
                    <a:lnTo>
                      <a:pt x="8" y="51"/>
                    </a:lnTo>
                    <a:lnTo>
                      <a:pt x="10" y="51"/>
                    </a:lnTo>
                    <a:lnTo>
                      <a:pt x="14" y="60"/>
                    </a:lnTo>
                    <a:lnTo>
                      <a:pt x="10" y="65"/>
                    </a:lnTo>
                    <a:lnTo>
                      <a:pt x="19" y="69"/>
                    </a:lnTo>
                    <a:lnTo>
                      <a:pt x="25" y="63"/>
                    </a:lnTo>
                    <a:lnTo>
                      <a:pt x="27" y="65"/>
                    </a:lnTo>
                    <a:lnTo>
                      <a:pt x="37" y="87"/>
                    </a:lnTo>
                    <a:lnTo>
                      <a:pt x="33" y="90"/>
                    </a:lnTo>
                    <a:lnTo>
                      <a:pt x="37" y="96"/>
                    </a:lnTo>
                    <a:lnTo>
                      <a:pt x="33" y="105"/>
                    </a:lnTo>
                    <a:lnTo>
                      <a:pt x="35" y="99"/>
                    </a:lnTo>
                    <a:lnTo>
                      <a:pt x="39" y="9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224" name="Mozambique"/>
              <p:cNvSpPr>
                <a:spLocks noEditPoints="1"/>
              </p:cNvSpPr>
              <p:nvPr/>
            </p:nvSpPr>
            <p:spPr bwMode="auto">
              <a:xfrm>
                <a:off x="5030353" y="4921797"/>
                <a:ext cx="289047" cy="530748"/>
              </a:xfrm>
              <a:custGeom>
                <a:avLst/>
                <a:gdLst>
                  <a:gd name="T0" fmla="*/ 44945170 w 795"/>
                  <a:gd name="T1" fmla="*/ 21040057 h 1230"/>
                  <a:gd name="T2" fmla="*/ 46134807 w 795"/>
                  <a:gd name="T3" fmla="*/ 21598421 h 1230"/>
                  <a:gd name="T4" fmla="*/ 30536091 w 795"/>
                  <a:gd name="T5" fmla="*/ 49341435 h 1230"/>
                  <a:gd name="T6" fmla="*/ 35163023 w 795"/>
                  <a:gd name="T7" fmla="*/ 56603200 h 1230"/>
                  <a:gd name="T8" fmla="*/ 43094179 w 795"/>
                  <a:gd name="T9" fmla="*/ 65168088 h 1230"/>
                  <a:gd name="T10" fmla="*/ 40847248 w 795"/>
                  <a:gd name="T11" fmla="*/ 80808320 h 1230"/>
                  <a:gd name="T12" fmla="*/ 48646436 w 795"/>
                  <a:gd name="T13" fmla="*/ 93655868 h 1230"/>
                  <a:gd name="T14" fmla="*/ 54066338 w 795"/>
                  <a:gd name="T15" fmla="*/ 78946387 h 1230"/>
                  <a:gd name="T16" fmla="*/ 54462642 w 795"/>
                  <a:gd name="T17" fmla="*/ 56416777 h 1230"/>
                  <a:gd name="T18" fmla="*/ 44284180 w 795"/>
                  <a:gd name="T19" fmla="*/ 40218182 h 1230"/>
                  <a:gd name="T20" fmla="*/ 45605797 w 795"/>
                  <a:gd name="T21" fmla="*/ 17316193 h 1230"/>
                  <a:gd name="T22" fmla="*/ 54727329 w 795"/>
                  <a:gd name="T23" fmla="*/ 15640238 h 1230"/>
                  <a:gd name="T24" fmla="*/ 66624427 w 795"/>
                  <a:gd name="T25" fmla="*/ 16199033 h 1230"/>
                  <a:gd name="T26" fmla="*/ 77596211 w 795"/>
                  <a:gd name="T27" fmla="*/ 12102779 h 1230"/>
                  <a:gd name="T28" fmla="*/ 94913212 w 795"/>
                  <a:gd name="T29" fmla="*/ 7447733 h 1230"/>
                  <a:gd name="T30" fmla="*/ 102316108 w 795"/>
                  <a:gd name="T31" fmla="*/ 1489546 h 1230"/>
                  <a:gd name="T32" fmla="*/ 104299078 w 795"/>
                  <a:gd name="T33" fmla="*/ 2048342 h 1230"/>
                  <a:gd name="T34" fmla="*/ 104166735 w 795"/>
                  <a:gd name="T35" fmla="*/ 10054438 h 1230"/>
                  <a:gd name="T36" fmla="*/ 100861783 w 795"/>
                  <a:gd name="T37" fmla="*/ 23646763 h 1230"/>
                  <a:gd name="T38" fmla="*/ 99804490 w 795"/>
                  <a:gd name="T39" fmla="*/ 36493886 h 1230"/>
                  <a:gd name="T40" fmla="*/ 99936470 w 795"/>
                  <a:gd name="T41" fmla="*/ 49900230 h 1230"/>
                  <a:gd name="T42" fmla="*/ 101258450 w 795"/>
                  <a:gd name="T43" fmla="*/ 55672005 h 1230"/>
                  <a:gd name="T44" fmla="*/ 101787097 w 795"/>
                  <a:gd name="T45" fmla="*/ 61257815 h 1230"/>
                  <a:gd name="T46" fmla="*/ 99540166 w 795"/>
                  <a:gd name="T47" fmla="*/ 69450317 h 1230"/>
                  <a:gd name="T48" fmla="*/ 95045555 w 795"/>
                  <a:gd name="T49" fmla="*/ 77829228 h 1230"/>
                  <a:gd name="T50" fmla="*/ 91079613 w 795"/>
                  <a:gd name="T51" fmla="*/ 84904571 h 1230"/>
                  <a:gd name="T52" fmla="*/ 83544760 w 795"/>
                  <a:gd name="T53" fmla="*/ 93841846 h 1230"/>
                  <a:gd name="T54" fmla="*/ 76274231 w 795"/>
                  <a:gd name="T55" fmla="*/ 96448551 h 1230"/>
                  <a:gd name="T56" fmla="*/ 61865515 w 795"/>
                  <a:gd name="T57" fmla="*/ 109296099 h 1230"/>
                  <a:gd name="T58" fmla="*/ 56048946 w 795"/>
                  <a:gd name="T59" fmla="*/ 118419810 h 1230"/>
                  <a:gd name="T60" fmla="*/ 52876338 w 795"/>
                  <a:gd name="T61" fmla="*/ 120095334 h 1230"/>
                  <a:gd name="T62" fmla="*/ 44548503 w 795"/>
                  <a:gd name="T63" fmla="*/ 129591404 h 1230"/>
                  <a:gd name="T64" fmla="*/ 39128601 w 795"/>
                  <a:gd name="T65" fmla="*/ 140576589 h 1230"/>
                  <a:gd name="T66" fmla="*/ 42036885 w 795"/>
                  <a:gd name="T67" fmla="*/ 148769091 h 1230"/>
                  <a:gd name="T68" fmla="*/ 43755169 w 795"/>
                  <a:gd name="T69" fmla="*/ 163850958 h 1230"/>
                  <a:gd name="T70" fmla="*/ 44945170 w 795"/>
                  <a:gd name="T71" fmla="*/ 171485096 h 1230"/>
                  <a:gd name="T72" fmla="*/ 40979228 w 795"/>
                  <a:gd name="T73" fmla="*/ 193083511 h 1230"/>
                  <a:gd name="T74" fmla="*/ 41904542 w 795"/>
                  <a:gd name="T75" fmla="*/ 193455897 h 1230"/>
                  <a:gd name="T76" fmla="*/ 33841042 w 795"/>
                  <a:gd name="T77" fmla="*/ 202765559 h 1230"/>
                  <a:gd name="T78" fmla="*/ 21414928 w 795"/>
                  <a:gd name="T79" fmla="*/ 209096128 h 1230"/>
                  <a:gd name="T80" fmla="*/ 13747731 w 795"/>
                  <a:gd name="T81" fmla="*/ 217102653 h 1230"/>
                  <a:gd name="T82" fmla="*/ 17581330 w 795"/>
                  <a:gd name="T83" fmla="*/ 218778176 h 1230"/>
                  <a:gd name="T84" fmla="*/ 16259349 w 795"/>
                  <a:gd name="T85" fmla="*/ 228832664 h 1230"/>
                  <a:gd name="T86" fmla="*/ 9517827 w 795"/>
                  <a:gd name="T87" fmla="*/ 228274301 h 1230"/>
                  <a:gd name="T88" fmla="*/ 9385483 w 795"/>
                  <a:gd name="T89" fmla="*/ 216171471 h 1230"/>
                  <a:gd name="T90" fmla="*/ 10178817 w 795"/>
                  <a:gd name="T91" fmla="*/ 208723742 h 1230"/>
                  <a:gd name="T92" fmla="*/ 8989180 w 795"/>
                  <a:gd name="T93" fmla="*/ 183215054 h 1230"/>
                  <a:gd name="T94" fmla="*/ 6609542 w 795"/>
                  <a:gd name="T95" fmla="*/ 166085277 h 1230"/>
                  <a:gd name="T96" fmla="*/ 17845653 w 795"/>
                  <a:gd name="T97" fmla="*/ 148583113 h 1230"/>
                  <a:gd name="T98" fmla="*/ 24719885 w 795"/>
                  <a:gd name="T99" fmla="*/ 132942882 h 1230"/>
                  <a:gd name="T100" fmla="*/ 23926551 w 795"/>
                  <a:gd name="T101" fmla="*/ 121584879 h 1230"/>
                  <a:gd name="T102" fmla="*/ 26306189 w 795"/>
                  <a:gd name="T103" fmla="*/ 110785645 h 1230"/>
                  <a:gd name="T104" fmla="*/ 26041502 w 795"/>
                  <a:gd name="T105" fmla="*/ 92352300 h 1230"/>
                  <a:gd name="T106" fmla="*/ 18374663 w 795"/>
                  <a:gd name="T107" fmla="*/ 83229047 h 1230"/>
                  <a:gd name="T108" fmla="*/ 4097923 w 795"/>
                  <a:gd name="T109" fmla="*/ 76525660 h 1230"/>
                  <a:gd name="T110" fmla="*/ 2643962 w 795"/>
                  <a:gd name="T111" fmla="*/ 68519567 h 1230"/>
                  <a:gd name="T112" fmla="*/ 15069712 w 795"/>
                  <a:gd name="T113" fmla="*/ 56416777 h 123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95"/>
                  <a:gd name="T172" fmla="*/ 0 h 1230"/>
                  <a:gd name="T173" fmla="*/ 795 w 795"/>
                  <a:gd name="T174" fmla="*/ 1230 h 1230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95" h="1230">
                    <a:moveTo>
                      <a:pt x="340" y="113"/>
                    </a:moveTo>
                    <a:cubicBezTo>
                      <a:pt x="341" y="126"/>
                      <a:pt x="352" y="109"/>
                      <a:pt x="341" y="112"/>
                    </a:cubicBezTo>
                    <a:cubicBezTo>
                      <a:pt x="340" y="113"/>
                      <a:pt x="340" y="113"/>
                      <a:pt x="340" y="113"/>
                    </a:cubicBezTo>
                    <a:close/>
                    <a:moveTo>
                      <a:pt x="348" y="118"/>
                    </a:moveTo>
                    <a:cubicBezTo>
                      <a:pt x="349" y="132"/>
                      <a:pt x="362" y="111"/>
                      <a:pt x="350" y="115"/>
                    </a:cubicBezTo>
                    <a:cubicBezTo>
                      <a:pt x="349" y="116"/>
                      <a:pt x="349" y="116"/>
                      <a:pt x="349" y="116"/>
                    </a:cubicBezTo>
                    <a:lnTo>
                      <a:pt x="348" y="118"/>
                    </a:lnTo>
                    <a:close/>
                    <a:moveTo>
                      <a:pt x="226" y="267"/>
                    </a:moveTo>
                    <a:cubicBezTo>
                      <a:pt x="229" y="267"/>
                      <a:pt x="231" y="266"/>
                      <a:pt x="231" y="265"/>
                    </a:cubicBezTo>
                    <a:cubicBezTo>
                      <a:pt x="233" y="265"/>
                      <a:pt x="233" y="265"/>
                      <a:pt x="233" y="265"/>
                    </a:cubicBezTo>
                    <a:cubicBezTo>
                      <a:pt x="242" y="272"/>
                      <a:pt x="243" y="286"/>
                      <a:pt x="251" y="296"/>
                    </a:cubicBezTo>
                    <a:cubicBezTo>
                      <a:pt x="253" y="278"/>
                      <a:pt x="261" y="322"/>
                      <a:pt x="266" y="304"/>
                    </a:cubicBezTo>
                    <a:cubicBezTo>
                      <a:pt x="277" y="304"/>
                      <a:pt x="291" y="301"/>
                      <a:pt x="303" y="298"/>
                    </a:cubicBezTo>
                    <a:cubicBezTo>
                      <a:pt x="314" y="292"/>
                      <a:pt x="319" y="300"/>
                      <a:pt x="324" y="308"/>
                    </a:cubicBezTo>
                    <a:cubicBezTo>
                      <a:pt x="326" y="322"/>
                      <a:pt x="330" y="336"/>
                      <a:pt x="326" y="350"/>
                    </a:cubicBezTo>
                    <a:cubicBezTo>
                      <a:pt x="330" y="363"/>
                      <a:pt x="318" y="370"/>
                      <a:pt x="314" y="381"/>
                    </a:cubicBezTo>
                    <a:cubicBezTo>
                      <a:pt x="319" y="396"/>
                      <a:pt x="297" y="397"/>
                      <a:pt x="300" y="410"/>
                    </a:cubicBezTo>
                    <a:cubicBezTo>
                      <a:pt x="308" y="416"/>
                      <a:pt x="312" y="424"/>
                      <a:pt x="309" y="434"/>
                    </a:cubicBezTo>
                    <a:cubicBezTo>
                      <a:pt x="320" y="444"/>
                      <a:pt x="328" y="457"/>
                      <a:pt x="339" y="468"/>
                    </a:cubicBezTo>
                    <a:cubicBezTo>
                      <a:pt x="342" y="480"/>
                      <a:pt x="361" y="478"/>
                      <a:pt x="357" y="490"/>
                    </a:cubicBezTo>
                    <a:cubicBezTo>
                      <a:pt x="343" y="496"/>
                      <a:pt x="357" y="513"/>
                      <a:pt x="368" y="503"/>
                    </a:cubicBezTo>
                    <a:cubicBezTo>
                      <a:pt x="366" y="492"/>
                      <a:pt x="373" y="478"/>
                      <a:pt x="365" y="469"/>
                    </a:cubicBezTo>
                    <a:cubicBezTo>
                      <a:pt x="351" y="460"/>
                      <a:pt x="374" y="454"/>
                      <a:pt x="371" y="442"/>
                    </a:cubicBezTo>
                    <a:cubicBezTo>
                      <a:pt x="375" y="421"/>
                      <a:pt x="398" y="437"/>
                      <a:pt x="409" y="424"/>
                    </a:cubicBezTo>
                    <a:cubicBezTo>
                      <a:pt x="415" y="410"/>
                      <a:pt x="414" y="395"/>
                      <a:pt x="417" y="381"/>
                    </a:cubicBezTo>
                    <a:cubicBezTo>
                      <a:pt x="417" y="367"/>
                      <a:pt x="412" y="353"/>
                      <a:pt x="423" y="341"/>
                    </a:cubicBezTo>
                    <a:cubicBezTo>
                      <a:pt x="424" y="328"/>
                      <a:pt x="423" y="313"/>
                      <a:pt x="412" y="303"/>
                    </a:cubicBezTo>
                    <a:cubicBezTo>
                      <a:pt x="402" y="293"/>
                      <a:pt x="399" y="278"/>
                      <a:pt x="389" y="268"/>
                    </a:cubicBezTo>
                    <a:cubicBezTo>
                      <a:pt x="379" y="258"/>
                      <a:pt x="375" y="245"/>
                      <a:pt x="365" y="237"/>
                    </a:cubicBezTo>
                    <a:cubicBezTo>
                      <a:pt x="357" y="224"/>
                      <a:pt x="337" y="233"/>
                      <a:pt x="335" y="216"/>
                    </a:cubicBezTo>
                    <a:cubicBezTo>
                      <a:pt x="336" y="201"/>
                      <a:pt x="334" y="186"/>
                      <a:pt x="334" y="170"/>
                    </a:cubicBezTo>
                    <a:cubicBezTo>
                      <a:pt x="331" y="156"/>
                      <a:pt x="327" y="143"/>
                      <a:pt x="325" y="129"/>
                    </a:cubicBezTo>
                    <a:cubicBezTo>
                      <a:pt x="327" y="115"/>
                      <a:pt x="341" y="106"/>
                      <a:pt x="345" y="93"/>
                    </a:cubicBezTo>
                    <a:cubicBezTo>
                      <a:pt x="342" y="76"/>
                      <a:pt x="360" y="82"/>
                      <a:pt x="371" y="81"/>
                    </a:cubicBezTo>
                    <a:cubicBezTo>
                      <a:pt x="372" y="80"/>
                      <a:pt x="372" y="80"/>
                      <a:pt x="372" y="80"/>
                    </a:cubicBezTo>
                    <a:cubicBezTo>
                      <a:pt x="385" y="85"/>
                      <a:pt x="400" y="80"/>
                      <a:pt x="414" y="84"/>
                    </a:cubicBezTo>
                    <a:cubicBezTo>
                      <a:pt x="425" y="84"/>
                      <a:pt x="437" y="60"/>
                      <a:pt x="446" y="78"/>
                    </a:cubicBezTo>
                    <a:cubicBezTo>
                      <a:pt x="461" y="77"/>
                      <a:pt x="457" y="99"/>
                      <a:pt x="472" y="93"/>
                    </a:cubicBezTo>
                    <a:cubicBezTo>
                      <a:pt x="483" y="91"/>
                      <a:pt x="497" y="102"/>
                      <a:pt x="504" y="87"/>
                    </a:cubicBezTo>
                    <a:cubicBezTo>
                      <a:pt x="515" y="80"/>
                      <a:pt x="524" y="88"/>
                      <a:pt x="533" y="93"/>
                    </a:cubicBezTo>
                    <a:cubicBezTo>
                      <a:pt x="543" y="95"/>
                      <a:pt x="553" y="98"/>
                      <a:pt x="562" y="91"/>
                    </a:cubicBezTo>
                    <a:cubicBezTo>
                      <a:pt x="579" y="90"/>
                      <a:pt x="580" y="75"/>
                      <a:pt x="587" y="65"/>
                    </a:cubicBezTo>
                    <a:cubicBezTo>
                      <a:pt x="603" y="56"/>
                      <a:pt x="616" y="67"/>
                      <a:pt x="628" y="74"/>
                    </a:cubicBezTo>
                    <a:cubicBezTo>
                      <a:pt x="642" y="66"/>
                      <a:pt x="656" y="56"/>
                      <a:pt x="673" y="56"/>
                    </a:cubicBezTo>
                    <a:cubicBezTo>
                      <a:pt x="691" y="62"/>
                      <a:pt x="701" y="41"/>
                      <a:pt x="718" y="40"/>
                    </a:cubicBezTo>
                    <a:cubicBezTo>
                      <a:pt x="728" y="38"/>
                      <a:pt x="735" y="31"/>
                      <a:pt x="745" y="28"/>
                    </a:cubicBezTo>
                    <a:cubicBezTo>
                      <a:pt x="753" y="20"/>
                      <a:pt x="762" y="14"/>
                      <a:pt x="772" y="9"/>
                    </a:cubicBezTo>
                    <a:cubicBezTo>
                      <a:pt x="774" y="8"/>
                      <a:pt x="774" y="8"/>
                      <a:pt x="774" y="8"/>
                    </a:cubicBezTo>
                    <a:cubicBezTo>
                      <a:pt x="780" y="0"/>
                      <a:pt x="780" y="0"/>
                      <a:pt x="780" y="0"/>
                    </a:cubicBezTo>
                    <a:cubicBezTo>
                      <a:pt x="781" y="0"/>
                      <a:pt x="781" y="0"/>
                      <a:pt x="781" y="0"/>
                    </a:cubicBezTo>
                    <a:cubicBezTo>
                      <a:pt x="784" y="3"/>
                      <a:pt x="785" y="9"/>
                      <a:pt x="789" y="11"/>
                    </a:cubicBezTo>
                    <a:cubicBezTo>
                      <a:pt x="793" y="13"/>
                      <a:pt x="795" y="20"/>
                      <a:pt x="791" y="22"/>
                    </a:cubicBezTo>
                    <a:cubicBezTo>
                      <a:pt x="790" y="28"/>
                      <a:pt x="791" y="35"/>
                      <a:pt x="790" y="41"/>
                    </a:cubicBezTo>
                    <a:cubicBezTo>
                      <a:pt x="792" y="45"/>
                      <a:pt x="791" y="50"/>
                      <a:pt x="788" y="54"/>
                    </a:cubicBezTo>
                    <a:cubicBezTo>
                      <a:pt x="784" y="60"/>
                      <a:pt x="779" y="66"/>
                      <a:pt x="776" y="74"/>
                    </a:cubicBezTo>
                    <a:cubicBezTo>
                      <a:pt x="772" y="81"/>
                      <a:pt x="767" y="89"/>
                      <a:pt x="765" y="98"/>
                    </a:cubicBezTo>
                    <a:cubicBezTo>
                      <a:pt x="761" y="107"/>
                      <a:pt x="764" y="117"/>
                      <a:pt x="763" y="127"/>
                    </a:cubicBezTo>
                    <a:cubicBezTo>
                      <a:pt x="761" y="142"/>
                      <a:pt x="765" y="158"/>
                      <a:pt x="764" y="173"/>
                    </a:cubicBezTo>
                    <a:cubicBezTo>
                      <a:pt x="763" y="177"/>
                      <a:pt x="765" y="183"/>
                      <a:pt x="762" y="186"/>
                    </a:cubicBezTo>
                    <a:cubicBezTo>
                      <a:pt x="760" y="189"/>
                      <a:pt x="753" y="191"/>
                      <a:pt x="755" y="196"/>
                    </a:cubicBezTo>
                    <a:cubicBezTo>
                      <a:pt x="757" y="200"/>
                      <a:pt x="754" y="207"/>
                      <a:pt x="761" y="206"/>
                    </a:cubicBezTo>
                    <a:cubicBezTo>
                      <a:pt x="760" y="213"/>
                      <a:pt x="759" y="221"/>
                      <a:pt x="759" y="229"/>
                    </a:cubicBezTo>
                    <a:cubicBezTo>
                      <a:pt x="757" y="242"/>
                      <a:pt x="754" y="255"/>
                      <a:pt x="756" y="268"/>
                    </a:cubicBezTo>
                    <a:cubicBezTo>
                      <a:pt x="755" y="274"/>
                      <a:pt x="759" y="280"/>
                      <a:pt x="755" y="286"/>
                    </a:cubicBezTo>
                    <a:cubicBezTo>
                      <a:pt x="752" y="290"/>
                      <a:pt x="753" y="293"/>
                      <a:pt x="758" y="296"/>
                    </a:cubicBezTo>
                    <a:cubicBezTo>
                      <a:pt x="762" y="291"/>
                      <a:pt x="765" y="293"/>
                      <a:pt x="766" y="299"/>
                    </a:cubicBezTo>
                    <a:cubicBezTo>
                      <a:pt x="769" y="303"/>
                      <a:pt x="763" y="306"/>
                      <a:pt x="761" y="309"/>
                    </a:cubicBezTo>
                    <a:cubicBezTo>
                      <a:pt x="756" y="314"/>
                      <a:pt x="767" y="312"/>
                      <a:pt x="769" y="316"/>
                    </a:cubicBezTo>
                    <a:cubicBezTo>
                      <a:pt x="773" y="319"/>
                      <a:pt x="769" y="325"/>
                      <a:pt x="770" y="329"/>
                    </a:cubicBezTo>
                    <a:cubicBezTo>
                      <a:pt x="766" y="336"/>
                      <a:pt x="761" y="342"/>
                      <a:pt x="759" y="350"/>
                    </a:cubicBezTo>
                    <a:cubicBezTo>
                      <a:pt x="757" y="358"/>
                      <a:pt x="750" y="362"/>
                      <a:pt x="745" y="368"/>
                    </a:cubicBezTo>
                    <a:cubicBezTo>
                      <a:pt x="740" y="371"/>
                      <a:pt x="751" y="371"/>
                      <a:pt x="753" y="373"/>
                    </a:cubicBezTo>
                    <a:cubicBezTo>
                      <a:pt x="752" y="380"/>
                      <a:pt x="751" y="387"/>
                      <a:pt x="748" y="394"/>
                    </a:cubicBezTo>
                    <a:cubicBezTo>
                      <a:pt x="745" y="397"/>
                      <a:pt x="740" y="398"/>
                      <a:pt x="737" y="400"/>
                    </a:cubicBezTo>
                    <a:cubicBezTo>
                      <a:pt x="731" y="406"/>
                      <a:pt x="725" y="412"/>
                      <a:pt x="719" y="418"/>
                    </a:cubicBezTo>
                    <a:cubicBezTo>
                      <a:pt x="713" y="423"/>
                      <a:pt x="709" y="430"/>
                      <a:pt x="706" y="438"/>
                    </a:cubicBezTo>
                    <a:cubicBezTo>
                      <a:pt x="700" y="442"/>
                      <a:pt x="693" y="444"/>
                      <a:pt x="687" y="448"/>
                    </a:cubicBezTo>
                    <a:cubicBezTo>
                      <a:pt x="679" y="449"/>
                      <a:pt x="687" y="452"/>
                      <a:pt x="689" y="456"/>
                    </a:cubicBezTo>
                    <a:cubicBezTo>
                      <a:pt x="689" y="460"/>
                      <a:pt x="685" y="464"/>
                      <a:pt x="683" y="468"/>
                    </a:cubicBezTo>
                    <a:cubicBezTo>
                      <a:pt x="670" y="477"/>
                      <a:pt x="656" y="486"/>
                      <a:pt x="640" y="491"/>
                    </a:cubicBezTo>
                    <a:cubicBezTo>
                      <a:pt x="637" y="495"/>
                      <a:pt x="635" y="500"/>
                      <a:pt x="632" y="504"/>
                    </a:cubicBezTo>
                    <a:cubicBezTo>
                      <a:pt x="628" y="508"/>
                      <a:pt x="621" y="510"/>
                      <a:pt x="617" y="513"/>
                    </a:cubicBezTo>
                    <a:cubicBezTo>
                      <a:pt x="612" y="517"/>
                      <a:pt x="605" y="513"/>
                      <a:pt x="600" y="514"/>
                    </a:cubicBezTo>
                    <a:cubicBezTo>
                      <a:pt x="592" y="513"/>
                      <a:pt x="584" y="516"/>
                      <a:pt x="577" y="518"/>
                    </a:cubicBezTo>
                    <a:cubicBezTo>
                      <a:pt x="556" y="526"/>
                      <a:pt x="535" y="535"/>
                      <a:pt x="515" y="545"/>
                    </a:cubicBezTo>
                    <a:cubicBezTo>
                      <a:pt x="501" y="553"/>
                      <a:pt x="488" y="563"/>
                      <a:pt x="475" y="573"/>
                    </a:cubicBezTo>
                    <a:cubicBezTo>
                      <a:pt x="472" y="577"/>
                      <a:pt x="472" y="584"/>
                      <a:pt x="468" y="587"/>
                    </a:cubicBezTo>
                    <a:cubicBezTo>
                      <a:pt x="463" y="593"/>
                      <a:pt x="455" y="590"/>
                      <a:pt x="449" y="593"/>
                    </a:cubicBezTo>
                    <a:cubicBezTo>
                      <a:pt x="443" y="595"/>
                      <a:pt x="453" y="598"/>
                      <a:pt x="454" y="601"/>
                    </a:cubicBezTo>
                    <a:cubicBezTo>
                      <a:pt x="444" y="613"/>
                      <a:pt x="432" y="623"/>
                      <a:pt x="424" y="636"/>
                    </a:cubicBezTo>
                    <a:cubicBezTo>
                      <a:pt x="422" y="641"/>
                      <a:pt x="418" y="642"/>
                      <a:pt x="414" y="638"/>
                    </a:cubicBezTo>
                    <a:cubicBezTo>
                      <a:pt x="412" y="634"/>
                      <a:pt x="412" y="629"/>
                      <a:pt x="410" y="625"/>
                    </a:cubicBezTo>
                    <a:cubicBezTo>
                      <a:pt x="406" y="631"/>
                      <a:pt x="403" y="638"/>
                      <a:pt x="400" y="645"/>
                    </a:cubicBezTo>
                    <a:cubicBezTo>
                      <a:pt x="396" y="648"/>
                      <a:pt x="389" y="648"/>
                      <a:pt x="386" y="653"/>
                    </a:cubicBezTo>
                    <a:cubicBezTo>
                      <a:pt x="377" y="663"/>
                      <a:pt x="367" y="672"/>
                      <a:pt x="357" y="681"/>
                    </a:cubicBezTo>
                    <a:cubicBezTo>
                      <a:pt x="351" y="687"/>
                      <a:pt x="345" y="692"/>
                      <a:pt x="337" y="696"/>
                    </a:cubicBezTo>
                    <a:cubicBezTo>
                      <a:pt x="330" y="700"/>
                      <a:pt x="325" y="706"/>
                      <a:pt x="319" y="712"/>
                    </a:cubicBezTo>
                    <a:cubicBezTo>
                      <a:pt x="315" y="715"/>
                      <a:pt x="309" y="715"/>
                      <a:pt x="304" y="716"/>
                    </a:cubicBezTo>
                    <a:cubicBezTo>
                      <a:pt x="302" y="729"/>
                      <a:pt x="298" y="742"/>
                      <a:pt x="296" y="755"/>
                    </a:cubicBezTo>
                    <a:cubicBezTo>
                      <a:pt x="297" y="759"/>
                      <a:pt x="296" y="764"/>
                      <a:pt x="298" y="768"/>
                    </a:cubicBezTo>
                    <a:cubicBezTo>
                      <a:pt x="304" y="774"/>
                      <a:pt x="311" y="778"/>
                      <a:pt x="315" y="784"/>
                    </a:cubicBezTo>
                    <a:cubicBezTo>
                      <a:pt x="319" y="788"/>
                      <a:pt x="318" y="794"/>
                      <a:pt x="318" y="799"/>
                    </a:cubicBezTo>
                    <a:cubicBezTo>
                      <a:pt x="320" y="802"/>
                      <a:pt x="321" y="807"/>
                      <a:pt x="320" y="811"/>
                    </a:cubicBezTo>
                    <a:cubicBezTo>
                      <a:pt x="322" y="824"/>
                      <a:pt x="326" y="837"/>
                      <a:pt x="329" y="850"/>
                    </a:cubicBezTo>
                    <a:cubicBezTo>
                      <a:pt x="333" y="860"/>
                      <a:pt x="331" y="870"/>
                      <a:pt x="331" y="880"/>
                    </a:cubicBezTo>
                    <a:cubicBezTo>
                      <a:pt x="330" y="883"/>
                      <a:pt x="331" y="893"/>
                      <a:pt x="334" y="888"/>
                    </a:cubicBezTo>
                    <a:cubicBezTo>
                      <a:pt x="338" y="883"/>
                      <a:pt x="341" y="884"/>
                      <a:pt x="345" y="889"/>
                    </a:cubicBezTo>
                    <a:cubicBezTo>
                      <a:pt x="344" y="900"/>
                      <a:pt x="342" y="910"/>
                      <a:pt x="340" y="921"/>
                    </a:cubicBezTo>
                    <a:cubicBezTo>
                      <a:pt x="336" y="936"/>
                      <a:pt x="335" y="952"/>
                      <a:pt x="331" y="967"/>
                    </a:cubicBezTo>
                    <a:cubicBezTo>
                      <a:pt x="323" y="983"/>
                      <a:pt x="319" y="1001"/>
                      <a:pt x="312" y="1017"/>
                    </a:cubicBezTo>
                    <a:cubicBezTo>
                      <a:pt x="308" y="1023"/>
                      <a:pt x="310" y="1030"/>
                      <a:pt x="310" y="1037"/>
                    </a:cubicBezTo>
                    <a:cubicBezTo>
                      <a:pt x="313" y="1032"/>
                      <a:pt x="315" y="1026"/>
                      <a:pt x="319" y="1022"/>
                    </a:cubicBezTo>
                    <a:cubicBezTo>
                      <a:pt x="321" y="1020"/>
                      <a:pt x="328" y="1011"/>
                      <a:pt x="326" y="1018"/>
                    </a:cubicBezTo>
                    <a:cubicBezTo>
                      <a:pt x="324" y="1025"/>
                      <a:pt x="322" y="1033"/>
                      <a:pt x="317" y="1039"/>
                    </a:cubicBezTo>
                    <a:cubicBezTo>
                      <a:pt x="313" y="1049"/>
                      <a:pt x="306" y="1056"/>
                      <a:pt x="298" y="1064"/>
                    </a:cubicBezTo>
                    <a:cubicBezTo>
                      <a:pt x="293" y="1070"/>
                      <a:pt x="286" y="1075"/>
                      <a:pt x="279" y="1079"/>
                    </a:cubicBezTo>
                    <a:cubicBezTo>
                      <a:pt x="272" y="1085"/>
                      <a:pt x="264" y="1087"/>
                      <a:pt x="256" y="1089"/>
                    </a:cubicBezTo>
                    <a:cubicBezTo>
                      <a:pt x="249" y="1093"/>
                      <a:pt x="240" y="1093"/>
                      <a:pt x="232" y="1093"/>
                    </a:cubicBezTo>
                    <a:cubicBezTo>
                      <a:pt x="215" y="1098"/>
                      <a:pt x="198" y="1105"/>
                      <a:pt x="181" y="1112"/>
                    </a:cubicBezTo>
                    <a:cubicBezTo>
                      <a:pt x="174" y="1114"/>
                      <a:pt x="168" y="1119"/>
                      <a:pt x="162" y="1123"/>
                    </a:cubicBezTo>
                    <a:cubicBezTo>
                      <a:pt x="154" y="1126"/>
                      <a:pt x="146" y="1130"/>
                      <a:pt x="138" y="1131"/>
                    </a:cubicBezTo>
                    <a:cubicBezTo>
                      <a:pt x="127" y="1137"/>
                      <a:pt x="123" y="1150"/>
                      <a:pt x="114" y="1158"/>
                    </a:cubicBezTo>
                    <a:cubicBezTo>
                      <a:pt x="111" y="1161"/>
                      <a:pt x="109" y="1167"/>
                      <a:pt x="104" y="1166"/>
                    </a:cubicBezTo>
                    <a:cubicBezTo>
                      <a:pt x="108" y="1170"/>
                      <a:pt x="112" y="1173"/>
                      <a:pt x="114" y="1177"/>
                    </a:cubicBezTo>
                    <a:cubicBezTo>
                      <a:pt x="117" y="1180"/>
                      <a:pt x="118" y="1189"/>
                      <a:pt x="122" y="1187"/>
                    </a:cubicBezTo>
                    <a:cubicBezTo>
                      <a:pt x="127" y="1184"/>
                      <a:pt x="131" y="1180"/>
                      <a:pt x="133" y="1175"/>
                    </a:cubicBezTo>
                    <a:cubicBezTo>
                      <a:pt x="130" y="1186"/>
                      <a:pt x="128" y="1198"/>
                      <a:pt x="127" y="1209"/>
                    </a:cubicBezTo>
                    <a:cubicBezTo>
                      <a:pt x="126" y="1213"/>
                      <a:pt x="126" y="1219"/>
                      <a:pt x="124" y="1221"/>
                    </a:cubicBezTo>
                    <a:cubicBezTo>
                      <a:pt x="124" y="1224"/>
                      <a:pt x="123" y="1227"/>
                      <a:pt x="123" y="1229"/>
                    </a:cubicBezTo>
                    <a:cubicBezTo>
                      <a:pt x="122" y="1229"/>
                      <a:pt x="122" y="1229"/>
                      <a:pt x="122" y="1229"/>
                    </a:cubicBezTo>
                    <a:cubicBezTo>
                      <a:pt x="119" y="1229"/>
                      <a:pt x="115" y="1229"/>
                      <a:pt x="111" y="1229"/>
                    </a:cubicBezTo>
                    <a:cubicBezTo>
                      <a:pt x="98" y="1230"/>
                      <a:pt x="85" y="1227"/>
                      <a:pt x="72" y="1226"/>
                    </a:cubicBezTo>
                    <a:cubicBezTo>
                      <a:pt x="72" y="1226"/>
                      <a:pt x="72" y="1226"/>
                      <a:pt x="72" y="1226"/>
                    </a:cubicBezTo>
                    <a:cubicBezTo>
                      <a:pt x="80" y="1225"/>
                      <a:pt x="76" y="1207"/>
                      <a:pt x="77" y="1200"/>
                    </a:cubicBezTo>
                    <a:cubicBezTo>
                      <a:pt x="69" y="1187"/>
                      <a:pt x="89" y="1168"/>
                      <a:pt x="71" y="1161"/>
                    </a:cubicBezTo>
                    <a:cubicBezTo>
                      <a:pt x="69" y="1161"/>
                      <a:pt x="69" y="1161"/>
                      <a:pt x="69" y="1161"/>
                    </a:cubicBezTo>
                    <a:cubicBezTo>
                      <a:pt x="69" y="1160"/>
                      <a:pt x="70" y="1159"/>
                      <a:pt x="71" y="1157"/>
                    </a:cubicBezTo>
                    <a:cubicBezTo>
                      <a:pt x="66" y="1144"/>
                      <a:pt x="82" y="1135"/>
                      <a:pt x="77" y="1121"/>
                    </a:cubicBezTo>
                    <a:cubicBezTo>
                      <a:pt x="84" y="1100"/>
                      <a:pt x="80" y="1076"/>
                      <a:pt x="85" y="1054"/>
                    </a:cubicBezTo>
                    <a:cubicBezTo>
                      <a:pt x="89" y="1041"/>
                      <a:pt x="76" y="1030"/>
                      <a:pt x="80" y="1017"/>
                    </a:cubicBezTo>
                    <a:cubicBezTo>
                      <a:pt x="78" y="1005"/>
                      <a:pt x="67" y="997"/>
                      <a:pt x="68" y="984"/>
                    </a:cubicBezTo>
                    <a:cubicBezTo>
                      <a:pt x="57" y="975"/>
                      <a:pt x="62" y="962"/>
                      <a:pt x="62" y="950"/>
                    </a:cubicBezTo>
                    <a:cubicBezTo>
                      <a:pt x="58" y="932"/>
                      <a:pt x="54" y="913"/>
                      <a:pt x="50" y="895"/>
                    </a:cubicBezTo>
                    <a:cubicBezTo>
                      <a:pt x="50" y="892"/>
                      <a:pt x="50" y="892"/>
                      <a:pt x="50" y="892"/>
                    </a:cubicBezTo>
                    <a:cubicBezTo>
                      <a:pt x="51" y="892"/>
                      <a:pt x="52" y="893"/>
                      <a:pt x="54" y="893"/>
                    </a:cubicBezTo>
                    <a:cubicBezTo>
                      <a:pt x="81" y="868"/>
                      <a:pt x="107" y="842"/>
                      <a:pt x="133" y="816"/>
                    </a:cubicBezTo>
                    <a:cubicBezTo>
                      <a:pt x="147" y="817"/>
                      <a:pt x="129" y="805"/>
                      <a:pt x="135" y="798"/>
                    </a:cubicBezTo>
                    <a:cubicBezTo>
                      <a:pt x="150" y="790"/>
                      <a:pt x="142" y="774"/>
                      <a:pt x="146" y="762"/>
                    </a:cubicBezTo>
                    <a:cubicBezTo>
                      <a:pt x="159" y="759"/>
                      <a:pt x="165" y="749"/>
                      <a:pt x="173" y="739"/>
                    </a:cubicBezTo>
                    <a:cubicBezTo>
                      <a:pt x="174" y="728"/>
                      <a:pt x="183" y="722"/>
                      <a:pt x="187" y="714"/>
                    </a:cubicBezTo>
                    <a:cubicBezTo>
                      <a:pt x="192" y="706"/>
                      <a:pt x="188" y="700"/>
                      <a:pt x="185" y="693"/>
                    </a:cubicBezTo>
                    <a:cubicBezTo>
                      <a:pt x="177" y="696"/>
                      <a:pt x="174" y="690"/>
                      <a:pt x="178" y="681"/>
                    </a:cubicBezTo>
                    <a:cubicBezTo>
                      <a:pt x="168" y="674"/>
                      <a:pt x="181" y="663"/>
                      <a:pt x="181" y="653"/>
                    </a:cubicBezTo>
                    <a:cubicBezTo>
                      <a:pt x="189" y="641"/>
                      <a:pt x="164" y="646"/>
                      <a:pt x="172" y="636"/>
                    </a:cubicBezTo>
                    <a:cubicBezTo>
                      <a:pt x="166" y="620"/>
                      <a:pt x="192" y="631"/>
                      <a:pt x="189" y="617"/>
                    </a:cubicBezTo>
                    <a:cubicBezTo>
                      <a:pt x="180" y="607"/>
                      <a:pt x="196" y="603"/>
                      <a:pt x="199" y="595"/>
                    </a:cubicBezTo>
                    <a:cubicBezTo>
                      <a:pt x="194" y="587"/>
                      <a:pt x="196" y="579"/>
                      <a:pt x="194" y="570"/>
                    </a:cubicBezTo>
                    <a:cubicBezTo>
                      <a:pt x="190" y="556"/>
                      <a:pt x="209" y="544"/>
                      <a:pt x="198" y="531"/>
                    </a:cubicBezTo>
                    <a:cubicBezTo>
                      <a:pt x="204" y="520"/>
                      <a:pt x="202" y="507"/>
                      <a:pt x="197" y="496"/>
                    </a:cubicBezTo>
                    <a:cubicBezTo>
                      <a:pt x="183" y="486"/>
                      <a:pt x="211" y="475"/>
                      <a:pt x="198" y="469"/>
                    </a:cubicBezTo>
                    <a:cubicBezTo>
                      <a:pt x="183" y="475"/>
                      <a:pt x="184" y="456"/>
                      <a:pt x="171" y="454"/>
                    </a:cubicBezTo>
                    <a:cubicBezTo>
                      <a:pt x="161" y="449"/>
                      <a:pt x="150" y="446"/>
                      <a:pt x="139" y="447"/>
                    </a:cubicBezTo>
                    <a:cubicBezTo>
                      <a:pt x="123" y="448"/>
                      <a:pt x="119" y="424"/>
                      <a:pt x="102" y="427"/>
                    </a:cubicBezTo>
                    <a:cubicBezTo>
                      <a:pt x="88" y="425"/>
                      <a:pt x="80" y="404"/>
                      <a:pt x="65" y="416"/>
                    </a:cubicBezTo>
                    <a:cubicBezTo>
                      <a:pt x="55" y="411"/>
                      <a:pt x="43" y="411"/>
                      <a:pt x="31" y="411"/>
                    </a:cubicBezTo>
                    <a:cubicBezTo>
                      <a:pt x="14" y="415"/>
                      <a:pt x="24" y="393"/>
                      <a:pt x="22" y="383"/>
                    </a:cubicBezTo>
                    <a:cubicBezTo>
                      <a:pt x="17" y="383"/>
                      <a:pt x="17" y="383"/>
                      <a:pt x="17" y="383"/>
                    </a:cubicBezTo>
                    <a:cubicBezTo>
                      <a:pt x="25" y="380"/>
                      <a:pt x="15" y="371"/>
                      <a:pt x="20" y="368"/>
                    </a:cubicBezTo>
                    <a:cubicBezTo>
                      <a:pt x="18" y="358"/>
                      <a:pt x="0" y="339"/>
                      <a:pt x="17" y="333"/>
                    </a:cubicBezTo>
                    <a:cubicBezTo>
                      <a:pt x="30" y="329"/>
                      <a:pt x="43" y="321"/>
                      <a:pt x="58" y="318"/>
                    </a:cubicBezTo>
                    <a:cubicBezTo>
                      <a:pt x="76" y="313"/>
                      <a:pt x="97" y="313"/>
                      <a:pt x="114" y="303"/>
                    </a:cubicBezTo>
                    <a:cubicBezTo>
                      <a:pt x="128" y="297"/>
                      <a:pt x="142" y="294"/>
                      <a:pt x="156" y="289"/>
                    </a:cubicBezTo>
                    <a:cubicBezTo>
                      <a:pt x="180" y="285"/>
                      <a:pt x="202" y="274"/>
                      <a:pt x="226" y="267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42" name="Morocco"/>
              <p:cNvSpPr>
                <a:spLocks/>
              </p:cNvSpPr>
              <p:nvPr/>
            </p:nvSpPr>
            <p:spPr bwMode="auto">
              <a:xfrm>
                <a:off x="3935139" y="3406560"/>
                <a:ext cx="308874" cy="255340"/>
              </a:xfrm>
              <a:custGeom>
                <a:avLst/>
                <a:gdLst>
                  <a:gd name="T0" fmla="*/ 755 w 853"/>
                  <a:gd name="T1" fmla="*/ 52 h 594"/>
                  <a:gd name="T2" fmla="*/ 790 w 853"/>
                  <a:gd name="T3" fmla="*/ 66 h 594"/>
                  <a:gd name="T4" fmla="*/ 797 w 853"/>
                  <a:gd name="T5" fmla="*/ 68 h 594"/>
                  <a:gd name="T6" fmla="*/ 817 w 853"/>
                  <a:gd name="T7" fmla="*/ 109 h 594"/>
                  <a:gd name="T8" fmla="*/ 816 w 853"/>
                  <a:gd name="T9" fmla="*/ 164 h 594"/>
                  <a:gd name="T10" fmla="*/ 823 w 853"/>
                  <a:gd name="T11" fmla="*/ 221 h 594"/>
                  <a:gd name="T12" fmla="*/ 839 w 853"/>
                  <a:gd name="T13" fmla="*/ 267 h 594"/>
                  <a:gd name="T14" fmla="*/ 839 w 853"/>
                  <a:gd name="T15" fmla="*/ 267 h 594"/>
                  <a:gd name="T16" fmla="*/ 811 w 853"/>
                  <a:gd name="T17" fmla="*/ 289 h 594"/>
                  <a:gd name="T18" fmla="*/ 717 w 853"/>
                  <a:gd name="T19" fmla="*/ 293 h 594"/>
                  <a:gd name="T20" fmla="*/ 654 w 853"/>
                  <a:gd name="T21" fmla="*/ 328 h 594"/>
                  <a:gd name="T22" fmla="*/ 654 w 853"/>
                  <a:gd name="T23" fmla="*/ 368 h 594"/>
                  <a:gd name="T24" fmla="*/ 589 w 853"/>
                  <a:gd name="T25" fmla="*/ 391 h 594"/>
                  <a:gd name="T26" fmla="*/ 508 w 853"/>
                  <a:gd name="T27" fmla="*/ 440 h 594"/>
                  <a:gd name="T28" fmla="*/ 432 w 853"/>
                  <a:gd name="T29" fmla="*/ 456 h 594"/>
                  <a:gd name="T30" fmla="*/ 361 w 853"/>
                  <a:gd name="T31" fmla="*/ 482 h 594"/>
                  <a:gd name="T32" fmla="*/ 302 w 853"/>
                  <a:gd name="T33" fmla="*/ 516 h 594"/>
                  <a:gd name="T34" fmla="*/ 0 w 853"/>
                  <a:gd name="T35" fmla="*/ 576 h 594"/>
                  <a:gd name="T36" fmla="*/ 30 w 853"/>
                  <a:gd name="T37" fmla="*/ 556 h 594"/>
                  <a:gd name="T38" fmla="*/ 95 w 853"/>
                  <a:gd name="T39" fmla="*/ 543 h 594"/>
                  <a:gd name="T40" fmla="*/ 145 w 853"/>
                  <a:gd name="T41" fmla="*/ 510 h 594"/>
                  <a:gd name="T42" fmla="*/ 198 w 853"/>
                  <a:gd name="T43" fmla="*/ 479 h 594"/>
                  <a:gd name="T44" fmla="*/ 232 w 853"/>
                  <a:gd name="T45" fmla="*/ 443 h 594"/>
                  <a:gd name="T46" fmla="*/ 259 w 853"/>
                  <a:gd name="T47" fmla="*/ 397 h 594"/>
                  <a:gd name="T48" fmla="*/ 256 w 853"/>
                  <a:gd name="T49" fmla="*/ 355 h 594"/>
                  <a:gd name="T50" fmla="*/ 294 w 853"/>
                  <a:gd name="T51" fmla="*/ 281 h 594"/>
                  <a:gd name="T52" fmla="*/ 309 w 853"/>
                  <a:gd name="T53" fmla="*/ 270 h 594"/>
                  <a:gd name="T54" fmla="*/ 324 w 853"/>
                  <a:gd name="T55" fmla="*/ 244 h 594"/>
                  <a:gd name="T56" fmla="*/ 363 w 853"/>
                  <a:gd name="T57" fmla="*/ 197 h 594"/>
                  <a:gd name="T58" fmla="*/ 417 w 853"/>
                  <a:gd name="T59" fmla="*/ 168 h 594"/>
                  <a:gd name="T60" fmla="*/ 497 w 853"/>
                  <a:gd name="T61" fmla="*/ 131 h 594"/>
                  <a:gd name="T62" fmla="*/ 530 w 853"/>
                  <a:gd name="T63" fmla="*/ 93 h 594"/>
                  <a:gd name="T64" fmla="*/ 575 w 853"/>
                  <a:gd name="T65" fmla="*/ 14 h 594"/>
                  <a:gd name="T66" fmla="*/ 609 w 853"/>
                  <a:gd name="T67" fmla="*/ 0 h 594"/>
                  <a:gd name="T68" fmla="*/ 625 w 853"/>
                  <a:gd name="T69" fmla="*/ 30 h 594"/>
                  <a:gd name="T70" fmla="*/ 664 w 853"/>
                  <a:gd name="T71" fmla="*/ 57 h 594"/>
                  <a:gd name="T72" fmla="*/ 711 w 853"/>
                  <a:gd name="T73" fmla="*/ 53 h 5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53" h="594">
                    <a:moveTo>
                      <a:pt x="740" y="54"/>
                    </a:moveTo>
                    <a:cubicBezTo>
                      <a:pt x="745" y="55"/>
                      <a:pt x="750" y="49"/>
                      <a:pt x="755" y="52"/>
                    </a:cubicBezTo>
                    <a:cubicBezTo>
                      <a:pt x="762" y="55"/>
                      <a:pt x="766" y="63"/>
                      <a:pt x="773" y="64"/>
                    </a:cubicBezTo>
                    <a:cubicBezTo>
                      <a:pt x="778" y="67"/>
                      <a:pt x="784" y="67"/>
                      <a:pt x="790" y="66"/>
                    </a:cubicBezTo>
                    <a:cubicBezTo>
                      <a:pt x="792" y="66"/>
                      <a:pt x="795" y="66"/>
                      <a:pt x="797" y="67"/>
                    </a:cubicBezTo>
                    <a:cubicBezTo>
                      <a:pt x="797" y="68"/>
                      <a:pt x="797" y="68"/>
                      <a:pt x="797" y="68"/>
                    </a:cubicBezTo>
                    <a:cubicBezTo>
                      <a:pt x="798" y="77"/>
                      <a:pt x="811" y="83"/>
                      <a:pt x="816" y="90"/>
                    </a:cubicBezTo>
                    <a:cubicBezTo>
                      <a:pt x="829" y="95"/>
                      <a:pt x="812" y="102"/>
                      <a:pt x="817" y="109"/>
                    </a:cubicBezTo>
                    <a:cubicBezTo>
                      <a:pt x="830" y="114"/>
                      <a:pt x="813" y="121"/>
                      <a:pt x="819" y="128"/>
                    </a:cubicBezTo>
                    <a:cubicBezTo>
                      <a:pt x="825" y="140"/>
                      <a:pt x="818" y="152"/>
                      <a:pt x="816" y="164"/>
                    </a:cubicBezTo>
                    <a:cubicBezTo>
                      <a:pt x="809" y="173"/>
                      <a:pt x="824" y="177"/>
                      <a:pt x="820" y="186"/>
                    </a:cubicBezTo>
                    <a:cubicBezTo>
                      <a:pt x="810" y="197"/>
                      <a:pt x="815" y="210"/>
                      <a:pt x="823" y="221"/>
                    </a:cubicBezTo>
                    <a:cubicBezTo>
                      <a:pt x="815" y="232"/>
                      <a:pt x="827" y="245"/>
                      <a:pt x="837" y="251"/>
                    </a:cubicBezTo>
                    <a:cubicBezTo>
                      <a:pt x="845" y="254"/>
                      <a:pt x="853" y="267"/>
                      <a:pt x="839" y="267"/>
                    </a:cubicBezTo>
                    <a:cubicBezTo>
                      <a:pt x="840" y="265"/>
                      <a:pt x="841" y="265"/>
                      <a:pt x="839" y="267"/>
                    </a:cubicBezTo>
                    <a:cubicBezTo>
                      <a:pt x="839" y="267"/>
                      <a:pt x="839" y="267"/>
                      <a:pt x="839" y="267"/>
                    </a:cubicBezTo>
                    <a:cubicBezTo>
                      <a:pt x="835" y="272"/>
                      <a:pt x="821" y="288"/>
                      <a:pt x="834" y="285"/>
                    </a:cubicBezTo>
                    <a:cubicBezTo>
                      <a:pt x="834" y="297"/>
                      <a:pt x="818" y="287"/>
                      <a:pt x="811" y="289"/>
                    </a:cubicBezTo>
                    <a:cubicBezTo>
                      <a:pt x="794" y="288"/>
                      <a:pt x="776" y="285"/>
                      <a:pt x="759" y="283"/>
                    </a:cubicBezTo>
                    <a:cubicBezTo>
                      <a:pt x="745" y="287"/>
                      <a:pt x="726" y="281"/>
                      <a:pt x="717" y="293"/>
                    </a:cubicBezTo>
                    <a:cubicBezTo>
                      <a:pt x="716" y="313"/>
                      <a:pt x="689" y="308"/>
                      <a:pt x="675" y="314"/>
                    </a:cubicBezTo>
                    <a:cubicBezTo>
                      <a:pt x="664" y="306"/>
                      <a:pt x="650" y="314"/>
                      <a:pt x="654" y="328"/>
                    </a:cubicBezTo>
                    <a:cubicBezTo>
                      <a:pt x="663" y="334"/>
                      <a:pt x="651" y="341"/>
                      <a:pt x="652" y="350"/>
                    </a:cubicBezTo>
                    <a:cubicBezTo>
                      <a:pt x="663" y="348"/>
                      <a:pt x="671" y="370"/>
                      <a:pt x="654" y="368"/>
                    </a:cubicBezTo>
                    <a:cubicBezTo>
                      <a:pt x="642" y="366"/>
                      <a:pt x="631" y="370"/>
                      <a:pt x="624" y="379"/>
                    </a:cubicBezTo>
                    <a:cubicBezTo>
                      <a:pt x="613" y="386"/>
                      <a:pt x="601" y="389"/>
                      <a:pt x="589" y="391"/>
                    </a:cubicBezTo>
                    <a:cubicBezTo>
                      <a:pt x="570" y="392"/>
                      <a:pt x="563" y="407"/>
                      <a:pt x="552" y="420"/>
                    </a:cubicBezTo>
                    <a:cubicBezTo>
                      <a:pt x="541" y="432"/>
                      <a:pt x="525" y="441"/>
                      <a:pt x="508" y="440"/>
                    </a:cubicBezTo>
                    <a:cubicBezTo>
                      <a:pt x="493" y="442"/>
                      <a:pt x="477" y="445"/>
                      <a:pt x="462" y="442"/>
                    </a:cubicBezTo>
                    <a:cubicBezTo>
                      <a:pt x="459" y="457"/>
                      <a:pt x="446" y="464"/>
                      <a:pt x="432" y="456"/>
                    </a:cubicBezTo>
                    <a:cubicBezTo>
                      <a:pt x="416" y="449"/>
                      <a:pt x="403" y="459"/>
                      <a:pt x="392" y="469"/>
                    </a:cubicBezTo>
                    <a:cubicBezTo>
                      <a:pt x="380" y="467"/>
                      <a:pt x="372" y="475"/>
                      <a:pt x="361" y="482"/>
                    </a:cubicBezTo>
                    <a:cubicBezTo>
                      <a:pt x="352" y="490"/>
                      <a:pt x="340" y="492"/>
                      <a:pt x="330" y="499"/>
                    </a:cubicBezTo>
                    <a:cubicBezTo>
                      <a:pt x="322" y="506"/>
                      <a:pt x="313" y="512"/>
                      <a:pt x="302" y="516"/>
                    </a:cubicBezTo>
                    <a:cubicBezTo>
                      <a:pt x="298" y="542"/>
                      <a:pt x="294" y="568"/>
                      <a:pt x="290" y="594"/>
                    </a:cubicBezTo>
                    <a:cubicBezTo>
                      <a:pt x="190" y="589"/>
                      <a:pt x="100" y="583"/>
                      <a:pt x="0" y="576"/>
                    </a:cubicBezTo>
                    <a:cubicBezTo>
                      <a:pt x="7" y="572"/>
                      <a:pt x="8" y="565"/>
                      <a:pt x="12" y="559"/>
                    </a:cubicBezTo>
                    <a:cubicBezTo>
                      <a:pt x="18" y="558"/>
                      <a:pt x="24" y="555"/>
                      <a:pt x="30" y="556"/>
                    </a:cubicBezTo>
                    <a:cubicBezTo>
                      <a:pt x="41" y="558"/>
                      <a:pt x="51" y="555"/>
                      <a:pt x="62" y="553"/>
                    </a:cubicBezTo>
                    <a:cubicBezTo>
                      <a:pt x="73" y="551"/>
                      <a:pt x="84" y="546"/>
                      <a:pt x="95" y="543"/>
                    </a:cubicBezTo>
                    <a:cubicBezTo>
                      <a:pt x="104" y="542"/>
                      <a:pt x="110" y="536"/>
                      <a:pt x="118" y="531"/>
                    </a:cubicBezTo>
                    <a:cubicBezTo>
                      <a:pt x="127" y="524"/>
                      <a:pt x="135" y="516"/>
                      <a:pt x="145" y="510"/>
                    </a:cubicBezTo>
                    <a:cubicBezTo>
                      <a:pt x="154" y="503"/>
                      <a:pt x="166" y="501"/>
                      <a:pt x="176" y="497"/>
                    </a:cubicBezTo>
                    <a:cubicBezTo>
                      <a:pt x="183" y="491"/>
                      <a:pt x="192" y="487"/>
                      <a:pt x="198" y="479"/>
                    </a:cubicBezTo>
                    <a:cubicBezTo>
                      <a:pt x="206" y="476"/>
                      <a:pt x="213" y="469"/>
                      <a:pt x="218" y="462"/>
                    </a:cubicBezTo>
                    <a:cubicBezTo>
                      <a:pt x="223" y="456"/>
                      <a:pt x="226" y="449"/>
                      <a:pt x="232" y="443"/>
                    </a:cubicBezTo>
                    <a:cubicBezTo>
                      <a:pt x="237" y="435"/>
                      <a:pt x="245" y="429"/>
                      <a:pt x="251" y="421"/>
                    </a:cubicBezTo>
                    <a:cubicBezTo>
                      <a:pt x="257" y="415"/>
                      <a:pt x="258" y="405"/>
                      <a:pt x="259" y="397"/>
                    </a:cubicBezTo>
                    <a:cubicBezTo>
                      <a:pt x="260" y="387"/>
                      <a:pt x="255" y="377"/>
                      <a:pt x="252" y="368"/>
                    </a:cubicBezTo>
                    <a:cubicBezTo>
                      <a:pt x="251" y="364"/>
                      <a:pt x="255" y="360"/>
                      <a:pt x="256" y="355"/>
                    </a:cubicBezTo>
                    <a:cubicBezTo>
                      <a:pt x="259" y="342"/>
                      <a:pt x="260" y="328"/>
                      <a:pt x="266" y="315"/>
                    </a:cubicBezTo>
                    <a:cubicBezTo>
                      <a:pt x="274" y="303"/>
                      <a:pt x="285" y="292"/>
                      <a:pt x="294" y="281"/>
                    </a:cubicBezTo>
                    <a:cubicBezTo>
                      <a:pt x="293" y="275"/>
                      <a:pt x="299" y="275"/>
                      <a:pt x="303" y="273"/>
                    </a:cubicBezTo>
                    <a:cubicBezTo>
                      <a:pt x="305" y="272"/>
                      <a:pt x="314" y="268"/>
                      <a:pt x="309" y="270"/>
                    </a:cubicBezTo>
                    <a:cubicBezTo>
                      <a:pt x="311" y="266"/>
                      <a:pt x="313" y="262"/>
                      <a:pt x="316" y="259"/>
                    </a:cubicBezTo>
                    <a:cubicBezTo>
                      <a:pt x="318" y="254"/>
                      <a:pt x="323" y="249"/>
                      <a:pt x="324" y="244"/>
                    </a:cubicBezTo>
                    <a:cubicBezTo>
                      <a:pt x="325" y="239"/>
                      <a:pt x="322" y="233"/>
                      <a:pt x="327" y="230"/>
                    </a:cubicBezTo>
                    <a:cubicBezTo>
                      <a:pt x="339" y="218"/>
                      <a:pt x="352" y="209"/>
                      <a:pt x="363" y="197"/>
                    </a:cubicBezTo>
                    <a:cubicBezTo>
                      <a:pt x="368" y="190"/>
                      <a:pt x="375" y="185"/>
                      <a:pt x="382" y="181"/>
                    </a:cubicBezTo>
                    <a:cubicBezTo>
                      <a:pt x="393" y="175"/>
                      <a:pt x="405" y="172"/>
                      <a:pt x="417" y="168"/>
                    </a:cubicBezTo>
                    <a:cubicBezTo>
                      <a:pt x="431" y="164"/>
                      <a:pt x="445" y="160"/>
                      <a:pt x="458" y="154"/>
                    </a:cubicBezTo>
                    <a:cubicBezTo>
                      <a:pt x="472" y="148"/>
                      <a:pt x="486" y="142"/>
                      <a:pt x="497" y="131"/>
                    </a:cubicBezTo>
                    <a:cubicBezTo>
                      <a:pt x="503" y="127"/>
                      <a:pt x="507" y="122"/>
                      <a:pt x="510" y="116"/>
                    </a:cubicBezTo>
                    <a:cubicBezTo>
                      <a:pt x="515" y="106"/>
                      <a:pt x="523" y="100"/>
                      <a:pt x="530" y="93"/>
                    </a:cubicBezTo>
                    <a:cubicBezTo>
                      <a:pt x="535" y="85"/>
                      <a:pt x="540" y="77"/>
                      <a:pt x="544" y="68"/>
                    </a:cubicBezTo>
                    <a:cubicBezTo>
                      <a:pt x="553" y="50"/>
                      <a:pt x="565" y="33"/>
                      <a:pt x="575" y="14"/>
                    </a:cubicBezTo>
                    <a:cubicBezTo>
                      <a:pt x="576" y="10"/>
                      <a:pt x="580" y="8"/>
                      <a:pt x="584" y="5"/>
                    </a:cubicBezTo>
                    <a:cubicBezTo>
                      <a:pt x="592" y="4"/>
                      <a:pt x="601" y="2"/>
                      <a:pt x="609" y="0"/>
                    </a:cubicBezTo>
                    <a:cubicBezTo>
                      <a:pt x="613" y="0"/>
                      <a:pt x="613" y="7"/>
                      <a:pt x="615" y="10"/>
                    </a:cubicBezTo>
                    <a:cubicBezTo>
                      <a:pt x="616" y="17"/>
                      <a:pt x="620" y="24"/>
                      <a:pt x="625" y="30"/>
                    </a:cubicBezTo>
                    <a:cubicBezTo>
                      <a:pt x="631" y="39"/>
                      <a:pt x="641" y="43"/>
                      <a:pt x="649" y="50"/>
                    </a:cubicBezTo>
                    <a:cubicBezTo>
                      <a:pt x="652" y="55"/>
                      <a:pt x="659" y="55"/>
                      <a:pt x="664" y="57"/>
                    </a:cubicBezTo>
                    <a:cubicBezTo>
                      <a:pt x="674" y="56"/>
                      <a:pt x="684" y="53"/>
                      <a:pt x="694" y="50"/>
                    </a:cubicBezTo>
                    <a:cubicBezTo>
                      <a:pt x="700" y="53"/>
                      <a:pt x="705" y="53"/>
                      <a:pt x="711" y="53"/>
                    </a:cubicBezTo>
                    <a:cubicBezTo>
                      <a:pt x="721" y="54"/>
                      <a:pt x="731" y="54"/>
                      <a:pt x="740" y="54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43" name="Mongolia"/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6280160" y="2913133"/>
                <a:ext cx="766143" cy="312274"/>
              </a:xfrm>
              <a:custGeom>
                <a:avLst/>
                <a:gdLst/>
                <a:ahLst/>
                <a:cxnLst>
                  <a:cxn ang="0">
                    <a:pos x="115" y="14"/>
                  </a:cxn>
                  <a:cxn ang="0">
                    <a:pos x="119" y="23"/>
                  </a:cxn>
                  <a:cxn ang="0">
                    <a:pos x="126" y="23"/>
                  </a:cxn>
                  <a:cxn ang="0">
                    <a:pos x="132" y="20"/>
                  </a:cxn>
                  <a:cxn ang="0">
                    <a:pos x="134" y="23"/>
                  </a:cxn>
                  <a:cxn ang="0">
                    <a:pos x="138" y="29"/>
                  </a:cxn>
                  <a:cxn ang="0">
                    <a:pos x="128" y="29"/>
                  </a:cxn>
                  <a:cxn ang="0">
                    <a:pos x="126" y="32"/>
                  </a:cxn>
                  <a:cxn ang="0">
                    <a:pos x="123" y="36"/>
                  </a:cxn>
                  <a:cxn ang="0">
                    <a:pos x="119" y="38"/>
                  </a:cxn>
                  <a:cxn ang="0">
                    <a:pos x="115" y="38"/>
                  </a:cxn>
                  <a:cxn ang="0">
                    <a:pos x="111" y="41"/>
                  </a:cxn>
                  <a:cxn ang="0">
                    <a:pos x="115" y="45"/>
                  </a:cxn>
                  <a:cxn ang="0">
                    <a:pos x="109" y="52"/>
                  </a:cxn>
                  <a:cxn ang="0">
                    <a:pos x="100" y="54"/>
                  </a:cxn>
                  <a:cxn ang="0">
                    <a:pos x="88" y="56"/>
                  </a:cxn>
                  <a:cxn ang="0">
                    <a:pos x="69" y="52"/>
                  </a:cxn>
                  <a:cxn ang="0">
                    <a:pos x="52" y="52"/>
                  </a:cxn>
                  <a:cxn ang="0">
                    <a:pos x="40" y="41"/>
                  </a:cxn>
                  <a:cxn ang="0">
                    <a:pos x="21" y="36"/>
                  </a:cxn>
                  <a:cxn ang="0">
                    <a:pos x="19" y="27"/>
                  </a:cxn>
                  <a:cxn ang="0">
                    <a:pos x="13" y="23"/>
                  </a:cxn>
                  <a:cxn ang="0">
                    <a:pos x="7" y="20"/>
                  </a:cxn>
                  <a:cxn ang="0">
                    <a:pos x="0" y="14"/>
                  </a:cxn>
                  <a:cxn ang="0">
                    <a:pos x="15" y="5"/>
                  </a:cxn>
                  <a:cxn ang="0">
                    <a:pos x="23" y="9"/>
                  </a:cxn>
                  <a:cxn ang="0">
                    <a:pos x="30" y="11"/>
                  </a:cxn>
                  <a:cxn ang="0">
                    <a:pos x="40" y="11"/>
                  </a:cxn>
                  <a:cxn ang="0">
                    <a:pos x="40" y="5"/>
                  </a:cxn>
                  <a:cxn ang="0">
                    <a:pos x="38" y="2"/>
                  </a:cxn>
                  <a:cxn ang="0">
                    <a:pos x="40" y="0"/>
                  </a:cxn>
                  <a:cxn ang="0">
                    <a:pos x="52" y="2"/>
                  </a:cxn>
                  <a:cxn ang="0">
                    <a:pos x="61" y="9"/>
                  </a:cxn>
                  <a:cxn ang="0">
                    <a:pos x="71" y="9"/>
                  </a:cxn>
                  <a:cxn ang="0">
                    <a:pos x="92" y="14"/>
                  </a:cxn>
                  <a:cxn ang="0">
                    <a:pos x="103" y="11"/>
                  </a:cxn>
                  <a:cxn ang="0">
                    <a:pos x="109" y="9"/>
                  </a:cxn>
                  <a:cxn ang="0">
                    <a:pos x="117" y="11"/>
                  </a:cxn>
                  <a:cxn ang="0">
                    <a:pos x="115" y="14"/>
                  </a:cxn>
                </a:cxnLst>
                <a:rect l="0" t="0" r="r" b="b"/>
                <a:pathLst>
                  <a:path w="138" h="56">
                    <a:moveTo>
                      <a:pt x="115" y="14"/>
                    </a:moveTo>
                    <a:lnTo>
                      <a:pt x="119" y="23"/>
                    </a:lnTo>
                    <a:lnTo>
                      <a:pt x="126" y="23"/>
                    </a:lnTo>
                    <a:lnTo>
                      <a:pt x="132" y="20"/>
                    </a:lnTo>
                    <a:lnTo>
                      <a:pt x="134" y="23"/>
                    </a:lnTo>
                    <a:lnTo>
                      <a:pt x="138" y="29"/>
                    </a:lnTo>
                    <a:lnTo>
                      <a:pt x="128" y="29"/>
                    </a:lnTo>
                    <a:lnTo>
                      <a:pt x="126" y="32"/>
                    </a:lnTo>
                    <a:lnTo>
                      <a:pt x="123" y="36"/>
                    </a:lnTo>
                    <a:lnTo>
                      <a:pt x="119" y="38"/>
                    </a:lnTo>
                    <a:lnTo>
                      <a:pt x="115" y="38"/>
                    </a:lnTo>
                    <a:lnTo>
                      <a:pt x="111" y="41"/>
                    </a:lnTo>
                    <a:lnTo>
                      <a:pt x="115" y="45"/>
                    </a:lnTo>
                    <a:lnTo>
                      <a:pt x="109" y="52"/>
                    </a:lnTo>
                    <a:lnTo>
                      <a:pt x="100" y="54"/>
                    </a:lnTo>
                    <a:lnTo>
                      <a:pt x="88" y="56"/>
                    </a:lnTo>
                    <a:lnTo>
                      <a:pt x="69" y="52"/>
                    </a:lnTo>
                    <a:lnTo>
                      <a:pt x="52" y="52"/>
                    </a:lnTo>
                    <a:lnTo>
                      <a:pt x="40" y="41"/>
                    </a:lnTo>
                    <a:lnTo>
                      <a:pt x="21" y="36"/>
                    </a:lnTo>
                    <a:lnTo>
                      <a:pt x="19" y="27"/>
                    </a:lnTo>
                    <a:lnTo>
                      <a:pt x="13" y="23"/>
                    </a:lnTo>
                    <a:lnTo>
                      <a:pt x="7" y="20"/>
                    </a:lnTo>
                    <a:lnTo>
                      <a:pt x="0" y="14"/>
                    </a:lnTo>
                    <a:lnTo>
                      <a:pt x="15" y="5"/>
                    </a:lnTo>
                    <a:lnTo>
                      <a:pt x="23" y="9"/>
                    </a:lnTo>
                    <a:lnTo>
                      <a:pt x="30" y="11"/>
                    </a:lnTo>
                    <a:lnTo>
                      <a:pt x="40" y="11"/>
                    </a:lnTo>
                    <a:lnTo>
                      <a:pt x="40" y="5"/>
                    </a:lnTo>
                    <a:lnTo>
                      <a:pt x="38" y="2"/>
                    </a:lnTo>
                    <a:lnTo>
                      <a:pt x="40" y="0"/>
                    </a:lnTo>
                    <a:lnTo>
                      <a:pt x="52" y="2"/>
                    </a:lnTo>
                    <a:lnTo>
                      <a:pt x="61" y="9"/>
                    </a:lnTo>
                    <a:lnTo>
                      <a:pt x="71" y="9"/>
                    </a:lnTo>
                    <a:lnTo>
                      <a:pt x="92" y="14"/>
                    </a:lnTo>
                    <a:lnTo>
                      <a:pt x="103" y="11"/>
                    </a:lnTo>
                    <a:lnTo>
                      <a:pt x="109" y="9"/>
                    </a:lnTo>
                    <a:lnTo>
                      <a:pt x="117" y="11"/>
                    </a:lnTo>
                    <a:lnTo>
                      <a:pt x="115" y="14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44" name="Montenegro"/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694381" y="3165022"/>
                <a:ext cx="60395" cy="60384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7" y="11"/>
                  </a:cxn>
                  <a:cxn ang="0">
                    <a:pos x="7" y="7"/>
                  </a:cxn>
                  <a:cxn ang="0">
                    <a:pos x="11" y="7"/>
                  </a:cxn>
                  <a:cxn ang="0">
                    <a:pos x="5" y="0"/>
                  </a:cxn>
                  <a:cxn ang="0">
                    <a:pos x="0" y="2"/>
                  </a:cxn>
                  <a:cxn ang="0">
                    <a:pos x="0" y="5"/>
                  </a:cxn>
                  <a:cxn ang="0">
                    <a:pos x="0" y="7"/>
                  </a:cxn>
                </a:cxnLst>
                <a:rect l="0" t="0" r="r" b="b"/>
                <a:pathLst>
                  <a:path w="11" h="11">
                    <a:moveTo>
                      <a:pt x="0" y="7"/>
                    </a:moveTo>
                    <a:lnTo>
                      <a:pt x="7" y="11"/>
                    </a:lnTo>
                    <a:lnTo>
                      <a:pt x="7" y="7"/>
                    </a:lnTo>
                    <a:lnTo>
                      <a:pt x="11" y="7"/>
                    </a:lnTo>
                    <a:lnTo>
                      <a:pt x="5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45" name="Monaco"/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 rot="16200000">
                <a:off x="4420882" y="3141729"/>
                <a:ext cx="12077" cy="345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4"/>
                  </a:cxn>
                  <a:cxn ang="0">
                    <a:pos x="2" y="9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lnTo>
                      <a:pt x="0" y="4"/>
                    </a:lnTo>
                    <a:lnTo>
                      <a:pt x="2" y="9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46" name="Moldawia"/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4894544" y="3013198"/>
                <a:ext cx="65571" cy="101791"/>
              </a:xfrm>
              <a:custGeom>
                <a:avLst/>
                <a:gdLst/>
                <a:ahLst/>
                <a:cxnLst>
                  <a:cxn ang="0">
                    <a:pos x="8" y="18"/>
                  </a:cxn>
                  <a:cxn ang="0">
                    <a:pos x="4" y="9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8" y="2"/>
                  </a:cxn>
                  <a:cxn ang="0">
                    <a:pos x="10" y="5"/>
                  </a:cxn>
                  <a:cxn ang="0">
                    <a:pos x="12" y="9"/>
                  </a:cxn>
                  <a:cxn ang="0">
                    <a:pos x="12" y="11"/>
                  </a:cxn>
                  <a:cxn ang="0">
                    <a:pos x="10" y="11"/>
                  </a:cxn>
                  <a:cxn ang="0">
                    <a:pos x="8" y="16"/>
                  </a:cxn>
                  <a:cxn ang="0">
                    <a:pos x="8" y="18"/>
                  </a:cxn>
                </a:cxnLst>
                <a:rect l="0" t="0" r="r" b="b"/>
                <a:pathLst>
                  <a:path w="12" h="18">
                    <a:moveTo>
                      <a:pt x="8" y="18"/>
                    </a:moveTo>
                    <a:lnTo>
                      <a:pt x="4" y="9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8" y="2"/>
                    </a:lnTo>
                    <a:lnTo>
                      <a:pt x="10" y="5"/>
                    </a:lnTo>
                    <a:lnTo>
                      <a:pt x="12" y="9"/>
                    </a:lnTo>
                    <a:lnTo>
                      <a:pt x="12" y="11"/>
                    </a:lnTo>
                    <a:lnTo>
                      <a:pt x="10" y="11"/>
                    </a:lnTo>
                    <a:lnTo>
                      <a:pt x="8" y="16"/>
                    </a:lnTo>
                    <a:lnTo>
                      <a:pt x="8" y="18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230" name="Mexico"/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1326865" y="3515515"/>
                <a:ext cx="682343" cy="579637"/>
              </a:xfrm>
              <a:custGeom>
                <a:avLst/>
                <a:gdLst>
                  <a:gd name="T0" fmla="*/ 0 w 123"/>
                  <a:gd name="T1" fmla="*/ 100322 h 104"/>
                  <a:gd name="T2" fmla="*/ 11095 w 123"/>
                  <a:gd name="T3" fmla="*/ 167203 h 104"/>
                  <a:gd name="T4" fmla="*/ 11095 w 123"/>
                  <a:gd name="T5" fmla="*/ 178350 h 104"/>
                  <a:gd name="T6" fmla="*/ 61023 w 123"/>
                  <a:gd name="T7" fmla="*/ 228511 h 104"/>
                  <a:gd name="T8" fmla="*/ 94308 w 123"/>
                  <a:gd name="T9" fmla="*/ 289819 h 104"/>
                  <a:gd name="T10" fmla="*/ 105403 w 123"/>
                  <a:gd name="T11" fmla="*/ 317686 h 104"/>
                  <a:gd name="T12" fmla="*/ 83213 w 123"/>
                  <a:gd name="T13" fmla="*/ 217364 h 104"/>
                  <a:gd name="T14" fmla="*/ 49928 w 123"/>
                  <a:gd name="T15" fmla="*/ 39014 h 104"/>
                  <a:gd name="T16" fmla="*/ 83213 w 123"/>
                  <a:gd name="T17" fmla="*/ 50161 h 104"/>
                  <a:gd name="T18" fmla="*/ 105403 w 123"/>
                  <a:gd name="T19" fmla="*/ 167203 h 104"/>
                  <a:gd name="T20" fmla="*/ 138688 w 123"/>
                  <a:gd name="T21" fmla="*/ 217364 h 104"/>
                  <a:gd name="T22" fmla="*/ 149783 w 123"/>
                  <a:gd name="T23" fmla="*/ 239658 h 104"/>
                  <a:gd name="T24" fmla="*/ 221900 w 123"/>
                  <a:gd name="T25" fmla="*/ 367847 h 104"/>
                  <a:gd name="T26" fmla="*/ 199710 w 123"/>
                  <a:gd name="T27" fmla="*/ 418007 h 104"/>
                  <a:gd name="T28" fmla="*/ 277375 w 123"/>
                  <a:gd name="T29" fmla="*/ 479315 h 104"/>
                  <a:gd name="T30" fmla="*/ 371683 w 123"/>
                  <a:gd name="T31" fmla="*/ 529476 h 104"/>
                  <a:gd name="T32" fmla="*/ 438253 w 123"/>
                  <a:gd name="T33" fmla="*/ 529476 h 104"/>
                  <a:gd name="T34" fmla="*/ 521465 w 123"/>
                  <a:gd name="T35" fmla="*/ 579637 h 104"/>
                  <a:gd name="T36" fmla="*/ 565845 w 123"/>
                  <a:gd name="T37" fmla="*/ 529476 h 104"/>
                  <a:gd name="T38" fmla="*/ 565845 w 123"/>
                  <a:gd name="T39" fmla="*/ 479315 h 104"/>
                  <a:gd name="T40" fmla="*/ 626868 w 123"/>
                  <a:gd name="T41" fmla="*/ 468168 h 104"/>
                  <a:gd name="T42" fmla="*/ 637963 w 123"/>
                  <a:gd name="T43" fmla="*/ 468168 h 104"/>
                  <a:gd name="T44" fmla="*/ 660153 w 123"/>
                  <a:gd name="T45" fmla="*/ 367847 h 104"/>
                  <a:gd name="T46" fmla="*/ 576940 w 123"/>
                  <a:gd name="T47" fmla="*/ 429154 h 104"/>
                  <a:gd name="T48" fmla="*/ 565845 w 123"/>
                  <a:gd name="T49" fmla="*/ 468168 h 104"/>
                  <a:gd name="T50" fmla="*/ 532560 w 123"/>
                  <a:gd name="T51" fmla="*/ 468168 h 104"/>
                  <a:gd name="T52" fmla="*/ 438253 w 123"/>
                  <a:gd name="T53" fmla="*/ 429154 h 104"/>
                  <a:gd name="T54" fmla="*/ 416063 w 123"/>
                  <a:gd name="T55" fmla="*/ 278672 h 104"/>
                  <a:gd name="T56" fmla="*/ 393873 w 123"/>
                  <a:gd name="T57" fmla="*/ 217364 h 104"/>
                  <a:gd name="T58" fmla="*/ 327303 w 123"/>
                  <a:gd name="T59" fmla="*/ 89175 h 104"/>
                  <a:gd name="T60" fmla="*/ 299565 w 123"/>
                  <a:gd name="T61" fmla="*/ 128189 h 104"/>
                  <a:gd name="T62" fmla="*/ 277375 w 123"/>
                  <a:gd name="T63" fmla="*/ 78028 h 104"/>
                  <a:gd name="T64" fmla="*/ 138688 w 123"/>
                  <a:gd name="T65" fmla="*/ 50161 h 104"/>
                  <a:gd name="T66" fmla="*/ 22190 w 123"/>
                  <a:gd name="T67" fmla="*/ 0 h 10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23"/>
                  <a:gd name="T103" fmla="*/ 0 h 104"/>
                  <a:gd name="T104" fmla="*/ 123 w 123"/>
                  <a:gd name="T105" fmla="*/ 104 h 10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23" h="104">
                    <a:moveTo>
                      <a:pt x="0" y="0"/>
                    </a:moveTo>
                    <a:lnTo>
                      <a:pt x="0" y="18"/>
                    </a:lnTo>
                    <a:lnTo>
                      <a:pt x="4" y="25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2" y="32"/>
                    </a:lnTo>
                    <a:lnTo>
                      <a:pt x="11" y="39"/>
                    </a:lnTo>
                    <a:lnTo>
                      <a:pt x="11" y="41"/>
                    </a:lnTo>
                    <a:lnTo>
                      <a:pt x="9" y="48"/>
                    </a:lnTo>
                    <a:lnTo>
                      <a:pt x="17" y="52"/>
                    </a:lnTo>
                    <a:lnTo>
                      <a:pt x="17" y="59"/>
                    </a:lnTo>
                    <a:lnTo>
                      <a:pt x="19" y="57"/>
                    </a:lnTo>
                    <a:lnTo>
                      <a:pt x="17" y="50"/>
                    </a:lnTo>
                    <a:lnTo>
                      <a:pt x="15" y="39"/>
                    </a:lnTo>
                    <a:lnTo>
                      <a:pt x="4" y="16"/>
                    </a:lnTo>
                    <a:lnTo>
                      <a:pt x="9" y="7"/>
                    </a:lnTo>
                    <a:lnTo>
                      <a:pt x="15" y="7"/>
                    </a:lnTo>
                    <a:lnTo>
                      <a:pt x="15" y="9"/>
                    </a:lnTo>
                    <a:lnTo>
                      <a:pt x="17" y="23"/>
                    </a:lnTo>
                    <a:lnTo>
                      <a:pt x="19" y="30"/>
                    </a:lnTo>
                    <a:lnTo>
                      <a:pt x="19" y="32"/>
                    </a:lnTo>
                    <a:lnTo>
                      <a:pt x="25" y="39"/>
                    </a:lnTo>
                    <a:lnTo>
                      <a:pt x="23" y="41"/>
                    </a:lnTo>
                    <a:lnTo>
                      <a:pt x="27" y="43"/>
                    </a:lnTo>
                    <a:lnTo>
                      <a:pt x="36" y="59"/>
                    </a:lnTo>
                    <a:lnTo>
                      <a:pt x="40" y="66"/>
                    </a:lnTo>
                    <a:lnTo>
                      <a:pt x="34" y="72"/>
                    </a:lnTo>
                    <a:lnTo>
                      <a:pt x="36" y="75"/>
                    </a:lnTo>
                    <a:lnTo>
                      <a:pt x="42" y="84"/>
                    </a:lnTo>
                    <a:lnTo>
                      <a:pt x="50" y="86"/>
                    </a:lnTo>
                    <a:lnTo>
                      <a:pt x="54" y="90"/>
                    </a:lnTo>
                    <a:lnTo>
                      <a:pt x="67" y="95"/>
                    </a:lnTo>
                    <a:lnTo>
                      <a:pt x="73" y="99"/>
                    </a:lnTo>
                    <a:lnTo>
                      <a:pt x="79" y="95"/>
                    </a:lnTo>
                    <a:lnTo>
                      <a:pt x="84" y="95"/>
                    </a:lnTo>
                    <a:lnTo>
                      <a:pt x="94" y="104"/>
                    </a:lnTo>
                    <a:lnTo>
                      <a:pt x="98" y="95"/>
                    </a:lnTo>
                    <a:lnTo>
                      <a:pt x="102" y="95"/>
                    </a:lnTo>
                    <a:lnTo>
                      <a:pt x="98" y="90"/>
                    </a:lnTo>
                    <a:lnTo>
                      <a:pt x="102" y="86"/>
                    </a:lnTo>
                    <a:lnTo>
                      <a:pt x="111" y="86"/>
                    </a:lnTo>
                    <a:lnTo>
                      <a:pt x="113" y="84"/>
                    </a:lnTo>
                    <a:lnTo>
                      <a:pt x="115" y="86"/>
                    </a:lnTo>
                    <a:lnTo>
                      <a:pt x="115" y="84"/>
                    </a:lnTo>
                    <a:lnTo>
                      <a:pt x="123" y="66"/>
                    </a:lnTo>
                    <a:lnTo>
                      <a:pt x="119" y="66"/>
                    </a:lnTo>
                    <a:lnTo>
                      <a:pt x="107" y="68"/>
                    </a:lnTo>
                    <a:lnTo>
                      <a:pt x="104" y="77"/>
                    </a:lnTo>
                    <a:lnTo>
                      <a:pt x="98" y="81"/>
                    </a:lnTo>
                    <a:lnTo>
                      <a:pt x="102" y="84"/>
                    </a:lnTo>
                    <a:lnTo>
                      <a:pt x="98" y="84"/>
                    </a:lnTo>
                    <a:lnTo>
                      <a:pt x="96" y="84"/>
                    </a:lnTo>
                    <a:lnTo>
                      <a:pt x="84" y="84"/>
                    </a:lnTo>
                    <a:lnTo>
                      <a:pt x="79" y="77"/>
                    </a:lnTo>
                    <a:lnTo>
                      <a:pt x="73" y="59"/>
                    </a:lnTo>
                    <a:lnTo>
                      <a:pt x="75" y="50"/>
                    </a:lnTo>
                    <a:lnTo>
                      <a:pt x="79" y="41"/>
                    </a:lnTo>
                    <a:lnTo>
                      <a:pt x="71" y="39"/>
                    </a:lnTo>
                    <a:lnTo>
                      <a:pt x="65" y="18"/>
                    </a:lnTo>
                    <a:lnTo>
                      <a:pt x="59" y="16"/>
                    </a:lnTo>
                    <a:lnTo>
                      <a:pt x="57" y="23"/>
                    </a:lnTo>
                    <a:lnTo>
                      <a:pt x="54" y="23"/>
                    </a:lnTo>
                    <a:lnTo>
                      <a:pt x="50" y="16"/>
                    </a:lnTo>
                    <a:lnTo>
                      <a:pt x="50" y="14"/>
                    </a:lnTo>
                    <a:lnTo>
                      <a:pt x="48" y="7"/>
                    </a:lnTo>
                    <a:lnTo>
                      <a:pt x="25" y="9"/>
                    </a:lnTo>
                    <a:lnTo>
                      <a:pt x="11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F7A04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3334231" name="Mauritius"/>
              <p:cNvGrpSpPr>
                <a:grpSpLocks/>
              </p:cNvGrpSpPr>
              <p:nvPr/>
            </p:nvGrpSpPr>
            <p:grpSpPr bwMode="auto">
              <a:xfrm>
                <a:off x="5637273" y="5159679"/>
                <a:ext cx="83698" cy="151833"/>
                <a:chOff x="5637273" y="5140590"/>
                <a:chExt cx="83698" cy="151833"/>
              </a:xfrm>
            </p:grpSpPr>
            <p:sp>
              <p:nvSpPr>
                <p:cNvPr id="782" name="Mauritius"/>
                <p:cNvSpPr>
                  <a:spLocks/>
                </p:cNvSpPr>
                <p:nvPr/>
              </p:nvSpPr>
              <p:spPr bwMode="auto">
                <a:xfrm>
                  <a:off x="5707277" y="5249040"/>
                  <a:ext cx="13804" cy="18979"/>
                </a:xfrm>
                <a:custGeom>
                  <a:avLst/>
                  <a:gdLst>
                    <a:gd name="T0" fmla="*/ 35 w 37"/>
                    <a:gd name="T1" fmla="*/ 13 h 43"/>
                    <a:gd name="T2" fmla="*/ 36 w 37"/>
                    <a:gd name="T3" fmla="*/ 18 h 43"/>
                    <a:gd name="T4" fmla="*/ 35 w 37"/>
                    <a:gd name="T5" fmla="*/ 26 h 43"/>
                    <a:gd name="T6" fmla="*/ 30 w 37"/>
                    <a:gd name="T7" fmla="*/ 32 h 43"/>
                    <a:gd name="T8" fmla="*/ 29 w 37"/>
                    <a:gd name="T9" fmla="*/ 37 h 43"/>
                    <a:gd name="T10" fmla="*/ 23 w 37"/>
                    <a:gd name="T11" fmla="*/ 41 h 43"/>
                    <a:gd name="T12" fmla="*/ 16 w 37"/>
                    <a:gd name="T13" fmla="*/ 43 h 43"/>
                    <a:gd name="T14" fmla="*/ 9 w 37"/>
                    <a:gd name="T15" fmla="*/ 41 h 43"/>
                    <a:gd name="T16" fmla="*/ 2 w 37"/>
                    <a:gd name="T17" fmla="*/ 38 h 43"/>
                    <a:gd name="T18" fmla="*/ 2 w 37"/>
                    <a:gd name="T19" fmla="*/ 35 h 43"/>
                    <a:gd name="T20" fmla="*/ 6 w 37"/>
                    <a:gd name="T21" fmla="*/ 31 h 43"/>
                    <a:gd name="T22" fmla="*/ 7 w 37"/>
                    <a:gd name="T23" fmla="*/ 24 h 43"/>
                    <a:gd name="T24" fmla="*/ 12 w 37"/>
                    <a:gd name="T25" fmla="*/ 16 h 43"/>
                    <a:gd name="T26" fmla="*/ 16 w 37"/>
                    <a:gd name="T27" fmla="*/ 14 h 43"/>
                    <a:gd name="T28" fmla="*/ 20 w 37"/>
                    <a:gd name="T29" fmla="*/ 8 h 43"/>
                    <a:gd name="T30" fmla="*/ 24 w 37"/>
                    <a:gd name="T31" fmla="*/ 2 h 43"/>
                    <a:gd name="T32" fmla="*/ 31 w 37"/>
                    <a:gd name="T33" fmla="*/ 2 h 43"/>
                    <a:gd name="T34" fmla="*/ 32 w 37"/>
                    <a:gd name="T35" fmla="*/ 7 h 43"/>
                    <a:gd name="T36" fmla="*/ 35 w 37"/>
                    <a:gd name="T37" fmla="*/ 1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7" h="43">
                      <a:moveTo>
                        <a:pt x="35" y="13"/>
                      </a:moveTo>
                      <a:cubicBezTo>
                        <a:pt x="33" y="14"/>
                        <a:pt x="36" y="16"/>
                        <a:pt x="36" y="18"/>
                      </a:cubicBezTo>
                      <a:cubicBezTo>
                        <a:pt x="37" y="20"/>
                        <a:pt x="37" y="23"/>
                        <a:pt x="35" y="26"/>
                      </a:cubicBezTo>
                      <a:cubicBezTo>
                        <a:pt x="34" y="28"/>
                        <a:pt x="33" y="31"/>
                        <a:pt x="30" y="32"/>
                      </a:cubicBezTo>
                      <a:cubicBezTo>
                        <a:pt x="28" y="32"/>
                        <a:pt x="29" y="35"/>
                        <a:pt x="29" y="37"/>
                      </a:cubicBezTo>
                      <a:cubicBezTo>
                        <a:pt x="27" y="39"/>
                        <a:pt x="25" y="41"/>
                        <a:pt x="23" y="41"/>
                      </a:cubicBezTo>
                      <a:cubicBezTo>
                        <a:pt x="20" y="41"/>
                        <a:pt x="18" y="43"/>
                        <a:pt x="16" y="43"/>
                      </a:cubicBezTo>
                      <a:cubicBezTo>
                        <a:pt x="13" y="43"/>
                        <a:pt x="11" y="42"/>
                        <a:pt x="9" y="41"/>
                      </a:cubicBezTo>
                      <a:cubicBezTo>
                        <a:pt x="6" y="41"/>
                        <a:pt x="4" y="41"/>
                        <a:pt x="2" y="38"/>
                      </a:cubicBezTo>
                      <a:cubicBezTo>
                        <a:pt x="1" y="38"/>
                        <a:pt x="0" y="34"/>
                        <a:pt x="2" y="35"/>
                      </a:cubicBezTo>
                      <a:cubicBezTo>
                        <a:pt x="5" y="36"/>
                        <a:pt x="6" y="33"/>
                        <a:pt x="6" y="31"/>
                      </a:cubicBezTo>
                      <a:cubicBezTo>
                        <a:pt x="5" y="29"/>
                        <a:pt x="7" y="26"/>
                        <a:pt x="7" y="24"/>
                      </a:cubicBezTo>
                      <a:cubicBezTo>
                        <a:pt x="8" y="21"/>
                        <a:pt x="10" y="18"/>
                        <a:pt x="12" y="16"/>
                      </a:cubicBezTo>
                      <a:cubicBezTo>
                        <a:pt x="13" y="15"/>
                        <a:pt x="15" y="14"/>
                        <a:pt x="16" y="14"/>
                      </a:cubicBezTo>
                      <a:cubicBezTo>
                        <a:pt x="19" y="13"/>
                        <a:pt x="18" y="10"/>
                        <a:pt x="20" y="8"/>
                      </a:cubicBezTo>
                      <a:cubicBezTo>
                        <a:pt x="21" y="6"/>
                        <a:pt x="21" y="3"/>
                        <a:pt x="24" y="2"/>
                      </a:cubicBezTo>
                      <a:cubicBezTo>
                        <a:pt x="26" y="1"/>
                        <a:pt x="29" y="0"/>
                        <a:pt x="31" y="2"/>
                      </a:cubicBezTo>
                      <a:cubicBezTo>
                        <a:pt x="33" y="3"/>
                        <a:pt x="32" y="5"/>
                        <a:pt x="32" y="7"/>
                      </a:cubicBezTo>
                      <a:cubicBezTo>
                        <a:pt x="32" y="10"/>
                        <a:pt x="35" y="10"/>
                        <a:pt x="35" y="13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83" name="Mauritius"/>
                <p:cNvSpPr>
                  <a:spLocks/>
                </p:cNvSpPr>
                <p:nvPr/>
              </p:nvSpPr>
              <p:spPr bwMode="auto">
                <a:xfrm>
                  <a:off x="5652060" y="5273193"/>
                  <a:ext cx="17255" cy="18979"/>
                </a:xfrm>
                <a:custGeom>
                  <a:avLst/>
                  <a:gdLst>
                    <a:gd name="T0" fmla="*/ 37 w 43"/>
                    <a:gd name="T1" fmla="*/ 22 h 43"/>
                    <a:gd name="T2" fmla="*/ 41 w 43"/>
                    <a:gd name="T3" fmla="*/ 28 h 43"/>
                    <a:gd name="T4" fmla="*/ 37 w 43"/>
                    <a:gd name="T5" fmla="*/ 35 h 43"/>
                    <a:gd name="T6" fmla="*/ 34 w 43"/>
                    <a:gd name="T7" fmla="*/ 42 h 43"/>
                    <a:gd name="T8" fmla="*/ 23 w 43"/>
                    <a:gd name="T9" fmla="*/ 43 h 43"/>
                    <a:gd name="T10" fmla="*/ 16 w 43"/>
                    <a:gd name="T11" fmla="*/ 40 h 43"/>
                    <a:gd name="T12" fmla="*/ 10 w 43"/>
                    <a:gd name="T13" fmla="*/ 36 h 43"/>
                    <a:gd name="T14" fmla="*/ 5 w 43"/>
                    <a:gd name="T15" fmla="*/ 31 h 43"/>
                    <a:gd name="T16" fmla="*/ 4 w 43"/>
                    <a:gd name="T17" fmla="*/ 24 h 43"/>
                    <a:gd name="T18" fmla="*/ 1 w 43"/>
                    <a:gd name="T19" fmla="*/ 17 h 43"/>
                    <a:gd name="T20" fmla="*/ 4 w 43"/>
                    <a:gd name="T21" fmla="*/ 11 h 43"/>
                    <a:gd name="T22" fmla="*/ 8 w 43"/>
                    <a:gd name="T23" fmla="*/ 5 h 43"/>
                    <a:gd name="T24" fmla="*/ 13 w 43"/>
                    <a:gd name="T25" fmla="*/ 3 h 43"/>
                    <a:gd name="T26" fmla="*/ 21 w 43"/>
                    <a:gd name="T27" fmla="*/ 3 h 43"/>
                    <a:gd name="T28" fmla="*/ 27 w 43"/>
                    <a:gd name="T29" fmla="*/ 4 h 43"/>
                    <a:gd name="T30" fmla="*/ 33 w 43"/>
                    <a:gd name="T31" fmla="*/ 7 h 43"/>
                    <a:gd name="T32" fmla="*/ 34 w 43"/>
                    <a:gd name="T33" fmla="*/ 14 h 43"/>
                    <a:gd name="T34" fmla="*/ 35 w 43"/>
                    <a:gd name="T35" fmla="*/ 15 h 43"/>
                    <a:gd name="T36" fmla="*/ 37 w 43"/>
                    <a:gd name="T37" fmla="*/ 22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3" h="43">
                      <a:moveTo>
                        <a:pt x="37" y="22"/>
                      </a:moveTo>
                      <a:cubicBezTo>
                        <a:pt x="38" y="24"/>
                        <a:pt x="43" y="24"/>
                        <a:pt x="41" y="28"/>
                      </a:cubicBezTo>
                      <a:cubicBezTo>
                        <a:pt x="40" y="30"/>
                        <a:pt x="38" y="33"/>
                        <a:pt x="37" y="35"/>
                      </a:cubicBezTo>
                      <a:cubicBezTo>
                        <a:pt x="37" y="37"/>
                        <a:pt x="38" y="41"/>
                        <a:pt x="34" y="42"/>
                      </a:cubicBezTo>
                      <a:cubicBezTo>
                        <a:pt x="31" y="42"/>
                        <a:pt x="27" y="43"/>
                        <a:pt x="23" y="43"/>
                      </a:cubicBezTo>
                      <a:cubicBezTo>
                        <a:pt x="21" y="42"/>
                        <a:pt x="18" y="43"/>
                        <a:pt x="16" y="40"/>
                      </a:cubicBezTo>
                      <a:cubicBezTo>
                        <a:pt x="14" y="38"/>
                        <a:pt x="11" y="38"/>
                        <a:pt x="10" y="36"/>
                      </a:cubicBezTo>
                      <a:cubicBezTo>
                        <a:pt x="8" y="34"/>
                        <a:pt x="5" y="34"/>
                        <a:pt x="5" y="31"/>
                      </a:cubicBezTo>
                      <a:cubicBezTo>
                        <a:pt x="3" y="29"/>
                        <a:pt x="3" y="27"/>
                        <a:pt x="4" y="24"/>
                      </a:cubicBezTo>
                      <a:cubicBezTo>
                        <a:pt x="4" y="22"/>
                        <a:pt x="2" y="19"/>
                        <a:pt x="1" y="17"/>
                      </a:cubicBezTo>
                      <a:cubicBezTo>
                        <a:pt x="0" y="15"/>
                        <a:pt x="1" y="12"/>
                        <a:pt x="4" y="11"/>
                      </a:cubicBezTo>
                      <a:cubicBezTo>
                        <a:pt x="7" y="10"/>
                        <a:pt x="6" y="6"/>
                        <a:pt x="8" y="5"/>
                      </a:cubicBezTo>
                      <a:cubicBezTo>
                        <a:pt x="10" y="5"/>
                        <a:pt x="12" y="4"/>
                        <a:pt x="13" y="3"/>
                      </a:cubicBezTo>
                      <a:cubicBezTo>
                        <a:pt x="16" y="2"/>
                        <a:pt x="19" y="0"/>
                        <a:pt x="21" y="3"/>
                      </a:cubicBezTo>
                      <a:cubicBezTo>
                        <a:pt x="23" y="4"/>
                        <a:pt x="25" y="3"/>
                        <a:pt x="27" y="4"/>
                      </a:cubicBezTo>
                      <a:cubicBezTo>
                        <a:pt x="29" y="5"/>
                        <a:pt x="31" y="6"/>
                        <a:pt x="33" y="7"/>
                      </a:cubicBezTo>
                      <a:cubicBezTo>
                        <a:pt x="35" y="9"/>
                        <a:pt x="34" y="12"/>
                        <a:pt x="34" y="14"/>
                      </a:cubicBezTo>
                      <a:cubicBezTo>
                        <a:pt x="34" y="14"/>
                        <a:pt x="35" y="14"/>
                        <a:pt x="35" y="15"/>
                      </a:cubicBezTo>
                      <a:cubicBezTo>
                        <a:pt x="35" y="17"/>
                        <a:pt x="36" y="20"/>
                        <a:pt x="37" y="22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84" name="Mauritius"/>
                <p:cNvSpPr>
                  <a:spLocks/>
                </p:cNvSpPr>
                <p:nvPr>
                  <p:custDataLst>
                    <p:tags r:id="rId138"/>
                  </p:custDataLst>
                </p:nvPr>
              </p:nvSpPr>
              <p:spPr bwMode="auto">
                <a:xfrm>
                  <a:off x="5636530" y="5140348"/>
                  <a:ext cx="10353" cy="17253"/>
                </a:xfrm>
                <a:custGeom>
                  <a:avLst/>
                  <a:gdLst/>
                  <a:ahLst/>
                  <a:cxnLst>
                    <a:cxn ang="0">
                      <a:pos x="0" y="3"/>
                    </a:cxn>
                    <a:cxn ang="0">
                      <a:pos x="2" y="0"/>
                    </a:cxn>
                    <a:cxn ang="0">
                      <a:pos x="2" y="3"/>
                    </a:cxn>
                    <a:cxn ang="0">
                      <a:pos x="0" y="3"/>
                    </a:cxn>
                  </a:cxnLst>
                  <a:rect l="0" t="0" r="r" b="b"/>
                  <a:pathLst>
                    <a:path w="2" h="3">
                      <a:moveTo>
                        <a:pt x="0" y="3"/>
                      </a:moveTo>
                      <a:lnTo>
                        <a:pt x="2" y="0"/>
                      </a:lnTo>
                      <a:lnTo>
                        <a:pt x="2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549" name="Mauritania"/>
              <p:cNvSpPr>
                <a:spLocks/>
              </p:cNvSpPr>
              <p:nvPr/>
            </p:nvSpPr>
            <p:spPr bwMode="auto">
              <a:xfrm>
                <a:off x="3802273" y="3673977"/>
                <a:ext cx="322677" cy="407164"/>
              </a:xfrm>
              <a:custGeom>
                <a:avLst/>
                <a:gdLst>
                  <a:gd name="T0" fmla="*/ 18 w 890"/>
                  <a:gd name="T1" fmla="*/ 443 h 943"/>
                  <a:gd name="T2" fmla="*/ 21 w 890"/>
                  <a:gd name="T3" fmla="*/ 431 h 943"/>
                  <a:gd name="T4" fmla="*/ 289 w 890"/>
                  <a:gd name="T5" fmla="*/ 434 h 943"/>
                  <a:gd name="T6" fmla="*/ 300 w 890"/>
                  <a:gd name="T7" fmla="*/ 314 h 943"/>
                  <a:gd name="T8" fmla="*/ 381 w 890"/>
                  <a:gd name="T9" fmla="*/ 277 h 943"/>
                  <a:gd name="T10" fmla="*/ 636 w 890"/>
                  <a:gd name="T11" fmla="*/ 97 h 943"/>
                  <a:gd name="T12" fmla="*/ 890 w 890"/>
                  <a:gd name="T13" fmla="*/ 183 h 943"/>
                  <a:gd name="T14" fmla="*/ 769 w 890"/>
                  <a:gd name="T15" fmla="*/ 179 h 943"/>
                  <a:gd name="T16" fmla="*/ 788 w 890"/>
                  <a:gd name="T17" fmla="*/ 849 h 943"/>
                  <a:gd name="T18" fmla="*/ 501 w 890"/>
                  <a:gd name="T19" fmla="*/ 891 h 943"/>
                  <a:gd name="T20" fmla="*/ 481 w 890"/>
                  <a:gd name="T21" fmla="*/ 895 h 943"/>
                  <a:gd name="T22" fmla="*/ 398 w 890"/>
                  <a:gd name="T23" fmla="*/ 897 h 943"/>
                  <a:gd name="T24" fmla="*/ 350 w 890"/>
                  <a:gd name="T25" fmla="*/ 877 h 943"/>
                  <a:gd name="T26" fmla="*/ 316 w 890"/>
                  <a:gd name="T27" fmla="*/ 919 h 943"/>
                  <a:gd name="T28" fmla="*/ 285 w 890"/>
                  <a:gd name="T29" fmla="*/ 940 h 943"/>
                  <a:gd name="T30" fmla="*/ 246 w 890"/>
                  <a:gd name="T31" fmla="*/ 904 h 943"/>
                  <a:gd name="T32" fmla="*/ 232 w 890"/>
                  <a:gd name="T33" fmla="*/ 883 h 943"/>
                  <a:gd name="T34" fmla="*/ 212 w 890"/>
                  <a:gd name="T35" fmla="*/ 839 h 943"/>
                  <a:gd name="T36" fmla="*/ 189 w 890"/>
                  <a:gd name="T37" fmla="*/ 829 h 943"/>
                  <a:gd name="T38" fmla="*/ 171 w 890"/>
                  <a:gd name="T39" fmla="*/ 813 h 943"/>
                  <a:gd name="T40" fmla="*/ 139 w 890"/>
                  <a:gd name="T41" fmla="*/ 791 h 943"/>
                  <a:gd name="T42" fmla="*/ 96 w 890"/>
                  <a:gd name="T43" fmla="*/ 792 h 943"/>
                  <a:gd name="T44" fmla="*/ 26 w 890"/>
                  <a:gd name="T45" fmla="*/ 792 h 943"/>
                  <a:gd name="T46" fmla="*/ 0 w 890"/>
                  <a:gd name="T47" fmla="*/ 827 h 943"/>
                  <a:gd name="T48" fmla="*/ 9 w 890"/>
                  <a:gd name="T49" fmla="*/ 774 h 943"/>
                  <a:gd name="T50" fmla="*/ 40 w 890"/>
                  <a:gd name="T51" fmla="*/ 706 h 943"/>
                  <a:gd name="T52" fmla="*/ 52 w 890"/>
                  <a:gd name="T53" fmla="*/ 619 h 943"/>
                  <a:gd name="T54" fmla="*/ 31 w 890"/>
                  <a:gd name="T55" fmla="*/ 574 h 943"/>
                  <a:gd name="T56" fmla="*/ 45 w 890"/>
                  <a:gd name="T57" fmla="*/ 550 h 943"/>
                  <a:gd name="T58" fmla="*/ 59 w 890"/>
                  <a:gd name="T59" fmla="*/ 503 h 943"/>
                  <a:gd name="T60" fmla="*/ 41 w 890"/>
                  <a:gd name="T61" fmla="*/ 479 h 943"/>
                  <a:gd name="T62" fmla="*/ 27 w 890"/>
                  <a:gd name="T63" fmla="*/ 441 h 9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90" h="943">
                    <a:moveTo>
                      <a:pt x="27" y="441"/>
                    </a:moveTo>
                    <a:cubicBezTo>
                      <a:pt x="27" y="435"/>
                      <a:pt x="21" y="442"/>
                      <a:pt x="18" y="443"/>
                    </a:cubicBezTo>
                    <a:cubicBezTo>
                      <a:pt x="17" y="444"/>
                      <a:pt x="16" y="444"/>
                      <a:pt x="15" y="444"/>
                    </a:cubicBezTo>
                    <a:cubicBezTo>
                      <a:pt x="18" y="439"/>
                      <a:pt x="20" y="435"/>
                      <a:pt x="21" y="431"/>
                    </a:cubicBezTo>
                    <a:cubicBezTo>
                      <a:pt x="22" y="417"/>
                      <a:pt x="33" y="420"/>
                      <a:pt x="44" y="421"/>
                    </a:cubicBezTo>
                    <a:cubicBezTo>
                      <a:pt x="128" y="426"/>
                      <a:pt x="205" y="430"/>
                      <a:pt x="289" y="434"/>
                    </a:cubicBezTo>
                    <a:cubicBezTo>
                      <a:pt x="291" y="405"/>
                      <a:pt x="294" y="376"/>
                      <a:pt x="296" y="346"/>
                    </a:cubicBezTo>
                    <a:cubicBezTo>
                      <a:pt x="296" y="336"/>
                      <a:pt x="291" y="323"/>
                      <a:pt x="300" y="314"/>
                    </a:cubicBezTo>
                    <a:cubicBezTo>
                      <a:pt x="312" y="302"/>
                      <a:pt x="328" y="293"/>
                      <a:pt x="344" y="287"/>
                    </a:cubicBezTo>
                    <a:cubicBezTo>
                      <a:pt x="357" y="287"/>
                      <a:pt x="368" y="278"/>
                      <a:pt x="381" y="277"/>
                    </a:cubicBezTo>
                    <a:cubicBezTo>
                      <a:pt x="390" y="213"/>
                      <a:pt x="400" y="149"/>
                      <a:pt x="411" y="85"/>
                    </a:cubicBezTo>
                    <a:cubicBezTo>
                      <a:pt x="486" y="89"/>
                      <a:pt x="561" y="93"/>
                      <a:pt x="636" y="97"/>
                    </a:cubicBezTo>
                    <a:cubicBezTo>
                      <a:pt x="641" y="65"/>
                      <a:pt x="646" y="32"/>
                      <a:pt x="651" y="0"/>
                    </a:cubicBezTo>
                    <a:cubicBezTo>
                      <a:pt x="731" y="61"/>
                      <a:pt x="811" y="122"/>
                      <a:pt x="890" y="183"/>
                    </a:cubicBezTo>
                    <a:cubicBezTo>
                      <a:pt x="860" y="183"/>
                      <a:pt x="830" y="181"/>
                      <a:pt x="800" y="180"/>
                    </a:cubicBezTo>
                    <a:cubicBezTo>
                      <a:pt x="790" y="179"/>
                      <a:pt x="780" y="179"/>
                      <a:pt x="769" y="179"/>
                    </a:cubicBezTo>
                    <a:cubicBezTo>
                      <a:pt x="766" y="391"/>
                      <a:pt x="767" y="603"/>
                      <a:pt x="773" y="815"/>
                    </a:cubicBezTo>
                    <a:cubicBezTo>
                      <a:pt x="771" y="830"/>
                      <a:pt x="800" y="831"/>
                      <a:pt x="788" y="849"/>
                    </a:cubicBezTo>
                    <a:cubicBezTo>
                      <a:pt x="783" y="865"/>
                      <a:pt x="779" y="882"/>
                      <a:pt x="775" y="899"/>
                    </a:cubicBezTo>
                    <a:cubicBezTo>
                      <a:pt x="684" y="895"/>
                      <a:pt x="592" y="894"/>
                      <a:pt x="501" y="891"/>
                    </a:cubicBezTo>
                    <a:cubicBezTo>
                      <a:pt x="494" y="889"/>
                      <a:pt x="507" y="871"/>
                      <a:pt x="494" y="879"/>
                    </a:cubicBezTo>
                    <a:cubicBezTo>
                      <a:pt x="491" y="886"/>
                      <a:pt x="494" y="900"/>
                      <a:pt x="481" y="895"/>
                    </a:cubicBezTo>
                    <a:cubicBezTo>
                      <a:pt x="468" y="897"/>
                      <a:pt x="455" y="901"/>
                      <a:pt x="442" y="899"/>
                    </a:cubicBezTo>
                    <a:cubicBezTo>
                      <a:pt x="429" y="893"/>
                      <a:pt x="408" y="888"/>
                      <a:pt x="398" y="897"/>
                    </a:cubicBezTo>
                    <a:cubicBezTo>
                      <a:pt x="393" y="903"/>
                      <a:pt x="388" y="911"/>
                      <a:pt x="382" y="916"/>
                    </a:cubicBezTo>
                    <a:cubicBezTo>
                      <a:pt x="376" y="900"/>
                      <a:pt x="357" y="893"/>
                      <a:pt x="350" y="877"/>
                    </a:cubicBezTo>
                    <a:cubicBezTo>
                      <a:pt x="343" y="871"/>
                      <a:pt x="338" y="887"/>
                      <a:pt x="328" y="883"/>
                    </a:cubicBezTo>
                    <a:cubicBezTo>
                      <a:pt x="324" y="895"/>
                      <a:pt x="316" y="906"/>
                      <a:pt x="316" y="919"/>
                    </a:cubicBezTo>
                    <a:cubicBezTo>
                      <a:pt x="324" y="931"/>
                      <a:pt x="304" y="943"/>
                      <a:pt x="295" y="942"/>
                    </a:cubicBezTo>
                    <a:cubicBezTo>
                      <a:pt x="291" y="942"/>
                      <a:pt x="288" y="942"/>
                      <a:pt x="285" y="940"/>
                    </a:cubicBezTo>
                    <a:cubicBezTo>
                      <a:pt x="276" y="936"/>
                      <a:pt x="271" y="927"/>
                      <a:pt x="266" y="919"/>
                    </a:cubicBezTo>
                    <a:cubicBezTo>
                      <a:pt x="258" y="915"/>
                      <a:pt x="250" y="912"/>
                      <a:pt x="246" y="904"/>
                    </a:cubicBezTo>
                    <a:cubicBezTo>
                      <a:pt x="238" y="904"/>
                      <a:pt x="252" y="896"/>
                      <a:pt x="242" y="894"/>
                    </a:cubicBezTo>
                    <a:cubicBezTo>
                      <a:pt x="239" y="889"/>
                      <a:pt x="241" y="879"/>
                      <a:pt x="232" y="883"/>
                    </a:cubicBezTo>
                    <a:cubicBezTo>
                      <a:pt x="229" y="877"/>
                      <a:pt x="229" y="871"/>
                      <a:pt x="221" y="871"/>
                    </a:cubicBezTo>
                    <a:cubicBezTo>
                      <a:pt x="221" y="860"/>
                      <a:pt x="216" y="850"/>
                      <a:pt x="212" y="839"/>
                    </a:cubicBezTo>
                    <a:cubicBezTo>
                      <a:pt x="212" y="833"/>
                      <a:pt x="201" y="838"/>
                      <a:pt x="207" y="832"/>
                    </a:cubicBezTo>
                    <a:cubicBezTo>
                      <a:pt x="196" y="833"/>
                      <a:pt x="187" y="834"/>
                      <a:pt x="189" y="829"/>
                    </a:cubicBezTo>
                    <a:cubicBezTo>
                      <a:pt x="179" y="836"/>
                      <a:pt x="170" y="815"/>
                      <a:pt x="171" y="813"/>
                    </a:cubicBezTo>
                    <a:cubicBezTo>
                      <a:pt x="171" y="813"/>
                      <a:pt x="171" y="813"/>
                      <a:pt x="171" y="813"/>
                    </a:cubicBezTo>
                    <a:cubicBezTo>
                      <a:pt x="171" y="813"/>
                      <a:pt x="171" y="813"/>
                      <a:pt x="171" y="813"/>
                    </a:cubicBezTo>
                    <a:cubicBezTo>
                      <a:pt x="160" y="804"/>
                      <a:pt x="153" y="789"/>
                      <a:pt x="139" y="791"/>
                    </a:cubicBezTo>
                    <a:cubicBezTo>
                      <a:pt x="127" y="792"/>
                      <a:pt x="111" y="786"/>
                      <a:pt x="103" y="788"/>
                    </a:cubicBezTo>
                    <a:cubicBezTo>
                      <a:pt x="98" y="790"/>
                      <a:pt x="96" y="784"/>
                      <a:pt x="96" y="792"/>
                    </a:cubicBezTo>
                    <a:cubicBezTo>
                      <a:pt x="82" y="796"/>
                      <a:pt x="69" y="790"/>
                      <a:pt x="56" y="799"/>
                    </a:cubicBezTo>
                    <a:cubicBezTo>
                      <a:pt x="45" y="797"/>
                      <a:pt x="36" y="797"/>
                      <a:pt x="26" y="792"/>
                    </a:cubicBezTo>
                    <a:cubicBezTo>
                      <a:pt x="9" y="792"/>
                      <a:pt x="16" y="815"/>
                      <a:pt x="4" y="823"/>
                    </a:cubicBezTo>
                    <a:cubicBezTo>
                      <a:pt x="3" y="831"/>
                      <a:pt x="2" y="823"/>
                      <a:pt x="0" y="827"/>
                    </a:cubicBezTo>
                    <a:cubicBezTo>
                      <a:pt x="1" y="820"/>
                      <a:pt x="1" y="813"/>
                      <a:pt x="2" y="806"/>
                    </a:cubicBezTo>
                    <a:cubicBezTo>
                      <a:pt x="3" y="795"/>
                      <a:pt x="6" y="785"/>
                      <a:pt x="9" y="774"/>
                    </a:cubicBezTo>
                    <a:cubicBezTo>
                      <a:pt x="11" y="766"/>
                      <a:pt x="13" y="759"/>
                      <a:pt x="18" y="752"/>
                    </a:cubicBezTo>
                    <a:cubicBezTo>
                      <a:pt x="26" y="737"/>
                      <a:pt x="34" y="721"/>
                      <a:pt x="40" y="706"/>
                    </a:cubicBezTo>
                    <a:cubicBezTo>
                      <a:pt x="44" y="692"/>
                      <a:pt x="46" y="678"/>
                      <a:pt x="49" y="664"/>
                    </a:cubicBezTo>
                    <a:cubicBezTo>
                      <a:pt x="52" y="649"/>
                      <a:pt x="51" y="634"/>
                      <a:pt x="52" y="619"/>
                    </a:cubicBezTo>
                    <a:cubicBezTo>
                      <a:pt x="53" y="613"/>
                      <a:pt x="51" y="608"/>
                      <a:pt x="49" y="602"/>
                    </a:cubicBezTo>
                    <a:cubicBezTo>
                      <a:pt x="41" y="594"/>
                      <a:pt x="37" y="584"/>
                      <a:pt x="31" y="574"/>
                    </a:cubicBezTo>
                    <a:cubicBezTo>
                      <a:pt x="29" y="571"/>
                      <a:pt x="26" y="564"/>
                      <a:pt x="33" y="568"/>
                    </a:cubicBezTo>
                    <a:cubicBezTo>
                      <a:pt x="38" y="562"/>
                      <a:pt x="41" y="556"/>
                      <a:pt x="45" y="550"/>
                    </a:cubicBezTo>
                    <a:cubicBezTo>
                      <a:pt x="48" y="542"/>
                      <a:pt x="52" y="534"/>
                      <a:pt x="53" y="525"/>
                    </a:cubicBezTo>
                    <a:cubicBezTo>
                      <a:pt x="52" y="517"/>
                      <a:pt x="60" y="511"/>
                      <a:pt x="59" y="503"/>
                    </a:cubicBezTo>
                    <a:cubicBezTo>
                      <a:pt x="57" y="494"/>
                      <a:pt x="53" y="486"/>
                      <a:pt x="49" y="477"/>
                    </a:cubicBezTo>
                    <a:cubicBezTo>
                      <a:pt x="46" y="469"/>
                      <a:pt x="45" y="477"/>
                      <a:pt x="41" y="479"/>
                    </a:cubicBezTo>
                    <a:cubicBezTo>
                      <a:pt x="36" y="483"/>
                      <a:pt x="38" y="473"/>
                      <a:pt x="36" y="470"/>
                    </a:cubicBezTo>
                    <a:cubicBezTo>
                      <a:pt x="35" y="460"/>
                      <a:pt x="30" y="451"/>
                      <a:pt x="27" y="44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0" name="Malta"/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4609829" y="3351352"/>
                <a:ext cx="10353" cy="1725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2" y="0"/>
                  </a:cxn>
                  <a:cxn ang="0">
                    <a:pos x="2" y="3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2" y="0"/>
                    </a:lnTo>
                    <a:lnTo>
                      <a:pt x="2" y="3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1" name="Mali"/>
              <p:cNvSpPr>
                <a:spLocks/>
              </p:cNvSpPr>
              <p:nvPr/>
            </p:nvSpPr>
            <p:spPr bwMode="auto">
              <a:xfrm>
                <a:off x="3902355" y="3751615"/>
                <a:ext cx="443465" cy="488252"/>
              </a:xfrm>
              <a:custGeom>
                <a:avLst/>
                <a:gdLst>
                  <a:gd name="T0" fmla="*/ 40 w 1219"/>
                  <a:gd name="T1" fmla="*/ 740 h 1132"/>
                  <a:gd name="T2" fmla="*/ 74 w 1219"/>
                  <a:gd name="T3" fmla="*/ 698 h 1132"/>
                  <a:gd name="T4" fmla="*/ 122 w 1219"/>
                  <a:gd name="T5" fmla="*/ 718 h 1132"/>
                  <a:gd name="T6" fmla="*/ 205 w 1219"/>
                  <a:gd name="T7" fmla="*/ 716 h 1132"/>
                  <a:gd name="T8" fmla="*/ 225 w 1219"/>
                  <a:gd name="T9" fmla="*/ 712 h 1132"/>
                  <a:gd name="T10" fmla="*/ 512 w 1219"/>
                  <a:gd name="T11" fmla="*/ 670 h 1132"/>
                  <a:gd name="T12" fmla="*/ 493 w 1219"/>
                  <a:gd name="T13" fmla="*/ 0 h 1132"/>
                  <a:gd name="T14" fmla="*/ 614 w 1219"/>
                  <a:gd name="T15" fmla="*/ 4 h 1132"/>
                  <a:gd name="T16" fmla="*/ 928 w 1219"/>
                  <a:gd name="T17" fmla="*/ 253 h 1132"/>
                  <a:gd name="T18" fmla="*/ 1015 w 1219"/>
                  <a:gd name="T19" fmla="*/ 337 h 1132"/>
                  <a:gd name="T20" fmla="*/ 1076 w 1219"/>
                  <a:gd name="T21" fmla="*/ 373 h 1132"/>
                  <a:gd name="T22" fmla="*/ 1148 w 1219"/>
                  <a:gd name="T23" fmla="*/ 410 h 1132"/>
                  <a:gd name="T24" fmla="*/ 1169 w 1219"/>
                  <a:gd name="T25" fmla="*/ 468 h 1132"/>
                  <a:gd name="T26" fmla="*/ 1212 w 1219"/>
                  <a:gd name="T27" fmla="*/ 616 h 1132"/>
                  <a:gd name="T28" fmla="*/ 1185 w 1219"/>
                  <a:gd name="T29" fmla="*/ 704 h 1132"/>
                  <a:gd name="T30" fmla="*/ 1147 w 1219"/>
                  <a:gd name="T31" fmla="*/ 742 h 1132"/>
                  <a:gd name="T32" fmla="*/ 1012 w 1219"/>
                  <a:gd name="T33" fmla="*/ 746 h 1132"/>
                  <a:gd name="T34" fmla="*/ 933 w 1219"/>
                  <a:gd name="T35" fmla="*/ 767 h 1132"/>
                  <a:gd name="T36" fmla="*/ 923 w 1219"/>
                  <a:gd name="T37" fmla="*/ 769 h 1132"/>
                  <a:gd name="T38" fmla="*/ 895 w 1219"/>
                  <a:gd name="T39" fmla="*/ 767 h 1132"/>
                  <a:gd name="T40" fmla="*/ 841 w 1219"/>
                  <a:gd name="T41" fmla="*/ 761 h 1132"/>
                  <a:gd name="T42" fmla="*/ 760 w 1219"/>
                  <a:gd name="T43" fmla="*/ 803 h 1132"/>
                  <a:gd name="T44" fmla="*/ 699 w 1219"/>
                  <a:gd name="T45" fmla="*/ 827 h 1132"/>
                  <a:gd name="T46" fmla="*/ 655 w 1219"/>
                  <a:gd name="T47" fmla="*/ 861 h 1132"/>
                  <a:gd name="T48" fmla="*/ 638 w 1219"/>
                  <a:gd name="T49" fmla="*/ 896 h 1132"/>
                  <a:gd name="T50" fmla="*/ 600 w 1219"/>
                  <a:gd name="T51" fmla="*/ 875 h 1132"/>
                  <a:gd name="T52" fmla="*/ 580 w 1219"/>
                  <a:gd name="T53" fmla="*/ 924 h 1132"/>
                  <a:gd name="T54" fmla="*/ 563 w 1219"/>
                  <a:gd name="T55" fmla="*/ 962 h 1132"/>
                  <a:gd name="T56" fmla="*/ 520 w 1219"/>
                  <a:gd name="T57" fmla="*/ 988 h 1132"/>
                  <a:gd name="T58" fmla="*/ 490 w 1219"/>
                  <a:gd name="T59" fmla="*/ 1000 h 1132"/>
                  <a:gd name="T60" fmla="*/ 496 w 1219"/>
                  <a:gd name="T61" fmla="*/ 1013 h 1132"/>
                  <a:gd name="T62" fmla="*/ 478 w 1219"/>
                  <a:gd name="T63" fmla="*/ 1060 h 1132"/>
                  <a:gd name="T64" fmla="*/ 475 w 1219"/>
                  <a:gd name="T65" fmla="*/ 1106 h 1132"/>
                  <a:gd name="T66" fmla="*/ 448 w 1219"/>
                  <a:gd name="T67" fmla="*/ 1110 h 1132"/>
                  <a:gd name="T68" fmla="*/ 422 w 1219"/>
                  <a:gd name="T69" fmla="*/ 1097 h 1132"/>
                  <a:gd name="T70" fmla="*/ 398 w 1219"/>
                  <a:gd name="T71" fmla="*/ 1093 h 1132"/>
                  <a:gd name="T72" fmla="*/ 376 w 1219"/>
                  <a:gd name="T73" fmla="*/ 1110 h 1132"/>
                  <a:gd name="T74" fmla="*/ 338 w 1219"/>
                  <a:gd name="T75" fmla="*/ 1113 h 1132"/>
                  <a:gd name="T76" fmla="*/ 303 w 1219"/>
                  <a:gd name="T77" fmla="*/ 1121 h 1132"/>
                  <a:gd name="T78" fmla="*/ 293 w 1219"/>
                  <a:gd name="T79" fmla="*/ 1112 h 1132"/>
                  <a:gd name="T80" fmla="*/ 273 w 1219"/>
                  <a:gd name="T81" fmla="*/ 1060 h 1132"/>
                  <a:gd name="T82" fmla="*/ 266 w 1219"/>
                  <a:gd name="T83" fmla="*/ 1037 h 1132"/>
                  <a:gd name="T84" fmla="*/ 246 w 1219"/>
                  <a:gd name="T85" fmla="*/ 1010 h 1132"/>
                  <a:gd name="T86" fmla="*/ 235 w 1219"/>
                  <a:gd name="T87" fmla="*/ 969 h 1132"/>
                  <a:gd name="T88" fmla="*/ 202 w 1219"/>
                  <a:gd name="T89" fmla="*/ 948 h 1132"/>
                  <a:gd name="T90" fmla="*/ 163 w 1219"/>
                  <a:gd name="T91" fmla="*/ 974 h 1132"/>
                  <a:gd name="T92" fmla="*/ 98 w 1219"/>
                  <a:gd name="T93" fmla="*/ 978 h 1132"/>
                  <a:gd name="T94" fmla="*/ 48 w 1219"/>
                  <a:gd name="T95" fmla="*/ 965 h 1132"/>
                  <a:gd name="T96" fmla="*/ 51 w 1219"/>
                  <a:gd name="T97" fmla="*/ 944 h 1132"/>
                  <a:gd name="T98" fmla="*/ 56 w 1219"/>
                  <a:gd name="T99" fmla="*/ 910 h 1132"/>
                  <a:gd name="T100" fmla="*/ 45 w 1219"/>
                  <a:gd name="T101" fmla="*/ 871 h 1132"/>
                  <a:gd name="T102" fmla="*/ 17 w 1219"/>
                  <a:gd name="T103" fmla="*/ 842 h 1132"/>
                  <a:gd name="T104" fmla="*/ 14 w 1219"/>
                  <a:gd name="T105" fmla="*/ 793 h 1132"/>
                  <a:gd name="T106" fmla="*/ 9 w 1219"/>
                  <a:gd name="T107" fmla="*/ 761 h 1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19" h="1132">
                    <a:moveTo>
                      <a:pt x="19" y="763"/>
                    </a:moveTo>
                    <a:cubicBezTo>
                      <a:pt x="28" y="764"/>
                      <a:pt x="48" y="752"/>
                      <a:pt x="40" y="740"/>
                    </a:cubicBezTo>
                    <a:cubicBezTo>
                      <a:pt x="40" y="727"/>
                      <a:pt x="48" y="716"/>
                      <a:pt x="52" y="704"/>
                    </a:cubicBezTo>
                    <a:cubicBezTo>
                      <a:pt x="62" y="708"/>
                      <a:pt x="67" y="692"/>
                      <a:pt x="74" y="698"/>
                    </a:cubicBezTo>
                    <a:cubicBezTo>
                      <a:pt x="81" y="714"/>
                      <a:pt x="100" y="721"/>
                      <a:pt x="106" y="737"/>
                    </a:cubicBezTo>
                    <a:cubicBezTo>
                      <a:pt x="112" y="732"/>
                      <a:pt x="117" y="724"/>
                      <a:pt x="122" y="718"/>
                    </a:cubicBezTo>
                    <a:cubicBezTo>
                      <a:pt x="132" y="709"/>
                      <a:pt x="153" y="714"/>
                      <a:pt x="166" y="720"/>
                    </a:cubicBezTo>
                    <a:cubicBezTo>
                      <a:pt x="179" y="722"/>
                      <a:pt x="192" y="718"/>
                      <a:pt x="205" y="716"/>
                    </a:cubicBezTo>
                    <a:cubicBezTo>
                      <a:pt x="218" y="721"/>
                      <a:pt x="215" y="707"/>
                      <a:pt x="218" y="700"/>
                    </a:cubicBezTo>
                    <a:cubicBezTo>
                      <a:pt x="231" y="692"/>
                      <a:pt x="218" y="710"/>
                      <a:pt x="225" y="712"/>
                    </a:cubicBezTo>
                    <a:cubicBezTo>
                      <a:pt x="316" y="715"/>
                      <a:pt x="408" y="716"/>
                      <a:pt x="499" y="720"/>
                    </a:cubicBezTo>
                    <a:cubicBezTo>
                      <a:pt x="503" y="703"/>
                      <a:pt x="507" y="686"/>
                      <a:pt x="512" y="670"/>
                    </a:cubicBezTo>
                    <a:cubicBezTo>
                      <a:pt x="524" y="652"/>
                      <a:pt x="495" y="651"/>
                      <a:pt x="497" y="636"/>
                    </a:cubicBezTo>
                    <a:cubicBezTo>
                      <a:pt x="491" y="424"/>
                      <a:pt x="490" y="212"/>
                      <a:pt x="493" y="0"/>
                    </a:cubicBezTo>
                    <a:cubicBezTo>
                      <a:pt x="504" y="0"/>
                      <a:pt x="514" y="0"/>
                      <a:pt x="524" y="1"/>
                    </a:cubicBezTo>
                    <a:cubicBezTo>
                      <a:pt x="554" y="2"/>
                      <a:pt x="584" y="4"/>
                      <a:pt x="614" y="4"/>
                    </a:cubicBezTo>
                    <a:cubicBezTo>
                      <a:pt x="615" y="5"/>
                      <a:pt x="615" y="5"/>
                      <a:pt x="615" y="5"/>
                    </a:cubicBezTo>
                    <a:cubicBezTo>
                      <a:pt x="720" y="86"/>
                      <a:pt x="825" y="169"/>
                      <a:pt x="928" y="253"/>
                    </a:cubicBezTo>
                    <a:cubicBezTo>
                      <a:pt x="954" y="272"/>
                      <a:pt x="981" y="290"/>
                      <a:pt x="1007" y="309"/>
                    </a:cubicBezTo>
                    <a:cubicBezTo>
                      <a:pt x="1014" y="318"/>
                      <a:pt x="996" y="340"/>
                      <a:pt x="1015" y="337"/>
                    </a:cubicBezTo>
                    <a:cubicBezTo>
                      <a:pt x="1025" y="346"/>
                      <a:pt x="1042" y="347"/>
                      <a:pt x="1042" y="364"/>
                    </a:cubicBezTo>
                    <a:cubicBezTo>
                      <a:pt x="1052" y="372"/>
                      <a:pt x="1063" y="379"/>
                      <a:pt x="1076" y="373"/>
                    </a:cubicBezTo>
                    <a:cubicBezTo>
                      <a:pt x="1089" y="374"/>
                      <a:pt x="1090" y="397"/>
                      <a:pt x="1107" y="393"/>
                    </a:cubicBezTo>
                    <a:cubicBezTo>
                      <a:pt x="1122" y="396"/>
                      <a:pt x="1138" y="398"/>
                      <a:pt x="1148" y="410"/>
                    </a:cubicBezTo>
                    <a:cubicBezTo>
                      <a:pt x="1143" y="424"/>
                      <a:pt x="1156" y="440"/>
                      <a:pt x="1142" y="450"/>
                    </a:cubicBezTo>
                    <a:cubicBezTo>
                      <a:pt x="1132" y="465"/>
                      <a:pt x="1158" y="475"/>
                      <a:pt x="1169" y="468"/>
                    </a:cubicBezTo>
                    <a:cubicBezTo>
                      <a:pt x="1186" y="466"/>
                      <a:pt x="1202" y="463"/>
                      <a:pt x="1219" y="460"/>
                    </a:cubicBezTo>
                    <a:cubicBezTo>
                      <a:pt x="1216" y="512"/>
                      <a:pt x="1215" y="564"/>
                      <a:pt x="1212" y="616"/>
                    </a:cubicBezTo>
                    <a:cubicBezTo>
                      <a:pt x="1207" y="631"/>
                      <a:pt x="1207" y="647"/>
                      <a:pt x="1207" y="663"/>
                    </a:cubicBezTo>
                    <a:cubicBezTo>
                      <a:pt x="1193" y="673"/>
                      <a:pt x="1193" y="690"/>
                      <a:pt x="1185" y="704"/>
                    </a:cubicBezTo>
                    <a:cubicBezTo>
                      <a:pt x="1187" y="719"/>
                      <a:pt x="1172" y="719"/>
                      <a:pt x="1164" y="727"/>
                    </a:cubicBezTo>
                    <a:cubicBezTo>
                      <a:pt x="1153" y="729"/>
                      <a:pt x="1158" y="748"/>
                      <a:pt x="1147" y="742"/>
                    </a:cubicBezTo>
                    <a:cubicBezTo>
                      <a:pt x="1136" y="743"/>
                      <a:pt x="1121" y="731"/>
                      <a:pt x="1116" y="744"/>
                    </a:cubicBezTo>
                    <a:cubicBezTo>
                      <a:pt x="1081" y="742"/>
                      <a:pt x="1046" y="744"/>
                      <a:pt x="1012" y="746"/>
                    </a:cubicBezTo>
                    <a:cubicBezTo>
                      <a:pt x="1000" y="745"/>
                      <a:pt x="988" y="746"/>
                      <a:pt x="980" y="757"/>
                    </a:cubicBezTo>
                    <a:cubicBezTo>
                      <a:pt x="970" y="771"/>
                      <a:pt x="949" y="774"/>
                      <a:pt x="933" y="767"/>
                    </a:cubicBezTo>
                    <a:cubicBezTo>
                      <a:pt x="933" y="767"/>
                      <a:pt x="933" y="767"/>
                      <a:pt x="933" y="767"/>
                    </a:cubicBezTo>
                    <a:cubicBezTo>
                      <a:pt x="930" y="769"/>
                      <a:pt x="926" y="770"/>
                      <a:pt x="923" y="769"/>
                    </a:cubicBezTo>
                    <a:cubicBezTo>
                      <a:pt x="915" y="765"/>
                      <a:pt x="913" y="768"/>
                      <a:pt x="912" y="773"/>
                    </a:cubicBezTo>
                    <a:cubicBezTo>
                      <a:pt x="906" y="771"/>
                      <a:pt x="901" y="769"/>
                      <a:pt x="895" y="767"/>
                    </a:cubicBezTo>
                    <a:cubicBezTo>
                      <a:pt x="886" y="764"/>
                      <a:pt x="879" y="757"/>
                      <a:pt x="870" y="764"/>
                    </a:cubicBezTo>
                    <a:cubicBezTo>
                      <a:pt x="862" y="760"/>
                      <a:pt x="850" y="757"/>
                      <a:pt x="841" y="761"/>
                    </a:cubicBezTo>
                    <a:cubicBezTo>
                      <a:pt x="828" y="773"/>
                      <a:pt x="814" y="784"/>
                      <a:pt x="797" y="786"/>
                    </a:cubicBezTo>
                    <a:cubicBezTo>
                      <a:pt x="784" y="792"/>
                      <a:pt x="774" y="805"/>
                      <a:pt x="760" y="803"/>
                    </a:cubicBezTo>
                    <a:cubicBezTo>
                      <a:pt x="741" y="798"/>
                      <a:pt x="753" y="822"/>
                      <a:pt x="741" y="827"/>
                    </a:cubicBezTo>
                    <a:cubicBezTo>
                      <a:pt x="728" y="824"/>
                      <a:pt x="710" y="809"/>
                      <a:pt x="699" y="827"/>
                    </a:cubicBezTo>
                    <a:cubicBezTo>
                      <a:pt x="685" y="832"/>
                      <a:pt x="676" y="847"/>
                      <a:pt x="679" y="861"/>
                    </a:cubicBezTo>
                    <a:cubicBezTo>
                      <a:pt x="674" y="872"/>
                      <a:pt x="664" y="861"/>
                      <a:pt x="655" y="861"/>
                    </a:cubicBezTo>
                    <a:cubicBezTo>
                      <a:pt x="658" y="861"/>
                      <a:pt x="650" y="877"/>
                      <a:pt x="652" y="883"/>
                    </a:cubicBezTo>
                    <a:cubicBezTo>
                      <a:pt x="656" y="898"/>
                      <a:pt x="638" y="887"/>
                      <a:pt x="638" y="896"/>
                    </a:cubicBezTo>
                    <a:cubicBezTo>
                      <a:pt x="628" y="908"/>
                      <a:pt x="617" y="883"/>
                      <a:pt x="605" y="884"/>
                    </a:cubicBezTo>
                    <a:cubicBezTo>
                      <a:pt x="595" y="884"/>
                      <a:pt x="608" y="878"/>
                      <a:pt x="600" y="875"/>
                    </a:cubicBezTo>
                    <a:cubicBezTo>
                      <a:pt x="594" y="880"/>
                      <a:pt x="583" y="890"/>
                      <a:pt x="580" y="897"/>
                    </a:cubicBezTo>
                    <a:cubicBezTo>
                      <a:pt x="563" y="900"/>
                      <a:pt x="582" y="913"/>
                      <a:pt x="580" y="924"/>
                    </a:cubicBezTo>
                    <a:cubicBezTo>
                      <a:pt x="583" y="939"/>
                      <a:pt x="561" y="926"/>
                      <a:pt x="560" y="937"/>
                    </a:cubicBezTo>
                    <a:cubicBezTo>
                      <a:pt x="570" y="945"/>
                      <a:pt x="560" y="952"/>
                      <a:pt x="563" y="962"/>
                    </a:cubicBezTo>
                    <a:cubicBezTo>
                      <a:pt x="560" y="963"/>
                      <a:pt x="553" y="970"/>
                      <a:pt x="552" y="972"/>
                    </a:cubicBezTo>
                    <a:cubicBezTo>
                      <a:pt x="549" y="984"/>
                      <a:pt x="532" y="988"/>
                      <a:pt x="520" y="988"/>
                    </a:cubicBezTo>
                    <a:cubicBezTo>
                      <a:pt x="509" y="986"/>
                      <a:pt x="503" y="997"/>
                      <a:pt x="494" y="999"/>
                    </a:cubicBezTo>
                    <a:cubicBezTo>
                      <a:pt x="492" y="997"/>
                      <a:pt x="490" y="996"/>
                      <a:pt x="490" y="1000"/>
                    </a:cubicBezTo>
                    <a:cubicBezTo>
                      <a:pt x="491" y="1000"/>
                      <a:pt x="493" y="1000"/>
                      <a:pt x="494" y="999"/>
                    </a:cubicBezTo>
                    <a:cubicBezTo>
                      <a:pt x="496" y="1003"/>
                      <a:pt x="498" y="1010"/>
                      <a:pt x="496" y="1013"/>
                    </a:cubicBezTo>
                    <a:cubicBezTo>
                      <a:pt x="505" y="1023"/>
                      <a:pt x="498" y="1033"/>
                      <a:pt x="496" y="1044"/>
                    </a:cubicBezTo>
                    <a:cubicBezTo>
                      <a:pt x="496" y="1056"/>
                      <a:pt x="482" y="1053"/>
                      <a:pt x="478" y="1060"/>
                    </a:cubicBezTo>
                    <a:cubicBezTo>
                      <a:pt x="484" y="1071"/>
                      <a:pt x="481" y="1081"/>
                      <a:pt x="478" y="1091"/>
                    </a:cubicBezTo>
                    <a:cubicBezTo>
                      <a:pt x="476" y="1095"/>
                      <a:pt x="475" y="1101"/>
                      <a:pt x="475" y="1106"/>
                    </a:cubicBezTo>
                    <a:cubicBezTo>
                      <a:pt x="474" y="1106"/>
                      <a:pt x="474" y="1106"/>
                      <a:pt x="474" y="1106"/>
                    </a:cubicBezTo>
                    <a:cubicBezTo>
                      <a:pt x="466" y="1103"/>
                      <a:pt x="455" y="1107"/>
                      <a:pt x="448" y="1110"/>
                    </a:cubicBezTo>
                    <a:cubicBezTo>
                      <a:pt x="446" y="1120"/>
                      <a:pt x="430" y="1132"/>
                      <a:pt x="422" y="1118"/>
                    </a:cubicBezTo>
                    <a:cubicBezTo>
                      <a:pt x="427" y="1111"/>
                      <a:pt x="427" y="1102"/>
                      <a:pt x="422" y="1097"/>
                    </a:cubicBezTo>
                    <a:cubicBezTo>
                      <a:pt x="430" y="1087"/>
                      <a:pt x="418" y="1079"/>
                      <a:pt x="409" y="1087"/>
                    </a:cubicBezTo>
                    <a:cubicBezTo>
                      <a:pt x="413" y="1094"/>
                      <a:pt x="405" y="1099"/>
                      <a:pt x="398" y="1093"/>
                    </a:cubicBezTo>
                    <a:cubicBezTo>
                      <a:pt x="393" y="1082"/>
                      <a:pt x="388" y="1094"/>
                      <a:pt x="389" y="1100"/>
                    </a:cubicBezTo>
                    <a:cubicBezTo>
                      <a:pt x="396" y="1111"/>
                      <a:pt x="384" y="1112"/>
                      <a:pt x="376" y="1110"/>
                    </a:cubicBezTo>
                    <a:cubicBezTo>
                      <a:pt x="362" y="1108"/>
                      <a:pt x="371" y="1122"/>
                      <a:pt x="364" y="1126"/>
                    </a:cubicBezTo>
                    <a:cubicBezTo>
                      <a:pt x="358" y="1116"/>
                      <a:pt x="343" y="1123"/>
                      <a:pt x="338" y="1113"/>
                    </a:cubicBezTo>
                    <a:cubicBezTo>
                      <a:pt x="337" y="1128"/>
                      <a:pt x="334" y="1095"/>
                      <a:pt x="325" y="1104"/>
                    </a:cubicBezTo>
                    <a:cubicBezTo>
                      <a:pt x="312" y="1099"/>
                      <a:pt x="310" y="1116"/>
                      <a:pt x="303" y="1121"/>
                    </a:cubicBezTo>
                    <a:cubicBezTo>
                      <a:pt x="298" y="1125"/>
                      <a:pt x="296" y="1124"/>
                      <a:pt x="295" y="1123"/>
                    </a:cubicBezTo>
                    <a:cubicBezTo>
                      <a:pt x="294" y="1120"/>
                      <a:pt x="295" y="1115"/>
                      <a:pt x="293" y="1112"/>
                    </a:cubicBezTo>
                    <a:cubicBezTo>
                      <a:pt x="277" y="1107"/>
                      <a:pt x="292" y="1111"/>
                      <a:pt x="281" y="1104"/>
                    </a:cubicBezTo>
                    <a:cubicBezTo>
                      <a:pt x="265" y="1096"/>
                      <a:pt x="273" y="1074"/>
                      <a:pt x="273" y="1060"/>
                    </a:cubicBezTo>
                    <a:cubicBezTo>
                      <a:pt x="266" y="1045"/>
                      <a:pt x="255" y="1065"/>
                      <a:pt x="245" y="1061"/>
                    </a:cubicBezTo>
                    <a:cubicBezTo>
                      <a:pt x="248" y="1052"/>
                      <a:pt x="257" y="1038"/>
                      <a:pt x="266" y="1037"/>
                    </a:cubicBezTo>
                    <a:cubicBezTo>
                      <a:pt x="273" y="1037"/>
                      <a:pt x="265" y="1033"/>
                      <a:pt x="268" y="1031"/>
                    </a:cubicBezTo>
                    <a:cubicBezTo>
                      <a:pt x="262" y="1023"/>
                      <a:pt x="248" y="1022"/>
                      <a:pt x="246" y="1010"/>
                    </a:cubicBezTo>
                    <a:cubicBezTo>
                      <a:pt x="235" y="1010"/>
                      <a:pt x="238" y="1000"/>
                      <a:pt x="241" y="993"/>
                    </a:cubicBezTo>
                    <a:cubicBezTo>
                      <a:pt x="248" y="981"/>
                      <a:pt x="229" y="980"/>
                      <a:pt x="235" y="969"/>
                    </a:cubicBezTo>
                    <a:cubicBezTo>
                      <a:pt x="227" y="965"/>
                      <a:pt x="232" y="959"/>
                      <a:pt x="230" y="952"/>
                    </a:cubicBezTo>
                    <a:cubicBezTo>
                      <a:pt x="225" y="945"/>
                      <a:pt x="202" y="937"/>
                      <a:pt x="202" y="948"/>
                    </a:cubicBezTo>
                    <a:cubicBezTo>
                      <a:pt x="214" y="959"/>
                      <a:pt x="197" y="961"/>
                      <a:pt x="189" y="964"/>
                    </a:cubicBezTo>
                    <a:cubicBezTo>
                      <a:pt x="178" y="965"/>
                      <a:pt x="177" y="985"/>
                      <a:pt x="163" y="974"/>
                    </a:cubicBezTo>
                    <a:cubicBezTo>
                      <a:pt x="152" y="970"/>
                      <a:pt x="139" y="958"/>
                      <a:pt x="128" y="966"/>
                    </a:cubicBezTo>
                    <a:cubicBezTo>
                      <a:pt x="115" y="966"/>
                      <a:pt x="107" y="998"/>
                      <a:pt x="98" y="978"/>
                    </a:cubicBezTo>
                    <a:cubicBezTo>
                      <a:pt x="99" y="965"/>
                      <a:pt x="81" y="953"/>
                      <a:pt x="74" y="969"/>
                    </a:cubicBezTo>
                    <a:cubicBezTo>
                      <a:pt x="67" y="984"/>
                      <a:pt x="56" y="972"/>
                      <a:pt x="48" y="965"/>
                    </a:cubicBezTo>
                    <a:cubicBezTo>
                      <a:pt x="49" y="960"/>
                      <a:pt x="51" y="950"/>
                      <a:pt x="54" y="947"/>
                    </a:cubicBezTo>
                    <a:cubicBezTo>
                      <a:pt x="51" y="944"/>
                      <a:pt x="51" y="944"/>
                      <a:pt x="51" y="944"/>
                    </a:cubicBezTo>
                    <a:cubicBezTo>
                      <a:pt x="54" y="944"/>
                      <a:pt x="56" y="943"/>
                      <a:pt x="58" y="940"/>
                    </a:cubicBezTo>
                    <a:cubicBezTo>
                      <a:pt x="47" y="932"/>
                      <a:pt x="60" y="920"/>
                      <a:pt x="56" y="910"/>
                    </a:cubicBezTo>
                    <a:cubicBezTo>
                      <a:pt x="61" y="904"/>
                      <a:pt x="59" y="903"/>
                      <a:pt x="57" y="898"/>
                    </a:cubicBezTo>
                    <a:cubicBezTo>
                      <a:pt x="49" y="891"/>
                      <a:pt x="50" y="880"/>
                      <a:pt x="45" y="871"/>
                    </a:cubicBezTo>
                    <a:cubicBezTo>
                      <a:pt x="37" y="861"/>
                      <a:pt x="33" y="881"/>
                      <a:pt x="27" y="871"/>
                    </a:cubicBezTo>
                    <a:cubicBezTo>
                      <a:pt x="31" y="860"/>
                      <a:pt x="9" y="853"/>
                      <a:pt x="17" y="842"/>
                    </a:cubicBezTo>
                    <a:cubicBezTo>
                      <a:pt x="27" y="837"/>
                      <a:pt x="24" y="829"/>
                      <a:pt x="21" y="821"/>
                    </a:cubicBezTo>
                    <a:cubicBezTo>
                      <a:pt x="26" y="810"/>
                      <a:pt x="22" y="799"/>
                      <a:pt x="14" y="793"/>
                    </a:cubicBezTo>
                    <a:cubicBezTo>
                      <a:pt x="0" y="784"/>
                      <a:pt x="23" y="771"/>
                      <a:pt x="9" y="762"/>
                    </a:cubicBezTo>
                    <a:cubicBezTo>
                      <a:pt x="9" y="761"/>
                      <a:pt x="9" y="761"/>
                      <a:pt x="9" y="761"/>
                    </a:cubicBezTo>
                    <a:cubicBezTo>
                      <a:pt x="12" y="763"/>
                      <a:pt x="15" y="763"/>
                      <a:pt x="19" y="763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2" name="Maldives"/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6102428" y="4379614"/>
                <a:ext cx="55218" cy="5003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9"/>
                  </a:cxn>
                  <a:cxn ang="0">
                    <a:pos x="4" y="9"/>
                  </a:cxn>
                  <a:cxn ang="0">
                    <a:pos x="10" y="6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10" h="9">
                    <a:moveTo>
                      <a:pt x="0" y="2"/>
                    </a:moveTo>
                    <a:lnTo>
                      <a:pt x="2" y="9"/>
                    </a:lnTo>
                    <a:lnTo>
                      <a:pt x="4" y="9"/>
                    </a:lnTo>
                    <a:lnTo>
                      <a:pt x="10" y="6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553" name="Malaysia"/>
              <p:cNvGrpSpPr/>
              <p:nvPr/>
            </p:nvGrpSpPr>
            <p:grpSpPr>
              <a:xfrm>
                <a:off x="6874364" y="4357104"/>
                <a:ext cx="493727" cy="189497"/>
                <a:chOff x="6874364" y="4338015"/>
                <a:chExt cx="493727" cy="189497"/>
              </a:xfrm>
              <a:solidFill>
                <a:srgbClr val="EE8B8B"/>
              </a:solidFill>
            </p:grpSpPr>
            <p:sp>
              <p:nvSpPr>
                <p:cNvPr id="780" name="Malaysia"/>
                <p:cNvSpPr>
                  <a:spLocks/>
                </p:cNvSpPr>
                <p:nvPr/>
              </p:nvSpPr>
              <p:spPr bwMode="auto">
                <a:xfrm>
                  <a:off x="7118454" y="4338015"/>
                  <a:ext cx="249637" cy="189497"/>
                </a:xfrm>
                <a:custGeom>
                  <a:avLst/>
                  <a:gdLst/>
                  <a:ahLst/>
                  <a:cxnLst>
                    <a:cxn ang="0">
                      <a:pos x="43" y="11"/>
                    </a:cxn>
                    <a:cxn ang="0">
                      <a:pos x="39" y="11"/>
                    </a:cxn>
                    <a:cxn ang="0">
                      <a:pos x="45" y="9"/>
                    </a:cxn>
                    <a:cxn ang="0">
                      <a:pos x="37" y="5"/>
                    </a:cxn>
                    <a:cxn ang="0">
                      <a:pos x="37" y="2"/>
                    </a:cxn>
                    <a:cxn ang="0">
                      <a:pos x="35" y="0"/>
                    </a:cxn>
                    <a:cxn ang="0">
                      <a:pos x="27" y="9"/>
                    </a:cxn>
                    <a:cxn ang="0">
                      <a:pos x="27" y="11"/>
                    </a:cxn>
                    <a:cxn ang="0">
                      <a:pos x="27" y="16"/>
                    </a:cxn>
                    <a:cxn ang="0">
                      <a:pos x="23" y="16"/>
                    </a:cxn>
                    <a:cxn ang="0">
                      <a:pos x="20" y="11"/>
                    </a:cxn>
                    <a:cxn ang="0">
                      <a:pos x="14" y="20"/>
                    </a:cxn>
                    <a:cxn ang="0">
                      <a:pos x="8" y="20"/>
                    </a:cxn>
                    <a:cxn ang="0">
                      <a:pos x="6" y="29"/>
                    </a:cxn>
                    <a:cxn ang="0">
                      <a:pos x="0" y="27"/>
                    </a:cxn>
                    <a:cxn ang="0">
                      <a:pos x="4" y="34"/>
                    </a:cxn>
                    <a:cxn ang="0">
                      <a:pos x="8" y="34"/>
                    </a:cxn>
                    <a:cxn ang="0">
                      <a:pos x="12" y="29"/>
                    </a:cxn>
                    <a:cxn ang="0">
                      <a:pos x="16" y="34"/>
                    </a:cxn>
                    <a:cxn ang="0">
                      <a:pos x="23" y="29"/>
                    </a:cxn>
                    <a:cxn ang="0">
                      <a:pos x="29" y="16"/>
                    </a:cxn>
                    <a:cxn ang="0">
                      <a:pos x="31" y="16"/>
                    </a:cxn>
                    <a:cxn ang="0">
                      <a:pos x="37" y="16"/>
                    </a:cxn>
                    <a:cxn ang="0">
                      <a:pos x="39" y="14"/>
                    </a:cxn>
                    <a:cxn ang="0">
                      <a:pos x="43" y="11"/>
                    </a:cxn>
                  </a:cxnLst>
                  <a:rect l="0" t="0" r="r" b="b"/>
                  <a:pathLst>
                    <a:path w="45" h="34">
                      <a:moveTo>
                        <a:pt x="43" y="11"/>
                      </a:moveTo>
                      <a:lnTo>
                        <a:pt x="39" y="11"/>
                      </a:lnTo>
                      <a:lnTo>
                        <a:pt x="45" y="9"/>
                      </a:lnTo>
                      <a:lnTo>
                        <a:pt x="37" y="5"/>
                      </a:lnTo>
                      <a:lnTo>
                        <a:pt x="37" y="2"/>
                      </a:lnTo>
                      <a:lnTo>
                        <a:pt x="35" y="0"/>
                      </a:lnTo>
                      <a:lnTo>
                        <a:pt x="27" y="9"/>
                      </a:lnTo>
                      <a:lnTo>
                        <a:pt x="27" y="11"/>
                      </a:lnTo>
                      <a:lnTo>
                        <a:pt x="27" y="16"/>
                      </a:lnTo>
                      <a:lnTo>
                        <a:pt x="23" y="16"/>
                      </a:lnTo>
                      <a:lnTo>
                        <a:pt x="20" y="11"/>
                      </a:lnTo>
                      <a:lnTo>
                        <a:pt x="14" y="20"/>
                      </a:lnTo>
                      <a:lnTo>
                        <a:pt x="8" y="20"/>
                      </a:lnTo>
                      <a:lnTo>
                        <a:pt x="6" y="29"/>
                      </a:lnTo>
                      <a:lnTo>
                        <a:pt x="0" y="27"/>
                      </a:lnTo>
                      <a:lnTo>
                        <a:pt x="4" y="34"/>
                      </a:lnTo>
                      <a:lnTo>
                        <a:pt x="8" y="34"/>
                      </a:lnTo>
                      <a:lnTo>
                        <a:pt x="12" y="29"/>
                      </a:lnTo>
                      <a:lnTo>
                        <a:pt x="16" y="34"/>
                      </a:lnTo>
                      <a:lnTo>
                        <a:pt x="23" y="29"/>
                      </a:lnTo>
                      <a:lnTo>
                        <a:pt x="29" y="16"/>
                      </a:lnTo>
                      <a:lnTo>
                        <a:pt x="31" y="16"/>
                      </a:lnTo>
                      <a:lnTo>
                        <a:pt x="37" y="16"/>
                      </a:lnTo>
                      <a:lnTo>
                        <a:pt x="39" y="14"/>
                      </a:lnTo>
                      <a:lnTo>
                        <a:pt x="43" y="11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81" name="Malaysia"/>
                <p:cNvSpPr>
                  <a:spLocks/>
                </p:cNvSpPr>
                <p:nvPr/>
              </p:nvSpPr>
              <p:spPr bwMode="auto">
                <a:xfrm>
                  <a:off x="6874364" y="4338015"/>
                  <a:ext cx="105402" cy="161630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" y="5"/>
                    </a:cxn>
                    <a:cxn ang="0">
                      <a:pos x="4" y="5"/>
                    </a:cxn>
                    <a:cxn ang="0">
                      <a:pos x="8" y="2"/>
                    </a:cxn>
                    <a:cxn ang="0">
                      <a:pos x="12" y="11"/>
                    </a:cxn>
                    <a:cxn ang="0">
                      <a:pos x="12" y="20"/>
                    </a:cxn>
                    <a:cxn ang="0">
                      <a:pos x="19" y="29"/>
                    </a:cxn>
                    <a:cxn ang="0">
                      <a:pos x="12" y="29"/>
                    </a:cxn>
                    <a:cxn ang="0">
                      <a:pos x="4" y="20"/>
                    </a:cxn>
                    <a:cxn ang="0">
                      <a:pos x="0" y="16"/>
                    </a:cxn>
                    <a:cxn ang="0">
                      <a:pos x="0" y="9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19" h="29">
                      <a:moveTo>
                        <a:pt x="0" y="2"/>
                      </a:move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8" y="2"/>
                      </a:lnTo>
                      <a:lnTo>
                        <a:pt x="12" y="11"/>
                      </a:lnTo>
                      <a:lnTo>
                        <a:pt x="12" y="20"/>
                      </a:lnTo>
                      <a:lnTo>
                        <a:pt x="19" y="29"/>
                      </a:lnTo>
                      <a:lnTo>
                        <a:pt x="12" y="29"/>
                      </a:lnTo>
                      <a:lnTo>
                        <a:pt x="4" y="20"/>
                      </a:lnTo>
                      <a:lnTo>
                        <a:pt x="0" y="16"/>
                      </a:lnTo>
                      <a:lnTo>
                        <a:pt x="0" y="9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34237" name="Malawi"/>
              <p:cNvSpPr>
                <a:spLocks/>
              </p:cNvSpPr>
              <p:nvPr/>
            </p:nvSpPr>
            <p:spPr bwMode="auto">
              <a:xfrm>
                <a:off x="5098571" y="4884244"/>
                <a:ext cx="85800" cy="258698"/>
              </a:xfrm>
              <a:custGeom>
                <a:avLst/>
                <a:gdLst>
                  <a:gd name="T0" fmla="*/ 6421968 w 237"/>
                  <a:gd name="T1" fmla="*/ 0 h 600"/>
                  <a:gd name="T2" fmla="*/ 10353924 w 237"/>
                  <a:gd name="T3" fmla="*/ 3160427 h 600"/>
                  <a:gd name="T4" fmla="*/ 15072202 w 237"/>
                  <a:gd name="T5" fmla="*/ 4275847 h 600"/>
                  <a:gd name="T6" fmla="*/ 16644839 w 237"/>
                  <a:gd name="T7" fmla="*/ 1859176 h 600"/>
                  <a:gd name="T8" fmla="*/ 20576795 w 237"/>
                  <a:gd name="T9" fmla="*/ 9109187 h 600"/>
                  <a:gd name="T10" fmla="*/ 21625220 w 237"/>
                  <a:gd name="T11" fmla="*/ 18962131 h 600"/>
                  <a:gd name="T12" fmla="*/ 21756273 w 237"/>
                  <a:gd name="T13" fmla="*/ 26026308 h 600"/>
                  <a:gd name="T14" fmla="*/ 24115598 w 237"/>
                  <a:gd name="T15" fmla="*/ 30859654 h 600"/>
                  <a:gd name="T16" fmla="*/ 24246651 w 237"/>
                  <a:gd name="T17" fmla="*/ 31045485 h 600"/>
                  <a:gd name="T18" fmla="*/ 24115598 w 237"/>
                  <a:gd name="T19" fmla="*/ 31231317 h 600"/>
                  <a:gd name="T20" fmla="*/ 20707848 w 237"/>
                  <a:gd name="T21" fmla="*/ 33462155 h 600"/>
                  <a:gd name="T22" fmla="*/ 18086786 w 237"/>
                  <a:gd name="T23" fmla="*/ 40154670 h 600"/>
                  <a:gd name="T24" fmla="*/ 19266264 w 237"/>
                  <a:gd name="T25" fmla="*/ 47776772 h 600"/>
                  <a:gd name="T26" fmla="*/ 19397317 w 237"/>
                  <a:gd name="T27" fmla="*/ 56328031 h 600"/>
                  <a:gd name="T28" fmla="*/ 23329273 w 237"/>
                  <a:gd name="T29" fmla="*/ 60232227 h 600"/>
                  <a:gd name="T30" fmla="*/ 26474554 w 237"/>
                  <a:gd name="T31" fmla="*/ 65995153 h 600"/>
                  <a:gd name="T32" fmla="*/ 29489138 w 237"/>
                  <a:gd name="T33" fmla="*/ 72501837 h 600"/>
                  <a:gd name="T34" fmla="*/ 30930722 w 237"/>
                  <a:gd name="T35" fmla="*/ 79566014 h 600"/>
                  <a:gd name="T36" fmla="*/ 30144404 w 237"/>
                  <a:gd name="T37" fmla="*/ 87001854 h 600"/>
                  <a:gd name="T38" fmla="*/ 29095979 w 237"/>
                  <a:gd name="T39" fmla="*/ 94995619 h 600"/>
                  <a:gd name="T40" fmla="*/ 24115598 w 237"/>
                  <a:gd name="T41" fmla="*/ 98341876 h 600"/>
                  <a:gd name="T42" fmla="*/ 23329273 w 237"/>
                  <a:gd name="T43" fmla="*/ 103361477 h 600"/>
                  <a:gd name="T44" fmla="*/ 23722432 w 237"/>
                  <a:gd name="T45" fmla="*/ 109681898 h 600"/>
                  <a:gd name="T46" fmla="*/ 22280486 w 237"/>
                  <a:gd name="T47" fmla="*/ 107265229 h 600"/>
                  <a:gd name="T48" fmla="*/ 19921530 w 237"/>
                  <a:gd name="T49" fmla="*/ 103175646 h 600"/>
                  <a:gd name="T50" fmla="*/ 15989574 w 237"/>
                  <a:gd name="T51" fmla="*/ 96854794 h 600"/>
                  <a:gd name="T52" fmla="*/ 14810096 w 237"/>
                  <a:gd name="T53" fmla="*/ 92393118 h 600"/>
                  <a:gd name="T54" fmla="*/ 16644839 w 237"/>
                  <a:gd name="T55" fmla="*/ 87001854 h 600"/>
                  <a:gd name="T56" fmla="*/ 18217839 w 237"/>
                  <a:gd name="T57" fmla="*/ 81238927 h 600"/>
                  <a:gd name="T58" fmla="*/ 17955371 w 237"/>
                  <a:gd name="T59" fmla="*/ 73430993 h 600"/>
                  <a:gd name="T60" fmla="*/ 15203255 w 237"/>
                  <a:gd name="T61" fmla="*/ 71572249 h 600"/>
                  <a:gd name="T62" fmla="*/ 10353924 w 237"/>
                  <a:gd name="T63" fmla="*/ 72687668 h 600"/>
                  <a:gd name="T64" fmla="*/ 8388127 w 237"/>
                  <a:gd name="T65" fmla="*/ 71200586 h 600"/>
                  <a:gd name="T66" fmla="*/ 6028809 w 237"/>
                  <a:gd name="T67" fmla="*/ 65437228 h 600"/>
                  <a:gd name="T68" fmla="*/ 5766701 w 237"/>
                  <a:gd name="T69" fmla="*/ 65437228 h 600"/>
                  <a:gd name="T70" fmla="*/ 4587223 w 237"/>
                  <a:gd name="T71" fmla="*/ 65251397 h 600"/>
                  <a:gd name="T72" fmla="*/ 2358957 w 237"/>
                  <a:gd name="T73" fmla="*/ 62091402 h 600"/>
                  <a:gd name="T74" fmla="*/ 1965798 w 237"/>
                  <a:gd name="T75" fmla="*/ 60046395 h 600"/>
                  <a:gd name="T76" fmla="*/ 3145639 w 237"/>
                  <a:gd name="T77" fmla="*/ 57257632 h 600"/>
                  <a:gd name="T78" fmla="*/ 4456170 w 237"/>
                  <a:gd name="T79" fmla="*/ 51494692 h 600"/>
                  <a:gd name="T80" fmla="*/ 4980382 w 237"/>
                  <a:gd name="T81" fmla="*/ 45917596 h 600"/>
                  <a:gd name="T82" fmla="*/ 7732500 w 237"/>
                  <a:gd name="T83" fmla="*/ 44430515 h 600"/>
                  <a:gd name="T84" fmla="*/ 8912340 w 237"/>
                  <a:gd name="T85" fmla="*/ 41828014 h 600"/>
                  <a:gd name="T86" fmla="*/ 8257074 w 237"/>
                  <a:gd name="T87" fmla="*/ 35135499 h 600"/>
                  <a:gd name="T88" fmla="*/ 7601446 w 237"/>
                  <a:gd name="T89" fmla="*/ 30302160 h 600"/>
                  <a:gd name="T90" fmla="*/ 8650234 w 237"/>
                  <a:gd name="T91" fmla="*/ 23237545 h 600"/>
                  <a:gd name="T92" fmla="*/ 9174446 w 237"/>
                  <a:gd name="T93" fmla="*/ 20077550 h 600"/>
                  <a:gd name="T94" fmla="*/ 10616030 w 237"/>
                  <a:gd name="T95" fmla="*/ 19333794 h 600"/>
                  <a:gd name="T96" fmla="*/ 11533402 w 237"/>
                  <a:gd name="T97" fmla="*/ 14686286 h 600"/>
                  <a:gd name="T98" fmla="*/ 9698659 w 237"/>
                  <a:gd name="T99" fmla="*/ 10224606 h 600"/>
                  <a:gd name="T100" fmla="*/ 8781287 w 237"/>
                  <a:gd name="T101" fmla="*/ 5391266 h 600"/>
                  <a:gd name="T102" fmla="*/ 6815128 w 237"/>
                  <a:gd name="T103" fmla="*/ 3532090 h 600"/>
                  <a:gd name="T104" fmla="*/ 6028809 w 237"/>
                  <a:gd name="T105" fmla="*/ 1301251 h 600"/>
                  <a:gd name="T106" fmla="*/ 6028809 w 237"/>
                  <a:gd name="T107" fmla="*/ 1301251 h 600"/>
                  <a:gd name="T108" fmla="*/ 6028809 w 237"/>
                  <a:gd name="T109" fmla="*/ 1301251 h 600"/>
                  <a:gd name="T110" fmla="*/ 5635648 w 237"/>
                  <a:gd name="T111" fmla="*/ 185831 h 600"/>
                  <a:gd name="T112" fmla="*/ 5635648 w 237"/>
                  <a:gd name="T113" fmla="*/ 0 h 600"/>
                  <a:gd name="T114" fmla="*/ 6421968 w 237"/>
                  <a:gd name="T115" fmla="*/ 0 h 60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237"/>
                  <a:gd name="T175" fmla="*/ 0 h 600"/>
                  <a:gd name="T176" fmla="*/ 237 w 237"/>
                  <a:gd name="T177" fmla="*/ 600 h 60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237" h="600">
                    <a:moveTo>
                      <a:pt x="49" y="0"/>
                    </a:moveTo>
                    <a:cubicBezTo>
                      <a:pt x="56" y="14"/>
                      <a:pt x="74" y="1"/>
                      <a:pt x="79" y="17"/>
                    </a:cubicBezTo>
                    <a:cubicBezTo>
                      <a:pt x="91" y="17"/>
                      <a:pt x="105" y="14"/>
                      <a:pt x="115" y="23"/>
                    </a:cubicBezTo>
                    <a:cubicBezTo>
                      <a:pt x="119" y="19"/>
                      <a:pt x="115" y="3"/>
                      <a:pt x="127" y="10"/>
                    </a:cubicBezTo>
                    <a:cubicBezTo>
                      <a:pt x="138" y="22"/>
                      <a:pt x="150" y="34"/>
                      <a:pt x="157" y="49"/>
                    </a:cubicBezTo>
                    <a:cubicBezTo>
                      <a:pt x="162" y="67"/>
                      <a:pt x="157" y="86"/>
                      <a:pt x="165" y="102"/>
                    </a:cubicBezTo>
                    <a:cubicBezTo>
                      <a:pt x="167" y="115"/>
                      <a:pt x="152" y="129"/>
                      <a:pt x="166" y="140"/>
                    </a:cubicBezTo>
                    <a:cubicBezTo>
                      <a:pt x="168" y="153"/>
                      <a:pt x="184" y="151"/>
                      <a:pt x="184" y="166"/>
                    </a:cubicBezTo>
                    <a:cubicBezTo>
                      <a:pt x="184" y="166"/>
                      <a:pt x="185" y="166"/>
                      <a:pt x="185" y="167"/>
                    </a:cubicBezTo>
                    <a:cubicBezTo>
                      <a:pt x="184" y="168"/>
                      <a:pt x="184" y="168"/>
                      <a:pt x="184" y="168"/>
                    </a:cubicBezTo>
                    <a:cubicBezTo>
                      <a:pt x="173" y="169"/>
                      <a:pt x="155" y="163"/>
                      <a:pt x="158" y="180"/>
                    </a:cubicBezTo>
                    <a:cubicBezTo>
                      <a:pt x="154" y="193"/>
                      <a:pt x="140" y="202"/>
                      <a:pt x="138" y="216"/>
                    </a:cubicBezTo>
                    <a:cubicBezTo>
                      <a:pt x="140" y="230"/>
                      <a:pt x="144" y="243"/>
                      <a:pt x="147" y="257"/>
                    </a:cubicBezTo>
                    <a:cubicBezTo>
                      <a:pt x="147" y="273"/>
                      <a:pt x="149" y="288"/>
                      <a:pt x="148" y="303"/>
                    </a:cubicBezTo>
                    <a:cubicBezTo>
                      <a:pt x="150" y="320"/>
                      <a:pt x="170" y="311"/>
                      <a:pt x="178" y="324"/>
                    </a:cubicBezTo>
                    <a:cubicBezTo>
                      <a:pt x="188" y="332"/>
                      <a:pt x="192" y="345"/>
                      <a:pt x="202" y="355"/>
                    </a:cubicBezTo>
                    <a:cubicBezTo>
                      <a:pt x="212" y="365"/>
                      <a:pt x="215" y="380"/>
                      <a:pt x="225" y="390"/>
                    </a:cubicBezTo>
                    <a:cubicBezTo>
                      <a:pt x="236" y="400"/>
                      <a:pt x="237" y="415"/>
                      <a:pt x="236" y="428"/>
                    </a:cubicBezTo>
                    <a:cubicBezTo>
                      <a:pt x="225" y="440"/>
                      <a:pt x="230" y="454"/>
                      <a:pt x="230" y="468"/>
                    </a:cubicBezTo>
                    <a:cubicBezTo>
                      <a:pt x="227" y="482"/>
                      <a:pt x="228" y="497"/>
                      <a:pt x="222" y="511"/>
                    </a:cubicBezTo>
                    <a:cubicBezTo>
                      <a:pt x="211" y="524"/>
                      <a:pt x="188" y="508"/>
                      <a:pt x="184" y="529"/>
                    </a:cubicBezTo>
                    <a:cubicBezTo>
                      <a:pt x="187" y="541"/>
                      <a:pt x="164" y="547"/>
                      <a:pt x="178" y="556"/>
                    </a:cubicBezTo>
                    <a:cubicBezTo>
                      <a:pt x="186" y="565"/>
                      <a:pt x="179" y="579"/>
                      <a:pt x="181" y="590"/>
                    </a:cubicBezTo>
                    <a:cubicBezTo>
                      <a:pt x="170" y="600"/>
                      <a:pt x="156" y="583"/>
                      <a:pt x="170" y="577"/>
                    </a:cubicBezTo>
                    <a:cubicBezTo>
                      <a:pt x="174" y="565"/>
                      <a:pt x="155" y="567"/>
                      <a:pt x="152" y="555"/>
                    </a:cubicBezTo>
                    <a:cubicBezTo>
                      <a:pt x="141" y="544"/>
                      <a:pt x="133" y="531"/>
                      <a:pt x="122" y="521"/>
                    </a:cubicBezTo>
                    <a:cubicBezTo>
                      <a:pt x="125" y="511"/>
                      <a:pt x="121" y="503"/>
                      <a:pt x="113" y="497"/>
                    </a:cubicBezTo>
                    <a:cubicBezTo>
                      <a:pt x="110" y="484"/>
                      <a:pt x="132" y="483"/>
                      <a:pt x="127" y="468"/>
                    </a:cubicBezTo>
                    <a:cubicBezTo>
                      <a:pt x="131" y="457"/>
                      <a:pt x="143" y="450"/>
                      <a:pt x="139" y="437"/>
                    </a:cubicBezTo>
                    <a:cubicBezTo>
                      <a:pt x="143" y="423"/>
                      <a:pt x="139" y="409"/>
                      <a:pt x="137" y="395"/>
                    </a:cubicBezTo>
                    <a:cubicBezTo>
                      <a:pt x="132" y="387"/>
                      <a:pt x="127" y="379"/>
                      <a:pt x="116" y="385"/>
                    </a:cubicBezTo>
                    <a:cubicBezTo>
                      <a:pt x="104" y="388"/>
                      <a:pt x="90" y="391"/>
                      <a:pt x="79" y="391"/>
                    </a:cubicBezTo>
                    <a:cubicBezTo>
                      <a:pt x="74" y="409"/>
                      <a:pt x="66" y="365"/>
                      <a:pt x="64" y="383"/>
                    </a:cubicBezTo>
                    <a:cubicBezTo>
                      <a:pt x="56" y="373"/>
                      <a:pt x="55" y="359"/>
                      <a:pt x="46" y="352"/>
                    </a:cubicBezTo>
                    <a:cubicBezTo>
                      <a:pt x="44" y="352"/>
                      <a:pt x="44" y="352"/>
                      <a:pt x="44" y="352"/>
                    </a:cubicBezTo>
                    <a:cubicBezTo>
                      <a:pt x="46" y="348"/>
                      <a:pt x="39" y="343"/>
                      <a:pt x="35" y="351"/>
                    </a:cubicBezTo>
                    <a:cubicBezTo>
                      <a:pt x="27" y="357"/>
                      <a:pt x="30" y="334"/>
                      <a:pt x="18" y="334"/>
                    </a:cubicBezTo>
                    <a:cubicBezTo>
                      <a:pt x="11" y="331"/>
                      <a:pt x="25" y="326"/>
                      <a:pt x="15" y="323"/>
                    </a:cubicBezTo>
                    <a:cubicBezTo>
                      <a:pt x="0" y="318"/>
                      <a:pt x="23" y="317"/>
                      <a:pt x="24" y="308"/>
                    </a:cubicBezTo>
                    <a:cubicBezTo>
                      <a:pt x="29" y="298"/>
                      <a:pt x="35" y="289"/>
                      <a:pt x="34" y="277"/>
                    </a:cubicBezTo>
                    <a:cubicBezTo>
                      <a:pt x="41" y="267"/>
                      <a:pt x="26" y="257"/>
                      <a:pt x="38" y="247"/>
                    </a:cubicBezTo>
                    <a:cubicBezTo>
                      <a:pt x="43" y="240"/>
                      <a:pt x="54" y="248"/>
                      <a:pt x="59" y="239"/>
                    </a:cubicBezTo>
                    <a:cubicBezTo>
                      <a:pt x="67" y="242"/>
                      <a:pt x="85" y="220"/>
                      <a:pt x="68" y="225"/>
                    </a:cubicBezTo>
                    <a:cubicBezTo>
                      <a:pt x="55" y="218"/>
                      <a:pt x="59" y="201"/>
                      <a:pt x="63" y="189"/>
                    </a:cubicBezTo>
                    <a:cubicBezTo>
                      <a:pt x="64" y="179"/>
                      <a:pt x="66" y="168"/>
                      <a:pt x="58" y="163"/>
                    </a:cubicBezTo>
                    <a:cubicBezTo>
                      <a:pt x="58" y="149"/>
                      <a:pt x="79" y="140"/>
                      <a:pt x="66" y="125"/>
                    </a:cubicBezTo>
                    <a:cubicBezTo>
                      <a:pt x="63" y="118"/>
                      <a:pt x="58" y="110"/>
                      <a:pt x="70" y="108"/>
                    </a:cubicBezTo>
                    <a:cubicBezTo>
                      <a:pt x="74" y="106"/>
                      <a:pt x="76" y="110"/>
                      <a:pt x="81" y="104"/>
                    </a:cubicBezTo>
                    <a:cubicBezTo>
                      <a:pt x="88" y="97"/>
                      <a:pt x="101" y="89"/>
                      <a:pt x="88" y="79"/>
                    </a:cubicBezTo>
                    <a:cubicBezTo>
                      <a:pt x="83" y="71"/>
                      <a:pt x="87" y="59"/>
                      <a:pt x="74" y="55"/>
                    </a:cubicBezTo>
                    <a:cubicBezTo>
                      <a:pt x="61" y="50"/>
                      <a:pt x="83" y="35"/>
                      <a:pt x="67" y="29"/>
                    </a:cubicBezTo>
                    <a:cubicBezTo>
                      <a:pt x="63" y="23"/>
                      <a:pt x="60" y="9"/>
                      <a:pt x="52" y="19"/>
                    </a:cubicBezTo>
                    <a:cubicBezTo>
                      <a:pt x="47" y="19"/>
                      <a:pt x="46" y="10"/>
                      <a:pt x="46" y="7"/>
                    </a:cubicBezTo>
                    <a:cubicBezTo>
                      <a:pt x="46" y="7"/>
                      <a:pt x="46" y="7"/>
                      <a:pt x="46" y="7"/>
                    </a:cubicBezTo>
                    <a:cubicBezTo>
                      <a:pt x="46" y="6"/>
                      <a:pt x="46" y="6"/>
                      <a:pt x="46" y="7"/>
                    </a:cubicBezTo>
                    <a:cubicBezTo>
                      <a:pt x="42" y="7"/>
                      <a:pt x="42" y="5"/>
                      <a:pt x="43" y="1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5" y="0"/>
                      <a:pt x="47" y="1"/>
                      <a:pt x="49" y="0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34238" name="Madagascar"/>
              <p:cNvSpPr>
                <a:spLocks/>
              </p:cNvSpPr>
              <p:nvPr/>
            </p:nvSpPr>
            <p:spPr bwMode="auto">
              <a:xfrm>
                <a:off x="5348234" y="4988557"/>
                <a:ext cx="207467" cy="442290"/>
              </a:xfrm>
              <a:custGeom>
                <a:avLst/>
                <a:gdLst>
                  <a:gd name="T0" fmla="*/ 48392318 w 569"/>
                  <a:gd name="T1" fmla="*/ 36121497 h 1025"/>
                  <a:gd name="T2" fmla="*/ 48525038 w 569"/>
                  <a:gd name="T3" fmla="*/ 40590566 h 1025"/>
                  <a:gd name="T4" fmla="*/ 53178277 w 569"/>
                  <a:gd name="T5" fmla="*/ 34445974 h 1025"/>
                  <a:gd name="T6" fmla="*/ 52779386 w 569"/>
                  <a:gd name="T7" fmla="*/ 28860177 h 1025"/>
                  <a:gd name="T8" fmla="*/ 54773475 w 569"/>
                  <a:gd name="T9" fmla="*/ 25694670 h 1025"/>
                  <a:gd name="T10" fmla="*/ 56501758 w 569"/>
                  <a:gd name="T11" fmla="*/ 20853647 h 1025"/>
                  <a:gd name="T12" fmla="*/ 59958325 w 569"/>
                  <a:gd name="T13" fmla="*/ 16199032 h 1025"/>
                  <a:gd name="T14" fmla="*/ 63414891 w 569"/>
                  <a:gd name="T15" fmla="*/ 13964710 h 1025"/>
                  <a:gd name="T16" fmla="*/ 63813782 w 569"/>
                  <a:gd name="T17" fmla="*/ 4282661 h 1025"/>
                  <a:gd name="T18" fmla="*/ 66472567 w 569"/>
                  <a:gd name="T19" fmla="*/ 1117160 h 1025"/>
                  <a:gd name="T20" fmla="*/ 71391611 w 569"/>
                  <a:gd name="T21" fmla="*/ 7634141 h 1025"/>
                  <a:gd name="T22" fmla="*/ 73651870 w 569"/>
                  <a:gd name="T23" fmla="*/ 18246942 h 1025"/>
                  <a:gd name="T24" fmla="*/ 74715457 w 569"/>
                  <a:gd name="T25" fmla="*/ 33887178 h 1025"/>
                  <a:gd name="T26" fmla="*/ 75512874 w 569"/>
                  <a:gd name="T27" fmla="*/ 48410681 h 1025"/>
                  <a:gd name="T28" fmla="*/ 72322477 w 569"/>
                  <a:gd name="T29" fmla="*/ 54741250 h 1025"/>
                  <a:gd name="T30" fmla="*/ 69796413 w 569"/>
                  <a:gd name="T31" fmla="*/ 48410681 h 1025"/>
                  <a:gd name="T32" fmla="*/ 69131717 w 569"/>
                  <a:gd name="T33" fmla="*/ 61257810 h 1025"/>
                  <a:gd name="T34" fmla="*/ 66074041 w 569"/>
                  <a:gd name="T35" fmla="*/ 70753880 h 1025"/>
                  <a:gd name="T36" fmla="*/ 62883280 w 569"/>
                  <a:gd name="T37" fmla="*/ 85463359 h 1025"/>
                  <a:gd name="T38" fmla="*/ 57565345 w 569"/>
                  <a:gd name="T39" fmla="*/ 103337908 h 1025"/>
                  <a:gd name="T40" fmla="*/ 52646301 w 569"/>
                  <a:gd name="T41" fmla="*/ 118792187 h 1025"/>
                  <a:gd name="T42" fmla="*/ 46132047 w 569"/>
                  <a:gd name="T43" fmla="*/ 139273441 h 1025"/>
                  <a:gd name="T44" fmla="*/ 39085829 w 569"/>
                  <a:gd name="T45" fmla="*/ 161430649 h 1025"/>
                  <a:gd name="T46" fmla="*/ 33635174 w 569"/>
                  <a:gd name="T47" fmla="*/ 176698493 h 1025"/>
                  <a:gd name="T48" fmla="*/ 28051434 w 569"/>
                  <a:gd name="T49" fmla="*/ 185076971 h 1025"/>
                  <a:gd name="T50" fmla="*/ 20340514 w 569"/>
                  <a:gd name="T51" fmla="*/ 186380540 h 1025"/>
                  <a:gd name="T52" fmla="*/ 12231073 w 569"/>
                  <a:gd name="T53" fmla="*/ 190849177 h 1025"/>
                  <a:gd name="T54" fmla="*/ 4121264 w 569"/>
                  <a:gd name="T55" fmla="*/ 180608334 h 1025"/>
                  <a:gd name="T56" fmla="*/ 1728284 w 569"/>
                  <a:gd name="T57" fmla="*/ 171298674 h 1025"/>
                  <a:gd name="T58" fmla="*/ 2924956 w 569"/>
                  <a:gd name="T59" fmla="*/ 160499467 h 1025"/>
                  <a:gd name="T60" fmla="*/ 531611 w 569"/>
                  <a:gd name="T61" fmla="*/ 150258625 h 1025"/>
                  <a:gd name="T62" fmla="*/ 797782 w 569"/>
                  <a:gd name="T63" fmla="*/ 136852713 h 1025"/>
                  <a:gd name="T64" fmla="*/ 5184851 w 569"/>
                  <a:gd name="T65" fmla="*/ 128287825 h 1025"/>
                  <a:gd name="T66" fmla="*/ 11433289 w 569"/>
                  <a:gd name="T67" fmla="*/ 115626687 h 1025"/>
                  <a:gd name="T68" fmla="*/ 15421834 w 569"/>
                  <a:gd name="T69" fmla="*/ 108178931 h 1025"/>
                  <a:gd name="T70" fmla="*/ 15421834 w 569"/>
                  <a:gd name="T71" fmla="*/ 100358816 h 1025"/>
                  <a:gd name="T72" fmla="*/ 13826272 w 569"/>
                  <a:gd name="T73" fmla="*/ 84159791 h 1025"/>
                  <a:gd name="T74" fmla="*/ 13693551 w 569"/>
                  <a:gd name="T75" fmla="*/ 72801789 h 1025"/>
                  <a:gd name="T76" fmla="*/ 18745316 w 569"/>
                  <a:gd name="T77" fmla="*/ 58651105 h 1025"/>
                  <a:gd name="T78" fmla="*/ 22334967 w 569"/>
                  <a:gd name="T79" fmla="*/ 56044387 h 1025"/>
                  <a:gd name="T80" fmla="*/ 26588956 w 569"/>
                  <a:gd name="T81" fmla="*/ 53437682 h 1025"/>
                  <a:gd name="T82" fmla="*/ 30045523 w 569"/>
                  <a:gd name="T83" fmla="*/ 53437682 h 1025"/>
                  <a:gd name="T84" fmla="*/ 33635174 w 569"/>
                  <a:gd name="T85" fmla="*/ 51203363 h 1025"/>
                  <a:gd name="T86" fmla="*/ 37224826 w 569"/>
                  <a:gd name="T87" fmla="*/ 55113636 h 1025"/>
                  <a:gd name="T88" fmla="*/ 38687303 w 569"/>
                  <a:gd name="T89" fmla="*/ 51762158 h 1025"/>
                  <a:gd name="T90" fmla="*/ 40415587 w 569"/>
                  <a:gd name="T91" fmla="*/ 45245180 h 1025"/>
                  <a:gd name="T92" fmla="*/ 43605983 w 569"/>
                  <a:gd name="T93" fmla="*/ 47851885 h 1025"/>
                  <a:gd name="T94" fmla="*/ 44802655 w 569"/>
                  <a:gd name="T95" fmla="*/ 42452498 h 102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569"/>
                  <a:gd name="T145" fmla="*/ 0 h 1025"/>
                  <a:gd name="T146" fmla="*/ 569 w 569"/>
                  <a:gd name="T147" fmla="*/ 1025 h 102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569" h="1025">
                    <a:moveTo>
                      <a:pt x="352" y="213"/>
                    </a:moveTo>
                    <a:cubicBezTo>
                      <a:pt x="354" y="209"/>
                      <a:pt x="361" y="206"/>
                      <a:pt x="357" y="202"/>
                    </a:cubicBezTo>
                    <a:cubicBezTo>
                      <a:pt x="358" y="199"/>
                      <a:pt x="362" y="197"/>
                      <a:pt x="364" y="194"/>
                    </a:cubicBezTo>
                    <a:cubicBezTo>
                      <a:pt x="366" y="192"/>
                      <a:pt x="367" y="191"/>
                      <a:pt x="367" y="195"/>
                    </a:cubicBezTo>
                    <a:cubicBezTo>
                      <a:pt x="370" y="199"/>
                      <a:pt x="370" y="205"/>
                      <a:pt x="367" y="209"/>
                    </a:cubicBezTo>
                    <a:cubicBezTo>
                      <a:pt x="367" y="212"/>
                      <a:pt x="365" y="217"/>
                      <a:pt x="365" y="218"/>
                    </a:cubicBezTo>
                    <a:cubicBezTo>
                      <a:pt x="373" y="210"/>
                      <a:pt x="380" y="201"/>
                      <a:pt x="388" y="192"/>
                    </a:cubicBezTo>
                    <a:cubicBezTo>
                      <a:pt x="393" y="192"/>
                      <a:pt x="398" y="194"/>
                      <a:pt x="404" y="193"/>
                    </a:cubicBezTo>
                    <a:cubicBezTo>
                      <a:pt x="407" y="191"/>
                      <a:pt x="404" y="186"/>
                      <a:pt x="400" y="185"/>
                    </a:cubicBezTo>
                    <a:cubicBezTo>
                      <a:pt x="398" y="184"/>
                      <a:pt x="394" y="184"/>
                      <a:pt x="392" y="181"/>
                    </a:cubicBezTo>
                    <a:cubicBezTo>
                      <a:pt x="391" y="177"/>
                      <a:pt x="386" y="173"/>
                      <a:pt x="388" y="169"/>
                    </a:cubicBezTo>
                    <a:cubicBezTo>
                      <a:pt x="390" y="164"/>
                      <a:pt x="393" y="159"/>
                      <a:pt x="397" y="155"/>
                    </a:cubicBezTo>
                    <a:cubicBezTo>
                      <a:pt x="400" y="153"/>
                      <a:pt x="402" y="148"/>
                      <a:pt x="404" y="148"/>
                    </a:cubicBezTo>
                    <a:cubicBezTo>
                      <a:pt x="406" y="150"/>
                      <a:pt x="408" y="155"/>
                      <a:pt x="410" y="154"/>
                    </a:cubicBezTo>
                    <a:cubicBezTo>
                      <a:pt x="411" y="149"/>
                      <a:pt x="412" y="144"/>
                      <a:pt x="412" y="138"/>
                    </a:cubicBezTo>
                    <a:cubicBezTo>
                      <a:pt x="410" y="132"/>
                      <a:pt x="409" y="125"/>
                      <a:pt x="408" y="119"/>
                    </a:cubicBezTo>
                    <a:cubicBezTo>
                      <a:pt x="407" y="114"/>
                      <a:pt x="407" y="110"/>
                      <a:pt x="411" y="106"/>
                    </a:cubicBezTo>
                    <a:cubicBezTo>
                      <a:pt x="416" y="106"/>
                      <a:pt x="421" y="109"/>
                      <a:pt x="425" y="112"/>
                    </a:cubicBezTo>
                    <a:cubicBezTo>
                      <a:pt x="426" y="117"/>
                      <a:pt x="427" y="121"/>
                      <a:pt x="428" y="126"/>
                    </a:cubicBezTo>
                    <a:cubicBezTo>
                      <a:pt x="434" y="118"/>
                      <a:pt x="441" y="109"/>
                      <a:pt x="447" y="101"/>
                    </a:cubicBezTo>
                    <a:cubicBezTo>
                      <a:pt x="449" y="96"/>
                      <a:pt x="450" y="91"/>
                      <a:pt x="451" y="87"/>
                    </a:cubicBezTo>
                    <a:cubicBezTo>
                      <a:pt x="454" y="86"/>
                      <a:pt x="456" y="91"/>
                      <a:pt x="459" y="93"/>
                    </a:cubicBezTo>
                    <a:cubicBezTo>
                      <a:pt x="463" y="94"/>
                      <a:pt x="467" y="88"/>
                      <a:pt x="471" y="87"/>
                    </a:cubicBezTo>
                    <a:cubicBezTo>
                      <a:pt x="474" y="84"/>
                      <a:pt x="475" y="79"/>
                      <a:pt x="477" y="75"/>
                    </a:cubicBezTo>
                    <a:cubicBezTo>
                      <a:pt x="479" y="70"/>
                      <a:pt x="481" y="65"/>
                      <a:pt x="482" y="60"/>
                    </a:cubicBezTo>
                    <a:cubicBezTo>
                      <a:pt x="483" y="51"/>
                      <a:pt x="485" y="43"/>
                      <a:pt x="485" y="34"/>
                    </a:cubicBezTo>
                    <a:cubicBezTo>
                      <a:pt x="484" y="30"/>
                      <a:pt x="482" y="27"/>
                      <a:pt x="480" y="23"/>
                    </a:cubicBezTo>
                    <a:cubicBezTo>
                      <a:pt x="478" y="21"/>
                      <a:pt x="479" y="20"/>
                      <a:pt x="481" y="22"/>
                    </a:cubicBezTo>
                    <a:cubicBezTo>
                      <a:pt x="486" y="25"/>
                      <a:pt x="488" y="19"/>
                      <a:pt x="491" y="16"/>
                    </a:cubicBezTo>
                    <a:cubicBezTo>
                      <a:pt x="494" y="13"/>
                      <a:pt x="497" y="9"/>
                      <a:pt x="500" y="6"/>
                    </a:cubicBezTo>
                    <a:cubicBezTo>
                      <a:pt x="503" y="5"/>
                      <a:pt x="507" y="0"/>
                      <a:pt x="510" y="1"/>
                    </a:cubicBezTo>
                    <a:cubicBezTo>
                      <a:pt x="514" y="6"/>
                      <a:pt x="519" y="11"/>
                      <a:pt x="523" y="16"/>
                    </a:cubicBezTo>
                    <a:cubicBezTo>
                      <a:pt x="527" y="24"/>
                      <a:pt x="531" y="34"/>
                      <a:pt x="537" y="41"/>
                    </a:cubicBezTo>
                    <a:cubicBezTo>
                      <a:pt x="540" y="44"/>
                      <a:pt x="543" y="48"/>
                      <a:pt x="546" y="52"/>
                    </a:cubicBezTo>
                    <a:cubicBezTo>
                      <a:pt x="547" y="58"/>
                      <a:pt x="550" y="63"/>
                      <a:pt x="552" y="69"/>
                    </a:cubicBezTo>
                    <a:cubicBezTo>
                      <a:pt x="553" y="78"/>
                      <a:pt x="555" y="88"/>
                      <a:pt x="554" y="98"/>
                    </a:cubicBezTo>
                    <a:cubicBezTo>
                      <a:pt x="554" y="107"/>
                      <a:pt x="557" y="115"/>
                      <a:pt x="558" y="124"/>
                    </a:cubicBezTo>
                    <a:cubicBezTo>
                      <a:pt x="560" y="133"/>
                      <a:pt x="559" y="143"/>
                      <a:pt x="560" y="153"/>
                    </a:cubicBezTo>
                    <a:cubicBezTo>
                      <a:pt x="561" y="162"/>
                      <a:pt x="563" y="172"/>
                      <a:pt x="562" y="182"/>
                    </a:cubicBezTo>
                    <a:cubicBezTo>
                      <a:pt x="561" y="193"/>
                      <a:pt x="562" y="204"/>
                      <a:pt x="563" y="215"/>
                    </a:cubicBezTo>
                    <a:cubicBezTo>
                      <a:pt x="564" y="222"/>
                      <a:pt x="567" y="230"/>
                      <a:pt x="569" y="237"/>
                    </a:cubicBezTo>
                    <a:cubicBezTo>
                      <a:pt x="569" y="244"/>
                      <a:pt x="569" y="252"/>
                      <a:pt x="568" y="260"/>
                    </a:cubicBezTo>
                    <a:cubicBezTo>
                      <a:pt x="567" y="266"/>
                      <a:pt x="565" y="273"/>
                      <a:pt x="563" y="280"/>
                    </a:cubicBezTo>
                    <a:cubicBezTo>
                      <a:pt x="561" y="286"/>
                      <a:pt x="558" y="291"/>
                      <a:pt x="555" y="296"/>
                    </a:cubicBezTo>
                    <a:cubicBezTo>
                      <a:pt x="552" y="296"/>
                      <a:pt x="545" y="300"/>
                      <a:pt x="544" y="294"/>
                    </a:cubicBezTo>
                    <a:cubicBezTo>
                      <a:pt x="542" y="286"/>
                      <a:pt x="539" y="278"/>
                      <a:pt x="538" y="269"/>
                    </a:cubicBezTo>
                    <a:cubicBezTo>
                      <a:pt x="537" y="266"/>
                      <a:pt x="538" y="260"/>
                      <a:pt x="536" y="258"/>
                    </a:cubicBezTo>
                    <a:cubicBezTo>
                      <a:pt x="533" y="259"/>
                      <a:pt x="526" y="257"/>
                      <a:pt x="525" y="260"/>
                    </a:cubicBezTo>
                    <a:cubicBezTo>
                      <a:pt x="522" y="270"/>
                      <a:pt x="519" y="280"/>
                      <a:pt x="516" y="291"/>
                    </a:cubicBezTo>
                    <a:cubicBezTo>
                      <a:pt x="516" y="298"/>
                      <a:pt x="515" y="305"/>
                      <a:pt x="514" y="312"/>
                    </a:cubicBezTo>
                    <a:cubicBezTo>
                      <a:pt x="516" y="317"/>
                      <a:pt x="518" y="323"/>
                      <a:pt x="520" y="329"/>
                    </a:cubicBezTo>
                    <a:cubicBezTo>
                      <a:pt x="519" y="336"/>
                      <a:pt x="518" y="344"/>
                      <a:pt x="517" y="351"/>
                    </a:cubicBezTo>
                    <a:cubicBezTo>
                      <a:pt x="515" y="356"/>
                      <a:pt x="513" y="362"/>
                      <a:pt x="509" y="366"/>
                    </a:cubicBezTo>
                    <a:cubicBezTo>
                      <a:pt x="505" y="371"/>
                      <a:pt x="500" y="375"/>
                      <a:pt x="497" y="380"/>
                    </a:cubicBezTo>
                    <a:cubicBezTo>
                      <a:pt x="494" y="385"/>
                      <a:pt x="491" y="389"/>
                      <a:pt x="489" y="394"/>
                    </a:cubicBezTo>
                    <a:cubicBezTo>
                      <a:pt x="486" y="406"/>
                      <a:pt x="482" y="417"/>
                      <a:pt x="481" y="429"/>
                    </a:cubicBezTo>
                    <a:cubicBezTo>
                      <a:pt x="480" y="439"/>
                      <a:pt x="476" y="449"/>
                      <a:pt x="473" y="459"/>
                    </a:cubicBezTo>
                    <a:cubicBezTo>
                      <a:pt x="468" y="476"/>
                      <a:pt x="463" y="493"/>
                      <a:pt x="456" y="509"/>
                    </a:cubicBezTo>
                    <a:cubicBezTo>
                      <a:pt x="451" y="521"/>
                      <a:pt x="445" y="533"/>
                      <a:pt x="439" y="545"/>
                    </a:cubicBezTo>
                    <a:cubicBezTo>
                      <a:pt x="434" y="547"/>
                      <a:pt x="434" y="551"/>
                      <a:pt x="433" y="555"/>
                    </a:cubicBezTo>
                    <a:cubicBezTo>
                      <a:pt x="432" y="562"/>
                      <a:pt x="428" y="568"/>
                      <a:pt x="425" y="574"/>
                    </a:cubicBezTo>
                    <a:cubicBezTo>
                      <a:pt x="421" y="584"/>
                      <a:pt x="416" y="594"/>
                      <a:pt x="412" y="604"/>
                    </a:cubicBezTo>
                    <a:cubicBezTo>
                      <a:pt x="406" y="615"/>
                      <a:pt x="402" y="627"/>
                      <a:pt x="396" y="638"/>
                    </a:cubicBezTo>
                    <a:cubicBezTo>
                      <a:pt x="391" y="648"/>
                      <a:pt x="385" y="657"/>
                      <a:pt x="381" y="666"/>
                    </a:cubicBezTo>
                    <a:cubicBezTo>
                      <a:pt x="375" y="680"/>
                      <a:pt x="371" y="694"/>
                      <a:pt x="365" y="707"/>
                    </a:cubicBezTo>
                    <a:cubicBezTo>
                      <a:pt x="359" y="721"/>
                      <a:pt x="353" y="734"/>
                      <a:pt x="347" y="748"/>
                    </a:cubicBezTo>
                    <a:cubicBezTo>
                      <a:pt x="341" y="758"/>
                      <a:pt x="335" y="768"/>
                      <a:pt x="330" y="779"/>
                    </a:cubicBezTo>
                    <a:cubicBezTo>
                      <a:pt x="322" y="799"/>
                      <a:pt x="313" y="818"/>
                      <a:pt x="305" y="838"/>
                    </a:cubicBezTo>
                    <a:cubicBezTo>
                      <a:pt x="302" y="848"/>
                      <a:pt x="299" y="858"/>
                      <a:pt x="294" y="867"/>
                    </a:cubicBezTo>
                    <a:cubicBezTo>
                      <a:pt x="289" y="875"/>
                      <a:pt x="287" y="884"/>
                      <a:pt x="284" y="893"/>
                    </a:cubicBezTo>
                    <a:cubicBezTo>
                      <a:pt x="280" y="902"/>
                      <a:pt x="277" y="911"/>
                      <a:pt x="272" y="919"/>
                    </a:cubicBezTo>
                    <a:cubicBezTo>
                      <a:pt x="266" y="929"/>
                      <a:pt x="259" y="939"/>
                      <a:pt x="253" y="949"/>
                    </a:cubicBezTo>
                    <a:cubicBezTo>
                      <a:pt x="249" y="958"/>
                      <a:pt x="242" y="966"/>
                      <a:pt x="236" y="974"/>
                    </a:cubicBezTo>
                    <a:cubicBezTo>
                      <a:pt x="233" y="977"/>
                      <a:pt x="231" y="982"/>
                      <a:pt x="227" y="984"/>
                    </a:cubicBezTo>
                    <a:cubicBezTo>
                      <a:pt x="222" y="988"/>
                      <a:pt x="217" y="992"/>
                      <a:pt x="211" y="994"/>
                    </a:cubicBezTo>
                    <a:cubicBezTo>
                      <a:pt x="207" y="997"/>
                      <a:pt x="202" y="998"/>
                      <a:pt x="198" y="995"/>
                    </a:cubicBezTo>
                    <a:cubicBezTo>
                      <a:pt x="193" y="994"/>
                      <a:pt x="188" y="996"/>
                      <a:pt x="183" y="996"/>
                    </a:cubicBezTo>
                    <a:cubicBezTo>
                      <a:pt x="173" y="998"/>
                      <a:pt x="163" y="999"/>
                      <a:pt x="153" y="1001"/>
                    </a:cubicBezTo>
                    <a:cubicBezTo>
                      <a:pt x="146" y="1004"/>
                      <a:pt x="139" y="1009"/>
                      <a:pt x="132" y="1012"/>
                    </a:cubicBezTo>
                    <a:cubicBezTo>
                      <a:pt x="124" y="1016"/>
                      <a:pt x="117" y="1019"/>
                      <a:pt x="109" y="1023"/>
                    </a:cubicBezTo>
                    <a:cubicBezTo>
                      <a:pt x="103" y="1023"/>
                      <a:pt x="98" y="1024"/>
                      <a:pt x="92" y="1025"/>
                    </a:cubicBezTo>
                    <a:cubicBezTo>
                      <a:pt x="85" y="1017"/>
                      <a:pt x="79" y="1010"/>
                      <a:pt x="71" y="1004"/>
                    </a:cubicBezTo>
                    <a:cubicBezTo>
                      <a:pt x="63" y="997"/>
                      <a:pt x="56" y="990"/>
                      <a:pt x="47" y="985"/>
                    </a:cubicBezTo>
                    <a:cubicBezTo>
                      <a:pt x="40" y="981"/>
                      <a:pt x="36" y="975"/>
                      <a:pt x="31" y="970"/>
                    </a:cubicBezTo>
                    <a:cubicBezTo>
                      <a:pt x="28" y="968"/>
                      <a:pt x="28" y="964"/>
                      <a:pt x="26" y="961"/>
                    </a:cubicBezTo>
                    <a:cubicBezTo>
                      <a:pt x="23" y="954"/>
                      <a:pt x="19" y="947"/>
                      <a:pt x="16" y="940"/>
                    </a:cubicBezTo>
                    <a:cubicBezTo>
                      <a:pt x="15" y="933"/>
                      <a:pt x="14" y="927"/>
                      <a:pt x="13" y="920"/>
                    </a:cubicBezTo>
                    <a:cubicBezTo>
                      <a:pt x="12" y="913"/>
                      <a:pt x="13" y="906"/>
                      <a:pt x="12" y="899"/>
                    </a:cubicBezTo>
                    <a:cubicBezTo>
                      <a:pt x="12" y="891"/>
                      <a:pt x="14" y="883"/>
                      <a:pt x="15" y="876"/>
                    </a:cubicBezTo>
                    <a:cubicBezTo>
                      <a:pt x="17" y="871"/>
                      <a:pt x="22" y="867"/>
                      <a:pt x="22" y="862"/>
                    </a:cubicBezTo>
                    <a:cubicBezTo>
                      <a:pt x="21" y="851"/>
                      <a:pt x="19" y="840"/>
                      <a:pt x="17" y="829"/>
                    </a:cubicBezTo>
                    <a:cubicBezTo>
                      <a:pt x="16" y="825"/>
                      <a:pt x="14" y="822"/>
                      <a:pt x="11" y="819"/>
                    </a:cubicBezTo>
                    <a:cubicBezTo>
                      <a:pt x="7" y="816"/>
                      <a:pt x="4" y="812"/>
                      <a:pt x="4" y="807"/>
                    </a:cubicBezTo>
                    <a:cubicBezTo>
                      <a:pt x="3" y="802"/>
                      <a:pt x="1" y="798"/>
                      <a:pt x="0" y="793"/>
                    </a:cubicBezTo>
                    <a:cubicBezTo>
                      <a:pt x="2" y="783"/>
                      <a:pt x="4" y="773"/>
                      <a:pt x="3" y="763"/>
                    </a:cubicBezTo>
                    <a:cubicBezTo>
                      <a:pt x="3" y="754"/>
                      <a:pt x="5" y="744"/>
                      <a:pt x="6" y="735"/>
                    </a:cubicBezTo>
                    <a:cubicBezTo>
                      <a:pt x="8" y="731"/>
                      <a:pt x="11" y="727"/>
                      <a:pt x="14" y="724"/>
                    </a:cubicBezTo>
                    <a:cubicBezTo>
                      <a:pt x="17" y="720"/>
                      <a:pt x="20" y="716"/>
                      <a:pt x="22" y="712"/>
                    </a:cubicBezTo>
                    <a:cubicBezTo>
                      <a:pt x="26" y="703"/>
                      <a:pt x="32" y="696"/>
                      <a:pt x="39" y="689"/>
                    </a:cubicBezTo>
                    <a:cubicBezTo>
                      <a:pt x="42" y="686"/>
                      <a:pt x="48" y="687"/>
                      <a:pt x="51" y="683"/>
                    </a:cubicBezTo>
                    <a:cubicBezTo>
                      <a:pt x="55" y="672"/>
                      <a:pt x="61" y="661"/>
                      <a:pt x="67" y="650"/>
                    </a:cubicBezTo>
                    <a:cubicBezTo>
                      <a:pt x="73" y="640"/>
                      <a:pt x="80" y="631"/>
                      <a:pt x="86" y="621"/>
                    </a:cubicBezTo>
                    <a:cubicBezTo>
                      <a:pt x="90" y="615"/>
                      <a:pt x="94" y="609"/>
                      <a:pt x="99" y="604"/>
                    </a:cubicBezTo>
                    <a:cubicBezTo>
                      <a:pt x="102" y="601"/>
                      <a:pt x="105" y="598"/>
                      <a:pt x="108" y="595"/>
                    </a:cubicBezTo>
                    <a:cubicBezTo>
                      <a:pt x="111" y="590"/>
                      <a:pt x="113" y="586"/>
                      <a:pt x="116" y="581"/>
                    </a:cubicBezTo>
                    <a:cubicBezTo>
                      <a:pt x="116" y="576"/>
                      <a:pt x="113" y="570"/>
                      <a:pt x="116" y="566"/>
                    </a:cubicBezTo>
                    <a:cubicBezTo>
                      <a:pt x="119" y="563"/>
                      <a:pt x="122" y="560"/>
                      <a:pt x="120" y="555"/>
                    </a:cubicBezTo>
                    <a:cubicBezTo>
                      <a:pt x="120" y="550"/>
                      <a:pt x="118" y="544"/>
                      <a:pt x="116" y="539"/>
                    </a:cubicBezTo>
                    <a:cubicBezTo>
                      <a:pt x="113" y="534"/>
                      <a:pt x="110" y="528"/>
                      <a:pt x="110" y="521"/>
                    </a:cubicBezTo>
                    <a:cubicBezTo>
                      <a:pt x="108" y="508"/>
                      <a:pt x="106" y="494"/>
                      <a:pt x="105" y="480"/>
                    </a:cubicBezTo>
                    <a:cubicBezTo>
                      <a:pt x="104" y="470"/>
                      <a:pt x="104" y="461"/>
                      <a:pt x="104" y="452"/>
                    </a:cubicBezTo>
                    <a:cubicBezTo>
                      <a:pt x="105" y="442"/>
                      <a:pt x="106" y="433"/>
                      <a:pt x="107" y="423"/>
                    </a:cubicBezTo>
                    <a:cubicBezTo>
                      <a:pt x="104" y="417"/>
                      <a:pt x="100" y="411"/>
                      <a:pt x="97" y="404"/>
                    </a:cubicBezTo>
                    <a:cubicBezTo>
                      <a:pt x="95" y="399"/>
                      <a:pt x="101" y="395"/>
                      <a:pt x="103" y="391"/>
                    </a:cubicBezTo>
                    <a:cubicBezTo>
                      <a:pt x="110" y="382"/>
                      <a:pt x="117" y="374"/>
                      <a:pt x="122" y="364"/>
                    </a:cubicBezTo>
                    <a:cubicBezTo>
                      <a:pt x="128" y="352"/>
                      <a:pt x="135" y="340"/>
                      <a:pt x="140" y="328"/>
                    </a:cubicBezTo>
                    <a:cubicBezTo>
                      <a:pt x="141" y="324"/>
                      <a:pt x="141" y="319"/>
                      <a:pt x="141" y="315"/>
                    </a:cubicBezTo>
                    <a:cubicBezTo>
                      <a:pt x="142" y="311"/>
                      <a:pt x="141" y="306"/>
                      <a:pt x="144" y="303"/>
                    </a:cubicBezTo>
                    <a:cubicBezTo>
                      <a:pt x="146" y="299"/>
                      <a:pt x="151" y="297"/>
                      <a:pt x="155" y="300"/>
                    </a:cubicBezTo>
                    <a:cubicBezTo>
                      <a:pt x="159" y="303"/>
                      <a:pt x="164" y="301"/>
                      <a:pt x="168" y="301"/>
                    </a:cubicBezTo>
                    <a:cubicBezTo>
                      <a:pt x="172" y="301"/>
                      <a:pt x="175" y="301"/>
                      <a:pt x="179" y="301"/>
                    </a:cubicBezTo>
                    <a:cubicBezTo>
                      <a:pt x="182" y="297"/>
                      <a:pt x="185" y="294"/>
                      <a:pt x="190" y="292"/>
                    </a:cubicBezTo>
                    <a:cubicBezTo>
                      <a:pt x="193" y="291"/>
                      <a:pt x="197" y="287"/>
                      <a:pt x="200" y="287"/>
                    </a:cubicBezTo>
                    <a:cubicBezTo>
                      <a:pt x="201" y="291"/>
                      <a:pt x="201" y="296"/>
                      <a:pt x="205" y="296"/>
                    </a:cubicBezTo>
                    <a:cubicBezTo>
                      <a:pt x="210" y="297"/>
                      <a:pt x="211" y="286"/>
                      <a:pt x="217" y="289"/>
                    </a:cubicBezTo>
                    <a:cubicBezTo>
                      <a:pt x="220" y="293"/>
                      <a:pt x="224" y="291"/>
                      <a:pt x="226" y="287"/>
                    </a:cubicBezTo>
                    <a:cubicBezTo>
                      <a:pt x="230" y="284"/>
                      <a:pt x="230" y="279"/>
                      <a:pt x="232" y="275"/>
                    </a:cubicBezTo>
                    <a:cubicBezTo>
                      <a:pt x="235" y="272"/>
                      <a:pt x="240" y="273"/>
                      <a:pt x="245" y="271"/>
                    </a:cubicBezTo>
                    <a:cubicBezTo>
                      <a:pt x="247" y="273"/>
                      <a:pt x="250" y="278"/>
                      <a:pt x="253" y="275"/>
                    </a:cubicBezTo>
                    <a:cubicBezTo>
                      <a:pt x="257" y="272"/>
                      <a:pt x="260" y="267"/>
                      <a:pt x="265" y="270"/>
                    </a:cubicBezTo>
                    <a:cubicBezTo>
                      <a:pt x="271" y="272"/>
                      <a:pt x="270" y="279"/>
                      <a:pt x="272" y="284"/>
                    </a:cubicBezTo>
                    <a:cubicBezTo>
                      <a:pt x="274" y="288"/>
                      <a:pt x="278" y="292"/>
                      <a:pt x="280" y="296"/>
                    </a:cubicBezTo>
                    <a:cubicBezTo>
                      <a:pt x="285" y="297"/>
                      <a:pt x="289" y="300"/>
                      <a:pt x="294" y="298"/>
                    </a:cubicBezTo>
                    <a:cubicBezTo>
                      <a:pt x="302" y="299"/>
                      <a:pt x="297" y="291"/>
                      <a:pt x="297" y="286"/>
                    </a:cubicBezTo>
                    <a:cubicBezTo>
                      <a:pt x="296" y="283"/>
                      <a:pt x="293" y="281"/>
                      <a:pt x="291" y="278"/>
                    </a:cubicBezTo>
                    <a:cubicBezTo>
                      <a:pt x="289" y="275"/>
                      <a:pt x="284" y="273"/>
                      <a:pt x="286" y="270"/>
                    </a:cubicBezTo>
                    <a:cubicBezTo>
                      <a:pt x="287" y="265"/>
                      <a:pt x="287" y="259"/>
                      <a:pt x="291" y="256"/>
                    </a:cubicBezTo>
                    <a:cubicBezTo>
                      <a:pt x="295" y="252"/>
                      <a:pt x="299" y="247"/>
                      <a:pt x="304" y="243"/>
                    </a:cubicBezTo>
                    <a:cubicBezTo>
                      <a:pt x="309" y="240"/>
                      <a:pt x="314" y="237"/>
                      <a:pt x="320" y="234"/>
                    </a:cubicBezTo>
                    <a:cubicBezTo>
                      <a:pt x="323" y="237"/>
                      <a:pt x="328" y="237"/>
                      <a:pt x="328" y="242"/>
                    </a:cubicBezTo>
                    <a:cubicBezTo>
                      <a:pt x="328" y="247"/>
                      <a:pt x="328" y="252"/>
                      <a:pt x="328" y="257"/>
                    </a:cubicBezTo>
                    <a:cubicBezTo>
                      <a:pt x="333" y="257"/>
                      <a:pt x="337" y="260"/>
                      <a:pt x="341" y="257"/>
                    </a:cubicBezTo>
                    <a:cubicBezTo>
                      <a:pt x="345" y="256"/>
                      <a:pt x="348" y="253"/>
                      <a:pt x="345" y="249"/>
                    </a:cubicBezTo>
                    <a:cubicBezTo>
                      <a:pt x="343" y="242"/>
                      <a:pt x="340" y="235"/>
                      <a:pt x="337" y="228"/>
                    </a:cubicBezTo>
                    <a:cubicBezTo>
                      <a:pt x="343" y="223"/>
                      <a:pt x="348" y="219"/>
                      <a:pt x="352" y="213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56" name="Macedonia"/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4754775" y="3215055"/>
                <a:ext cx="55218" cy="50033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2" y="9"/>
                  </a:cxn>
                  <a:cxn ang="0">
                    <a:pos x="6" y="9"/>
                  </a:cxn>
                  <a:cxn ang="0">
                    <a:pos x="10" y="7"/>
                  </a:cxn>
                </a:cxnLst>
                <a:rect l="0" t="0" r="r" b="b"/>
                <a:pathLst>
                  <a:path w="10" h="9">
                    <a:moveTo>
                      <a:pt x="10" y="7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2" y="9"/>
                    </a:lnTo>
                    <a:lnTo>
                      <a:pt x="6" y="9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7" name="Luxembourg"/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4406215" y="2975242"/>
                <a:ext cx="10353" cy="15527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2" y="0"/>
                  </a:cxn>
                  <a:cxn ang="0">
                    <a:pos x="2" y="3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2" y="0"/>
                    </a:lnTo>
                    <a:lnTo>
                      <a:pt x="2" y="3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3334241" name="Lithuania"/>
              <p:cNvGrpSpPr>
                <a:grpSpLocks/>
              </p:cNvGrpSpPr>
              <p:nvPr/>
            </p:nvGrpSpPr>
            <p:grpSpPr bwMode="auto">
              <a:xfrm>
                <a:off x="4721935" y="2774248"/>
                <a:ext cx="149781" cy="66881"/>
                <a:chOff x="4721935" y="2755159"/>
                <a:chExt cx="149781" cy="66881"/>
              </a:xfrm>
            </p:grpSpPr>
            <p:sp>
              <p:nvSpPr>
                <p:cNvPr id="778" name="Lithuania"/>
                <p:cNvSpPr>
                  <a:spLocks/>
                </p:cNvSpPr>
                <p:nvPr>
                  <p:custDataLst>
                    <p:tags r:id="rId136"/>
                  </p:custDataLst>
                </p:nvPr>
              </p:nvSpPr>
              <p:spPr bwMode="auto">
                <a:xfrm>
                  <a:off x="4721989" y="2783626"/>
                  <a:ext cx="55218" cy="37956"/>
                </a:xfrm>
                <a:custGeom>
                  <a:avLst/>
                  <a:gdLst/>
                  <a:ahLst/>
                  <a:cxnLst>
                    <a:cxn ang="0">
                      <a:pos x="0" y="4"/>
                    </a:cxn>
                    <a:cxn ang="0">
                      <a:pos x="10" y="7"/>
                    </a:cxn>
                    <a:cxn ang="0">
                      <a:pos x="10" y="0"/>
                    </a:cxn>
                    <a:cxn ang="0">
                      <a:pos x="2" y="0"/>
                    </a:cxn>
                    <a:cxn ang="0">
                      <a:pos x="0" y="2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10" h="7">
                      <a:moveTo>
                        <a:pt x="0" y="4"/>
                      </a:moveTo>
                      <a:lnTo>
                        <a:pt x="10" y="7"/>
                      </a:lnTo>
                      <a:lnTo>
                        <a:pt x="10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79" name="Lithuania"/>
                <p:cNvSpPr>
                  <a:spLocks/>
                </p:cNvSpPr>
                <p:nvPr>
                  <p:custDataLst>
                    <p:tags r:id="rId137"/>
                  </p:custDataLst>
                </p:nvPr>
              </p:nvSpPr>
              <p:spPr bwMode="auto">
                <a:xfrm>
                  <a:off x="4732343" y="2756022"/>
                  <a:ext cx="139770" cy="65561"/>
                </a:xfrm>
                <a:custGeom>
                  <a:avLst/>
                  <a:gdLst/>
                  <a:ahLst/>
                  <a:cxnLst>
                    <a:cxn ang="0">
                      <a:pos x="12" y="12"/>
                    </a:cxn>
                    <a:cxn ang="0">
                      <a:pos x="8" y="12"/>
                    </a:cxn>
                    <a:cxn ang="0">
                      <a:pos x="8" y="5"/>
                    </a:cxn>
                    <a:cxn ang="0">
                      <a:pos x="0" y="5"/>
                    </a:cxn>
                    <a:cxn ang="0">
                      <a:pos x="4" y="3"/>
                    </a:cxn>
                    <a:cxn ang="0">
                      <a:pos x="6" y="0"/>
                    </a:cxn>
                    <a:cxn ang="0">
                      <a:pos x="16" y="0"/>
                    </a:cxn>
                    <a:cxn ang="0">
                      <a:pos x="25" y="3"/>
                    </a:cxn>
                    <a:cxn ang="0">
                      <a:pos x="25" y="5"/>
                    </a:cxn>
                    <a:cxn ang="0">
                      <a:pos x="21" y="9"/>
                    </a:cxn>
                    <a:cxn ang="0">
                      <a:pos x="23" y="12"/>
                    </a:cxn>
                    <a:cxn ang="0">
                      <a:pos x="16" y="12"/>
                    </a:cxn>
                    <a:cxn ang="0">
                      <a:pos x="12" y="12"/>
                    </a:cxn>
                  </a:cxnLst>
                  <a:rect l="0" t="0" r="r" b="b"/>
                  <a:pathLst>
                    <a:path w="25" h="12">
                      <a:moveTo>
                        <a:pt x="12" y="12"/>
                      </a:moveTo>
                      <a:lnTo>
                        <a:pt x="8" y="12"/>
                      </a:lnTo>
                      <a:lnTo>
                        <a:pt x="8" y="5"/>
                      </a:lnTo>
                      <a:lnTo>
                        <a:pt x="0" y="5"/>
                      </a:lnTo>
                      <a:lnTo>
                        <a:pt x="4" y="3"/>
                      </a:lnTo>
                      <a:lnTo>
                        <a:pt x="6" y="0"/>
                      </a:lnTo>
                      <a:lnTo>
                        <a:pt x="16" y="0"/>
                      </a:lnTo>
                      <a:lnTo>
                        <a:pt x="25" y="3"/>
                      </a:lnTo>
                      <a:lnTo>
                        <a:pt x="25" y="5"/>
                      </a:lnTo>
                      <a:lnTo>
                        <a:pt x="21" y="9"/>
                      </a:lnTo>
                      <a:lnTo>
                        <a:pt x="23" y="12"/>
                      </a:lnTo>
                      <a:lnTo>
                        <a:pt x="16" y="12"/>
                      </a:lnTo>
                      <a:lnTo>
                        <a:pt x="12" y="12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559" name="Lichtenstein"/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4492492" y="3039077"/>
                <a:ext cx="10353" cy="3623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4"/>
                  </a:cxn>
                  <a:cxn ang="0">
                    <a:pos x="2" y="9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lnTo>
                      <a:pt x="0" y="4"/>
                    </a:lnTo>
                    <a:lnTo>
                      <a:pt x="2" y="9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60" name="Libya"/>
              <p:cNvSpPr>
                <a:spLocks/>
              </p:cNvSpPr>
              <p:nvPr/>
            </p:nvSpPr>
            <p:spPr bwMode="auto">
              <a:xfrm>
                <a:off x="4485590" y="3508351"/>
                <a:ext cx="403778" cy="431318"/>
              </a:xfrm>
              <a:custGeom>
                <a:avLst/>
                <a:gdLst>
                  <a:gd name="T0" fmla="*/ 348 w 1110"/>
                  <a:gd name="T1" fmla="*/ 764 h 997"/>
                  <a:gd name="T2" fmla="*/ 284 w 1110"/>
                  <a:gd name="T3" fmla="*/ 728 h 997"/>
                  <a:gd name="T4" fmla="*/ 177 w 1110"/>
                  <a:gd name="T5" fmla="*/ 702 h 997"/>
                  <a:gd name="T6" fmla="*/ 113 w 1110"/>
                  <a:gd name="T7" fmla="*/ 633 h 997"/>
                  <a:gd name="T8" fmla="*/ 49 w 1110"/>
                  <a:gd name="T9" fmla="*/ 607 h 997"/>
                  <a:gd name="T10" fmla="*/ 1 w 1110"/>
                  <a:gd name="T11" fmla="*/ 507 h 997"/>
                  <a:gd name="T12" fmla="*/ 32 w 1110"/>
                  <a:gd name="T13" fmla="*/ 442 h 997"/>
                  <a:gd name="T14" fmla="*/ 37 w 1110"/>
                  <a:gd name="T15" fmla="*/ 363 h 997"/>
                  <a:gd name="T16" fmla="*/ 12 w 1110"/>
                  <a:gd name="T17" fmla="*/ 223 h 997"/>
                  <a:gd name="T18" fmla="*/ 22 w 1110"/>
                  <a:gd name="T19" fmla="*/ 204 h 997"/>
                  <a:gd name="T20" fmla="*/ 73 w 1110"/>
                  <a:gd name="T21" fmla="*/ 158 h 997"/>
                  <a:gd name="T22" fmla="*/ 95 w 1110"/>
                  <a:gd name="T23" fmla="*/ 93 h 997"/>
                  <a:gd name="T24" fmla="*/ 154 w 1110"/>
                  <a:gd name="T25" fmla="*/ 53 h 997"/>
                  <a:gd name="T26" fmla="*/ 160 w 1110"/>
                  <a:gd name="T27" fmla="*/ 0 h 997"/>
                  <a:gd name="T28" fmla="*/ 201 w 1110"/>
                  <a:gd name="T29" fmla="*/ 18 h 997"/>
                  <a:gd name="T30" fmla="*/ 249 w 1110"/>
                  <a:gd name="T31" fmla="*/ 18 h 997"/>
                  <a:gd name="T32" fmla="*/ 296 w 1110"/>
                  <a:gd name="T33" fmla="*/ 24 h 997"/>
                  <a:gd name="T34" fmla="*/ 353 w 1110"/>
                  <a:gd name="T35" fmla="*/ 44 h 997"/>
                  <a:gd name="T36" fmla="*/ 401 w 1110"/>
                  <a:gd name="T37" fmla="*/ 64 h 997"/>
                  <a:gd name="T38" fmla="*/ 411 w 1110"/>
                  <a:gd name="T39" fmla="*/ 100 h 997"/>
                  <a:gd name="T40" fmla="*/ 463 w 1110"/>
                  <a:gd name="T41" fmla="*/ 137 h 997"/>
                  <a:gd name="T42" fmla="*/ 548 w 1110"/>
                  <a:gd name="T43" fmla="*/ 151 h 997"/>
                  <a:gd name="T44" fmla="*/ 599 w 1110"/>
                  <a:gd name="T45" fmla="*/ 172 h 997"/>
                  <a:gd name="T46" fmla="*/ 647 w 1110"/>
                  <a:gd name="T47" fmla="*/ 205 h 997"/>
                  <a:gd name="T48" fmla="*/ 690 w 1110"/>
                  <a:gd name="T49" fmla="*/ 195 h 997"/>
                  <a:gd name="T50" fmla="*/ 722 w 1110"/>
                  <a:gd name="T51" fmla="*/ 157 h 997"/>
                  <a:gd name="T52" fmla="*/ 718 w 1110"/>
                  <a:gd name="T53" fmla="*/ 123 h 997"/>
                  <a:gd name="T54" fmla="*/ 712 w 1110"/>
                  <a:gd name="T55" fmla="*/ 75 h 997"/>
                  <a:gd name="T56" fmla="*/ 770 w 1110"/>
                  <a:gd name="T57" fmla="*/ 26 h 997"/>
                  <a:gd name="T58" fmla="*/ 811 w 1110"/>
                  <a:gd name="T59" fmla="*/ 14 h 997"/>
                  <a:gd name="T60" fmla="*/ 889 w 1110"/>
                  <a:gd name="T61" fmla="*/ 24 h 997"/>
                  <a:gd name="T62" fmla="*/ 916 w 1110"/>
                  <a:gd name="T63" fmla="*/ 35 h 997"/>
                  <a:gd name="T64" fmla="*/ 918 w 1110"/>
                  <a:gd name="T65" fmla="*/ 55 h 997"/>
                  <a:gd name="T66" fmla="*/ 966 w 1110"/>
                  <a:gd name="T67" fmla="*/ 66 h 997"/>
                  <a:gd name="T68" fmla="*/ 1034 w 1110"/>
                  <a:gd name="T69" fmla="*/ 77 h 997"/>
                  <a:gd name="T70" fmla="*/ 1060 w 1110"/>
                  <a:gd name="T71" fmla="*/ 100 h 997"/>
                  <a:gd name="T72" fmla="*/ 1062 w 1110"/>
                  <a:gd name="T73" fmla="*/ 105 h 997"/>
                  <a:gd name="T74" fmla="*/ 1062 w 1110"/>
                  <a:gd name="T75" fmla="*/ 157 h 997"/>
                  <a:gd name="T76" fmla="*/ 1057 w 1110"/>
                  <a:gd name="T77" fmla="*/ 237 h 997"/>
                  <a:gd name="T78" fmla="*/ 1098 w 1110"/>
                  <a:gd name="T79" fmla="*/ 708 h 997"/>
                  <a:gd name="T80" fmla="*/ 1103 w 1110"/>
                  <a:gd name="T81" fmla="*/ 810 h 997"/>
                  <a:gd name="T82" fmla="*/ 1039 w 1110"/>
                  <a:gd name="T83" fmla="*/ 960 h 997"/>
                  <a:gd name="T84" fmla="*/ 1040 w 1110"/>
                  <a:gd name="T85" fmla="*/ 997 h 997"/>
                  <a:gd name="T86" fmla="*/ 390 w 1110"/>
                  <a:gd name="T87" fmla="*/ 742 h 9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10" h="997">
                    <a:moveTo>
                      <a:pt x="390" y="742"/>
                    </a:moveTo>
                    <a:cubicBezTo>
                      <a:pt x="376" y="749"/>
                      <a:pt x="362" y="756"/>
                      <a:pt x="348" y="764"/>
                    </a:cubicBezTo>
                    <a:cubicBezTo>
                      <a:pt x="338" y="774"/>
                      <a:pt x="330" y="766"/>
                      <a:pt x="322" y="758"/>
                    </a:cubicBezTo>
                    <a:cubicBezTo>
                      <a:pt x="309" y="748"/>
                      <a:pt x="299" y="735"/>
                      <a:pt x="284" y="728"/>
                    </a:cubicBezTo>
                    <a:cubicBezTo>
                      <a:pt x="249" y="718"/>
                      <a:pt x="213" y="711"/>
                      <a:pt x="177" y="702"/>
                    </a:cubicBezTo>
                    <a:cubicBezTo>
                      <a:pt x="177" y="702"/>
                      <a:pt x="177" y="702"/>
                      <a:pt x="177" y="702"/>
                    </a:cubicBezTo>
                    <a:cubicBezTo>
                      <a:pt x="167" y="683"/>
                      <a:pt x="158" y="664"/>
                      <a:pt x="148" y="644"/>
                    </a:cubicBezTo>
                    <a:cubicBezTo>
                      <a:pt x="136" y="640"/>
                      <a:pt x="124" y="637"/>
                      <a:pt x="113" y="633"/>
                    </a:cubicBezTo>
                    <a:cubicBezTo>
                      <a:pt x="100" y="630"/>
                      <a:pt x="87" y="620"/>
                      <a:pt x="75" y="630"/>
                    </a:cubicBezTo>
                    <a:cubicBezTo>
                      <a:pt x="59" y="634"/>
                      <a:pt x="59" y="614"/>
                      <a:pt x="49" y="607"/>
                    </a:cubicBezTo>
                    <a:cubicBezTo>
                      <a:pt x="37" y="599"/>
                      <a:pt x="46" y="580"/>
                      <a:pt x="43" y="567"/>
                    </a:cubicBezTo>
                    <a:cubicBezTo>
                      <a:pt x="29" y="547"/>
                      <a:pt x="15" y="527"/>
                      <a:pt x="1" y="507"/>
                    </a:cubicBezTo>
                    <a:cubicBezTo>
                      <a:pt x="2" y="493"/>
                      <a:pt x="16" y="487"/>
                      <a:pt x="28" y="483"/>
                    </a:cubicBezTo>
                    <a:cubicBezTo>
                      <a:pt x="43" y="475"/>
                      <a:pt x="38" y="454"/>
                      <a:pt x="32" y="442"/>
                    </a:cubicBezTo>
                    <a:cubicBezTo>
                      <a:pt x="25" y="428"/>
                      <a:pt x="28" y="414"/>
                      <a:pt x="34" y="401"/>
                    </a:cubicBezTo>
                    <a:cubicBezTo>
                      <a:pt x="46" y="391"/>
                      <a:pt x="43" y="375"/>
                      <a:pt x="37" y="363"/>
                    </a:cubicBezTo>
                    <a:cubicBezTo>
                      <a:pt x="31" y="353"/>
                      <a:pt x="34" y="341"/>
                      <a:pt x="37" y="331"/>
                    </a:cubicBezTo>
                    <a:cubicBezTo>
                      <a:pt x="46" y="294"/>
                      <a:pt x="35" y="253"/>
                      <a:pt x="12" y="223"/>
                    </a:cubicBezTo>
                    <a:cubicBezTo>
                      <a:pt x="0" y="215"/>
                      <a:pt x="14" y="210"/>
                      <a:pt x="21" y="207"/>
                    </a:cubicBezTo>
                    <a:cubicBezTo>
                      <a:pt x="22" y="204"/>
                      <a:pt x="22" y="204"/>
                      <a:pt x="22" y="204"/>
                    </a:cubicBezTo>
                    <a:cubicBezTo>
                      <a:pt x="27" y="207"/>
                      <a:pt x="38" y="198"/>
                      <a:pt x="44" y="198"/>
                    </a:cubicBezTo>
                    <a:cubicBezTo>
                      <a:pt x="55" y="186"/>
                      <a:pt x="68" y="174"/>
                      <a:pt x="73" y="158"/>
                    </a:cubicBezTo>
                    <a:cubicBezTo>
                      <a:pt x="76" y="142"/>
                      <a:pt x="55" y="122"/>
                      <a:pt x="71" y="109"/>
                    </a:cubicBezTo>
                    <a:cubicBezTo>
                      <a:pt x="74" y="95"/>
                      <a:pt x="88" y="103"/>
                      <a:pt x="95" y="93"/>
                    </a:cubicBezTo>
                    <a:cubicBezTo>
                      <a:pt x="96" y="80"/>
                      <a:pt x="111" y="82"/>
                      <a:pt x="116" y="71"/>
                    </a:cubicBezTo>
                    <a:cubicBezTo>
                      <a:pt x="126" y="63"/>
                      <a:pt x="142" y="59"/>
                      <a:pt x="154" y="53"/>
                    </a:cubicBezTo>
                    <a:cubicBezTo>
                      <a:pt x="167" y="49"/>
                      <a:pt x="161" y="39"/>
                      <a:pt x="157" y="32"/>
                    </a:cubicBezTo>
                    <a:cubicBezTo>
                      <a:pt x="157" y="19"/>
                      <a:pt x="157" y="12"/>
                      <a:pt x="160" y="0"/>
                    </a:cubicBezTo>
                    <a:cubicBezTo>
                      <a:pt x="161" y="0"/>
                      <a:pt x="162" y="0"/>
                      <a:pt x="163" y="1"/>
                    </a:cubicBezTo>
                    <a:cubicBezTo>
                      <a:pt x="175" y="8"/>
                      <a:pt x="188" y="12"/>
                      <a:pt x="201" y="18"/>
                    </a:cubicBezTo>
                    <a:cubicBezTo>
                      <a:pt x="208" y="22"/>
                      <a:pt x="217" y="21"/>
                      <a:pt x="226" y="22"/>
                    </a:cubicBezTo>
                    <a:cubicBezTo>
                      <a:pt x="234" y="24"/>
                      <a:pt x="242" y="20"/>
                      <a:pt x="249" y="18"/>
                    </a:cubicBezTo>
                    <a:cubicBezTo>
                      <a:pt x="256" y="16"/>
                      <a:pt x="263" y="17"/>
                      <a:pt x="270" y="17"/>
                    </a:cubicBezTo>
                    <a:cubicBezTo>
                      <a:pt x="280" y="17"/>
                      <a:pt x="286" y="25"/>
                      <a:pt x="296" y="24"/>
                    </a:cubicBezTo>
                    <a:cubicBezTo>
                      <a:pt x="306" y="24"/>
                      <a:pt x="316" y="28"/>
                      <a:pt x="326" y="31"/>
                    </a:cubicBezTo>
                    <a:cubicBezTo>
                      <a:pt x="334" y="36"/>
                      <a:pt x="344" y="40"/>
                      <a:pt x="353" y="44"/>
                    </a:cubicBezTo>
                    <a:cubicBezTo>
                      <a:pt x="364" y="50"/>
                      <a:pt x="376" y="49"/>
                      <a:pt x="386" y="55"/>
                    </a:cubicBezTo>
                    <a:cubicBezTo>
                      <a:pt x="392" y="56"/>
                      <a:pt x="397" y="59"/>
                      <a:pt x="401" y="64"/>
                    </a:cubicBezTo>
                    <a:cubicBezTo>
                      <a:pt x="403" y="71"/>
                      <a:pt x="406" y="79"/>
                      <a:pt x="406" y="87"/>
                    </a:cubicBezTo>
                    <a:cubicBezTo>
                      <a:pt x="405" y="92"/>
                      <a:pt x="409" y="96"/>
                      <a:pt x="411" y="100"/>
                    </a:cubicBezTo>
                    <a:cubicBezTo>
                      <a:pt x="418" y="110"/>
                      <a:pt x="427" y="118"/>
                      <a:pt x="436" y="127"/>
                    </a:cubicBezTo>
                    <a:cubicBezTo>
                      <a:pt x="445" y="131"/>
                      <a:pt x="454" y="134"/>
                      <a:pt x="463" y="137"/>
                    </a:cubicBezTo>
                    <a:cubicBezTo>
                      <a:pt x="476" y="137"/>
                      <a:pt x="489" y="138"/>
                      <a:pt x="502" y="139"/>
                    </a:cubicBezTo>
                    <a:cubicBezTo>
                      <a:pt x="518" y="141"/>
                      <a:pt x="533" y="146"/>
                      <a:pt x="548" y="151"/>
                    </a:cubicBezTo>
                    <a:cubicBezTo>
                      <a:pt x="559" y="154"/>
                      <a:pt x="570" y="159"/>
                      <a:pt x="579" y="166"/>
                    </a:cubicBezTo>
                    <a:cubicBezTo>
                      <a:pt x="586" y="167"/>
                      <a:pt x="593" y="169"/>
                      <a:pt x="599" y="172"/>
                    </a:cubicBezTo>
                    <a:cubicBezTo>
                      <a:pt x="606" y="180"/>
                      <a:pt x="614" y="187"/>
                      <a:pt x="623" y="194"/>
                    </a:cubicBezTo>
                    <a:cubicBezTo>
                      <a:pt x="629" y="200"/>
                      <a:pt x="639" y="202"/>
                      <a:pt x="647" y="205"/>
                    </a:cubicBezTo>
                    <a:cubicBezTo>
                      <a:pt x="653" y="206"/>
                      <a:pt x="659" y="206"/>
                      <a:pt x="665" y="205"/>
                    </a:cubicBezTo>
                    <a:cubicBezTo>
                      <a:pt x="673" y="201"/>
                      <a:pt x="682" y="199"/>
                      <a:pt x="690" y="195"/>
                    </a:cubicBezTo>
                    <a:cubicBezTo>
                      <a:pt x="698" y="191"/>
                      <a:pt x="704" y="184"/>
                      <a:pt x="709" y="178"/>
                    </a:cubicBezTo>
                    <a:cubicBezTo>
                      <a:pt x="714" y="171"/>
                      <a:pt x="717" y="163"/>
                      <a:pt x="722" y="157"/>
                    </a:cubicBezTo>
                    <a:cubicBezTo>
                      <a:pt x="726" y="153"/>
                      <a:pt x="725" y="149"/>
                      <a:pt x="725" y="144"/>
                    </a:cubicBezTo>
                    <a:cubicBezTo>
                      <a:pt x="724" y="137"/>
                      <a:pt x="718" y="131"/>
                      <a:pt x="718" y="123"/>
                    </a:cubicBezTo>
                    <a:cubicBezTo>
                      <a:pt x="719" y="117"/>
                      <a:pt x="714" y="112"/>
                      <a:pt x="710" y="107"/>
                    </a:cubicBezTo>
                    <a:cubicBezTo>
                      <a:pt x="708" y="97"/>
                      <a:pt x="707" y="85"/>
                      <a:pt x="712" y="75"/>
                    </a:cubicBezTo>
                    <a:cubicBezTo>
                      <a:pt x="720" y="66"/>
                      <a:pt x="729" y="56"/>
                      <a:pt x="739" y="48"/>
                    </a:cubicBezTo>
                    <a:cubicBezTo>
                      <a:pt x="749" y="40"/>
                      <a:pt x="758" y="31"/>
                      <a:pt x="770" y="26"/>
                    </a:cubicBezTo>
                    <a:cubicBezTo>
                      <a:pt x="775" y="23"/>
                      <a:pt x="781" y="21"/>
                      <a:pt x="787" y="21"/>
                    </a:cubicBezTo>
                    <a:cubicBezTo>
                      <a:pt x="795" y="20"/>
                      <a:pt x="803" y="17"/>
                      <a:pt x="811" y="14"/>
                    </a:cubicBezTo>
                    <a:cubicBezTo>
                      <a:pt x="823" y="12"/>
                      <a:pt x="837" y="12"/>
                      <a:pt x="849" y="12"/>
                    </a:cubicBezTo>
                    <a:cubicBezTo>
                      <a:pt x="863" y="16"/>
                      <a:pt x="876" y="19"/>
                      <a:pt x="889" y="24"/>
                    </a:cubicBezTo>
                    <a:cubicBezTo>
                      <a:pt x="894" y="28"/>
                      <a:pt x="900" y="25"/>
                      <a:pt x="906" y="28"/>
                    </a:cubicBezTo>
                    <a:cubicBezTo>
                      <a:pt x="909" y="30"/>
                      <a:pt x="916" y="30"/>
                      <a:pt x="916" y="35"/>
                    </a:cubicBezTo>
                    <a:cubicBezTo>
                      <a:pt x="916" y="38"/>
                      <a:pt x="919" y="47"/>
                      <a:pt x="913" y="45"/>
                    </a:cubicBezTo>
                    <a:cubicBezTo>
                      <a:pt x="913" y="47"/>
                      <a:pt x="914" y="54"/>
                      <a:pt x="918" y="55"/>
                    </a:cubicBezTo>
                    <a:cubicBezTo>
                      <a:pt x="924" y="59"/>
                      <a:pt x="931" y="65"/>
                      <a:pt x="939" y="62"/>
                    </a:cubicBezTo>
                    <a:cubicBezTo>
                      <a:pt x="948" y="63"/>
                      <a:pt x="957" y="64"/>
                      <a:pt x="966" y="66"/>
                    </a:cubicBezTo>
                    <a:cubicBezTo>
                      <a:pt x="977" y="68"/>
                      <a:pt x="987" y="76"/>
                      <a:pt x="1000" y="76"/>
                    </a:cubicBezTo>
                    <a:cubicBezTo>
                      <a:pt x="1011" y="78"/>
                      <a:pt x="1023" y="76"/>
                      <a:pt x="1034" y="77"/>
                    </a:cubicBezTo>
                    <a:cubicBezTo>
                      <a:pt x="1041" y="77"/>
                      <a:pt x="1046" y="80"/>
                      <a:pt x="1052" y="83"/>
                    </a:cubicBezTo>
                    <a:cubicBezTo>
                      <a:pt x="1055" y="88"/>
                      <a:pt x="1056" y="95"/>
                      <a:pt x="1060" y="100"/>
                    </a:cubicBezTo>
                    <a:cubicBezTo>
                      <a:pt x="1061" y="102"/>
                      <a:pt x="1062" y="103"/>
                      <a:pt x="1063" y="104"/>
                    </a:cubicBezTo>
                    <a:cubicBezTo>
                      <a:pt x="1062" y="105"/>
                      <a:pt x="1062" y="105"/>
                      <a:pt x="1062" y="105"/>
                    </a:cubicBezTo>
                    <a:cubicBezTo>
                      <a:pt x="1057" y="112"/>
                      <a:pt x="1056" y="113"/>
                      <a:pt x="1051" y="120"/>
                    </a:cubicBezTo>
                    <a:cubicBezTo>
                      <a:pt x="1051" y="133"/>
                      <a:pt x="1055" y="145"/>
                      <a:pt x="1062" y="157"/>
                    </a:cubicBezTo>
                    <a:cubicBezTo>
                      <a:pt x="1064" y="169"/>
                      <a:pt x="1060" y="183"/>
                      <a:pt x="1052" y="194"/>
                    </a:cubicBezTo>
                    <a:cubicBezTo>
                      <a:pt x="1039" y="208"/>
                      <a:pt x="1058" y="222"/>
                      <a:pt x="1057" y="237"/>
                    </a:cubicBezTo>
                    <a:cubicBezTo>
                      <a:pt x="1061" y="251"/>
                      <a:pt x="1065" y="264"/>
                      <a:pt x="1071" y="277"/>
                    </a:cubicBezTo>
                    <a:cubicBezTo>
                      <a:pt x="1081" y="421"/>
                      <a:pt x="1090" y="564"/>
                      <a:pt x="1098" y="708"/>
                    </a:cubicBezTo>
                    <a:cubicBezTo>
                      <a:pt x="1098" y="708"/>
                      <a:pt x="1098" y="708"/>
                      <a:pt x="1098" y="708"/>
                    </a:cubicBezTo>
                    <a:cubicBezTo>
                      <a:pt x="1100" y="742"/>
                      <a:pt x="1101" y="776"/>
                      <a:pt x="1103" y="810"/>
                    </a:cubicBezTo>
                    <a:cubicBezTo>
                      <a:pt x="1106" y="859"/>
                      <a:pt x="1108" y="909"/>
                      <a:pt x="1110" y="959"/>
                    </a:cubicBezTo>
                    <a:cubicBezTo>
                      <a:pt x="1087" y="959"/>
                      <a:pt x="1062" y="959"/>
                      <a:pt x="1039" y="960"/>
                    </a:cubicBezTo>
                    <a:cubicBezTo>
                      <a:pt x="1039" y="969"/>
                      <a:pt x="1040" y="992"/>
                      <a:pt x="1040" y="997"/>
                    </a:cubicBezTo>
                    <a:cubicBezTo>
                      <a:pt x="1040" y="997"/>
                      <a:pt x="1040" y="997"/>
                      <a:pt x="1040" y="997"/>
                    </a:cubicBezTo>
                    <a:cubicBezTo>
                      <a:pt x="849" y="897"/>
                      <a:pt x="656" y="801"/>
                      <a:pt x="461" y="708"/>
                    </a:cubicBezTo>
                    <a:cubicBezTo>
                      <a:pt x="437" y="719"/>
                      <a:pt x="414" y="730"/>
                      <a:pt x="390" y="742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244" name="Liberia"/>
              <p:cNvSpPr>
                <a:spLocks/>
              </p:cNvSpPr>
              <p:nvPr/>
            </p:nvSpPr>
            <p:spPr bwMode="auto">
              <a:xfrm>
                <a:off x="3910034" y="4287570"/>
                <a:ext cx="110415" cy="146039"/>
              </a:xfrm>
              <a:custGeom>
                <a:avLst/>
                <a:gdLst>
                  <a:gd name="T0" fmla="*/ 29945710 w 304"/>
                  <a:gd name="T1" fmla="*/ 32109571 h 338"/>
                  <a:gd name="T2" fmla="*/ 34167266 w 304"/>
                  <a:gd name="T3" fmla="*/ 33602798 h 338"/>
                  <a:gd name="T4" fmla="*/ 35486434 w 304"/>
                  <a:gd name="T5" fmla="*/ 36962990 h 338"/>
                  <a:gd name="T6" fmla="*/ 35354590 w 304"/>
                  <a:gd name="T7" fmla="*/ 36776336 h 338"/>
                  <a:gd name="T8" fmla="*/ 35486434 w 304"/>
                  <a:gd name="T9" fmla="*/ 36962990 h 338"/>
                  <a:gd name="T10" fmla="*/ 37333342 w 304"/>
                  <a:gd name="T11" fmla="*/ 39016608 h 338"/>
                  <a:gd name="T12" fmla="*/ 39180250 w 304"/>
                  <a:gd name="T13" fmla="*/ 42003494 h 338"/>
                  <a:gd name="T14" fmla="*/ 39575782 w 304"/>
                  <a:gd name="T15" fmla="*/ 47603958 h 338"/>
                  <a:gd name="T16" fmla="*/ 38652510 w 304"/>
                  <a:gd name="T17" fmla="*/ 49657576 h 338"/>
                  <a:gd name="T18" fmla="*/ 37860719 w 304"/>
                  <a:gd name="T19" fmla="*/ 53017768 h 338"/>
                  <a:gd name="T20" fmla="*/ 37597030 w 304"/>
                  <a:gd name="T21" fmla="*/ 61792216 h 338"/>
                  <a:gd name="T22" fmla="*/ 37992926 w 304"/>
                  <a:gd name="T23" fmla="*/ 61978870 h 338"/>
                  <a:gd name="T24" fmla="*/ 38124770 w 304"/>
                  <a:gd name="T25" fmla="*/ 62912136 h 338"/>
                  <a:gd name="T26" fmla="*/ 38124770 w 304"/>
                  <a:gd name="T27" fmla="*/ 62912136 h 338"/>
                  <a:gd name="T28" fmla="*/ 37728874 w 304"/>
                  <a:gd name="T29" fmla="*/ 63098790 h 338"/>
                  <a:gd name="T30" fmla="*/ 28626541 w 304"/>
                  <a:gd name="T31" fmla="*/ 58058286 h 338"/>
                  <a:gd name="T32" fmla="*/ 24141297 w 304"/>
                  <a:gd name="T33" fmla="*/ 53764814 h 338"/>
                  <a:gd name="T34" fmla="*/ 20579319 w 304"/>
                  <a:gd name="T35" fmla="*/ 49097616 h 338"/>
                  <a:gd name="T36" fmla="*/ 13323895 w 304"/>
                  <a:gd name="T37" fmla="*/ 38829955 h 338"/>
                  <a:gd name="T38" fmla="*/ 9894127 w 304"/>
                  <a:gd name="T39" fmla="*/ 36029723 h 338"/>
                  <a:gd name="T40" fmla="*/ 7387635 w 304"/>
                  <a:gd name="T41" fmla="*/ 32856184 h 338"/>
                  <a:gd name="T42" fmla="*/ 5276674 w 304"/>
                  <a:gd name="T43" fmla="*/ 31549611 h 338"/>
                  <a:gd name="T44" fmla="*/ 3825662 w 304"/>
                  <a:gd name="T45" fmla="*/ 30242606 h 338"/>
                  <a:gd name="T46" fmla="*/ 2902389 w 304"/>
                  <a:gd name="T47" fmla="*/ 28748947 h 338"/>
                  <a:gd name="T48" fmla="*/ 2770181 w 304"/>
                  <a:gd name="T49" fmla="*/ 27255713 h 338"/>
                  <a:gd name="T50" fmla="*/ 0 w 304"/>
                  <a:gd name="T51" fmla="*/ 24082175 h 338"/>
                  <a:gd name="T52" fmla="*/ 0 w 304"/>
                  <a:gd name="T53" fmla="*/ 23895521 h 338"/>
                  <a:gd name="T54" fmla="*/ 3561973 w 304"/>
                  <a:gd name="T55" fmla="*/ 18481711 h 338"/>
                  <a:gd name="T56" fmla="*/ 7651323 w 304"/>
                  <a:gd name="T57" fmla="*/ 13254550 h 338"/>
                  <a:gd name="T58" fmla="*/ 9234543 w 304"/>
                  <a:gd name="T59" fmla="*/ 8587353 h 338"/>
                  <a:gd name="T60" fmla="*/ 12268415 w 304"/>
                  <a:gd name="T61" fmla="*/ 3920154 h 338"/>
                  <a:gd name="T62" fmla="*/ 12796155 w 304"/>
                  <a:gd name="T63" fmla="*/ 1493659 h 338"/>
                  <a:gd name="T64" fmla="*/ 12664311 w 304"/>
                  <a:gd name="T65" fmla="*/ 1306574 h 338"/>
                  <a:gd name="T66" fmla="*/ 14379374 w 304"/>
                  <a:gd name="T67" fmla="*/ 933267 h 338"/>
                  <a:gd name="T68" fmla="*/ 17017711 w 304"/>
                  <a:gd name="T69" fmla="*/ 1306574 h 338"/>
                  <a:gd name="T70" fmla="*/ 18072827 w 304"/>
                  <a:gd name="T71" fmla="*/ 2240273 h 338"/>
                  <a:gd name="T72" fmla="*/ 18600567 w 304"/>
                  <a:gd name="T73" fmla="*/ 2800233 h 338"/>
                  <a:gd name="T74" fmla="*/ 19919735 w 304"/>
                  <a:gd name="T75" fmla="*/ 5227159 h 338"/>
                  <a:gd name="T76" fmla="*/ 20315631 w 304"/>
                  <a:gd name="T77" fmla="*/ 6907471 h 338"/>
                  <a:gd name="T78" fmla="*/ 20579319 w 304"/>
                  <a:gd name="T79" fmla="*/ 9147313 h 338"/>
                  <a:gd name="T80" fmla="*/ 20183787 w 304"/>
                  <a:gd name="T81" fmla="*/ 16614745 h 338"/>
                  <a:gd name="T82" fmla="*/ 21766643 w 304"/>
                  <a:gd name="T83" fmla="*/ 17548012 h 338"/>
                  <a:gd name="T84" fmla="*/ 24669037 w 304"/>
                  <a:gd name="T85" fmla="*/ 19228324 h 338"/>
                  <a:gd name="T86" fmla="*/ 26251893 w 304"/>
                  <a:gd name="T87" fmla="*/ 17548012 h 338"/>
                  <a:gd name="T88" fmla="*/ 28626541 w 304"/>
                  <a:gd name="T89" fmla="*/ 13067897 h 338"/>
                  <a:gd name="T90" fmla="*/ 29682021 w 304"/>
                  <a:gd name="T91" fmla="*/ 14747780 h 338"/>
                  <a:gd name="T92" fmla="*/ 29682021 w 304"/>
                  <a:gd name="T93" fmla="*/ 15121519 h 338"/>
                  <a:gd name="T94" fmla="*/ 31264878 w 304"/>
                  <a:gd name="T95" fmla="*/ 21468596 h 338"/>
                  <a:gd name="T96" fmla="*/ 29682021 w 304"/>
                  <a:gd name="T97" fmla="*/ 28002327 h 338"/>
                  <a:gd name="T98" fmla="*/ 29154281 w 304"/>
                  <a:gd name="T99" fmla="*/ 31175872 h 338"/>
                  <a:gd name="T100" fmla="*/ 29945710 w 304"/>
                  <a:gd name="T101" fmla="*/ 32109571 h 338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04"/>
                  <a:gd name="T154" fmla="*/ 0 h 338"/>
                  <a:gd name="T155" fmla="*/ 304 w 304"/>
                  <a:gd name="T156" fmla="*/ 338 h 338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04" h="338">
                    <a:moveTo>
                      <a:pt x="227" y="172"/>
                    </a:moveTo>
                    <a:cubicBezTo>
                      <a:pt x="235" y="178"/>
                      <a:pt x="247" y="181"/>
                      <a:pt x="259" y="180"/>
                    </a:cubicBezTo>
                    <a:cubicBezTo>
                      <a:pt x="268" y="180"/>
                      <a:pt x="270" y="196"/>
                      <a:pt x="269" y="198"/>
                    </a:cubicBezTo>
                    <a:cubicBezTo>
                      <a:pt x="269" y="197"/>
                      <a:pt x="269" y="197"/>
                      <a:pt x="268" y="197"/>
                    </a:cubicBezTo>
                    <a:cubicBezTo>
                      <a:pt x="269" y="198"/>
                      <a:pt x="269" y="198"/>
                      <a:pt x="269" y="198"/>
                    </a:cubicBezTo>
                    <a:cubicBezTo>
                      <a:pt x="272" y="202"/>
                      <a:pt x="275" y="211"/>
                      <a:pt x="283" y="209"/>
                    </a:cubicBezTo>
                    <a:cubicBezTo>
                      <a:pt x="290" y="216"/>
                      <a:pt x="302" y="212"/>
                      <a:pt x="297" y="225"/>
                    </a:cubicBezTo>
                    <a:cubicBezTo>
                      <a:pt x="304" y="235"/>
                      <a:pt x="292" y="247"/>
                      <a:pt x="300" y="255"/>
                    </a:cubicBezTo>
                    <a:cubicBezTo>
                      <a:pt x="297" y="259"/>
                      <a:pt x="291" y="257"/>
                      <a:pt x="293" y="266"/>
                    </a:cubicBezTo>
                    <a:cubicBezTo>
                      <a:pt x="290" y="273"/>
                      <a:pt x="283" y="275"/>
                      <a:pt x="287" y="284"/>
                    </a:cubicBezTo>
                    <a:cubicBezTo>
                      <a:pt x="281" y="296"/>
                      <a:pt x="287" y="316"/>
                      <a:pt x="285" y="331"/>
                    </a:cubicBezTo>
                    <a:cubicBezTo>
                      <a:pt x="288" y="332"/>
                      <a:pt x="288" y="332"/>
                      <a:pt x="288" y="332"/>
                    </a:cubicBezTo>
                    <a:cubicBezTo>
                      <a:pt x="289" y="337"/>
                      <a:pt x="289" y="337"/>
                      <a:pt x="289" y="337"/>
                    </a:cubicBezTo>
                    <a:cubicBezTo>
                      <a:pt x="289" y="337"/>
                      <a:pt x="289" y="337"/>
                      <a:pt x="289" y="337"/>
                    </a:cubicBezTo>
                    <a:cubicBezTo>
                      <a:pt x="288" y="337"/>
                      <a:pt x="287" y="338"/>
                      <a:pt x="286" y="338"/>
                    </a:cubicBezTo>
                    <a:cubicBezTo>
                      <a:pt x="264" y="328"/>
                      <a:pt x="240" y="319"/>
                      <a:pt x="217" y="311"/>
                    </a:cubicBezTo>
                    <a:cubicBezTo>
                      <a:pt x="205" y="304"/>
                      <a:pt x="194" y="296"/>
                      <a:pt x="183" y="288"/>
                    </a:cubicBezTo>
                    <a:cubicBezTo>
                      <a:pt x="173" y="281"/>
                      <a:pt x="164" y="272"/>
                      <a:pt x="156" y="263"/>
                    </a:cubicBezTo>
                    <a:cubicBezTo>
                      <a:pt x="137" y="245"/>
                      <a:pt x="122" y="224"/>
                      <a:pt x="101" y="208"/>
                    </a:cubicBezTo>
                    <a:cubicBezTo>
                      <a:pt x="93" y="201"/>
                      <a:pt x="84" y="198"/>
                      <a:pt x="75" y="193"/>
                    </a:cubicBezTo>
                    <a:cubicBezTo>
                      <a:pt x="67" y="190"/>
                      <a:pt x="63" y="181"/>
                      <a:pt x="56" y="176"/>
                    </a:cubicBezTo>
                    <a:cubicBezTo>
                      <a:pt x="51" y="172"/>
                      <a:pt x="46" y="170"/>
                      <a:pt x="40" y="169"/>
                    </a:cubicBezTo>
                    <a:cubicBezTo>
                      <a:pt x="35" y="169"/>
                      <a:pt x="32" y="165"/>
                      <a:pt x="29" y="162"/>
                    </a:cubicBezTo>
                    <a:cubicBezTo>
                      <a:pt x="25" y="162"/>
                      <a:pt x="21" y="157"/>
                      <a:pt x="22" y="154"/>
                    </a:cubicBezTo>
                    <a:cubicBezTo>
                      <a:pt x="28" y="153"/>
                      <a:pt x="26" y="147"/>
                      <a:pt x="21" y="146"/>
                    </a:cubicBezTo>
                    <a:cubicBezTo>
                      <a:pt x="13" y="141"/>
                      <a:pt x="8" y="133"/>
                      <a:pt x="0" y="129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13" y="123"/>
                      <a:pt x="11" y="102"/>
                      <a:pt x="27" y="99"/>
                    </a:cubicBezTo>
                    <a:cubicBezTo>
                      <a:pt x="33" y="85"/>
                      <a:pt x="51" y="84"/>
                      <a:pt x="58" y="71"/>
                    </a:cubicBezTo>
                    <a:cubicBezTo>
                      <a:pt x="65" y="64"/>
                      <a:pt x="73" y="58"/>
                      <a:pt x="70" y="46"/>
                    </a:cubicBezTo>
                    <a:cubicBezTo>
                      <a:pt x="72" y="30"/>
                      <a:pt x="97" y="40"/>
                      <a:pt x="93" y="21"/>
                    </a:cubicBezTo>
                    <a:cubicBezTo>
                      <a:pt x="93" y="16"/>
                      <a:pt x="97" y="13"/>
                      <a:pt x="97" y="8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1" y="6"/>
                      <a:pt x="105" y="6"/>
                      <a:pt x="109" y="5"/>
                    </a:cubicBezTo>
                    <a:cubicBezTo>
                      <a:pt x="112" y="17"/>
                      <a:pt x="120" y="7"/>
                      <a:pt x="129" y="7"/>
                    </a:cubicBezTo>
                    <a:cubicBezTo>
                      <a:pt x="134" y="0"/>
                      <a:pt x="135" y="6"/>
                      <a:pt x="137" y="12"/>
                    </a:cubicBezTo>
                    <a:cubicBezTo>
                      <a:pt x="142" y="8"/>
                      <a:pt x="143" y="10"/>
                      <a:pt x="141" y="15"/>
                    </a:cubicBezTo>
                    <a:cubicBezTo>
                      <a:pt x="149" y="13"/>
                      <a:pt x="155" y="20"/>
                      <a:pt x="151" y="28"/>
                    </a:cubicBezTo>
                    <a:cubicBezTo>
                      <a:pt x="154" y="30"/>
                      <a:pt x="154" y="29"/>
                      <a:pt x="154" y="37"/>
                    </a:cubicBezTo>
                    <a:cubicBezTo>
                      <a:pt x="152" y="46"/>
                      <a:pt x="160" y="40"/>
                      <a:pt x="156" y="49"/>
                    </a:cubicBezTo>
                    <a:cubicBezTo>
                      <a:pt x="158" y="62"/>
                      <a:pt x="164" y="77"/>
                      <a:pt x="153" y="89"/>
                    </a:cubicBezTo>
                    <a:cubicBezTo>
                      <a:pt x="146" y="99"/>
                      <a:pt x="160" y="87"/>
                      <a:pt x="165" y="94"/>
                    </a:cubicBezTo>
                    <a:cubicBezTo>
                      <a:pt x="174" y="95"/>
                      <a:pt x="176" y="116"/>
                      <a:pt x="187" y="103"/>
                    </a:cubicBezTo>
                    <a:cubicBezTo>
                      <a:pt x="195" y="106"/>
                      <a:pt x="197" y="100"/>
                      <a:pt x="199" y="94"/>
                    </a:cubicBezTo>
                    <a:cubicBezTo>
                      <a:pt x="210" y="89"/>
                      <a:pt x="203" y="69"/>
                      <a:pt x="217" y="70"/>
                    </a:cubicBezTo>
                    <a:cubicBezTo>
                      <a:pt x="218" y="77"/>
                      <a:pt x="221" y="79"/>
                      <a:pt x="225" y="79"/>
                    </a:cubicBezTo>
                    <a:cubicBezTo>
                      <a:pt x="225" y="81"/>
                      <a:pt x="225" y="81"/>
                      <a:pt x="225" y="81"/>
                    </a:cubicBezTo>
                    <a:cubicBezTo>
                      <a:pt x="231" y="91"/>
                      <a:pt x="230" y="104"/>
                      <a:pt x="237" y="115"/>
                    </a:cubicBezTo>
                    <a:cubicBezTo>
                      <a:pt x="235" y="127"/>
                      <a:pt x="237" y="142"/>
                      <a:pt x="225" y="150"/>
                    </a:cubicBezTo>
                    <a:cubicBezTo>
                      <a:pt x="220" y="156"/>
                      <a:pt x="206" y="163"/>
                      <a:pt x="221" y="167"/>
                    </a:cubicBezTo>
                    <a:cubicBezTo>
                      <a:pt x="227" y="165"/>
                      <a:pt x="227" y="164"/>
                      <a:pt x="227" y="172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62" name="Lesotho"/>
              <p:cNvSpPr>
                <a:spLocks/>
              </p:cNvSpPr>
              <p:nvPr/>
            </p:nvSpPr>
            <p:spPr bwMode="auto">
              <a:xfrm>
                <a:off x="4922153" y="5502766"/>
                <a:ext cx="63846" cy="67286"/>
              </a:xfrm>
              <a:custGeom>
                <a:avLst/>
                <a:gdLst>
                  <a:gd name="T0" fmla="*/ 166 w 179"/>
                  <a:gd name="T1" fmla="*/ 38 h 156"/>
                  <a:gd name="T2" fmla="*/ 164 w 179"/>
                  <a:gd name="T3" fmla="*/ 67 h 156"/>
                  <a:gd name="T4" fmla="*/ 149 w 179"/>
                  <a:gd name="T5" fmla="*/ 85 h 156"/>
                  <a:gd name="T6" fmla="*/ 138 w 179"/>
                  <a:gd name="T7" fmla="*/ 105 h 156"/>
                  <a:gd name="T8" fmla="*/ 129 w 179"/>
                  <a:gd name="T9" fmla="*/ 109 h 156"/>
                  <a:gd name="T10" fmla="*/ 85 w 179"/>
                  <a:gd name="T11" fmla="*/ 122 h 156"/>
                  <a:gd name="T12" fmla="*/ 79 w 179"/>
                  <a:gd name="T13" fmla="*/ 137 h 156"/>
                  <a:gd name="T14" fmla="*/ 44 w 179"/>
                  <a:gd name="T15" fmla="*/ 140 h 156"/>
                  <a:gd name="T16" fmla="*/ 28 w 179"/>
                  <a:gd name="T17" fmla="*/ 116 h 156"/>
                  <a:gd name="T18" fmla="*/ 12 w 179"/>
                  <a:gd name="T19" fmla="*/ 82 h 156"/>
                  <a:gd name="T20" fmla="*/ 27 w 179"/>
                  <a:gd name="T21" fmla="*/ 65 h 156"/>
                  <a:gd name="T22" fmla="*/ 55 w 179"/>
                  <a:gd name="T23" fmla="*/ 30 h 156"/>
                  <a:gd name="T24" fmla="*/ 88 w 179"/>
                  <a:gd name="T25" fmla="*/ 9 h 156"/>
                  <a:gd name="T26" fmla="*/ 124 w 179"/>
                  <a:gd name="T27" fmla="*/ 0 h 156"/>
                  <a:gd name="T28" fmla="*/ 141 w 179"/>
                  <a:gd name="T29" fmla="*/ 18 h 156"/>
                  <a:gd name="T30" fmla="*/ 166 w 179"/>
                  <a:gd name="T31" fmla="*/ 38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9" h="156">
                    <a:moveTo>
                      <a:pt x="166" y="38"/>
                    </a:moveTo>
                    <a:cubicBezTo>
                      <a:pt x="170" y="48"/>
                      <a:pt x="179" y="62"/>
                      <a:pt x="164" y="67"/>
                    </a:cubicBezTo>
                    <a:cubicBezTo>
                      <a:pt x="162" y="76"/>
                      <a:pt x="155" y="78"/>
                      <a:pt x="149" y="85"/>
                    </a:cubicBezTo>
                    <a:cubicBezTo>
                      <a:pt x="149" y="93"/>
                      <a:pt x="149" y="103"/>
                      <a:pt x="138" y="105"/>
                    </a:cubicBezTo>
                    <a:cubicBezTo>
                      <a:pt x="135" y="106"/>
                      <a:pt x="132" y="108"/>
                      <a:pt x="129" y="109"/>
                    </a:cubicBezTo>
                    <a:cubicBezTo>
                      <a:pt x="115" y="115"/>
                      <a:pt x="98" y="110"/>
                      <a:pt x="85" y="122"/>
                    </a:cubicBezTo>
                    <a:cubicBezTo>
                      <a:pt x="86" y="116"/>
                      <a:pt x="83" y="132"/>
                      <a:pt x="79" y="137"/>
                    </a:cubicBezTo>
                    <a:cubicBezTo>
                      <a:pt x="77" y="156"/>
                      <a:pt x="53" y="150"/>
                      <a:pt x="44" y="140"/>
                    </a:cubicBezTo>
                    <a:cubicBezTo>
                      <a:pt x="42" y="128"/>
                      <a:pt x="23" y="127"/>
                      <a:pt x="28" y="116"/>
                    </a:cubicBezTo>
                    <a:cubicBezTo>
                      <a:pt x="26" y="106"/>
                      <a:pt x="14" y="95"/>
                      <a:pt x="12" y="82"/>
                    </a:cubicBezTo>
                    <a:cubicBezTo>
                      <a:pt x="0" y="71"/>
                      <a:pt x="19" y="70"/>
                      <a:pt x="27" y="65"/>
                    </a:cubicBezTo>
                    <a:cubicBezTo>
                      <a:pt x="37" y="54"/>
                      <a:pt x="47" y="43"/>
                      <a:pt x="55" y="30"/>
                    </a:cubicBezTo>
                    <a:cubicBezTo>
                      <a:pt x="63" y="16"/>
                      <a:pt x="81" y="25"/>
                      <a:pt x="88" y="9"/>
                    </a:cubicBezTo>
                    <a:cubicBezTo>
                      <a:pt x="101" y="9"/>
                      <a:pt x="111" y="0"/>
                      <a:pt x="124" y="0"/>
                    </a:cubicBezTo>
                    <a:cubicBezTo>
                      <a:pt x="128" y="6"/>
                      <a:pt x="135" y="11"/>
                      <a:pt x="141" y="18"/>
                    </a:cubicBezTo>
                    <a:cubicBezTo>
                      <a:pt x="148" y="26"/>
                      <a:pt x="156" y="35"/>
                      <a:pt x="166" y="38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246" name="Lebanon"/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5126902" y="3465354"/>
                <a:ext cx="33285" cy="39014"/>
              </a:xfrm>
              <a:custGeom>
                <a:avLst/>
                <a:gdLst>
                  <a:gd name="T0" fmla="*/ 11095 w 6"/>
                  <a:gd name="T1" fmla="*/ 0 h 7"/>
                  <a:gd name="T2" fmla="*/ 33285 w 6"/>
                  <a:gd name="T3" fmla="*/ 0 h 7"/>
                  <a:gd name="T4" fmla="*/ 11095 w 6"/>
                  <a:gd name="T5" fmla="*/ 39014 h 7"/>
                  <a:gd name="T6" fmla="*/ 0 w 6"/>
                  <a:gd name="T7" fmla="*/ 39014 h 7"/>
                  <a:gd name="T8" fmla="*/ 0 w 6"/>
                  <a:gd name="T9" fmla="*/ 27867 h 7"/>
                  <a:gd name="T10" fmla="*/ 11095 w 6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7"/>
                  <a:gd name="T20" fmla="*/ 6 w 6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7">
                    <a:moveTo>
                      <a:pt x="2" y="0"/>
                    </a:moveTo>
                    <a:lnTo>
                      <a:pt x="6" y="0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EE8B8B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64" name="Latvia"/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4754775" y="2723353"/>
                <a:ext cx="150122" cy="67285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8" y="5"/>
                  </a:cxn>
                  <a:cxn ang="0">
                    <a:pos x="10" y="5"/>
                  </a:cxn>
                  <a:cxn ang="0">
                    <a:pos x="10" y="0"/>
                  </a:cxn>
                  <a:cxn ang="0">
                    <a:pos x="12" y="0"/>
                  </a:cxn>
                  <a:cxn ang="0">
                    <a:pos x="21" y="3"/>
                  </a:cxn>
                  <a:cxn ang="0">
                    <a:pos x="27" y="9"/>
                  </a:cxn>
                  <a:cxn ang="0">
                    <a:pos x="21" y="12"/>
                  </a:cxn>
                  <a:cxn ang="0">
                    <a:pos x="12" y="9"/>
                  </a:cxn>
                  <a:cxn ang="0">
                    <a:pos x="2" y="9"/>
                  </a:cxn>
                  <a:cxn ang="0">
                    <a:pos x="0" y="12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0" y="5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8" y="5"/>
                    </a:lnTo>
                    <a:lnTo>
                      <a:pt x="10" y="5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21" y="3"/>
                    </a:lnTo>
                    <a:lnTo>
                      <a:pt x="27" y="9"/>
                    </a:lnTo>
                    <a:lnTo>
                      <a:pt x="21" y="12"/>
                    </a:lnTo>
                    <a:lnTo>
                      <a:pt x="12" y="9"/>
                    </a:lnTo>
                    <a:lnTo>
                      <a:pt x="2" y="9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65" name="Laos"/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6823707" y="3844780"/>
                <a:ext cx="222596" cy="272593"/>
              </a:xfrm>
              <a:custGeom>
                <a:avLst/>
                <a:gdLst/>
                <a:ahLst/>
                <a:cxnLst>
                  <a:cxn ang="0">
                    <a:pos x="40" y="45"/>
                  </a:cxn>
                  <a:cxn ang="0">
                    <a:pos x="36" y="40"/>
                  </a:cxn>
                  <a:cxn ang="0">
                    <a:pos x="30" y="34"/>
                  </a:cxn>
                  <a:cxn ang="0">
                    <a:pos x="30" y="31"/>
                  </a:cxn>
                  <a:cxn ang="0">
                    <a:pos x="19" y="18"/>
                  </a:cxn>
                  <a:cxn ang="0">
                    <a:pos x="21" y="16"/>
                  </a:cxn>
                  <a:cxn ang="0">
                    <a:pos x="19" y="13"/>
                  </a:cxn>
                  <a:cxn ang="0">
                    <a:pos x="13" y="9"/>
                  </a:cxn>
                  <a:cxn ang="0">
                    <a:pos x="9" y="0"/>
                  </a:cxn>
                  <a:cxn ang="0">
                    <a:pos x="5" y="0"/>
                  </a:cxn>
                  <a:cxn ang="0">
                    <a:pos x="5" y="7"/>
                  </a:cxn>
                  <a:cxn ang="0">
                    <a:pos x="0" y="13"/>
                  </a:cxn>
                  <a:cxn ang="0">
                    <a:pos x="2" y="16"/>
                  </a:cxn>
                  <a:cxn ang="0">
                    <a:pos x="5" y="18"/>
                  </a:cxn>
                  <a:cxn ang="0">
                    <a:pos x="5" y="27"/>
                  </a:cxn>
                  <a:cxn ang="0">
                    <a:pos x="11" y="25"/>
                  </a:cxn>
                  <a:cxn ang="0">
                    <a:pos x="13" y="27"/>
                  </a:cxn>
                  <a:cxn ang="0">
                    <a:pos x="17" y="25"/>
                  </a:cxn>
                  <a:cxn ang="0">
                    <a:pos x="21" y="31"/>
                  </a:cxn>
                  <a:cxn ang="0">
                    <a:pos x="25" y="36"/>
                  </a:cxn>
                  <a:cxn ang="0">
                    <a:pos x="28" y="43"/>
                  </a:cxn>
                  <a:cxn ang="0">
                    <a:pos x="28" y="49"/>
                  </a:cxn>
                  <a:cxn ang="0">
                    <a:pos x="30" y="49"/>
                  </a:cxn>
                  <a:cxn ang="0">
                    <a:pos x="34" y="49"/>
                  </a:cxn>
                  <a:cxn ang="0">
                    <a:pos x="36" y="47"/>
                  </a:cxn>
                  <a:cxn ang="0">
                    <a:pos x="40" y="45"/>
                  </a:cxn>
                </a:cxnLst>
                <a:rect l="0" t="0" r="r" b="b"/>
                <a:pathLst>
                  <a:path w="40" h="49">
                    <a:moveTo>
                      <a:pt x="40" y="45"/>
                    </a:moveTo>
                    <a:lnTo>
                      <a:pt x="36" y="40"/>
                    </a:lnTo>
                    <a:lnTo>
                      <a:pt x="30" y="34"/>
                    </a:lnTo>
                    <a:lnTo>
                      <a:pt x="30" y="31"/>
                    </a:lnTo>
                    <a:lnTo>
                      <a:pt x="19" y="18"/>
                    </a:lnTo>
                    <a:lnTo>
                      <a:pt x="21" y="16"/>
                    </a:lnTo>
                    <a:lnTo>
                      <a:pt x="19" y="13"/>
                    </a:lnTo>
                    <a:lnTo>
                      <a:pt x="13" y="9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5" y="7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5" y="18"/>
                    </a:lnTo>
                    <a:lnTo>
                      <a:pt x="5" y="27"/>
                    </a:lnTo>
                    <a:lnTo>
                      <a:pt x="11" y="25"/>
                    </a:lnTo>
                    <a:lnTo>
                      <a:pt x="13" y="27"/>
                    </a:lnTo>
                    <a:lnTo>
                      <a:pt x="17" y="25"/>
                    </a:lnTo>
                    <a:lnTo>
                      <a:pt x="21" y="31"/>
                    </a:lnTo>
                    <a:lnTo>
                      <a:pt x="25" y="36"/>
                    </a:lnTo>
                    <a:lnTo>
                      <a:pt x="28" y="43"/>
                    </a:lnTo>
                    <a:lnTo>
                      <a:pt x="28" y="49"/>
                    </a:lnTo>
                    <a:lnTo>
                      <a:pt x="30" y="49"/>
                    </a:lnTo>
                    <a:lnTo>
                      <a:pt x="34" y="49"/>
                    </a:lnTo>
                    <a:lnTo>
                      <a:pt x="36" y="47"/>
                    </a:lnTo>
                    <a:lnTo>
                      <a:pt x="40" y="4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66" name="Kyrgyzstan"/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5947128" y="3175374"/>
                <a:ext cx="232950" cy="139747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0" y="18"/>
                  </a:cxn>
                  <a:cxn ang="0">
                    <a:pos x="0" y="23"/>
                  </a:cxn>
                  <a:cxn ang="0">
                    <a:pos x="8" y="23"/>
                  </a:cxn>
                  <a:cxn ang="0">
                    <a:pos x="10" y="25"/>
                  </a:cxn>
                  <a:cxn ang="0">
                    <a:pos x="19" y="23"/>
                  </a:cxn>
                  <a:cxn ang="0">
                    <a:pos x="19" y="18"/>
                  </a:cxn>
                  <a:cxn ang="0">
                    <a:pos x="21" y="16"/>
                  </a:cxn>
                  <a:cxn ang="0">
                    <a:pos x="31" y="16"/>
                  </a:cxn>
                  <a:cxn ang="0">
                    <a:pos x="31" y="14"/>
                  </a:cxn>
                  <a:cxn ang="0">
                    <a:pos x="35" y="14"/>
                  </a:cxn>
                  <a:cxn ang="0">
                    <a:pos x="42" y="9"/>
                  </a:cxn>
                  <a:cxn ang="0">
                    <a:pos x="42" y="7"/>
                  </a:cxn>
                  <a:cxn ang="0">
                    <a:pos x="35" y="5"/>
                  </a:cxn>
                  <a:cxn ang="0">
                    <a:pos x="19" y="5"/>
                  </a:cxn>
                  <a:cxn ang="0">
                    <a:pos x="12" y="0"/>
                  </a:cxn>
                  <a:cxn ang="0">
                    <a:pos x="12" y="5"/>
                  </a:cxn>
                  <a:cxn ang="0">
                    <a:pos x="10" y="7"/>
                  </a:cxn>
                  <a:cxn ang="0">
                    <a:pos x="4" y="5"/>
                  </a:cxn>
                  <a:cxn ang="0">
                    <a:pos x="2" y="5"/>
                  </a:cxn>
                  <a:cxn ang="0">
                    <a:pos x="2" y="7"/>
                  </a:cxn>
                  <a:cxn ang="0">
                    <a:pos x="0" y="9"/>
                  </a:cxn>
                  <a:cxn ang="0">
                    <a:pos x="4" y="14"/>
                  </a:cxn>
                  <a:cxn ang="0">
                    <a:pos x="4" y="9"/>
                  </a:cxn>
                  <a:cxn ang="0">
                    <a:pos x="12" y="16"/>
                  </a:cxn>
                  <a:cxn ang="0">
                    <a:pos x="8" y="18"/>
                  </a:cxn>
                  <a:cxn ang="0">
                    <a:pos x="4" y="18"/>
                  </a:cxn>
                  <a:cxn ang="0">
                    <a:pos x="2" y="18"/>
                  </a:cxn>
                </a:cxnLst>
                <a:rect l="0" t="0" r="r" b="b"/>
                <a:pathLst>
                  <a:path w="42" h="25">
                    <a:moveTo>
                      <a:pt x="2" y="18"/>
                    </a:moveTo>
                    <a:lnTo>
                      <a:pt x="0" y="18"/>
                    </a:lnTo>
                    <a:lnTo>
                      <a:pt x="0" y="23"/>
                    </a:lnTo>
                    <a:lnTo>
                      <a:pt x="8" y="23"/>
                    </a:lnTo>
                    <a:lnTo>
                      <a:pt x="10" y="25"/>
                    </a:lnTo>
                    <a:lnTo>
                      <a:pt x="19" y="23"/>
                    </a:lnTo>
                    <a:lnTo>
                      <a:pt x="19" y="18"/>
                    </a:lnTo>
                    <a:lnTo>
                      <a:pt x="21" y="16"/>
                    </a:lnTo>
                    <a:lnTo>
                      <a:pt x="31" y="16"/>
                    </a:lnTo>
                    <a:lnTo>
                      <a:pt x="31" y="14"/>
                    </a:lnTo>
                    <a:lnTo>
                      <a:pt x="35" y="14"/>
                    </a:lnTo>
                    <a:lnTo>
                      <a:pt x="42" y="9"/>
                    </a:lnTo>
                    <a:lnTo>
                      <a:pt x="42" y="7"/>
                    </a:lnTo>
                    <a:lnTo>
                      <a:pt x="35" y="5"/>
                    </a:lnTo>
                    <a:lnTo>
                      <a:pt x="19" y="5"/>
                    </a:lnTo>
                    <a:lnTo>
                      <a:pt x="12" y="0"/>
                    </a:lnTo>
                    <a:lnTo>
                      <a:pt x="12" y="5"/>
                    </a:lnTo>
                    <a:lnTo>
                      <a:pt x="10" y="7"/>
                    </a:lnTo>
                    <a:lnTo>
                      <a:pt x="4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0" y="9"/>
                    </a:lnTo>
                    <a:lnTo>
                      <a:pt x="4" y="14"/>
                    </a:lnTo>
                    <a:lnTo>
                      <a:pt x="4" y="9"/>
                    </a:lnTo>
                    <a:lnTo>
                      <a:pt x="12" y="16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3334250" name="Kuwait"/>
              <p:cNvGrpSpPr>
                <a:grpSpLocks/>
              </p:cNvGrpSpPr>
              <p:nvPr/>
            </p:nvGrpSpPr>
            <p:grpSpPr bwMode="auto">
              <a:xfrm>
                <a:off x="5382087" y="3604690"/>
                <a:ext cx="88760" cy="50161"/>
                <a:chOff x="5382087" y="3585601"/>
                <a:chExt cx="88760" cy="50161"/>
              </a:xfrm>
            </p:grpSpPr>
            <p:sp>
              <p:nvSpPr>
                <p:cNvPr id="776" name="Kuwait"/>
                <p:cNvSpPr>
                  <a:spLocks/>
                </p:cNvSpPr>
                <p:nvPr>
                  <p:custDataLst>
                    <p:tags r:id="rId134"/>
                  </p:custDataLst>
                </p:nvPr>
              </p:nvSpPr>
              <p:spPr bwMode="auto">
                <a:xfrm>
                  <a:off x="5427739" y="3585877"/>
                  <a:ext cx="43138" cy="50034"/>
                </a:xfrm>
                <a:custGeom>
                  <a:avLst/>
                  <a:gdLst/>
                  <a:ahLst/>
                  <a:cxnLst>
                    <a:cxn ang="0">
                      <a:pos x="0" y="7"/>
                    </a:cxn>
                    <a:cxn ang="0">
                      <a:pos x="2" y="0"/>
                    </a:cxn>
                    <a:cxn ang="0">
                      <a:pos x="8" y="0"/>
                    </a:cxn>
                    <a:cxn ang="0">
                      <a:pos x="8" y="2"/>
                    </a:cxn>
                    <a:cxn ang="0">
                      <a:pos x="6" y="2"/>
                    </a:cxn>
                    <a:cxn ang="0">
                      <a:pos x="8" y="9"/>
                    </a:cxn>
                    <a:cxn ang="0">
                      <a:pos x="4" y="9"/>
                    </a:cxn>
                    <a:cxn ang="0">
                      <a:pos x="0" y="7"/>
                    </a:cxn>
                  </a:cxnLst>
                  <a:rect l="0" t="0" r="r" b="b"/>
                  <a:pathLst>
                    <a:path w="8" h="9">
                      <a:moveTo>
                        <a:pt x="0" y="7"/>
                      </a:moveTo>
                      <a:lnTo>
                        <a:pt x="2" y="0"/>
                      </a:lnTo>
                      <a:lnTo>
                        <a:pt x="8" y="0"/>
                      </a:lnTo>
                      <a:lnTo>
                        <a:pt x="8" y="2"/>
                      </a:lnTo>
                      <a:lnTo>
                        <a:pt x="6" y="2"/>
                      </a:lnTo>
                      <a:lnTo>
                        <a:pt x="8" y="9"/>
                      </a:lnTo>
                      <a:lnTo>
                        <a:pt x="4" y="9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77" name="Kuwait"/>
                <p:cNvSpPr>
                  <a:spLocks/>
                </p:cNvSpPr>
                <p:nvPr>
                  <p:custDataLst>
                    <p:tags r:id="rId135"/>
                  </p:custDataLst>
                </p:nvPr>
              </p:nvSpPr>
              <p:spPr bwMode="auto">
                <a:xfrm>
                  <a:off x="5382875" y="3596229"/>
                  <a:ext cx="44864" cy="29330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2" y="0"/>
                    </a:cxn>
                    <a:cxn ang="0">
                      <a:pos x="8" y="5"/>
                    </a:cxn>
                    <a:cxn ang="0">
                      <a:pos x="2" y="5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8" h="5">
                      <a:moveTo>
                        <a:pt x="0" y="5"/>
                      </a:moveTo>
                      <a:lnTo>
                        <a:pt x="2" y="0"/>
                      </a:lnTo>
                      <a:lnTo>
                        <a:pt x="8" y="5"/>
                      </a:lnTo>
                      <a:lnTo>
                        <a:pt x="2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34251" name="Kenya"/>
              <p:cNvSpPr>
                <a:spLocks/>
              </p:cNvSpPr>
              <p:nvPr/>
            </p:nvSpPr>
            <p:spPr bwMode="auto">
              <a:xfrm>
                <a:off x="5144324" y="4390098"/>
                <a:ext cx="214460" cy="343098"/>
              </a:xfrm>
              <a:custGeom>
                <a:avLst/>
                <a:gdLst>
                  <a:gd name="T0" fmla="*/ 0 w 10000"/>
                  <a:gd name="T1" fmla="*/ 0 h 10536"/>
                  <a:gd name="T2" fmla="*/ 10000 w 10000"/>
                  <a:gd name="T3" fmla="*/ 10536 h 10536"/>
                </a:gdLst>
                <a:ahLst/>
                <a:cxnLst>
                  <a:cxn ang="0">
                    <a:pos x="2526" y="930"/>
                  </a:cxn>
                  <a:cxn ang="0">
                    <a:pos x="3238" y="1116"/>
                  </a:cxn>
                  <a:cxn ang="0">
                    <a:pos x="4068" y="1289"/>
                  </a:cxn>
                  <a:cxn ang="0">
                    <a:pos x="5119" y="1833"/>
                  </a:cxn>
                  <a:cxn ang="0">
                    <a:pos x="5797" y="1926"/>
                  </a:cxn>
                  <a:cxn ang="0">
                    <a:pos x="6474" y="2032"/>
                  </a:cxn>
                  <a:cxn ang="0">
                    <a:pos x="7102" y="2124"/>
                  </a:cxn>
                  <a:cxn ang="0">
                    <a:pos x="7424" y="1753"/>
                  </a:cxn>
                  <a:cxn ang="0">
                    <a:pos x="7966" y="1475"/>
                  </a:cxn>
                  <a:cxn ang="0">
                    <a:pos x="8492" y="1289"/>
                  </a:cxn>
                  <a:cxn ang="0">
                    <a:pos x="8916" y="1461"/>
                  </a:cxn>
                  <a:cxn ang="0">
                    <a:pos x="9644" y="1541"/>
                  </a:cxn>
                  <a:cxn ang="0">
                    <a:pos x="10000" y="1541"/>
                  </a:cxn>
                  <a:cxn ang="0">
                    <a:pos x="9271" y="2416"/>
                  </a:cxn>
                  <a:cxn ang="0">
                    <a:pos x="8882" y="2855"/>
                  </a:cxn>
                  <a:cxn ang="0">
                    <a:pos x="8932" y="6503"/>
                  </a:cxn>
                  <a:cxn ang="0">
                    <a:pos x="9288" y="6941"/>
                  </a:cxn>
                  <a:cxn ang="0">
                    <a:pos x="9661" y="7365"/>
                  </a:cxn>
                  <a:cxn ang="0">
                    <a:pos x="9678" y="7458"/>
                  </a:cxn>
                  <a:cxn ang="0">
                    <a:pos x="9526" y="7578"/>
                  </a:cxn>
                  <a:cxn ang="0">
                    <a:pos x="9034" y="7670"/>
                  </a:cxn>
                  <a:cxn ang="0">
                    <a:pos x="8847" y="7870"/>
                  </a:cxn>
                  <a:cxn ang="0">
                    <a:pos x="8780" y="8108"/>
                  </a:cxn>
                  <a:cxn ang="0">
                    <a:pos x="8237" y="8321"/>
                  </a:cxn>
                  <a:cxn ang="0">
                    <a:pos x="8051" y="8573"/>
                  </a:cxn>
                  <a:cxn ang="0">
                    <a:pos x="7983" y="8904"/>
                  </a:cxn>
                  <a:cxn ang="0">
                    <a:pos x="7644" y="9448"/>
                  </a:cxn>
                  <a:cxn ang="0">
                    <a:pos x="7407" y="9819"/>
                  </a:cxn>
                  <a:cxn ang="0">
                    <a:pos x="7119" y="10297"/>
                  </a:cxn>
                  <a:cxn ang="0">
                    <a:pos x="6797" y="10416"/>
                  </a:cxn>
                  <a:cxn ang="0">
                    <a:pos x="6779" y="10536"/>
                  </a:cxn>
                  <a:cxn ang="0">
                    <a:pos x="5271" y="9634"/>
                  </a:cxn>
                  <a:cxn ang="0">
                    <a:pos x="4797" y="9262"/>
                  </a:cxn>
                  <a:cxn ang="0">
                    <a:pos x="4763" y="9050"/>
                  </a:cxn>
                  <a:cxn ang="0">
                    <a:pos x="4441" y="8625"/>
                  </a:cxn>
                  <a:cxn ang="0">
                    <a:pos x="729" y="6927"/>
                  </a:cxn>
                  <a:cxn ang="0">
                    <a:pos x="51" y="6662"/>
                  </a:cxn>
                  <a:cxn ang="0">
                    <a:pos x="0" y="6662"/>
                  </a:cxn>
                  <a:cxn ang="0">
                    <a:pos x="34" y="6224"/>
                  </a:cxn>
                  <a:cxn ang="0">
                    <a:pos x="86" y="5681"/>
                  </a:cxn>
                  <a:cxn ang="0">
                    <a:pos x="305" y="5096"/>
                  </a:cxn>
                  <a:cxn ang="0">
                    <a:pos x="696" y="4765"/>
                  </a:cxn>
                  <a:cxn ang="0">
                    <a:pos x="1034" y="4420"/>
                  </a:cxn>
                  <a:cxn ang="0">
                    <a:pos x="1153" y="4247"/>
                  </a:cxn>
                  <a:cxn ang="0">
                    <a:pos x="1407" y="3810"/>
                  </a:cxn>
                  <a:cxn ang="0">
                    <a:pos x="1254" y="3226"/>
                  </a:cxn>
                  <a:cxn ang="0">
                    <a:pos x="1136" y="2947"/>
                  </a:cxn>
                  <a:cxn ang="0">
                    <a:pos x="882" y="2669"/>
                  </a:cxn>
                  <a:cxn ang="0">
                    <a:pos x="679" y="2324"/>
                  </a:cxn>
                  <a:cxn ang="0">
                    <a:pos x="610" y="1873"/>
                  </a:cxn>
                  <a:cxn ang="0">
                    <a:pos x="356" y="1806"/>
                  </a:cxn>
                  <a:cxn ang="0">
                    <a:pos x="339" y="1700"/>
                  </a:cxn>
                  <a:cxn ang="0">
                    <a:pos x="86" y="1355"/>
                  </a:cxn>
                  <a:cxn ang="0">
                    <a:pos x="577" y="957"/>
                  </a:cxn>
                  <a:cxn ang="0">
                    <a:pos x="1592" y="60"/>
                  </a:cxn>
                  <a:cxn ang="0">
                    <a:pos x="2146" y="80"/>
                  </a:cxn>
                  <a:cxn ang="0">
                    <a:pos x="2397" y="559"/>
                  </a:cxn>
                  <a:cxn ang="0">
                    <a:pos x="2390" y="944"/>
                  </a:cxn>
                  <a:cxn ang="0">
                    <a:pos x="2441" y="930"/>
                  </a:cxn>
                  <a:cxn ang="0">
                    <a:pos x="2526" y="930"/>
                  </a:cxn>
                </a:cxnLst>
                <a:rect l="T0" t="T1" r="T2" b="T3"/>
                <a:pathLst>
                  <a:path w="10000" h="10536">
                    <a:moveTo>
                      <a:pt x="2526" y="930"/>
                    </a:moveTo>
                    <a:cubicBezTo>
                      <a:pt x="2559" y="1209"/>
                      <a:pt x="3000" y="1090"/>
                      <a:pt x="3238" y="1116"/>
                    </a:cubicBezTo>
                    <a:cubicBezTo>
                      <a:pt x="3526" y="1116"/>
                      <a:pt x="3848" y="1090"/>
                      <a:pt x="4068" y="1289"/>
                    </a:cubicBezTo>
                    <a:cubicBezTo>
                      <a:pt x="4424" y="1461"/>
                      <a:pt x="4763" y="1647"/>
                      <a:pt x="5119" y="1833"/>
                    </a:cubicBezTo>
                    <a:cubicBezTo>
                      <a:pt x="5271" y="1992"/>
                      <a:pt x="5576" y="1979"/>
                      <a:pt x="5797" y="1926"/>
                    </a:cubicBezTo>
                    <a:cubicBezTo>
                      <a:pt x="6034" y="1952"/>
                      <a:pt x="6221" y="2072"/>
                      <a:pt x="6474" y="2032"/>
                    </a:cubicBezTo>
                    <a:cubicBezTo>
                      <a:pt x="6695" y="2085"/>
                      <a:pt x="6915" y="2085"/>
                      <a:pt x="7102" y="2124"/>
                    </a:cubicBezTo>
                    <a:cubicBezTo>
                      <a:pt x="7153" y="1979"/>
                      <a:pt x="7407" y="1912"/>
                      <a:pt x="7424" y="1753"/>
                    </a:cubicBezTo>
                    <a:cubicBezTo>
                      <a:pt x="7543" y="1607"/>
                      <a:pt x="7780" y="1555"/>
                      <a:pt x="7966" y="1475"/>
                    </a:cubicBezTo>
                    <a:cubicBezTo>
                      <a:pt x="8136" y="1409"/>
                      <a:pt x="8305" y="1342"/>
                      <a:pt x="8492" y="1289"/>
                    </a:cubicBezTo>
                    <a:cubicBezTo>
                      <a:pt x="8661" y="1183"/>
                      <a:pt x="8780" y="1421"/>
                      <a:pt x="8916" y="1461"/>
                    </a:cubicBezTo>
                    <a:cubicBezTo>
                      <a:pt x="9051" y="1673"/>
                      <a:pt x="9407" y="1567"/>
                      <a:pt x="9644" y="1541"/>
                    </a:cubicBezTo>
                    <a:cubicBezTo>
                      <a:pt x="9762" y="1515"/>
                      <a:pt x="9915" y="1594"/>
                      <a:pt x="10000" y="1541"/>
                    </a:cubicBezTo>
                    <a:cubicBezTo>
                      <a:pt x="9762" y="1833"/>
                      <a:pt x="9542" y="2138"/>
                      <a:pt x="9271" y="2416"/>
                    </a:cubicBezTo>
                    <a:cubicBezTo>
                      <a:pt x="9152" y="2562"/>
                      <a:pt x="8847" y="2655"/>
                      <a:pt x="8882" y="2855"/>
                    </a:cubicBezTo>
                    <a:cubicBezTo>
                      <a:pt x="8916" y="4075"/>
                      <a:pt x="8916" y="5296"/>
                      <a:pt x="8932" y="6503"/>
                    </a:cubicBezTo>
                    <a:cubicBezTo>
                      <a:pt x="9017" y="6662"/>
                      <a:pt x="9169" y="6795"/>
                      <a:pt x="9288" y="6941"/>
                    </a:cubicBezTo>
                    <a:cubicBezTo>
                      <a:pt x="9407" y="7047"/>
                      <a:pt x="9559" y="7246"/>
                      <a:pt x="9661" y="7365"/>
                    </a:cubicBezTo>
                    <a:cubicBezTo>
                      <a:pt x="9678" y="7392"/>
                      <a:pt x="9661" y="7418"/>
                      <a:pt x="9678" y="7458"/>
                    </a:cubicBezTo>
                    <a:cubicBezTo>
                      <a:pt x="9628" y="7498"/>
                      <a:pt x="9593" y="7551"/>
                      <a:pt x="9526" y="7578"/>
                    </a:cubicBezTo>
                    <a:cubicBezTo>
                      <a:pt x="9373" y="7657"/>
                      <a:pt x="9204" y="7684"/>
                      <a:pt x="9034" y="7670"/>
                    </a:cubicBezTo>
                    <a:cubicBezTo>
                      <a:pt x="8966" y="7736"/>
                      <a:pt x="8916" y="7803"/>
                      <a:pt x="8847" y="7870"/>
                    </a:cubicBezTo>
                    <a:cubicBezTo>
                      <a:pt x="8763" y="7922"/>
                      <a:pt x="8797" y="8028"/>
                      <a:pt x="8780" y="8108"/>
                    </a:cubicBezTo>
                    <a:cubicBezTo>
                      <a:pt x="8594" y="8175"/>
                      <a:pt x="8423" y="8254"/>
                      <a:pt x="8237" y="8321"/>
                    </a:cubicBezTo>
                    <a:cubicBezTo>
                      <a:pt x="8170" y="8400"/>
                      <a:pt x="8118" y="8493"/>
                      <a:pt x="8051" y="8573"/>
                    </a:cubicBezTo>
                    <a:cubicBezTo>
                      <a:pt x="8017" y="8679"/>
                      <a:pt x="8000" y="8798"/>
                      <a:pt x="7983" y="8904"/>
                    </a:cubicBezTo>
                    <a:cubicBezTo>
                      <a:pt x="7882" y="9090"/>
                      <a:pt x="7780" y="9276"/>
                      <a:pt x="7644" y="9448"/>
                    </a:cubicBezTo>
                    <a:cubicBezTo>
                      <a:pt x="7560" y="9567"/>
                      <a:pt x="7458" y="9687"/>
                      <a:pt x="7407" y="9819"/>
                    </a:cubicBezTo>
                    <a:cubicBezTo>
                      <a:pt x="7356" y="9992"/>
                      <a:pt x="7220" y="10138"/>
                      <a:pt x="7119" y="10297"/>
                    </a:cubicBezTo>
                    <a:cubicBezTo>
                      <a:pt x="7017" y="10337"/>
                      <a:pt x="6898" y="10377"/>
                      <a:pt x="6797" y="10416"/>
                    </a:cubicBezTo>
                    <a:cubicBezTo>
                      <a:pt x="6797" y="10456"/>
                      <a:pt x="6797" y="10496"/>
                      <a:pt x="6779" y="10536"/>
                    </a:cubicBezTo>
                    <a:cubicBezTo>
                      <a:pt x="6339" y="10257"/>
                      <a:pt x="5712" y="9899"/>
                      <a:pt x="5271" y="9634"/>
                    </a:cubicBezTo>
                    <a:cubicBezTo>
                      <a:pt x="5102" y="9514"/>
                      <a:pt x="4882" y="9435"/>
                      <a:pt x="4797" y="9262"/>
                    </a:cubicBezTo>
                    <a:cubicBezTo>
                      <a:pt x="4610" y="9236"/>
                      <a:pt x="4610" y="9116"/>
                      <a:pt x="4763" y="9050"/>
                    </a:cubicBezTo>
                    <a:cubicBezTo>
                      <a:pt x="4830" y="8864"/>
                      <a:pt x="4678" y="8679"/>
                      <a:pt x="4441" y="8625"/>
                    </a:cubicBezTo>
                    <a:lnTo>
                      <a:pt x="729" y="6927"/>
                    </a:lnTo>
                    <a:cubicBezTo>
                      <a:pt x="492" y="6848"/>
                      <a:pt x="305" y="6688"/>
                      <a:pt x="51" y="6662"/>
                    </a:cubicBezTo>
                    <a:lnTo>
                      <a:pt x="0" y="6662"/>
                    </a:lnTo>
                    <a:cubicBezTo>
                      <a:pt x="102" y="6556"/>
                      <a:pt x="0" y="6356"/>
                      <a:pt x="34" y="6224"/>
                    </a:cubicBezTo>
                    <a:cubicBezTo>
                      <a:pt x="17" y="6038"/>
                      <a:pt x="153" y="5866"/>
                      <a:pt x="86" y="5681"/>
                    </a:cubicBezTo>
                    <a:cubicBezTo>
                      <a:pt x="-67" y="5455"/>
                      <a:pt x="356" y="5335"/>
                      <a:pt x="305" y="5096"/>
                    </a:cubicBezTo>
                    <a:cubicBezTo>
                      <a:pt x="441" y="4990"/>
                      <a:pt x="560" y="4884"/>
                      <a:pt x="696" y="4765"/>
                    </a:cubicBezTo>
                    <a:cubicBezTo>
                      <a:pt x="729" y="4606"/>
                      <a:pt x="831" y="4486"/>
                      <a:pt x="1034" y="4420"/>
                    </a:cubicBezTo>
                    <a:cubicBezTo>
                      <a:pt x="1187" y="4433"/>
                      <a:pt x="1204" y="4341"/>
                      <a:pt x="1153" y="4247"/>
                    </a:cubicBezTo>
                    <a:cubicBezTo>
                      <a:pt x="1237" y="4101"/>
                      <a:pt x="1424" y="3982"/>
                      <a:pt x="1407" y="3810"/>
                    </a:cubicBezTo>
                    <a:cubicBezTo>
                      <a:pt x="1407" y="3598"/>
                      <a:pt x="1339" y="3412"/>
                      <a:pt x="1254" y="3226"/>
                    </a:cubicBezTo>
                    <a:cubicBezTo>
                      <a:pt x="1356" y="3120"/>
                      <a:pt x="1237" y="3013"/>
                      <a:pt x="1136" y="2947"/>
                    </a:cubicBezTo>
                    <a:cubicBezTo>
                      <a:pt x="1153" y="2788"/>
                      <a:pt x="1001" y="2748"/>
                      <a:pt x="882" y="2669"/>
                    </a:cubicBezTo>
                    <a:cubicBezTo>
                      <a:pt x="899" y="2509"/>
                      <a:pt x="696" y="2456"/>
                      <a:pt x="679" y="2324"/>
                    </a:cubicBezTo>
                    <a:cubicBezTo>
                      <a:pt x="526" y="2178"/>
                      <a:pt x="813" y="1992"/>
                      <a:pt x="610" y="1873"/>
                    </a:cubicBezTo>
                    <a:cubicBezTo>
                      <a:pt x="492" y="1886"/>
                      <a:pt x="475" y="1806"/>
                      <a:pt x="356" y="1806"/>
                    </a:cubicBezTo>
                    <a:cubicBezTo>
                      <a:pt x="255" y="1767"/>
                      <a:pt x="424" y="1727"/>
                      <a:pt x="339" y="1700"/>
                    </a:cubicBezTo>
                    <a:cubicBezTo>
                      <a:pt x="119" y="1740"/>
                      <a:pt x="289" y="1409"/>
                      <a:pt x="86" y="1355"/>
                    </a:cubicBezTo>
                    <a:cubicBezTo>
                      <a:pt x="255" y="1223"/>
                      <a:pt x="407" y="1090"/>
                      <a:pt x="577" y="957"/>
                    </a:cubicBezTo>
                    <a:lnTo>
                      <a:pt x="1592" y="60"/>
                    </a:lnTo>
                    <a:cubicBezTo>
                      <a:pt x="1845" y="-41"/>
                      <a:pt x="2012" y="-3"/>
                      <a:pt x="2146" y="80"/>
                    </a:cubicBezTo>
                    <a:cubicBezTo>
                      <a:pt x="2280" y="163"/>
                      <a:pt x="2348" y="460"/>
                      <a:pt x="2397" y="559"/>
                    </a:cubicBezTo>
                    <a:cubicBezTo>
                      <a:pt x="2447" y="413"/>
                      <a:pt x="2271" y="997"/>
                      <a:pt x="2390" y="944"/>
                    </a:cubicBezTo>
                    <a:cubicBezTo>
                      <a:pt x="2424" y="944"/>
                      <a:pt x="2441" y="944"/>
                      <a:pt x="2441" y="930"/>
                    </a:cubicBezTo>
                    <a:lnTo>
                      <a:pt x="2526" y="930"/>
                    </a:ln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69" name="Kazakhstan"/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5343187" y="2802715"/>
                <a:ext cx="926620" cy="450296"/>
              </a:xfrm>
              <a:custGeom>
                <a:avLst/>
                <a:gdLst/>
                <a:ahLst/>
                <a:cxnLst>
                  <a:cxn ang="0">
                    <a:pos x="167" y="34"/>
                  </a:cxn>
                  <a:cxn ang="0">
                    <a:pos x="161" y="34"/>
                  </a:cxn>
                  <a:cxn ang="0">
                    <a:pos x="148" y="25"/>
                  </a:cxn>
                  <a:cxn ang="0">
                    <a:pos x="136" y="22"/>
                  </a:cxn>
                  <a:cxn ang="0">
                    <a:pos x="121" y="13"/>
                  </a:cxn>
                  <a:cxn ang="0">
                    <a:pos x="111" y="7"/>
                  </a:cxn>
                  <a:cxn ang="0">
                    <a:pos x="103" y="9"/>
                  </a:cxn>
                  <a:cxn ang="0">
                    <a:pos x="96" y="7"/>
                  </a:cxn>
                  <a:cxn ang="0">
                    <a:pos x="90" y="4"/>
                  </a:cxn>
                  <a:cxn ang="0">
                    <a:pos x="80" y="0"/>
                  </a:cxn>
                  <a:cxn ang="0">
                    <a:pos x="71" y="4"/>
                  </a:cxn>
                  <a:cxn ang="0">
                    <a:pos x="50" y="7"/>
                  </a:cxn>
                  <a:cxn ang="0">
                    <a:pos x="55" y="9"/>
                  </a:cxn>
                  <a:cxn ang="0">
                    <a:pos x="50" y="16"/>
                  </a:cxn>
                  <a:cxn ang="0">
                    <a:pos x="50" y="20"/>
                  </a:cxn>
                  <a:cxn ang="0">
                    <a:pos x="57" y="25"/>
                  </a:cxn>
                  <a:cxn ang="0">
                    <a:pos x="46" y="25"/>
                  </a:cxn>
                  <a:cxn ang="0">
                    <a:pos x="34" y="25"/>
                  </a:cxn>
                  <a:cxn ang="0">
                    <a:pos x="32" y="29"/>
                  </a:cxn>
                  <a:cxn ang="0">
                    <a:pos x="21" y="20"/>
                  </a:cxn>
                  <a:cxn ang="0">
                    <a:pos x="15" y="22"/>
                  </a:cxn>
                  <a:cxn ang="0">
                    <a:pos x="7" y="25"/>
                  </a:cxn>
                  <a:cxn ang="0">
                    <a:pos x="7" y="31"/>
                  </a:cxn>
                  <a:cxn ang="0">
                    <a:pos x="0" y="38"/>
                  </a:cxn>
                  <a:cxn ang="0">
                    <a:pos x="2" y="43"/>
                  </a:cxn>
                  <a:cxn ang="0">
                    <a:pos x="11" y="49"/>
                  </a:cxn>
                  <a:cxn ang="0">
                    <a:pos x="25" y="47"/>
                  </a:cxn>
                  <a:cxn ang="0">
                    <a:pos x="38" y="56"/>
                  </a:cxn>
                  <a:cxn ang="0">
                    <a:pos x="23" y="58"/>
                  </a:cxn>
                  <a:cxn ang="0">
                    <a:pos x="23" y="61"/>
                  </a:cxn>
                  <a:cxn ang="0">
                    <a:pos x="32" y="72"/>
                  </a:cxn>
                  <a:cxn ang="0">
                    <a:pos x="32" y="76"/>
                  </a:cxn>
                  <a:cxn ang="0">
                    <a:pos x="38" y="74"/>
                  </a:cxn>
                  <a:cxn ang="0">
                    <a:pos x="48" y="81"/>
                  </a:cxn>
                  <a:cxn ang="0">
                    <a:pos x="55" y="56"/>
                  </a:cxn>
                  <a:cxn ang="0">
                    <a:pos x="82" y="65"/>
                  </a:cxn>
                  <a:cxn ang="0">
                    <a:pos x="90" y="76"/>
                  </a:cxn>
                  <a:cxn ang="0">
                    <a:pos x="94" y="81"/>
                  </a:cxn>
                  <a:cxn ang="0">
                    <a:pos x="109" y="76"/>
                  </a:cxn>
                  <a:cxn ang="0">
                    <a:pos x="111" y="72"/>
                  </a:cxn>
                  <a:cxn ang="0">
                    <a:pos x="121" y="72"/>
                  </a:cxn>
                  <a:cxn ang="0">
                    <a:pos x="128" y="72"/>
                  </a:cxn>
                  <a:cxn ang="0">
                    <a:pos x="151" y="74"/>
                  </a:cxn>
                  <a:cxn ang="0">
                    <a:pos x="148" y="58"/>
                  </a:cxn>
                  <a:cxn ang="0">
                    <a:pos x="153" y="47"/>
                  </a:cxn>
                  <a:cxn ang="0">
                    <a:pos x="165" y="47"/>
                  </a:cxn>
                  <a:cxn ang="0">
                    <a:pos x="167" y="38"/>
                  </a:cxn>
                </a:cxnLst>
                <a:rect l="0" t="0" r="r" b="b"/>
                <a:pathLst>
                  <a:path w="167" h="81">
                    <a:moveTo>
                      <a:pt x="167" y="38"/>
                    </a:moveTo>
                    <a:lnTo>
                      <a:pt x="167" y="34"/>
                    </a:lnTo>
                    <a:lnTo>
                      <a:pt x="165" y="31"/>
                    </a:lnTo>
                    <a:lnTo>
                      <a:pt x="161" y="34"/>
                    </a:lnTo>
                    <a:lnTo>
                      <a:pt x="159" y="31"/>
                    </a:lnTo>
                    <a:lnTo>
                      <a:pt x="148" y="25"/>
                    </a:lnTo>
                    <a:lnTo>
                      <a:pt x="140" y="25"/>
                    </a:lnTo>
                    <a:lnTo>
                      <a:pt x="136" y="22"/>
                    </a:lnTo>
                    <a:lnTo>
                      <a:pt x="134" y="25"/>
                    </a:lnTo>
                    <a:lnTo>
                      <a:pt x="121" y="13"/>
                    </a:lnTo>
                    <a:lnTo>
                      <a:pt x="113" y="7"/>
                    </a:lnTo>
                    <a:lnTo>
                      <a:pt x="111" y="7"/>
                    </a:lnTo>
                    <a:lnTo>
                      <a:pt x="105" y="9"/>
                    </a:lnTo>
                    <a:lnTo>
                      <a:pt x="103" y="9"/>
                    </a:lnTo>
                    <a:lnTo>
                      <a:pt x="103" y="7"/>
                    </a:lnTo>
                    <a:lnTo>
                      <a:pt x="96" y="7"/>
                    </a:lnTo>
                    <a:lnTo>
                      <a:pt x="90" y="7"/>
                    </a:lnTo>
                    <a:lnTo>
                      <a:pt x="90" y="4"/>
                    </a:lnTo>
                    <a:lnTo>
                      <a:pt x="88" y="0"/>
                    </a:lnTo>
                    <a:lnTo>
                      <a:pt x="80" y="0"/>
                    </a:lnTo>
                    <a:lnTo>
                      <a:pt x="80" y="4"/>
                    </a:lnTo>
                    <a:lnTo>
                      <a:pt x="71" y="4"/>
                    </a:lnTo>
                    <a:lnTo>
                      <a:pt x="57" y="7"/>
                    </a:lnTo>
                    <a:lnTo>
                      <a:pt x="50" y="7"/>
                    </a:lnTo>
                    <a:lnTo>
                      <a:pt x="50" y="9"/>
                    </a:lnTo>
                    <a:lnTo>
                      <a:pt x="55" y="9"/>
                    </a:lnTo>
                    <a:lnTo>
                      <a:pt x="55" y="13"/>
                    </a:lnTo>
                    <a:lnTo>
                      <a:pt x="50" y="16"/>
                    </a:lnTo>
                    <a:lnTo>
                      <a:pt x="55" y="16"/>
                    </a:lnTo>
                    <a:lnTo>
                      <a:pt x="50" y="20"/>
                    </a:lnTo>
                    <a:lnTo>
                      <a:pt x="61" y="22"/>
                    </a:lnTo>
                    <a:lnTo>
                      <a:pt x="57" y="25"/>
                    </a:lnTo>
                    <a:lnTo>
                      <a:pt x="50" y="25"/>
                    </a:lnTo>
                    <a:lnTo>
                      <a:pt x="46" y="25"/>
                    </a:lnTo>
                    <a:lnTo>
                      <a:pt x="40" y="25"/>
                    </a:lnTo>
                    <a:lnTo>
                      <a:pt x="34" y="25"/>
                    </a:lnTo>
                    <a:lnTo>
                      <a:pt x="32" y="25"/>
                    </a:lnTo>
                    <a:lnTo>
                      <a:pt x="32" y="29"/>
                    </a:lnTo>
                    <a:lnTo>
                      <a:pt x="25" y="22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5" y="22"/>
                    </a:lnTo>
                    <a:lnTo>
                      <a:pt x="9" y="25"/>
                    </a:lnTo>
                    <a:lnTo>
                      <a:pt x="7" y="25"/>
                    </a:lnTo>
                    <a:lnTo>
                      <a:pt x="9" y="31"/>
                    </a:lnTo>
                    <a:lnTo>
                      <a:pt x="7" y="31"/>
                    </a:lnTo>
                    <a:lnTo>
                      <a:pt x="2" y="29"/>
                    </a:lnTo>
                    <a:lnTo>
                      <a:pt x="0" y="38"/>
                    </a:lnTo>
                    <a:lnTo>
                      <a:pt x="2" y="40"/>
                    </a:lnTo>
                    <a:lnTo>
                      <a:pt x="2" y="43"/>
                    </a:lnTo>
                    <a:lnTo>
                      <a:pt x="9" y="43"/>
                    </a:lnTo>
                    <a:lnTo>
                      <a:pt x="11" y="49"/>
                    </a:lnTo>
                    <a:lnTo>
                      <a:pt x="21" y="47"/>
                    </a:lnTo>
                    <a:lnTo>
                      <a:pt x="25" y="47"/>
                    </a:lnTo>
                    <a:lnTo>
                      <a:pt x="32" y="49"/>
                    </a:lnTo>
                    <a:lnTo>
                      <a:pt x="38" y="56"/>
                    </a:lnTo>
                    <a:lnTo>
                      <a:pt x="25" y="56"/>
                    </a:lnTo>
                    <a:lnTo>
                      <a:pt x="23" y="58"/>
                    </a:lnTo>
                    <a:lnTo>
                      <a:pt x="25" y="61"/>
                    </a:lnTo>
                    <a:lnTo>
                      <a:pt x="23" y="61"/>
                    </a:lnTo>
                    <a:lnTo>
                      <a:pt x="29" y="72"/>
                    </a:lnTo>
                    <a:lnTo>
                      <a:pt x="32" y="72"/>
                    </a:lnTo>
                    <a:lnTo>
                      <a:pt x="32" y="74"/>
                    </a:lnTo>
                    <a:lnTo>
                      <a:pt x="32" y="76"/>
                    </a:lnTo>
                    <a:lnTo>
                      <a:pt x="34" y="74"/>
                    </a:lnTo>
                    <a:lnTo>
                      <a:pt x="38" y="74"/>
                    </a:lnTo>
                    <a:lnTo>
                      <a:pt x="46" y="81"/>
                    </a:lnTo>
                    <a:lnTo>
                      <a:pt x="48" y="81"/>
                    </a:lnTo>
                    <a:lnTo>
                      <a:pt x="42" y="58"/>
                    </a:lnTo>
                    <a:lnTo>
                      <a:pt x="55" y="56"/>
                    </a:lnTo>
                    <a:lnTo>
                      <a:pt x="71" y="67"/>
                    </a:lnTo>
                    <a:lnTo>
                      <a:pt x="82" y="65"/>
                    </a:lnTo>
                    <a:lnTo>
                      <a:pt x="88" y="72"/>
                    </a:lnTo>
                    <a:lnTo>
                      <a:pt x="90" y="76"/>
                    </a:lnTo>
                    <a:lnTo>
                      <a:pt x="94" y="76"/>
                    </a:lnTo>
                    <a:lnTo>
                      <a:pt x="94" y="81"/>
                    </a:lnTo>
                    <a:lnTo>
                      <a:pt x="103" y="81"/>
                    </a:lnTo>
                    <a:lnTo>
                      <a:pt x="109" y="76"/>
                    </a:lnTo>
                    <a:lnTo>
                      <a:pt x="111" y="74"/>
                    </a:lnTo>
                    <a:lnTo>
                      <a:pt x="111" y="72"/>
                    </a:lnTo>
                    <a:lnTo>
                      <a:pt x="119" y="74"/>
                    </a:lnTo>
                    <a:lnTo>
                      <a:pt x="121" y="72"/>
                    </a:lnTo>
                    <a:lnTo>
                      <a:pt x="121" y="67"/>
                    </a:lnTo>
                    <a:lnTo>
                      <a:pt x="128" y="72"/>
                    </a:lnTo>
                    <a:lnTo>
                      <a:pt x="144" y="72"/>
                    </a:lnTo>
                    <a:lnTo>
                      <a:pt x="151" y="74"/>
                    </a:lnTo>
                    <a:lnTo>
                      <a:pt x="151" y="67"/>
                    </a:lnTo>
                    <a:lnTo>
                      <a:pt x="148" y="58"/>
                    </a:lnTo>
                    <a:lnTo>
                      <a:pt x="153" y="56"/>
                    </a:lnTo>
                    <a:lnTo>
                      <a:pt x="153" y="47"/>
                    </a:lnTo>
                    <a:lnTo>
                      <a:pt x="161" y="47"/>
                    </a:lnTo>
                    <a:lnTo>
                      <a:pt x="165" y="47"/>
                    </a:lnTo>
                    <a:lnTo>
                      <a:pt x="165" y="40"/>
                    </a:lnTo>
                    <a:lnTo>
                      <a:pt x="167" y="38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0" name="Jordan"/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5127494" y="3504900"/>
                <a:ext cx="110435" cy="110417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6" y="7"/>
                  </a:cxn>
                  <a:cxn ang="0">
                    <a:pos x="16" y="0"/>
                  </a:cxn>
                  <a:cxn ang="0">
                    <a:pos x="20" y="7"/>
                  </a:cxn>
                  <a:cxn ang="0">
                    <a:pos x="8" y="9"/>
                  </a:cxn>
                  <a:cxn ang="0">
                    <a:pos x="14" y="16"/>
                  </a:cxn>
                  <a:cxn ang="0">
                    <a:pos x="10" y="18"/>
                  </a:cxn>
                  <a:cxn ang="0">
                    <a:pos x="8" y="18"/>
                  </a:cxn>
                  <a:cxn ang="0">
                    <a:pos x="6" y="20"/>
                  </a:cxn>
                  <a:cxn ang="0">
                    <a:pos x="0" y="20"/>
                  </a:cxn>
                  <a:cxn ang="0">
                    <a:pos x="2" y="11"/>
                  </a:cxn>
                  <a:cxn ang="0">
                    <a:pos x="0" y="7"/>
                  </a:cxn>
                  <a:cxn ang="0">
                    <a:pos x="0" y="4"/>
                  </a:cxn>
                  <a:cxn ang="0">
                    <a:pos x="2" y="2"/>
                  </a:cxn>
                </a:cxnLst>
                <a:rect l="0" t="0" r="r" b="b"/>
                <a:pathLst>
                  <a:path w="20" h="20">
                    <a:moveTo>
                      <a:pt x="2" y="2"/>
                    </a:moveTo>
                    <a:lnTo>
                      <a:pt x="6" y="7"/>
                    </a:lnTo>
                    <a:lnTo>
                      <a:pt x="16" y="0"/>
                    </a:lnTo>
                    <a:lnTo>
                      <a:pt x="20" y="7"/>
                    </a:lnTo>
                    <a:lnTo>
                      <a:pt x="8" y="9"/>
                    </a:lnTo>
                    <a:lnTo>
                      <a:pt x="14" y="16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6" y="20"/>
                    </a:lnTo>
                    <a:lnTo>
                      <a:pt x="0" y="20"/>
                    </a:lnTo>
                    <a:lnTo>
                      <a:pt x="2" y="11"/>
                    </a:lnTo>
                    <a:lnTo>
                      <a:pt x="0" y="7"/>
                    </a:lnTo>
                    <a:lnTo>
                      <a:pt x="0" y="4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571" name="Japan"/>
              <p:cNvGrpSpPr/>
              <p:nvPr/>
            </p:nvGrpSpPr>
            <p:grpSpPr>
              <a:xfrm>
                <a:off x="7484590" y="3075214"/>
                <a:ext cx="327303" cy="490462"/>
                <a:chOff x="7484590" y="3056125"/>
                <a:chExt cx="327303" cy="490462"/>
              </a:xfrm>
              <a:solidFill>
                <a:srgbClr val="EE8B8B"/>
              </a:solidFill>
            </p:grpSpPr>
            <p:sp>
              <p:nvSpPr>
                <p:cNvPr id="768" name="Japan"/>
                <p:cNvSpPr>
                  <a:spLocks/>
                </p:cNvSpPr>
                <p:nvPr/>
              </p:nvSpPr>
              <p:spPr bwMode="auto">
                <a:xfrm>
                  <a:off x="7484590" y="3474132"/>
                  <a:ext cx="61023" cy="72455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2" y="4"/>
                    </a:cxn>
                    <a:cxn ang="0">
                      <a:pos x="2" y="2"/>
                    </a:cxn>
                    <a:cxn ang="0">
                      <a:pos x="4" y="4"/>
                    </a:cxn>
                    <a:cxn ang="0">
                      <a:pos x="4" y="13"/>
                    </a:cxn>
                    <a:cxn ang="0">
                      <a:pos x="9" y="13"/>
                    </a:cxn>
                    <a:cxn ang="0">
                      <a:pos x="11" y="11"/>
                    </a:cxn>
                    <a:cxn ang="0">
                      <a:pos x="11" y="4"/>
                    </a:cxn>
                    <a:cxn ang="0">
                      <a:pos x="9" y="0"/>
                    </a:cxn>
                    <a:cxn ang="0">
                      <a:pos x="2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11" h="13">
                      <a:moveTo>
                        <a:pt x="0" y="2"/>
                      </a:move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4" y="4"/>
                      </a:lnTo>
                      <a:lnTo>
                        <a:pt x="4" y="13"/>
                      </a:lnTo>
                      <a:lnTo>
                        <a:pt x="9" y="13"/>
                      </a:lnTo>
                      <a:lnTo>
                        <a:pt x="11" y="11"/>
                      </a:lnTo>
                      <a:lnTo>
                        <a:pt x="11" y="4"/>
                      </a:lnTo>
                      <a:lnTo>
                        <a:pt x="9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69" name="Japan"/>
                <p:cNvSpPr>
                  <a:spLocks/>
                </p:cNvSpPr>
                <p:nvPr/>
              </p:nvSpPr>
              <p:spPr bwMode="auto">
                <a:xfrm>
                  <a:off x="7545613" y="3446265"/>
                  <a:ext cx="55475" cy="50161"/>
                </a:xfrm>
                <a:custGeom>
                  <a:avLst/>
                  <a:gdLst/>
                  <a:ahLst/>
                  <a:cxnLst>
                    <a:cxn ang="0">
                      <a:pos x="0" y="7"/>
                    </a:cxn>
                    <a:cxn ang="0">
                      <a:pos x="6" y="9"/>
                    </a:cxn>
                    <a:cxn ang="0">
                      <a:pos x="6" y="7"/>
                    </a:cxn>
                    <a:cxn ang="0">
                      <a:pos x="6" y="5"/>
                    </a:cxn>
                    <a:cxn ang="0">
                      <a:pos x="8" y="7"/>
                    </a:cxn>
                    <a:cxn ang="0">
                      <a:pos x="10" y="5"/>
                    </a:cxn>
                    <a:cxn ang="0">
                      <a:pos x="8" y="0"/>
                    </a:cxn>
                    <a:cxn ang="0">
                      <a:pos x="6" y="0"/>
                    </a:cxn>
                    <a:cxn ang="0">
                      <a:pos x="6" y="5"/>
                    </a:cxn>
                    <a:cxn ang="0">
                      <a:pos x="2" y="0"/>
                    </a:cxn>
                    <a:cxn ang="0">
                      <a:pos x="0" y="5"/>
                    </a:cxn>
                    <a:cxn ang="0">
                      <a:pos x="0" y="7"/>
                    </a:cxn>
                  </a:cxnLst>
                  <a:rect l="0" t="0" r="r" b="b"/>
                  <a:pathLst>
                    <a:path w="10" h="9">
                      <a:moveTo>
                        <a:pt x="0" y="7"/>
                      </a:moveTo>
                      <a:lnTo>
                        <a:pt x="6" y="9"/>
                      </a:lnTo>
                      <a:lnTo>
                        <a:pt x="6" y="7"/>
                      </a:lnTo>
                      <a:lnTo>
                        <a:pt x="6" y="5"/>
                      </a:lnTo>
                      <a:lnTo>
                        <a:pt x="8" y="7"/>
                      </a:lnTo>
                      <a:lnTo>
                        <a:pt x="10" y="5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6" y="5"/>
                      </a:lnTo>
                      <a:lnTo>
                        <a:pt x="2" y="0"/>
                      </a:lnTo>
                      <a:lnTo>
                        <a:pt x="0" y="5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70" name="Japan"/>
                <p:cNvSpPr>
                  <a:spLocks/>
                </p:cNvSpPr>
                <p:nvPr/>
              </p:nvSpPr>
              <p:spPr bwMode="auto">
                <a:xfrm>
                  <a:off x="7495684" y="3206607"/>
                  <a:ext cx="232995" cy="278672"/>
                </a:xfrm>
                <a:custGeom>
                  <a:avLst/>
                  <a:gdLst/>
                  <a:ahLst/>
                  <a:cxnLst>
                    <a:cxn ang="0">
                      <a:pos x="0" y="43"/>
                    </a:cxn>
                    <a:cxn ang="0">
                      <a:pos x="2" y="48"/>
                    </a:cxn>
                    <a:cxn ang="0">
                      <a:pos x="7" y="48"/>
                    </a:cxn>
                    <a:cxn ang="0">
                      <a:pos x="9" y="43"/>
                    </a:cxn>
                    <a:cxn ang="0">
                      <a:pos x="17" y="41"/>
                    </a:cxn>
                    <a:cxn ang="0">
                      <a:pos x="19" y="41"/>
                    </a:cxn>
                    <a:cxn ang="0">
                      <a:pos x="19" y="48"/>
                    </a:cxn>
                    <a:cxn ang="0">
                      <a:pos x="25" y="50"/>
                    </a:cxn>
                    <a:cxn ang="0">
                      <a:pos x="28" y="43"/>
                    </a:cxn>
                    <a:cxn ang="0">
                      <a:pos x="25" y="41"/>
                    </a:cxn>
                    <a:cxn ang="0">
                      <a:pos x="28" y="41"/>
                    </a:cxn>
                    <a:cxn ang="0">
                      <a:pos x="32" y="41"/>
                    </a:cxn>
                    <a:cxn ang="0">
                      <a:pos x="34" y="39"/>
                    </a:cxn>
                    <a:cxn ang="0">
                      <a:pos x="38" y="41"/>
                    </a:cxn>
                    <a:cxn ang="0">
                      <a:pos x="38" y="39"/>
                    </a:cxn>
                    <a:cxn ang="0">
                      <a:pos x="40" y="41"/>
                    </a:cxn>
                    <a:cxn ang="0">
                      <a:pos x="42" y="39"/>
                    </a:cxn>
                    <a:cxn ang="0">
                      <a:pos x="42" y="34"/>
                    </a:cxn>
                    <a:cxn ang="0">
                      <a:pos x="38" y="23"/>
                    </a:cxn>
                    <a:cxn ang="0">
                      <a:pos x="38" y="18"/>
                    </a:cxn>
                    <a:cxn ang="0">
                      <a:pos x="40" y="18"/>
                    </a:cxn>
                    <a:cxn ang="0">
                      <a:pos x="38" y="16"/>
                    </a:cxn>
                    <a:cxn ang="0">
                      <a:pos x="28" y="5"/>
                    </a:cxn>
                    <a:cxn ang="0">
                      <a:pos x="25" y="0"/>
                    </a:cxn>
                    <a:cxn ang="0">
                      <a:pos x="28" y="5"/>
                    </a:cxn>
                    <a:cxn ang="0">
                      <a:pos x="25" y="5"/>
                    </a:cxn>
                    <a:cxn ang="0">
                      <a:pos x="28" y="16"/>
                    </a:cxn>
                    <a:cxn ang="0">
                      <a:pos x="28" y="25"/>
                    </a:cxn>
                    <a:cxn ang="0">
                      <a:pos x="23" y="27"/>
                    </a:cxn>
                    <a:cxn ang="0">
                      <a:pos x="23" y="25"/>
                    </a:cxn>
                    <a:cxn ang="0">
                      <a:pos x="19" y="25"/>
                    </a:cxn>
                    <a:cxn ang="0">
                      <a:pos x="19" y="34"/>
                    </a:cxn>
                    <a:cxn ang="0">
                      <a:pos x="19" y="39"/>
                    </a:cxn>
                    <a:cxn ang="0">
                      <a:pos x="17" y="34"/>
                    </a:cxn>
                    <a:cxn ang="0">
                      <a:pos x="7" y="39"/>
                    </a:cxn>
                    <a:cxn ang="0">
                      <a:pos x="2" y="41"/>
                    </a:cxn>
                    <a:cxn ang="0">
                      <a:pos x="0" y="43"/>
                    </a:cxn>
                  </a:cxnLst>
                  <a:rect l="0" t="0" r="r" b="b"/>
                  <a:pathLst>
                    <a:path w="42" h="50">
                      <a:moveTo>
                        <a:pt x="0" y="43"/>
                      </a:moveTo>
                      <a:lnTo>
                        <a:pt x="2" y="48"/>
                      </a:lnTo>
                      <a:lnTo>
                        <a:pt x="7" y="48"/>
                      </a:lnTo>
                      <a:lnTo>
                        <a:pt x="9" y="43"/>
                      </a:lnTo>
                      <a:lnTo>
                        <a:pt x="17" y="41"/>
                      </a:lnTo>
                      <a:lnTo>
                        <a:pt x="19" y="41"/>
                      </a:lnTo>
                      <a:lnTo>
                        <a:pt x="19" y="48"/>
                      </a:lnTo>
                      <a:lnTo>
                        <a:pt x="25" y="50"/>
                      </a:lnTo>
                      <a:lnTo>
                        <a:pt x="28" y="43"/>
                      </a:lnTo>
                      <a:lnTo>
                        <a:pt x="25" y="41"/>
                      </a:lnTo>
                      <a:lnTo>
                        <a:pt x="28" y="41"/>
                      </a:lnTo>
                      <a:lnTo>
                        <a:pt x="32" y="41"/>
                      </a:lnTo>
                      <a:lnTo>
                        <a:pt x="34" y="39"/>
                      </a:lnTo>
                      <a:lnTo>
                        <a:pt x="38" y="41"/>
                      </a:lnTo>
                      <a:lnTo>
                        <a:pt x="38" y="39"/>
                      </a:lnTo>
                      <a:lnTo>
                        <a:pt x="40" y="41"/>
                      </a:lnTo>
                      <a:lnTo>
                        <a:pt x="42" y="39"/>
                      </a:lnTo>
                      <a:lnTo>
                        <a:pt x="42" y="34"/>
                      </a:lnTo>
                      <a:lnTo>
                        <a:pt x="38" y="23"/>
                      </a:lnTo>
                      <a:lnTo>
                        <a:pt x="38" y="18"/>
                      </a:lnTo>
                      <a:lnTo>
                        <a:pt x="40" y="18"/>
                      </a:lnTo>
                      <a:lnTo>
                        <a:pt x="38" y="16"/>
                      </a:lnTo>
                      <a:lnTo>
                        <a:pt x="28" y="5"/>
                      </a:lnTo>
                      <a:lnTo>
                        <a:pt x="25" y="0"/>
                      </a:lnTo>
                      <a:lnTo>
                        <a:pt x="28" y="5"/>
                      </a:lnTo>
                      <a:lnTo>
                        <a:pt x="25" y="5"/>
                      </a:lnTo>
                      <a:lnTo>
                        <a:pt x="28" y="16"/>
                      </a:lnTo>
                      <a:lnTo>
                        <a:pt x="28" y="25"/>
                      </a:lnTo>
                      <a:lnTo>
                        <a:pt x="23" y="27"/>
                      </a:lnTo>
                      <a:lnTo>
                        <a:pt x="23" y="25"/>
                      </a:lnTo>
                      <a:lnTo>
                        <a:pt x="19" y="25"/>
                      </a:lnTo>
                      <a:lnTo>
                        <a:pt x="19" y="34"/>
                      </a:lnTo>
                      <a:lnTo>
                        <a:pt x="19" y="39"/>
                      </a:lnTo>
                      <a:lnTo>
                        <a:pt x="17" y="34"/>
                      </a:lnTo>
                      <a:lnTo>
                        <a:pt x="7" y="39"/>
                      </a:lnTo>
                      <a:lnTo>
                        <a:pt x="2" y="41"/>
                      </a:lnTo>
                      <a:lnTo>
                        <a:pt x="0" y="4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71" name="Japan"/>
                <p:cNvSpPr>
                  <a:spLocks/>
                </p:cNvSpPr>
                <p:nvPr/>
              </p:nvSpPr>
              <p:spPr bwMode="auto">
                <a:xfrm>
                  <a:off x="7589992" y="3095138"/>
                  <a:ext cx="138687" cy="139336"/>
                </a:xfrm>
                <a:custGeom>
                  <a:avLst/>
                  <a:gdLst/>
                  <a:ahLst/>
                  <a:cxnLst>
                    <a:cxn ang="0">
                      <a:pos x="2" y="16"/>
                    </a:cxn>
                    <a:cxn ang="0">
                      <a:pos x="6" y="25"/>
                    </a:cxn>
                    <a:cxn ang="0">
                      <a:pos x="8" y="20"/>
                    </a:cxn>
                    <a:cxn ang="0">
                      <a:pos x="6" y="16"/>
                    </a:cxn>
                    <a:cxn ang="0">
                      <a:pos x="8" y="18"/>
                    </a:cxn>
                    <a:cxn ang="0">
                      <a:pos x="11" y="16"/>
                    </a:cxn>
                    <a:cxn ang="0">
                      <a:pos x="17" y="18"/>
                    </a:cxn>
                    <a:cxn ang="0">
                      <a:pos x="21" y="16"/>
                    </a:cxn>
                    <a:cxn ang="0">
                      <a:pos x="23" y="16"/>
                    </a:cxn>
                    <a:cxn ang="0">
                      <a:pos x="25" y="11"/>
                    </a:cxn>
                    <a:cxn ang="0">
                      <a:pos x="23" y="11"/>
                    </a:cxn>
                    <a:cxn ang="0">
                      <a:pos x="21" y="9"/>
                    </a:cxn>
                    <a:cxn ang="0">
                      <a:pos x="21" y="5"/>
                    </a:cxn>
                    <a:cxn ang="0">
                      <a:pos x="17" y="9"/>
                    </a:cxn>
                    <a:cxn ang="0">
                      <a:pos x="15" y="5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6" y="11"/>
                    </a:cxn>
                    <a:cxn ang="0">
                      <a:pos x="2" y="11"/>
                    </a:cxn>
                    <a:cxn ang="0">
                      <a:pos x="2" y="14"/>
                    </a:cxn>
                    <a:cxn ang="0">
                      <a:pos x="2" y="16"/>
                    </a:cxn>
                  </a:cxnLst>
                  <a:rect l="0" t="0" r="r" b="b"/>
                  <a:pathLst>
                    <a:path w="25" h="25">
                      <a:moveTo>
                        <a:pt x="2" y="16"/>
                      </a:moveTo>
                      <a:lnTo>
                        <a:pt x="6" y="25"/>
                      </a:lnTo>
                      <a:lnTo>
                        <a:pt x="8" y="20"/>
                      </a:lnTo>
                      <a:lnTo>
                        <a:pt x="6" y="16"/>
                      </a:lnTo>
                      <a:lnTo>
                        <a:pt x="8" y="18"/>
                      </a:lnTo>
                      <a:lnTo>
                        <a:pt x="11" y="16"/>
                      </a:lnTo>
                      <a:lnTo>
                        <a:pt x="17" y="18"/>
                      </a:lnTo>
                      <a:lnTo>
                        <a:pt x="21" y="16"/>
                      </a:lnTo>
                      <a:lnTo>
                        <a:pt x="23" y="16"/>
                      </a:lnTo>
                      <a:lnTo>
                        <a:pt x="25" y="11"/>
                      </a:lnTo>
                      <a:lnTo>
                        <a:pt x="23" y="11"/>
                      </a:lnTo>
                      <a:lnTo>
                        <a:pt x="21" y="9"/>
                      </a:lnTo>
                      <a:lnTo>
                        <a:pt x="21" y="5"/>
                      </a:lnTo>
                      <a:lnTo>
                        <a:pt x="17" y="9"/>
                      </a:lnTo>
                      <a:lnTo>
                        <a:pt x="15" y="5"/>
                      </a:ln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6" y="11"/>
                      </a:lnTo>
                      <a:lnTo>
                        <a:pt x="2" y="11"/>
                      </a:lnTo>
                      <a:lnTo>
                        <a:pt x="2" y="14"/>
                      </a:lnTo>
                      <a:lnTo>
                        <a:pt x="2" y="1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72" name="Japan"/>
                <p:cNvSpPr>
                  <a:spLocks noChangeShapeType="1"/>
                </p:cNvSpPr>
                <p:nvPr/>
              </p:nvSpPr>
              <p:spPr bwMode="auto">
                <a:xfrm flipV="1">
                  <a:off x="7717584" y="3134153"/>
                  <a:ext cx="5548" cy="22294"/>
                </a:xfrm>
                <a:prstGeom prst="line">
                  <a:avLst/>
                </a:pr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73" name="Japan"/>
                <p:cNvSpPr>
                  <a:spLocks/>
                </p:cNvSpPr>
                <p:nvPr/>
              </p:nvSpPr>
              <p:spPr bwMode="auto">
                <a:xfrm>
                  <a:off x="7728680" y="3095138"/>
                  <a:ext cx="33285" cy="27867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2" y="2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6" h="5">
                      <a:moveTo>
                        <a:pt x="0" y="5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74" name="Japan"/>
                <p:cNvSpPr>
                  <a:spLocks noChangeShapeType="1"/>
                </p:cNvSpPr>
                <p:nvPr/>
              </p:nvSpPr>
              <p:spPr bwMode="auto">
                <a:xfrm flipV="1">
                  <a:off x="7773059" y="3072845"/>
                  <a:ext cx="5548" cy="33441"/>
                </a:xfrm>
                <a:prstGeom prst="line">
                  <a:avLst/>
                </a:pr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75" name="Japan"/>
                <p:cNvSpPr>
                  <a:spLocks noChangeShapeType="1"/>
                </p:cNvSpPr>
                <p:nvPr/>
              </p:nvSpPr>
              <p:spPr bwMode="auto">
                <a:xfrm>
                  <a:off x="7800798" y="3056125"/>
                  <a:ext cx="11095" cy="5574"/>
                </a:xfrm>
                <a:prstGeom prst="line">
                  <a:avLst/>
                </a:pr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572" name="Jamaica"/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2219945" y="3984526"/>
                <a:ext cx="44864" cy="1035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2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256" name="Ivory Coast"/>
              <p:cNvSpPr>
                <a:spLocks/>
              </p:cNvSpPr>
              <p:nvPr/>
            </p:nvSpPr>
            <p:spPr bwMode="auto">
              <a:xfrm>
                <a:off x="3985284" y="4217471"/>
                <a:ext cx="170193" cy="215303"/>
              </a:xfrm>
              <a:custGeom>
                <a:avLst/>
                <a:gdLst>
                  <a:gd name="T0" fmla="*/ 4872455 w 469"/>
                  <a:gd name="T1" fmla="*/ 45428074 h 500"/>
                  <a:gd name="T2" fmla="*/ 7374547 w 469"/>
                  <a:gd name="T3" fmla="*/ 38011318 h 500"/>
                  <a:gd name="T4" fmla="*/ 8164547 w 469"/>
                  <a:gd name="T5" fmla="*/ 32448751 h 500"/>
                  <a:gd name="T6" fmla="*/ 10534911 w 469"/>
                  <a:gd name="T7" fmla="*/ 30780153 h 500"/>
                  <a:gd name="T8" fmla="*/ 10008002 w 469"/>
                  <a:gd name="T9" fmla="*/ 23177800 h 500"/>
                  <a:gd name="T10" fmla="*/ 6584184 w 469"/>
                  <a:gd name="T11" fmla="*/ 17615233 h 500"/>
                  <a:gd name="T12" fmla="*/ 6847638 w 469"/>
                  <a:gd name="T13" fmla="*/ 10569225 h 500"/>
                  <a:gd name="T14" fmla="*/ 8822820 w 469"/>
                  <a:gd name="T15" fmla="*/ 8158693 h 500"/>
                  <a:gd name="T16" fmla="*/ 12773549 w 469"/>
                  <a:gd name="T17" fmla="*/ 4635474 h 500"/>
                  <a:gd name="T18" fmla="*/ 17909095 w 469"/>
                  <a:gd name="T19" fmla="*/ 8714605 h 500"/>
                  <a:gd name="T20" fmla="*/ 21201185 w 469"/>
                  <a:gd name="T21" fmla="*/ 3893971 h 500"/>
                  <a:gd name="T22" fmla="*/ 23835009 w 469"/>
                  <a:gd name="T23" fmla="*/ 1483438 h 500"/>
                  <a:gd name="T24" fmla="*/ 25547099 w 469"/>
                  <a:gd name="T25" fmla="*/ 7231599 h 500"/>
                  <a:gd name="T26" fmla="*/ 32394734 w 469"/>
                  <a:gd name="T27" fmla="*/ 5006226 h 500"/>
                  <a:gd name="T28" fmla="*/ 34369916 w 469"/>
                  <a:gd name="T29" fmla="*/ 6860415 h 500"/>
                  <a:gd name="T30" fmla="*/ 37530280 w 469"/>
                  <a:gd name="T31" fmla="*/ 11310728 h 500"/>
                  <a:gd name="T32" fmla="*/ 39110643 w 469"/>
                  <a:gd name="T33" fmla="*/ 15019110 h 500"/>
                  <a:gd name="T34" fmla="*/ 39374097 w 469"/>
                  <a:gd name="T35" fmla="*/ 14833519 h 500"/>
                  <a:gd name="T36" fmla="*/ 42271006 w 469"/>
                  <a:gd name="T37" fmla="*/ 16316956 h 500"/>
                  <a:gd name="T38" fmla="*/ 46748279 w 469"/>
                  <a:gd name="T39" fmla="*/ 14092012 h 500"/>
                  <a:gd name="T40" fmla="*/ 54385926 w 469"/>
                  <a:gd name="T41" fmla="*/ 13164917 h 500"/>
                  <a:gd name="T42" fmla="*/ 59258379 w 469"/>
                  <a:gd name="T43" fmla="*/ 19098239 h 500"/>
                  <a:gd name="T44" fmla="*/ 59126652 w 469"/>
                  <a:gd name="T45" fmla="*/ 21323611 h 500"/>
                  <a:gd name="T46" fmla="*/ 60311834 w 469"/>
                  <a:gd name="T47" fmla="*/ 31336066 h 500"/>
                  <a:gd name="T48" fmla="*/ 57809743 w 469"/>
                  <a:gd name="T49" fmla="*/ 42090878 h 500"/>
                  <a:gd name="T50" fmla="*/ 54649380 w 469"/>
                  <a:gd name="T51" fmla="*/ 53401604 h 500"/>
                  <a:gd name="T52" fmla="*/ 55176289 w 469"/>
                  <a:gd name="T53" fmla="*/ 70460069 h 500"/>
                  <a:gd name="T54" fmla="*/ 57678379 w 469"/>
                  <a:gd name="T55" fmla="*/ 76022636 h 500"/>
                  <a:gd name="T56" fmla="*/ 53595925 w 469"/>
                  <a:gd name="T57" fmla="*/ 82512728 h 500"/>
                  <a:gd name="T58" fmla="*/ 49513835 w 469"/>
                  <a:gd name="T59" fmla="*/ 81214452 h 500"/>
                  <a:gd name="T60" fmla="*/ 39637189 w 469"/>
                  <a:gd name="T61" fmla="*/ 80843700 h 500"/>
                  <a:gd name="T62" fmla="*/ 28444008 w 469"/>
                  <a:gd name="T63" fmla="*/ 83068641 h 500"/>
                  <a:gd name="T64" fmla="*/ 17909095 w 469"/>
                  <a:gd name="T65" fmla="*/ 88631638 h 500"/>
                  <a:gd name="T66" fmla="*/ 10929729 w 469"/>
                  <a:gd name="T67" fmla="*/ 92710768 h 500"/>
                  <a:gd name="T68" fmla="*/ 10798365 w 469"/>
                  <a:gd name="T69" fmla="*/ 91783673 h 500"/>
                  <a:gd name="T70" fmla="*/ 10666638 w 469"/>
                  <a:gd name="T71" fmla="*/ 82883480 h 500"/>
                  <a:gd name="T72" fmla="*/ 12378368 w 469"/>
                  <a:gd name="T73" fmla="*/ 77506074 h 500"/>
                  <a:gd name="T74" fmla="*/ 10139729 w 469"/>
                  <a:gd name="T75" fmla="*/ 68976632 h 500"/>
                  <a:gd name="T76" fmla="*/ 6979366 w 469"/>
                  <a:gd name="T77" fmla="*/ 63599656 h 500"/>
                  <a:gd name="T78" fmla="*/ 1975182 w 469"/>
                  <a:gd name="T79" fmla="*/ 61189125 h 500"/>
                  <a:gd name="T80" fmla="*/ 4082092 w 469"/>
                  <a:gd name="T81" fmla="*/ 51546984 h 500"/>
                  <a:gd name="T82" fmla="*/ 2502091 w 469"/>
                  <a:gd name="T83" fmla="*/ 44872162 h 50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69"/>
                  <a:gd name="T127" fmla="*/ 0 h 500"/>
                  <a:gd name="T128" fmla="*/ 469 w 469"/>
                  <a:gd name="T129" fmla="*/ 500 h 50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69" h="500">
                    <a:moveTo>
                      <a:pt x="19" y="242"/>
                    </a:moveTo>
                    <a:cubicBezTo>
                      <a:pt x="25" y="242"/>
                      <a:pt x="32" y="240"/>
                      <a:pt x="37" y="245"/>
                    </a:cubicBezTo>
                    <a:cubicBezTo>
                      <a:pt x="46" y="237"/>
                      <a:pt x="46" y="226"/>
                      <a:pt x="49" y="216"/>
                    </a:cubicBezTo>
                    <a:cubicBezTo>
                      <a:pt x="46" y="207"/>
                      <a:pt x="63" y="211"/>
                      <a:pt x="56" y="205"/>
                    </a:cubicBezTo>
                    <a:cubicBezTo>
                      <a:pt x="61" y="191"/>
                      <a:pt x="33" y="202"/>
                      <a:pt x="40" y="187"/>
                    </a:cubicBezTo>
                    <a:cubicBezTo>
                      <a:pt x="35" y="172"/>
                      <a:pt x="52" y="169"/>
                      <a:pt x="62" y="175"/>
                    </a:cubicBezTo>
                    <a:cubicBezTo>
                      <a:pt x="65" y="185"/>
                      <a:pt x="71" y="170"/>
                      <a:pt x="72" y="178"/>
                    </a:cubicBezTo>
                    <a:cubicBezTo>
                      <a:pt x="81" y="191"/>
                      <a:pt x="83" y="173"/>
                      <a:pt x="80" y="166"/>
                    </a:cubicBezTo>
                    <a:cubicBezTo>
                      <a:pt x="81" y="151"/>
                      <a:pt x="58" y="156"/>
                      <a:pt x="62" y="144"/>
                    </a:cubicBezTo>
                    <a:cubicBezTo>
                      <a:pt x="58" y="132"/>
                      <a:pt x="78" y="131"/>
                      <a:pt x="76" y="125"/>
                    </a:cubicBezTo>
                    <a:cubicBezTo>
                      <a:pt x="63" y="122"/>
                      <a:pt x="66" y="113"/>
                      <a:pt x="70" y="103"/>
                    </a:cubicBezTo>
                    <a:cubicBezTo>
                      <a:pt x="73" y="100"/>
                      <a:pt x="56" y="110"/>
                      <a:pt x="50" y="95"/>
                    </a:cubicBezTo>
                    <a:cubicBezTo>
                      <a:pt x="51" y="82"/>
                      <a:pt x="53" y="69"/>
                      <a:pt x="52" y="57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52"/>
                      <a:pt x="63" y="51"/>
                      <a:pt x="65" y="45"/>
                    </a:cubicBezTo>
                    <a:cubicBezTo>
                      <a:pt x="67" y="44"/>
                      <a:pt x="67" y="44"/>
                      <a:pt x="67" y="44"/>
                    </a:cubicBezTo>
                    <a:cubicBezTo>
                      <a:pt x="68" y="45"/>
                      <a:pt x="70" y="46"/>
                      <a:pt x="75" y="42"/>
                    </a:cubicBezTo>
                    <a:cubicBezTo>
                      <a:pt x="82" y="37"/>
                      <a:pt x="84" y="20"/>
                      <a:pt x="97" y="25"/>
                    </a:cubicBezTo>
                    <a:cubicBezTo>
                      <a:pt x="106" y="16"/>
                      <a:pt x="109" y="49"/>
                      <a:pt x="110" y="34"/>
                    </a:cubicBezTo>
                    <a:cubicBezTo>
                      <a:pt x="115" y="44"/>
                      <a:pt x="130" y="37"/>
                      <a:pt x="136" y="47"/>
                    </a:cubicBezTo>
                    <a:cubicBezTo>
                      <a:pt x="143" y="43"/>
                      <a:pt x="134" y="29"/>
                      <a:pt x="148" y="31"/>
                    </a:cubicBezTo>
                    <a:cubicBezTo>
                      <a:pt x="156" y="33"/>
                      <a:pt x="168" y="32"/>
                      <a:pt x="161" y="21"/>
                    </a:cubicBezTo>
                    <a:cubicBezTo>
                      <a:pt x="160" y="15"/>
                      <a:pt x="165" y="3"/>
                      <a:pt x="170" y="14"/>
                    </a:cubicBezTo>
                    <a:cubicBezTo>
                      <a:pt x="177" y="20"/>
                      <a:pt x="185" y="15"/>
                      <a:pt x="181" y="8"/>
                    </a:cubicBezTo>
                    <a:cubicBezTo>
                      <a:pt x="190" y="0"/>
                      <a:pt x="202" y="8"/>
                      <a:pt x="194" y="18"/>
                    </a:cubicBezTo>
                    <a:cubicBezTo>
                      <a:pt x="199" y="23"/>
                      <a:pt x="199" y="32"/>
                      <a:pt x="194" y="39"/>
                    </a:cubicBezTo>
                    <a:cubicBezTo>
                      <a:pt x="202" y="53"/>
                      <a:pt x="218" y="41"/>
                      <a:pt x="220" y="31"/>
                    </a:cubicBezTo>
                    <a:cubicBezTo>
                      <a:pt x="227" y="28"/>
                      <a:pt x="238" y="24"/>
                      <a:pt x="246" y="27"/>
                    </a:cubicBezTo>
                    <a:cubicBezTo>
                      <a:pt x="247" y="27"/>
                      <a:pt x="247" y="27"/>
                      <a:pt x="247" y="27"/>
                    </a:cubicBezTo>
                    <a:cubicBezTo>
                      <a:pt x="248" y="34"/>
                      <a:pt x="251" y="39"/>
                      <a:pt x="261" y="37"/>
                    </a:cubicBezTo>
                    <a:cubicBezTo>
                      <a:pt x="271" y="33"/>
                      <a:pt x="276" y="43"/>
                      <a:pt x="277" y="48"/>
                    </a:cubicBezTo>
                    <a:cubicBezTo>
                      <a:pt x="282" y="58"/>
                      <a:pt x="279" y="49"/>
                      <a:pt x="285" y="61"/>
                    </a:cubicBezTo>
                    <a:cubicBezTo>
                      <a:pt x="280" y="73"/>
                      <a:pt x="298" y="69"/>
                      <a:pt x="298" y="79"/>
                    </a:cubicBezTo>
                    <a:cubicBezTo>
                      <a:pt x="294" y="76"/>
                      <a:pt x="292" y="76"/>
                      <a:pt x="297" y="81"/>
                    </a:cubicBezTo>
                    <a:cubicBezTo>
                      <a:pt x="297" y="80"/>
                      <a:pt x="298" y="79"/>
                      <a:pt x="298" y="79"/>
                    </a:cubicBezTo>
                    <a:cubicBezTo>
                      <a:pt x="298" y="79"/>
                      <a:pt x="299" y="80"/>
                      <a:pt x="299" y="80"/>
                    </a:cubicBezTo>
                    <a:cubicBezTo>
                      <a:pt x="306" y="88"/>
                      <a:pt x="304" y="85"/>
                      <a:pt x="312" y="84"/>
                    </a:cubicBezTo>
                    <a:cubicBezTo>
                      <a:pt x="319" y="77"/>
                      <a:pt x="315" y="88"/>
                      <a:pt x="321" y="88"/>
                    </a:cubicBezTo>
                    <a:cubicBezTo>
                      <a:pt x="328" y="92"/>
                      <a:pt x="325" y="93"/>
                      <a:pt x="331" y="91"/>
                    </a:cubicBezTo>
                    <a:cubicBezTo>
                      <a:pt x="334" y="81"/>
                      <a:pt x="345" y="75"/>
                      <a:pt x="355" y="76"/>
                    </a:cubicBezTo>
                    <a:cubicBezTo>
                      <a:pt x="365" y="70"/>
                      <a:pt x="377" y="65"/>
                      <a:pt x="388" y="68"/>
                    </a:cubicBezTo>
                    <a:cubicBezTo>
                      <a:pt x="398" y="64"/>
                      <a:pt x="406" y="77"/>
                      <a:pt x="413" y="71"/>
                    </a:cubicBezTo>
                    <a:cubicBezTo>
                      <a:pt x="415" y="74"/>
                      <a:pt x="425" y="85"/>
                      <a:pt x="431" y="87"/>
                    </a:cubicBezTo>
                    <a:cubicBezTo>
                      <a:pt x="434" y="95"/>
                      <a:pt x="442" y="118"/>
                      <a:pt x="450" y="103"/>
                    </a:cubicBezTo>
                    <a:cubicBezTo>
                      <a:pt x="451" y="104"/>
                      <a:pt x="451" y="104"/>
                      <a:pt x="452" y="104"/>
                    </a:cubicBezTo>
                    <a:cubicBezTo>
                      <a:pt x="453" y="108"/>
                      <a:pt x="452" y="112"/>
                      <a:pt x="449" y="115"/>
                    </a:cubicBezTo>
                    <a:cubicBezTo>
                      <a:pt x="456" y="123"/>
                      <a:pt x="435" y="135"/>
                      <a:pt x="450" y="139"/>
                    </a:cubicBezTo>
                    <a:cubicBezTo>
                      <a:pt x="456" y="149"/>
                      <a:pt x="456" y="158"/>
                      <a:pt x="458" y="169"/>
                    </a:cubicBezTo>
                    <a:cubicBezTo>
                      <a:pt x="457" y="180"/>
                      <a:pt x="469" y="199"/>
                      <a:pt x="456" y="203"/>
                    </a:cubicBezTo>
                    <a:cubicBezTo>
                      <a:pt x="457" y="216"/>
                      <a:pt x="440" y="215"/>
                      <a:pt x="439" y="227"/>
                    </a:cubicBezTo>
                    <a:cubicBezTo>
                      <a:pt x="433" y="236"/>
                      <a:pt x="428" y="247"/>
                      <a:pt x="427" y="257"/>
                    </a:cubicBezTo>
                    <a:cubicBezTo>
                      <a:pt x="423" y="268"/>
                      <a:pt x="427" y="282"/>
                      <a:pt x="415" y="288"/>
                    </a:cubicBezTo>
                    <a:cubicBezTo>
                      <a:pt x="405" y="301"/>
                      <a:pt x="403" y="316"/>
                      <a:pt x="404" y="332"/>
                    </a:cubicBezTo>
                    <a:cubicBezTo>
                      <a:pt x="408" y="349"/>
                      <a:pt x="414" y="364"/>
                      <a:pt x="419" y="380"/>
                    </a:cubicBezTo>
                    <a:cubicBezTo>
                      <a:pt x="415" y="388"/>
                      <a:pt x="422" y="390"/>
                      <a:pt x="422" y="396"/>
                    </a:cubicBezTo>
                    <a:cubicBezTo>
                      <a:pt x="431" y="396"/>
                      <a:pt x="439" y="399"/>
                      <a:pt x="438" y="410"/>
                    </a:cubicBezTo>
                    <a:cubicBezTo>
                      <a:pt x="444" y="418"/>
                      <a:pt x="432" y="418"/>
                      <a:pt x="436" y="427"/>
                    </a:cubicBezTo>
                    <a:cubicBezTo>
                      <a:pt x="443" y="454"/>
                      <a:pt x="413" y="433"/>
                      <a:pt x="407" y="445"/>
                    </a:cubicBezTo>
                    <a:cubicBezTo>
                      <a:pt x="407" y="445"/>
                      <a:pt x="407" y="445"/>
                      <a:pt x="407" y="445"/>
                    </a:cubicBezTo>
                    <a:cubicBezTo>
                      <a:pt x="397" y="442"/>
                      <a:pt x="387" y="439"/>
                      <a:pt x="376" y="438"/>
                    </a:cubicBezTo>
                    <a:cubicBezTo>
                      <a:pt x="367" y="437"/>
                      <a:pt x="360" y="430"/>
                      <a:pt x="351" y="431"/>
                    </a:cubicBezTo>
                    <a:cubicBezTo>
                      <a:pt x="334" y="432"/>
                      <a:pt x="317" y="433"/>
                      <a:pt x="301" y="436"/>
                    </a:cubicBezTo>
                    <a:cubicBezTo>
                      <a:pt x="282" y="438"/>
                      <a:pt x="262" y="439"/>
                      <a:pt x="243" y="444"/>
                    </a:cubicBezTo>
                    <a:cubicBezTo>
                      <a:pt x="234" y="442"/>
                      <a:pt x="225" y="446"/>
                      <a:pt x="216" y="448"/>
                    </a:cubicBezTo>
                    <a:cubicBezTo>
                      <a:pt x="206" y="449"/>
                      <a:pt x="198" y="455"/>
                      <a:pt x="189" y="459"/>
                    </a:cubicBezTo>
                    <a:cubicBezTo>
                      <a:pt x="171" y="464"/>
                      <a:pt x="154" y="471"/>
                      <a:pt x="136" y="478"/>
                    </a:cubicBezTo>
                    <a:cubicBezTo>
                      <a:pt x="126" y="485"/>
                      <a:pt x="113" y="488"/>
                      <a:pt x="103" y="496"/>
                    </a:cubicBezTo>
                    <a:cubicBezTo>
                      <a:pt x="97" y="500"/>
                      <a:pt x="90" y="499"/>
                      <a:pt x="83" y="500"/>
                    </a:cubicBezTo>
                    <a:cubicBezTo>
                      <a:pt x="83" y="500"/>
                      <a:pt x="83" y="500"/>
                      <a:pt x="83" y="500"/>
                    </a:cubicBezTo>
                    <a:cubicBezTo>
                      <a:pt x="82" y="495"/>
                      <a:pt x="82" y="495"/>
                      <a:pt x="82" y="495"/>
                    </a:cubicBezTo>
                    <a:cubicBezTo>
                      <a:pt x="79" y="494"/>
                      <a:pt x="79" y="494"/>
                      <a:pt x="79" y="494"/>
                    </a:cubicBezTo>
                    <a:cubicBezTo>
                      <a:pt x="81" y="479"/>
                      <a:pt x="75" y="459"/>
                      <a:pt x="81" y="447"/>
                    </a:cubicBezTo>
                    <a:cubicBezTo>
                      <a:pt x="77" y="438"/>
                      <a:pt x="84" y="436"/>
                      <a:pt x="87" y="429"/>
                    </a:cubicBezTo>
                    <a:cubicBezTo>
                      <a:pt x="85" y="420"/>
                      <a:pt x="91" y="422"/>
                      <a:pt x="94" y="418"/>
                    </a:cubicBezTo>
                    <a:cubicBezTo>
                      <a:pt x="86" y="410"/>
                      <a:pt x="98" y="398"/>
                      <a:pt x="91" y="388"/>
                    </a:cubicBezTo>
                    <a:cubicBezTo>
                      <a:pt x="96" y="375"/>
                      <a:pt x="84" y="379"/>
                      <a:pt x="77" y="372"/>
                    </a:cubicBezTo>
                    <a:cubicBezTo>
                      <a:pt x="69" y="374"/>
                      <a:pt x="66" y="365"/>
                      <a:pt x="63" y="361"/>
                    </a:cubicBezTo>
                    <a:cubicBezTo>
                      <a:pt x="64" y="359"/>
                      <a:pt x="62" y="343"/>
                      <a:pt x="53" y="343"/>
                    </a:cubicBezTo>
                    <a:cubicBezTo>
                      <a:pt x="41" y="344"/>
                      <a:pt x="29" y="341"/>
                      <a:pt x="21" y="335"/>
                    </a:cubicBezTo>
                    <a:cubicBezTo>
                      <a:pt x="21" y="327"/>
                      <a:pt x="21" y="328"/>
                      <a:pt x="15" y="330"/>
                    </a:cubicBezTo>
                    <a:cubicBezTo>
                      <a:pt x="0" y="326"/>
                      <a:pt x="14" y="319"/>
                      <a:pt x="19" y="313"/>
                    </a:cubicBezTo>
                    <a:cubicBezTo>
                      <a:pt x="31" y="305"/>
                      <a:pt x="29" y="290"/>
                      <a:pt x="31" y="278"/>
                    </a:cubicBezTo>
                    <a:cubicBezTo>
                      <a:pt x="24" y="267"/>
                      <a:pt x="25" y="254"/>
                      <a:pt x="19" y="244"/>
                    </a:cubicBezTo>
                    <a:lnTo>
                      <a:pt x="19" y="242"/>
                    </a:ln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574" name="Italy"/>
              <p:cNvGrpSpPr/>
              <p:nvPr/>
            </p:nvGrpSpPr>
            <p:grpSpPr>
              <a:xfrm>
                <a:off x="4416821" y="3064067"/>
                <a:ext cx="277375" cy="289819"/>
                <a:chOff x="4416821" y="3044978"/>
                <a:chExt cx="277375" cy="289819"/>
              </a:xfrm>
              <a:solidFill>
                <a:srgbClr val="D992FF"/>
              </a:solidFill>
            </p:grpSpPr>
            <p:sp>
              <p:nvSpPr>
                <p:cNvPr id="766" name="Italy"/>
                <p:cNvSpPr>
                  <a:spLocks/>
                </p:cNvSpPr>
                <p:nvPr/>
              </p:nvSpPr>
              <p:spPr bwMode="auto">
                <a:xfrm>
                  <a:off x="4567485" y="3259554"/>
                  <a:ext cx="83212" cy="50161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0" y="7"/>
                    </a:cxn>
                    <a:cxn ang="0">
                      <a:pos x="13" y="9"/>
                    </a:cxn>
                    <a:cxn ang="0">
                      <a:pos x="15" y="0"/>
                    </a:cxn>
                    <a:cxn ang="0">
                      <a:pos x="9" y="5"/>
                    </a:cxn>
                    <a:cxn ang="0">
                      <a:pos x="5" y="5"/>
                    </a:cxn>
                    <a:cxn ang="0">
                      <a:pos x="2" y="5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15" h="9">
                      <a:moveTo>
                        <a:pt x="0" y="5"/>
                      </a:moveTo>
                      <a:lnTo>
                        <a:pt x="0" y="7"/>
                      </a:lnTo>
                      <a:lnTo>
                        <a:pt x="13" y="9"/>
                      </a:lnTo>
                      <a:lnTo>
                        <a:pt x="15" y="0"/>
                      </a:lnTo>
                      <a:lnTo>
                        <a:pt x="9" y="5"/>
                      </a:lnTo>
                      <a:lnTo>
                        <a:pt x="5" y="5"/>
                      </a:lnTo>
                      <a:lnTo>
                        <a:pt x="2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67" name="Italy"/>
                <p:cNvSpPr>
                  <a:spLocks/>
                </p:cNvSpPr>
                <p:nvPr/>
              </p:nvSpPr>
              <p:spPr bwMode="auto">
                <a:xfrm>
                  <a:off x="4416821" y="3044978"/>
                  <a:ext cx="277375" cy="289819"/>
                </a:xfrm>
                <a:custGeom>
                  <a:avLst/>
                  <a:gdLst/>
                  <a:ahLst/>
                  <a:cxnLst>
                    <a:cxn ang="0">
                      <a:pos x="0" y="11"/>
                    </a:cxn>
                    <a:cxn ang="0">
                      <a:pos x="2" y="5"/>
                    </a:cxn>
                    <a:cxn ang="0">
                      <a:pos x="9" y="2"/>
                    </a:cxn>
                    <a:cxn ang="0">
                      <a:pos x="11" y="5"/>
                    </a:cxn>
                    <a:cxn ang="0">
                      <a:pos x="11" y="2"/>
                    </a:cxn>
                    <a:cxn ang="0">
                      <a:pos x="15" y="2"/>
                    </a:cxn>
                    <a:cxn ang="0">
                      <a:pos x="17" y="0"/>
                    </a:cxn>
                    <a:cxn ang="0">
                      <a:pos x="23" y="0"/>
                    </a:cxn>
                    <a:cxn ang="0">
                      <a:pos x="25" y="0"/>
                    </a:cxn>
                    <a:cxn ang="0">
                      <a:pos x="32" y="2"/>
                    </a:cxn>
                    <a:cxn ang="0">
                      <a:pos x="32" y="5"/>
                    </a:cxn>
                    <a:cxn ang="0">
                      <a:pos x="32" y="9"/>
                    </a:cxn>
                    <a:cxn ang="0">
                      <a:pos x="30" y="5"/>
                    </a:cxn>
                    <a:cxn ang="0">
                      <a:pos x="25" y="9"/>
                    </a:cxn>
                    <a:cxn ang="0">
                      <a:pos x="25" y="14"/>
                    </a:cxn>
                    <a:cxn ang="0">
                      <a:pos x="32" y="20"/>
                    </a:cxn>
                    <a:cxn ang="0">
                      <a:pos x="34" y="27"/>
                    </a:cxn>
                    <a:cxn ang="0">
                      <a:pos x="38" y="29"/>
                    </a:cxn>
                    <a:cxn ang="0">
                      <a:pos x="42" y="29"/>
                    </a:cxn>
                    <a:cxn ang="0">
                      <a:pos x="40" y="29"/>
                    </a:cxn>
                    <a:cxn ang="0">
                      <a:pos x="50" y="38"/>
                    </a:cxn>
                    <a:cxn ang="0">
                      <a:pos x="46" y="36"/>
                    </a:cxn>
                    <a:cxn ang="0">
                      <a:pos x="42" y="43"/>
                    </a:cxn>
                    <a:cxn ang="0">
                      <a:pos x="46" y="43"/>
                    </a:cxn>
                    <a:cxn ang="0">
                      <a:pos x="46" y="45"/>
                    </a:cxn>
                    <a:cxn ang="0">
                      <a:pos x="42" y="45"/>
                    </a:cxn>
                    <a:cxn ang="0">
                      <a:pos x="42" y="52"/>
                    </a:cxn>
                    <a:cxn ang="0">
                      <a:pos x="40" y="52"/>
                    </a:cxn>
                    <a:cxn ang="0">
                      <a:pos x="42" y="45"/>
                    </a:cxn>
                    <a:cxn ang="0">
                      <a:pos x="40" y="38"/>
                    </a:cxn>
                    <a:cxn ang="0">
                      <a:pos x="32" y="34"/>
                    </a:cxn>
                    <a:cxn ang="0">
                      <a:pos x="25" y="29"/>
                    </a:cxn>
                    <a:cxn ang="0">
                      <a:pos x="23" y="27"/>
                    </a:cxn>
                    <a:cxn ang="0">
                      <a:pos x="21" y="27"/>
                    </a:cxn>
                    <a:cxn ang="0">
                      <a:pos x="15" y="18"/>
                    </a:cxn>
                    <a:cxn ang="0">
                      <a:pos x="9" y="14"/>
                    </a:cxn>
                    <a:cxn ang="0">
                      <a:pos x="7" y="18"/>
                    </a:cxn>
                    <a:cxn ang="0">
                      <a:pos x="2" y="16"/>
                    </a:cxn>
                    <a:cxn ang="0">
                      <a:pos x="0" y="11"/>
                    </a:cxn>
                  </a:cxnLst>
                  <a:rect l="0" t="0" r="r" b="b"/>
                  <a:pathLst>
                    <a:path w="50" h="52">
                      <a:moveTo>
                        <a:pt x="0" y="11"/>
                      </a:moveTo>
                      <a:lnTo>
                        <a:pt x="2" y="5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2"/>
                      </a:lnTo>
                      <a:lnTo>
                        <a:pt x="15" y="2"/>
                      </a:lnTo>
                      <a:lnTo>
                        <a:pt x="17" y="0"/>
                      </a:lnTo>
                      <a:lnTo>
                        <a:pt x="23" y="0"/>
                      </a:lnTo>
                      <a:lnTo>
                        <a:pt x="25" y="0"/>
                      </a:lnTo>
                      <a:lnTo>
                        <a:pt x="32" y="2"/>
                      </a:lnTo>
                      <a:lnTo>
                        <a:pt x="32" y="5"/>
                      </a:lnTo>
                      <a:lnTo>
                        <a:pt x="32" y="9"/>
                      </a:lnTo>
                      <a:lnTo>
                        <a:pt x="30" y="5"/>
                      </a:lnTo>
                      <a:lnTo>
                        <a:pt x="25" y="9"/>
                      </a:lnTo>
                      <a:lnTo>
                        <a:pt x="25" y="14"/>
                      </a:lnTo>
                      <a:lnTo>
                        <a:pt x="32" y="20"/>
                      </a:lnTo>
                      <a:lnTo>
                        <a:pt x="34" y="27"/>
                      </a:lnTo>
                      <a:lnTo>
                        <a:pt x="38" y="29"/>
                      </a:lnTo>
                      <a:lnTo>
                        <a:pt x="42" y="29"/>
                      </a:lnTo>
                      <a:lnTo>
                        <a:pt x="40" y="29"/>
                      </a:lnTo>
                      <a:lnTo>
                        <a:pt x="50" y="38"/>
                      </a:lnTo>
                      <a:lnTo>
                        <a:pt x="46" y="36"/>
                      </a:lnTo>
                      <a:lnTo>
                        <a:pt x="42" y="43"/>
                      </a:lnTo>
                      <a:lnTo>
                        <a:pt x="46" y="43"/>
                      </a:lnTo>
                      <a:lnTo>
                        <a:pt x="46" y="45"/>
                      </a:lnTo>
                      <a:lnTo>
                        <a:pt x="42" y="45"/>
                      </a:lnTo>
                      <a:lnTo>
                        <a:pt x="42" y="52"/>
                      </a:lnTo>
                      <a:lnTo>
                        <a:pt x="40" y="52"/>
                      </a:lnTo>
                      <a:lnTo>
                        <a:pt x="42" y="45"/>
                      </a:lnTo>
                      <a:lnTo>
                        <a:pt x="40" y="38"/>
                      </a:lnTo>
                      <a:lnTo>
                        <a:pt x="32" y="34"/>
                      </a:lnTo>
                      <a:lnTo>
                        <a:pt x="25" y="29"/>
                      </a:lnTo>
                      <a:lnTo>
                        <a:pt x="23" y="27"/>
                      </a:lnTo>
                      <a:lnTo>
                        <a:pt x="21" y="27"/>
                      </a:lnTo>
                      <a:lnTo>
                        <a:pt x="15" y="18"/>
                      </a:lnTo>
                      <a:lnTo>
                        <a:pt x="9" y="14"/>
                      </a:lnTo>
                      <a:lnTo>
                        <a:pt x="7" y="18"/>
                      </a:lnTo>
                      <a:lnTo>
                        <a:pt x="2" y="16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575" name="Israel"/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5115414" y="3504900"/>
                <a:ext cx="22433" cy="110417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2" y="7"/>
                  </a:cxn>
                  <a:cxn ang="0">
                    <a:pos x="4" y="11"/>
                  </a:cxn>
                  <a:cxn ang="0">
                    <a:pos x="2" y="20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2"/>
                  </a:cxn>
                </a:cxnLst>
                <a:rect l="0" t="0" r="r" b="b"/>
                <a:pathLst>
                  <a:path w="4" h="20">
                    <a:moveTo>
                      <a:pt x="4" y="2"/>
                    </a:moveTo>
                    <a:lnTo>
                      <a:pt x="2" y="7"/>
                    </a:lnTo>
                    <a:lnTo>
                      <a:pt x="4" y="11"/>
                    </a:lnTo>
                    <a:lnTo>
                      <a:pt x="2" y="20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259" name="Ireland"/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4034045" y="2802115"/>
                <a:ext cx="116498" cy="122616"/>
              </a:xfrm>
              <a:custGeom>
                <a:avLst/>
                <a:gdLst>
                  <a:gd name="T0" fmla="*/ 72118 w 21"/>
                  <a:gd name="T1" fmla="*/ 22294 h 22"/>
                  <a:gd name="T2" fmla="*/ 83213 w 21"/>
                  <a:gd name="T3" fmla="*/ 39014 h 22"/>
                  <a:gd name="T4" fmla="*/ 116498 w 21"/>
                  <a:gd name="T5" fmla="*/ 39014 h 22"/>
                  <a:gd name="T6" fmla="*/ 116498 w 21"/>
                  <a:gd name="T7" fmla="*/ 72455 h 22"/>
                  <a:gd name="T8" fmla="*/ 105403 w 21"/>
                  <a:gd name="T9" fmla="*/ 111469 h 22"/>
                  <a:gd name="T10" fmla="*/ 27738 w 21"/>
                  <a:gd name="T11" fmla="*/ 122616 h 22"/>
                  <a:gd name="T12" fmla="*/ 0 w 21"/>
                  <a:gd name="T13" fmla="*/ 111469 h 22"/>
                  <a:gd name="T14" fmla="*/ 27738 w 21"/>
                  <a:gd name="T15" fmla="*/ 111469 h 22"/>
                  <a:gd name="T16" fmla="*/ 61023 w 21"/>
                  <a:gd name="T17" fmla="*/ 72455 h 22"/>
                  <a:gd name="T18" fmla="*/ 27738 w 21"/>
                  <a:gd name="T19" fmla="*/ 50161 h 22"/>
                  <a:gd name="T20" fmla="*/ 38833 w 21"/>
                  <a:gd name="T21" fmla="*/ 50161 h 22"/>
                  <a:gd name="T22" fmla="*/ 27738 w 21"/>
                  <a:gd name="T23" fmla="*/ 39014 h 22"/>
                  <a:gd name="T24" fmla="*/ 38833 w 21"/>
                  <a:gd name="T25" fmla="*/ 39014 h 22"/>
                  <a:gd name="T26" fmla="*/ 61023 w 21"/>
                  <a:gd name="T27" fmla="*/ 39014 h 22"/>
                  <a:gd name="T28" fmla="*/ 72118 w 21"/>
                  <a:gd name="T29" fmla="*/ 22294 h 22"/>
                  <a:gd name="T30" fmla="*/ 61023 w 21"/>
                  <a:gd name="T31" fmla="*/ 22294 h 22"/>
                  <a:gd name="T32" fmla="*/ 72118 w 21"/>
                  <a:gd name="T33" fmla="*/ 0 h 22"/>
                  <a:gd name="T34" fmla="*/ 83213 w 21"/>
                  <a:gd name="T35" fmla="*/ 0 h 22"/>
                  <a:gd name="T36" fmla="*/ 72118 w 21"/>
                  <a:gd name="T37" fmla="*/ 11147 h 22"/>
                  <a:gd name="T38" fmla="*/ 72118 w 21"/>
                  <a:gd name="T39" fmla="*/ 22294 h 2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1"/>
                  <a:gd name="T61" fmla="*/ 0 h 22"/>
                  <a:gd name="T62" fmla="*/ 21 w 21"/>
                  <a:gd name="T63" fmla="*/ 22 h 2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1" h="22">
                    <a:moveTo>
                      <a:pt x="13" y="4"/>
                    </a:moveTo>
                    <a:lnTo>
                      <a:pt x="15" y="7"/>
                    </a:lnTo>
                    <a:lnTo>
                      <a:pt x="21" y="7"/>
                    </a:lnTo>
                    <a:lnTo>
                      <a:pt x="21" y="13"/>
                    </a:lnTo>
                    <a:lnTo>
                      <a:pt x="19" y="20"/>
                    </a:lnTo>
                    <a:lnTo>
                      <a:pt x="5" y="22"/>
                    </a:lnTo>
                    <a:lnTo>
                      <a:pt x="0" y="20"/>
                    </a:lnTo>
                    <a:lnTo>
                      <a:pt x="5" y="20"/>
                    </a:lnTo>
                    <a:lnTo>
                      <a:pt x="11" y="13"/>
                    </a:lnTo>
                    <a:lnTo>
                      <a:pt x="5" y="9"/>
                    </a:lnTo>
                    <a:lnTo>
                      <a:pt x="7" y="9"/>
                    </a:lnTo>
                    <a:lnTo>
                      <a:pt x="5" y="7"/>
                    </a:lnTo>
                    <a:lnTo>
                      <a:pt x="7" y="7"/>
                    </a:lnTo>
                    <a:lnTo>
                      <a:pt x="11" y="7"/>
                    </a:lnTo>
                    <a:lnTo>
                      <a:pt x="13" y="4"/>
                    </a:lnTo>
                    <a:lnTo>
                      <a:pt x="11" y="4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3" y="2"/>
                    </a:lnTo>
                    <a:lnTo>
                      <a:pt x="13" y="4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77" name="Iraq"/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5215496" y="3365154"/>
                <a:ext cx="255381" cy="277768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32" y="14"/>
                  </a:cxn>
                  <a:cxn ang="0">
                    <a:pos x="30" y="18"/>
                  </a:cxn>
                  <a:cxn ang="0">
                    <a:pos x="32" y="25"/>
                  </a:cxn>
                  <a:cxn ang="0">
                    <a:pos x="40" y="27"/>
                  </a:cxn>
                  <a:cxn ang="0">
                    <a:pos x="40" y="36"/>
                  </a:cxn>
                  <a:cxn ang="0">
                    <a:pos x="46" y="43"/>
                  </a:cxn>
                  <a:cxn ang="0">
                    <a:pos x="40" y="43"/>
                  </a:cxn>
                  <a:cxn ang="0">
                    <a:pos x="38" y="50"/>
                  </a:cxn>
                  <a:cxn ang="0">
                    <a:pos x="32" y="45"/>
                  </a:cxn>
                  <a:cxn ang="0">
                    <a:pos x="30" y="50"/>
                  </a:cxn>
                  <a:cxn ang="0">
                    <a:pos x="23" y="45"/>
                  </a:cxn>
                  <a:cxn ang="0">
                    <a:pos x="23" y="41"/>
                  </a:cxn>
                  <a:cxn ang="0">
                    <a:pos x="21" y="41"/>
                  </a:cxn>
                  <a:cxn ang="0">
                    <a:pos x="9" y="34"/>
                  </a:cxn>
                  <a:cxn ang="0">
                    <a:pos x="4" y="32"/>
                  </a:cxn>
                  <a:cxn ang="0">
                    <a:pos x="0" y="25"/>
                  </a:cxn>
                  <a:cxn ang="0">
                    <a:pos x="9" y="18"/>
                  </a:cxn>
                  <a:cxn ang="0">
                    <a:pos x="9" y="7"/>
                  </a:cxn>
                  <a:cxn ang="0">
                    <a:pos x="15" y="0"/>
                  </a:cxn>
                  <a:cxn ang="0">
                    <a:pos x="17" y="0"/>
                  </a:cxn>
                  <a:cxn ang="0">
                    <a:pos x="21" y="0"/>
                  </a:cxn>
                  <a:cxn ang="0">
                    <a:pos x="25" y="0"/>
                  </a:cxn>
                </a:cxnLst>
                <a:rect l="0" t="0" r="r" b="b"/>
                <a:pathLst>
                  <a:path w="46" h="50">
                    <a:moveTo>
                      <a:pt x="25" y="0"/>
                    </a:moveTo>
                    <a:lnTo>
                      <a:pt x="32" y="14"/>
                    </a:lnTo>
                    <a:lnTo>
                      <a:pt x="30" y="18"/>
                    </a:lnTo>
                    <a:lnTo>
                      <a:pt x="32" y="25"/>
                    </a:lnTo>
                    <a:lnTo>
                      <a:pt x="40" y="27"/>
                    </a:lnTo>
                    <a:lnTo>
                      <a:pt x="40" y="36"/>
                    </a:lnTo>
                    <a:lnTo>
                      <a:pt x="46" y="43"/>
                    </a:lnTo>
                    <a:lnTo>
                      <a:pt x="40" y="43"/>
                    </a:lnTo>
                    <a:lnTo>
                      <a:pt x="38" y="50"/>
                    </a:lnTo>
                    <a:lnTo>
                      <a:pt x="32" y="45"/>
                    </a:lnTo>
                    <a:lnTo>
                      <a:pt x="30" y="50"/>
                    </a:lnTo>
                    <a:lnTo>
                      <a:pt x="23" y="45"/>
                    </a:lnTo>
                    <a:lnTo>
                      <a:pt x="23" y="41"/>
                    </a:lnTo>
                    <a:lnTo>
                      <a:pt x="21" y="41"/>
                    </a:lnTo>
                    <a:lnTo>
                      <a:pt x="9" y="34"/>
                    </a:lnTo>
                    <a:lnTo>
                      <a:pt x="4" y="32"/>
                    </a:lnTo>
                    <a:lnTo>
                      <a:pt x="0" y="25"/>
                    </a:lnTo>
                    <a:lnTo>
                      <a:pt x="9" y="18"/>
                    </a:lnTo>
                    <a:lnTo>
                      <a:pt x="9" y="7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21" y="0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8" name="Iran"/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5332833" y="3275440"/>
                <a:ext cx="509037" cy="479626"/>
              </a:xfrm>
              <a:custGeom>
                <a:avLst/>
                <a:gdLst/>
                <a:ahLst/>
                <a:cxnLst>
                  <a:cxn ang="0">
                    <a:pos x="67" y="84"/>
                  </a:cxn>
                  <a:cxn ang="0">
                    <a:pos x="65" y="77"/>
                  </a:cxn>
                  <a:cxn ang="0">
                    <a:pos x="57" y="82"/>
                  </a:cxn>
                  <a:cxn ang="0">
                    <a:pos x="50" y="82"/>
                  </a:cxn>
                  <a:cxn ang="0">
                    <a:pos x="40" y="73"/>
                  </a:cxn>
                  <a:cxn ang="0">
                    <a:pos x="34" y="59"/>
                  </a:cxn>
                  <a:cxn ang="0">
                    <a:pos x="27" y="57"/>
                  </a:cxn>
                  <a:cxn ang="0">
                    <a:pos x="25" y="59"/>
                  </a:cxn>
                  <a:cxn ang="0">
                    <a:pos x="19" y="52"/>
                  </a:cxn>
                  <a:cxn ang="0">
                    <a:pos x="19" y="43"/>
                  </a:cxn>
                  <a:cxn ang="0">
                    <a:pos x="11" y="41"/>
                  </a:cxn>
                  <a:cxn ang="0">
                    <a:pos x="9" y="34"/>
                  </a:cxn>
                  <a:cxn ang="0">
                    <a:pos x="11" y="30"/>
                  </a:cxn>
                  <a:cxn ang="0">
                    <a:pos x="4" y="16"/>
                  </a:cxn>
                  <a:cxn ang="0">
                    <a:pos x="0" y="5"/>
                  </a:cxn>
                  <a:cxn ang="0">
                    <a:pos x="2" y="0"/>
                  </a:cxn>
                  <a:cxn ang="0">
                    <a:pos x="4" y="7"/>
                  </a:cxn>
                  <a:cxn ang="0">
                    <a:pos x="9" y="7"/>
                  </a:cxn>
                  <a:cxn ang="0">
                    <a:pos x="11" y="7"/>
                  </a:cxn>
                  <a:cxn ang="0">
                    <a:pos x="17" y="5"/>
                  </a:cxn>
                  <a:cxn ang="0">
                    <a:pos x="17" y="7"/>
                  </a:cxn>
                  <a:cxn ang="0">
                    <a:pos x="23" y="9"/>
                  </a:cxn>
                  <a:cxn ang="0">
                    <a:pos x="23" y="16"/>
                  </a:cxn>
                  <a:cxn ang="0">
                    <a:pos x="34" y="23"/>
                  </a:cxn>
                  <a:cxn ang="0">
                    <a:pos x="44" y="18"/>
                  </a:cxn>
                  <a:cxn ang="0">
                    <a:pos x="44" y="16"/>
                  </a:cxn>
                  <a:cxn ang="0">
                    <a:pos x="50" y="14"/>
                  </a:cxn>
                  <a:cxn ang="0">
                    <a:pos x="57" y="9"/>
                  </a:cxn>
                  <a:cxn ang="0">
                    <a:pos x="79" y="23"/>
                  </a:cxn>
                  <a:cxn ang="0">
                    <a:pos x="79" y="25"/>
                  </a:cxn>
                  <a:cxn ang="0">
                    <a:pos x="79" y="32"/>
                  </a:cxn>
                  <a:cxn ang="0">
                    <a:pos x="75" y="34"/>
                  </a:cxn>
                  <a:cxn ang="0">
                    <a:pos x="75" y="39"/>
                  </a:cxn>
                  <a:cxn ang="0">
                    <a:pos x="79" y="50"/>
                  </a:cxn>
                  <a:cxn ang="0">
                    <a:pos x="84" y="50"/>
                  </a:cxn>
                  <a:cxn ang="0">
                    <a:pos x="84" y="52"/>
                  </a:cxn>
                  <a:cxn ang="0">
                    <a:pos x="82" y="59"/>
                  </a:cxn>
                  <a:cxn ang="0">
                    <a:pos x="88" y="68"/>
                  </a:cxn>
                  <a:cxn ang="0">
                    <a:pos x="90" y="68"/>
                  </a:cxn>
                  <a:cxn ang="0">
                    <a:pos x="92" y="75"/>
                  </a:cxn>
                  <a:cxn ang="0">
                    <a:pos x="92" y="77"/>
                  </a:cxn>
                  <a:cxn ang="0">
                    <a:pos x="88" y="82"/>
                  </a:cxn>
                  <a:cxn ang="0">
                    <a:pos x="88" y="86"/>
                  </a:cxn>
                  <a:cxn ang="0">
                    <a:pos x="77" y="86"/>
                  </a:cxn>
                  <a:cxn ang="0">
                    <a:pos x="69" y="84"/>
                  </a:cxn>
                  <a:cxn ang="0">
                    <a:pos x="67" y="84"/>
                  </a:cxn>
                </a:cxnLst>
                <a:rect l="0" t="0" r="r" b="b"/>
                <a:pathLst>
                  <a:path w="92" h="86">
                    <a:moveTo>
                      <a:pt x="67" y="84"/>
                    </a:moveTo>
                    <a:lnTo>
                      <a:pt x="65" y="77"/>
                    </a:lnTo>
                    <a:lnTo>
                      <a:pt x="57" y="82"/>
                    </a:lnTo>
                    <a:lnTo>
                      <a:pt x="50" y="82"/>
                    </a:lnTo>
                    <a:lnTo>
                      <a:pt x="40" y="73"/>
                    </a:lnTo>
                    <a:lnTo>
                      <a:pt x="34" y="59"/>
                    </a:lnTo>
                    <a:lnTo>
                      <a:pt x="27" y="57"/>
                    </a:lnTo>
                    <a:lnTo>
                      <a:pt x="25" y="59"/>
                    </a:lnTo>
                    <a:lnTo>
                      <a:pt x="19" y="52"/>
                    </a:lnTo>
                    <a:lnTo>
                      <a:pt x="19" y="43"/>
                    </a:lnTo>
                    <a:lnTo>
                      <a:pt x="11" y="41"/>
                    </a:lnTo>
                    <a:lnTo>
                      <a:pt x="9" y="34"/>
                    </a:lnTo>
                    <a:lnTo>
                      <a:pt x="11" y="30"/>
                    </a:lnTo>
                    <a:lnTo>
                      <a:pt x="4" y="16"/>
                    </a:lnTo>
                    <a:lnTo>
                      <a:pt x="0" y="5"/>
                    </a:lnTo>
                    <a:lnTo>
                      <a:pt x="2" y="0"/>
                    </a:lnTo>
                    <a:lnTo>
                      <a:pt x="4" y="7"/>
                    </a:lnTo>
                    <a:lnTo>
                      <a:pt x="9" y="7"/>
                    </a:lnTo>
                    <a:lnTo>
                      <a:pt x="11" y="7"/>
                    </a:lnTo>
                    <a:lnTo>
                      <a:pt x="17" y="5"/>
                    </a:lnTo>
                    <a:lnTo>
                      <a:pt x="17" y="7"/>
                    </a:lnTo>
                    <a:lnTo>
                      <a:pt x="23" y="9"/>
                    </a:lnTo>
                    <a:lnTo>
                      <a:pt x="23" y="16"/>
                    </a:lnTo>
                    <a:lnTo>
                      <a:pt x="34" y="23"/>
                    </a:lnTo>
                    <a:lnTo>
                      <a:pt x="44" y="18"/>
                    </a:lnTo>
                    <a:lnTo>
                      <a:pt x="44" y="16"/>
                    </a:lnTo>
                    <a:lnTo>
                      <a:pt x="50" y="14"/>
                    </a:lnTo>
                    <a:lnTo>
                      <a:pt x="57" y="9"/>
                    </a:lnTo>
                    <a:lnTo>
                      <a:pt x="79" y="23"/>
                    </a:lnTo>
                    <a:lnTo>
                      <a:pt x="79" y="25"/>
                    </a:lnTo>
                    <a:lnTo>
                      <a:pt x="79" y="32"/>
                    </a:lnTo>
                    <a:lnTo>
                      <a:pt x="75" y="34"/>
                    </a:lnTo>
                    <a:lnTo>
                      <a:pt x="75" y="39"/>
                    </a:lnTo>
                    <a:lnTo>
                      <a:pt x="79" y="50"/>
                    </a:lnTo>
                    <a:lnTo>
                      <a:pt x="84" y="50"/>
                    </a:lnTo>
                    <a:lnTo>
                      <a:pt x="84" y="52"/>
                    </a:lnTo>
                    <a:lnTo>
                      <a:pt x="82" y="59"/>
                    </a:lnTo>
                    <a:lnTo>
                      <a:pt x="88" y="68"/>
                    </a:lnTo>
                    <a:lnTo>
                      <a:pt x="90" y="68"/>
                    </a:lnTo>
                    <a:lnTo>
                      <a:pt x="92" y="75"/>
                    </a:lnTo>
                    <a:lnTo>
                      <a:pt x="92" y="77"/>
                    </a:lnTo>
                    <a:lnTo>
                      <a:pt x="88" y="82"/>
                    </a:lnTo>
                    <a:lnTo>
                      <a:pt x="88" y="86"/>
                    </a:lnTo>
                    <a:lnTo>
                      <a:pt x="77" y="86"/>
                    </a:lnTo>
                    <a:lnTo>
                      <a:pt x="69" y="84"/>
                    </a:lnTo>
                    <a:lnTo>
                      <a:pt x="67" y="84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9" name="Indonesia"/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7056656" y="4657382"/>
                <a:ext cx="12078" cy="29330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2" y="5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2" y="5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80" name="Indonesia"/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7672676" y="4797130"/>
                <a:ext cx="12079" cy="39681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7"/>
                  </a:cxn>
                </a:cxnLst>
                <a:rect l="0" t="0" r="r" b="b"/>
                <a:pathLst>
                  <a:path w="2" h="7">
                    <a:moveTo>
                      <a:pt x="0" y="7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81" name="Indonesia"/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7750327" y="4747096"/>
                <a:ext cx="12078" cy="50033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9"/>
                  </a:cxn>
                </a:cxnLst>
                <a:rect l="0" t="0" r="r" b="b"/>
                <a:pathLst>
                  <a:path w="2" h="9">
                    <a:moveTo>
                      <a:pt x="0" y="9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82" name="Indonesia"/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7800367" y="4596998"/>
                <a:ext cx="12079" cy="1035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83" name="Indonesia"/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6991086" y="4619426"/>
                <a:ext cx="55218" cy="6728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5"/>
                  </a:cxn>
                  <a:cxn ang="0">
                    <a:pos x="4" y="7"/>
                  </a:cxn>
                  <a:cxn ang="0">
                    <a:pos x="10" y="12"/>
                  </a:cxn>
                  <a:cxn ang="0">
                    <a:pos x="10" y="7"/>
                  </a:cxn>
                  <a:cxn ang="0">
                    <a:pos x="6" y="5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10" h="12">
                    <a:moveTo>
                      <a:pt x="0" y="0"/>
                    </a:moveTo>
                    <a:lnTo>
                      <a:pt x="4" y="5"/>
                    </a:lnTo>
                    <a:lnTo>
                      <a:pt x="4" y="7"/>
                    </a:lnTo>
                    <a:lnTo>
                      <a:pt x="10" y="12"/>
                    </a:lnTo>
                    <a:lnTo>
                      <a:pt x="10" y="7"/>
                    </a:lnTo>
                    <a:lnTo>
                      <a:pt x="6" y="5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84" name="Indonesia"/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7672676" y="4569394"/>
                <a:ext cx="267460" cy="289846"/>
              </a:xfrm>
              <a:custGeom>
                <a:avLst/>
                <a:gdLst/>
                <a:ahLst/>
                <a:cxnLst>
                  <a:cxn ang="0">
                    <a:pos x="48" y="52"/>
                  </a:cxn>
                  <a:cxn ang="0">
                    <a:pos x="41" y="48"/>
                  </a:cxn>
                  <a:cxn ang="0">
                    <a:pos x="31" y="50"/>
                  </a:cxn>
                  <a:cxn ang="0">
                    <a:pos x="33" y="43"/>
                  </a:cxn>
                  <a:cxn ang="0">
                    <a:pos x="35" y="43"/>
                  </a:cxn>
                  <a:cxn ang="0">
                    <a:pos x="33" y="32"/>
                  </a:cxn>
                  <a:cxn ang="0">
                    <a:pos x="31" y="30"/>
                  </a:cxn>
                  <a:cxn ang="0">
                    <a:pos x="18" y="25"/>
                  </a:cxn>
                  <a:cxn ang="0">
                    <a:pos x="14" y="21"/>
                  </a:cxn>
                  <a:cxn ang="0">
                    <a:pos x="10" y="23"/>
                  </a:cxn>
                  <a:cxn ang="0">
                    <a:pos x="8" y="23"/>
                  </a:cxn>
                  <a:cxn ang="0">
                    <a:pos x="8" y="21"/>
                  </a:cxn>
                  <a:cxn ang="0">
                    <a:pos x="6" y="16"/>
                  </a:cxn>
                  <a:cxn ang="0">
                    <a:pos x="14" y="16"/>
                  </a:cxn>
                  <a:cxn ang="0">
                    <a:pos x="14" y="14"/>
                  </a:cxn>
                  <a:cxn ang="0">
                    <a:pos x="6" y="14"/>
                  </a:cxn>
                  <a:cxn ang="0">
                    <a:pos x="6" y="9"/>
                  </a:cxn>
                  <a:cxn ang="0">
                    <a:pos x="0" y="7"/>
                  </a:cxn>
                  <a:cxn ang="0">
                    <a:pos x="6" y="0"/>
                  </a:cxn>
                  <a:cxn ang="0">
                    <a:pos x="10" y="0"/>
                  </a:cxn>
                  <a:cxn ang="0">
                    <a:pos x="10" y="5"/>
                  </a:cxn>
                  <a:cxn ang="0">
                    <a:pos x="14" y="5"/>
                  </a:cxn>
                  <a:cxn ang="0">
                    <a:pos x="16" y="14"/>
                  </a:cxn>
                  <a:cxn ang="0">
                    <a:pos x="18" y="21"/>
                  </a:cxn>
                  <a:cxn ang="0">
                    <a:pos x="23" y="21"/>
                  </a:cxn>
                  <a:cxn ang="0">
                    <a:pos x="27" y="14"/>
                  </a:cxn>
                  <a:cxn ang="0">
                    <a:pos x="33" y="9"/>
                  </a:cxn>
                  <a:cxn ang="0">
                    <a:pos x="48" y="16"/>
                  </a:cxn>
                  <a:cxn ang="0">
                    <a:pos x="48" y="34"/>
                  </a:cxn>
                  <a:cxn ang="0">
                    <a:pos x="48" y="52"/>
                  </a:cxn>
                </a:cxnLst>
                <a:rect l="0" t="0" r="r" b="b"/>
                <a:pathLst>
                  <a:path w="48" h="52">
                    <a:moveTo>
                      <a:pt x="48" y="52"/>
                    </a:moveTo>
                    <a:lnTo>
                      <a:pt x="41" y="48"/>
                    </a:lnTo>
                    <a:lnTo>
                      <a:pt x="31" y="50"/>
                    </a:lnTo>
                    <a:lnTo>
                      <a:pt x="33" y="43"/>
                    </a:lnTo>
                    <a:lnTo>
                      <a:pt x="35" y="43"/>
                    </a:lnTo>
                    <a:lnTo>
                      <a:pt x="33" y="32"/>
                    </a:lnTo>
                    <a:lnTo>
                      <a:pt x="31" y="30"/>
                    </a:lnTo>
                    <a:lnTo>
                      <a:pt x="18" y="25"/>
                    </a:lnTo>
                    <a:lnTo>
                      <a:pt x="14" y="21"/>
                    </a:lnTo>
                    <a:lnTo>
                      <a:pt x="10" y="23"/>
                    </a:lnTo>
                    <a:lnTo>
                      <a:pt x="8" y="23"/>
                    </a:lnTo>
                    <a:lnTo>
                      <a:pt x="8" y="21"/>
                    </a:lnTo>
                    <a:lnTo>
                      <a:pt x="6" y="16"/>
                    </a:lnTo>
                    <a:lnTo>
                      <a:pt x="14" y="16"/>
                    </a:lnTo>
                    <a:lnTo>
                      <a:pt x="14" y="14"/>
                    </a:lnTo>
                    <a:lnTo>
                      <a:pt x="6" y="14"/>
                    </a:lnTo>
                    <a:lnTo>
                      <a:pt x="6" y="9"/>
                    </a:lnTo>
                    <a:lnTo>
                      <a:pt x="0" y="7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5"/>
                    </a:lnTo>
                    <a:lnTo>
                      <a:pt x="14" y="5"/>
                    </a:lnTo>
                    <a:lnTo>
                      <a:pt x="16" y="14"/>
                    </a:lnTo>
                    <a:lnTo>
                      <a:pt x="18" y="21"/>
                    </a:lnTo>
                    <a:lnTo>
                      <a:pt x="23" y="21"/>
                    </a:lnTo>
                    <a:lnTo>
                      <a:pt x="27" y="14"/>
                    </a:lnTo>
                    <a:lnTo>
                      <a:pt x="33" y="9"/>
                    </a:lnTo>
                    <a:lnTo>
                      <a:pt x="48" y="16"/>
                    </a:lnTo>
                    <a:lnTo>
                      <a:pt x="48" y="34"/>
                    </a:lnTo>
                    <a:lnTo>
                      <a:pt x="48" y="5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85" name="Indonesia"/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7101521" y="4446899"/>
                <a:ext cx="255381" cy="260517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2" y="0"/>
                  </a:cxn>
                  <a:cxn ang="0">
                    <a:pos x="26" y="13"/>
                  </a:cxn>
                  <a:cxn ang="0">
                    <a:pos x="19" y="18"/>
                  </a:cxn>
                  <a:cxn ang="0">
                    <a:pos x="15" y="13"/>
                  </a:cxn>
                  <a:cxn ang="0">
                    <a:pos x="11" y="18"/>
                  </a:cxn>
                  <a:cxn ang="0">
                    <a:pos x="7" y="18"/>
                  </a:cxn>
                  <a:cxn ang="0">
                    <a:pos x="3" y="11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3" y="29"/>
                  </a:cxn>
                  <a:cxn ang="0">
                    <a:pos x="7" y="38"/>
                  </a:cxn>
                  <a:cxn ang="0">
                    <a:pos x="11" y="38"/>
                  </a:cxn>
                  <a:cxn ang="0">
                    <a:pos x="11" y="43"/>
                  </a:cxn>
                  <a:cxn ang="0">
                    <a:pos x="19" y="43"/>
                  </a:cxn>
                  <a:cxn ang="0">
                    <a:pos x="23" y="43"/>
                  </a:cxn>
                  <a:cxn ang="0">
                    <a:pos x="26" y="47"/>
                  </a:cxn>
                  <a:cxn ang="0">
                    <a:pos x="30" y="45"/>
                  </a:cxn>
                  <a:cxn ang="0">
                    <a:pos x="34" y="43"/>
                  </a:cxn>
                  <a:cxn ang="0">
                    <a:pos x="34" y="36"/>
                  </a:cxn>
                  <a:cxn ang="0">
                    <a:pos x="34" y="31"/>
                  </a:cxn>
                  <a:cxn ang="0">
                    <a:pos x="38" y="29"/>
                  </a:cxn>
                  <a:cxn ang="0">
                    <a:pos x="42" y="18"/>
                  </a:cxn>
                  <a:cxn ang="0">
                    <a:pos x="46" y="18"/>
                  </a:cxn>
                  <a:cxn ang="0">
                    <a:pos x="40" y="11"/>
                  </a:cxn>
                  <a:cxn ang="0">
                    <a:pos x="42" y="9"/>
                  </a:cxn>
                  <a:cxn ang="0">
                    <a:pos x="40" y="4"/>
                  </a:cxn>
                  <a:cxn ang="0">
                    <a:pos x="40" y="0"/>
                  </a:cxn>
                  <a:cxn ang="0">
                    <a:pos x="36" y="0"/>
                  </a:cxn>
                  <a:cxn ang="0">
                    <a:pos x="34" y="0"/>
                  </a:cxn>
                </a:cxnLst>
                <a:rect l="0" t="0" r="r" b="b"/>
                <a:pathLst>
                  <a:path w="46" h="47">
                    <a:moveTo>
                      <a:pt x="34" y="0"/>
                    </a:moveTo>
                    <a:lnTo>
                      <a:pt x="32" y="0"/>
                    </a:lnTo>
                    <a:lnTo>
                      <a:pt x="26" y="13"/>
                    </a:lnTo>
                    <a:lnTo>
                      <a:pt x="19" y="18"/>
                    </a:lnTo>
                    <a:lnTo>
                      <a:pt x="15" y="13"/>
                    </a:lnTo>
                    <a:lnTo>
                      <a:pt x="11" y="18"/>
                    </a:lnTo>
                    <a:lnTo>
                      <a:pt x="7" y="18"/>
                    </a:lnTo>
                    <a:lnTo>
                      <a:pt x="3" y="11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3" y="29"/>
                    </a:lnTo>
                    <a:lnTo>
                      <a:pt x="7" y="38"/>
                    </a:lnTo>
                    <a:lnTo>
                      <a:pt x="11" y="38"/>
                    </a:lnTo>
                    <a:lnTo>
                      <a:pt x="11" y="43"/>
                    </a:lnTo>
                    <a:lnTo>
                      <a:pt x="19" y="43"/>
                    </a:lnTo>
                    <a:lnTo>
                      <a:pt x="23" y="43"/>
                    </a:lnTo>
                    <a:lnTo>
                      <a:pt x="26" y="47"/>
                    </a:lnTo>
                    <a:lnTo>
                      <a:pt x="30" y="45"/>
                    </a:lnTo>
                    <a:lnTo>
                      <a:pt x="34" y="43"/>
                    </a:lnTo>
                    <a:lnTo>
                      <a:pt x="34" y="36"/>
                    </a:lnTo>
                    <a:lnTo>
                      <a:pt x="34" y="31"/>
                    </a:lnTo>
                    <a:lnTo>
                      <a:pt x="38" y="29"/>
                    </a:lnTo>
                    <a:lnTo>
                      <a:pt x="42" y="18"/>
                    </a:lnTo>
                    <a:lnTo>
                      <a:pt x="46" y="18"/>
                    </a:lnTo>
                    <a:lnTo>
                      <a:pt x="40" y="11"/>
                    </a:lnTo>
                    <a:lnTo>
                      <a:pt x="42" y="9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4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86" name="Indonesia"/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6746058" y="4384789"/>
                <a:ext cx="277813" cy="37438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6"/>
                  </a:cxn>
                  <a:cxn ang="0">
                    <a:pos x="4" y="13"/>
                  </a:cxn>
                  <a:cxn ang="0">
                    <a:pos x="10" y="20"/>
                  </a:cxn>
                  <a:cxn ang="0">
                    <a:pos x="16" y="22"/>
                  </a:cxn>
                  <a:cxn ang="0">
                    <a:pos x="16" y="31"/>
                  </a:cxn>
                  <a:cxn ang="0">
                    <a:pos x="23" y="38"/>
                  </a:cxn>
                  <a:cxn ang="0">
                    <a:pos x="25" y="47"/>
                  </a:cxn>
                  <a:cxn ang="0">
                    <a:pos x="27" y="54"/>
                  </a:cxn>
                  <a:cxn ang="0">
                    <a:pos x="42" y="65"/>
                  </a:cxn>
                  <a:cxn ang="0">
                    <a:pos x="42" y="67"/>
                  </a:cxn>
                  <a:cxn ang="0">
                    <a:pos x="44" y="65"/>
                  </a:cxn>
                  <a:cxn ang="0">
                    <a:pos x="48" y="67"/>
                  </a:cxn>
                  <a:cxn ang="0">
                    <a:pos x="50" y="54"/>
                  </a:cxn>
                  <a:cxn ang="0">
                    <a:pos x="48" y="47"/>
                  </a:cxn>
                  <a:cxn ang="0">
                    <a:pos x="44" y="47"/>
                  </a:cxn>
                  <a:cxn ang="0">
                    <a:pos x="42" y="40"/>
                  </a:cxn>
                  <a:cxn ang="0">
                    <a:pos x="39" y="40"/>
                  </a:cxn>
                  <a:cxn ang="0">
                    <a:pos x="35" y="38"/>
                  </a:cxn>
                  <a:cxn ang="0">
                    <a:pos x="39" y="33"/>
                  </a:cxn>
                  <a:cxn ang="0">
                    <a:pos x="35" y="31"/>
                  </a:cxn>
                  <a:cxn ang="0">
                    <a:pos x="35" y="29"/>
                  </a:cxn>
                  <a:cxn ang="0">
                    <a:pos x="27" y="22"/>
                  </a:cxn>
                  <a:cxn ang="0">
                    <a:pos x="25" y="22"/>
                  </a:cxn>
                  <a:cxn ang="0">
                    <a:pos x="8" y="4"/>
                  </a:cxn>
                  <a:cxn ang="0">
                    <a:pos x="4" y="2"/>
                  </a:cxn>
                  <a:cxn ang="0">
                    <a:pos x="0" y="0"/>
                  </a:cxn>
                </a:cxnLst>
                <a:rect l="0" t="0" r="r" b="b"/>
                <a:pathLst>
                  <a:path w="50" h="67">
                    <a:moveTo>
                      <a:pt x="0" y="0"/>
                    </a:moveTo>
                    <a:lnTo>
                      <a:pt x="0" y="6"/>
                    </a:lnTo>
                    <a:lnTo>
                      <a:pt x="4" y="13"/>
                    </a:lnTo>
                    <a:lnTo>
                      <a:pt x="10" y="20"/>
                    </a:lnTo>
                    <a:lnTo>
                      <a:pt x="16" y="22"/>
                    </a:lnTo>
                    <a:lnTo>
                      <a:pt x="16" y="31"/>
                    </a:lnTo>
                    <a:lnTo>
                      <a:pt x="23" y="38"/>
                    </a:lnTo>
                    <a:lnTo>
                      <a:pt x="25" y="47"/>
                    </a:lnTo>
                    <a:lnTo>
                      <a:pt x="27" y="54"/>
                    </a:lnTo>
                    <a:lnTo>
                      <a:pt x="42" y="65"/>
                    </a:lnTo>
                    <a:lnTo>
                      <a:pt x="42" y="67"/>
                    </a:lnTo>
                    <a:lnTo>
                      <a:pt x="44" y="65"/>
                    </a:lnTo>
                    <a:lnTo>
                      <a:pt x="48" y="67"/>
                    </a:lnTo>
                    <a:lnTo>
                      <a:pt x="50" y="54"/>
                    </a:lnTo>
                    <a:lnTo>
                      <a:pt x="48" y="47"/>
                    </a:lnTo>
                    <a:lnTo>
                      <a:pt x="44" y="47"/>
                    </a:lnTo>
                    <a:lnTo>
                      <a:pt x="42" y="40"/>
                    </a:lnTo>
                    <a:lnTo>
                      <a:pt x="39" y="40"/>
                    </a:lnTo>
                    <a:lnTo>
                      <a:pt x="35" y="38"/>
                    </a:lnTo>
                    <a:lnTo>
                      <a:pt x="39" y="33"/>
                    </a:lnTo>
                    <a:lnTo>
                      <a:pt x="35" y="31"/>
                    </a:lnTo>
                    <a:lnTo>
                      <a:pt x="35" y="29"/>
                    </a:lnTo>
                    <a:lnTo>
                      <a:pt x="27" y="22"/>
                    </a:lnTo>
                    <a:lnTo>
                      <a:pt x="25" y="22"/>
                    </a:lnTo>
                    <a:lnTo>
                      <a:pt x="8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87" name="Indonesia"/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6991086" y="4759174"/>
                <a:ext cx="238126" cy="87988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14" y="9"/>
                  </a:cxn>
                  <a:cxn ang="0">
                    <a:pos x="20" y="9"/>
                  </a:cxn>
                  <a:cxn ang="0">
                    <a:pos x="35" y="16"/>
                  </a:cxn>
                  <a:cxn ang="0">
                    <a:pos x="37" y="14"/>
                  </a:cxn>
                  <a:cxn ang="0">
                    <a:pos x="43" y="16"/>
                  </a:cxn>
                  <a:cxn ang="0">
                    <a:pos x="43" y="9"/>
                  </a:cxn>
                  <a:cxn ang="0">
                    <a:pos x="37" y="9"/>
                  </a:cxn>
                  <a:cxn ang="0">
                    <a:pos x="35" y="7"/>
                  </a:cxn>
                  <a:cxn ang="0">
                    <a:pos x="27" y="5"/>
                  </a:cxn>
                  <a:cxn ang="0">
                    <a:pos x="27" y="7"/>
                  </a:cxn>
                  <a:cxn ang="0">
                    <a:pos x="18" y="7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5"/>
                  </a:cxn>
                </a:cxnLst>
                <a:rect l="0" t="0" r="r" b="b"/>
                <a:pathLst>
                  <a:path w="43" h="16">
                    <a:moveTo>
                      <a:pt x="0" y="5"/>
                    </a:moveTo>
                    <a:lnTo>
                      <a:pt x="14" y="9"/>
                    </a:lnTo>
                    <a:lnTo>
                      <a:pt x="20" y="9"/>
                    </a:lnTo>
                    <a:lnTo>
                      <a:pt x="35" y="16"/>
                    </a:lnTo>
                    <a:lnTo>
                      <a:pt x="37" y="14"/>
                    </a:lnTo>
                    <a:lnTo>
                      <a:pt x="43" y="16"/>
                    </a:lnTo>
                    <a:lnTo>
                      <a:pt x="43" y="9"/>
                    </a:lnTo>
                    <a:lnTo>
                      <a:pt x="37" y="9"/>
                    </a:lnTo>
                    <a:lnTo>
                      <a:pt x="35" y="7"/>
                    </a:lnTo>
                    <a:lnTo>
                      <a:pt x="27" y="5"/>
                    </a:lnTo>
                    <a:lnTo>
                      <a:pt x="27" y="7"/>
                    </a:lnTo>
                    <a:lnTo>
                      <a:pt x="18" y="7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88" name="Indonesia"/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7229211" y="4836811"/>
                <a:ext cx="39687" cy="1035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2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0"/>
                  </a:cxn>
                </a:cxnLst>
                <a:rect l="0" t="0" r="r" b="b"/>
                <a:pathLst>
                  <a:path w="7" h="2">
                    <a:moveTo>
                      <a:pt x="0" y="0"/>
                    </a:moveTo>
                    <a:lnTo>
                      <a:pt x="3" y="2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89" name="Indonesia"/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7279252" y="4836811"/>
                <a:ext cx="205341" cy="22429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6" y="4"/>
                  </a:cxn>
                  <a:cxn ang="0">
                    <a:pos x="16" y="2"/>
                  </a:cxn>
                  <a:cxn ang="0">
                    <a:pos x="27" y="4"/>
                  </a:cxn>
                  <a:cxn ang="0">
                    <a:pos x="37" y="2"/>
                  </a:cxn>
                  <a:cxn ang="0">
                    <a:pos x="31" y="0"/>
                  </a:cxn>
                  <a:cxn ang="0">
                    <a:pos x="27" y="2"/>
                  </a:cxn>
                  <a:cxn ang="0">
                    <a:pos x="19" y="0"/>
                  </a:cxn>
                  <a:cxn ang="0">
                    <a:pos x="16" y="2"/>
                  </a:cxn>
                  <a:cxn ang="0">
                    <a:pos x="8" y="0"/>
                  </a:cxn>
                  <a:cxn ang="0">
                    <a:pos x="8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</a:cxnLst>
                <a:rect l="0" t="0" r="r" b="b"/>
                <a:pathLst>
                  <a:path w="37" h="4">
                    <a:moveTo>
                      <a:pt x="0" y="4"/>
                    </a:moveTo>
                    <a:lnTo>
                      <a:pt x="6" y="4"/>
                    </a:lnTo>
                    <a:lnTo>
                      <a:pt x="16" y="2"/>
                    </a:lnTo>
                    <a:lnTo>
                      <a:pt x="27" y="4"/>
                    </a:lnTo>
                    <a:lnTo>
                      <a:pt x="37" y="2"/>
                    </a:lnTo>
                    <a:lnTo>
                      <a:pt x="31" y="0"/>
                    </a:lnTo>
                    <a:lnTo>
                      <a:pt x="27" y="2"/>
                    </a:lnTo>
                    <a:lnTo>
                      <a:pt x="19" y="0"/>
                    </a:lnTo>
                    <a:lnTo>
                      <a:pt x="16" y="2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0" name="Indonesia"/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7494946" y="4836811"/>
                <a:ext cx="12078" cy="1035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274" name="Indonesia"/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7534517" y="4808553"/>
                <a:ext cx="22190" cy="27867"/>
              </a:xfrm>
              <a:custGeom>
                <a:avLst/>
                <a:gdLst>
                  <a:gd name="T0" fmla="*/ 0 w 4"/>
                  <a:gd name="T1" fmla="*/ 27867 h 5"/>
                  <a:gd name="T2" fmla="*/ 11095 w 4"/>
                  <a:gd name="T3" fmla="*/ 27867 h 5"/>
                  <a:gd name="T4" fmla="*/ 22190 w 4"/>
                  <a:gd name="T5" fmla="*/ 0 h 5"/>
                  <a:gd name="T6" fmla="*/ 11095 w 4"/>
                  <a:gd name="T7" fmla="*/ 0 h 5"/>
                  <a:gd name="T8" fmla="*/ 0 w 4"/>
                  <a:gd name="T9" fmla="*/ 11147 h 5"/>
                  <a:gd name="T10" fmla="*/ 0 w 4"/>
                  <a:gd name="T11" fmla="*/ 27867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5"/>
                  <a:gd name="T20" fmla="*/ 4 w 4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5">
                    <a:moveTo>
                      <a:pt x="0" y="5"/>
                    </a:moveTo>
                    <a:lnTo>
                      <a:pt x="2" y="5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EE8B8B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92" name="Indonesia"/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7356902" y="4886844"/>
                <a:ext cx="50040" cy="1035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" y="2"/>
                  </a:cxn>
                  <a:cxn ang="0">
                    <a:pos x="9" y="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9" h="2">
                    <a:moveTo>
                      <a:pt x="0" y="0"/>
                    </a:moveTo>
                    <a:lnTo>
                      <a:pt x="5" y="2"/>
                    </a:lnTo>
                    <a:lnTo>
                      <a:pt x="9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3" name="Indonesia"/>
              <p:cNvSpPr>
                <a:spLocks noChangeShapeType="1"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7196425" y="4809206"/>
                <a:ext cx="32786" cy="5176"/>
              </a:xfrm>
              <a:prstGeom prst="line">
                <a:avLst/>
              </a:pr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4" name="Indonesia"/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7356902" y="4519360"/>
                <a:ext cx="177731" cy="239813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0" y="30"/>
                  </a:cxn>
                  <a:cxn ang="0">
                    <a:pos x="2" y="30"/>
                  </a:cxn>
                  <a:cxn ang="0">
                    <a:pos x="2" y="32"/>
                  </a:cxn>
                  <a:cxn ang="0">
                    <a:pos x="2" y="41"/>
                  </a:cxn>
                  <a:cxn ang="0">
                    <a:pos x="5" y="41"/>
                  </a:cxn>
                  <a:cxn ang="0">
                    <a:pos x="5" y="30"/>
                  </a:cxn>
                  <a:cxn ang="0">
                    <a:pos x="9" y="25"/>
                  </a:cxn>
                  <a:cxn ang="0">
                    <a:pos x="11" y="25"/>
                  </a:cxn>
                  <a:cxn ang="0">
                    <a:pos x="9" y="30"/>
                  </a:cxn>
                  <a:cxn ang="0">
                    <a:pos x="13" y="34"/>
                  </a:cxn>
                  <a:cxn ang="0">
                    <a:pos x="13" y="39"/>
                  </a:cxn>
                  <a:cxn ang="0">
                    <a:pos x="17" y="39"/>
                  </a:cxn>
                  <a:cxn ang="0">
                    <a:pos x="17" y="41"/>
                  </a:cxn>
                  <a:cxn ang="0">
                    <a:pos x="17" y="43"/>
                  </a:cxn>
                  <a:cxn ang="0">
                    <a:pos x="19" y="41"/>
                  </a:cxn>
                  <a:cxn ang="0">
                    <a:pos x="19" y="39"/>
                  </a:cxn>
                  <a:cxn ang="0">
                    <a:pos x="13" y="30"/>
                  </a:cxn>
                  <a:cxn ang="0">
                    <a:pos x="17" y="30"/>
                  </a:cxn>
                  <a:cxn ang="0">
                    <a:pos x="13" y="18"/>
                  </a:cxn>
                  <a:cxn ang="0">
                    <a:pos x="19" y="16"/>
                  </a:cxn>
                  <a:cxn ang="0">
                    <a:pos x="23" y="16"/>
                  </a:cxn>
                  <a:cxn ang="0">
                    <a:pos x="19" y="14"/>
                  </a:cxn>
                  <a:cxn ang="0">
                    <a:pos x="9" y="16"/>
                  </a:cxn>
                  <a:cxn ang="0">
                    <a:pos x="5" y="14"/>
                  </a:cxn>
                  <a:cxn ang="0">
                    <a:pos x="5" y="9"/>
                  </a:cxn>
                  <a:cxn ang="0">
                    <a:pos x="9" y="7"/>
                  </a:cxn>
                  <a:cxn ang="0">
                    <a:pos x="23" y="7"/>
                  </a:cxn>
                  <a:cxn ang="0">
                    <a:pos x="27" y="7"/>
                  </a:cxn>
                  <a:cxn ang="0">
                    <a:pos x="32" y="0"/>
                  </a:cxn>
                  <a:cxn ang="0">
                    <a:pos x="27" y="0"/>
                  </a:cxn>
                  <a:cxn ang="0">
                    <a:pos x="25" y="5"/>
                  </a:cxn>
                  <a:cxn ang="0">
                    <a:pos x="19" y="5"/>
                  </a:cxn>
                  <a:cxn ang="0">
                    <a:pos x="11" y="0"/>
                  </a:cxn>
                  <a:cxn ang="0">
                    <a:pos x="9" y="5"/>
                  </a:cxn>
                  <a:cxn ang="0">
                    <a:pos x="5" y="5"/>
                  </a:cxn>
                  <a:cxn ang="0">
                    <a:pos x="5" y="14"/>
                  </a:cxn>
                  <a:cxn ang="0">
                    <a:pos x="2" y="21"/>
                  </a:cxn>
                  <a:cxn ang="0">
                    <a:pos x="0" y="25"/>
                  </a:cxn>
                </a:cxnLst>
                <a:rect l="0" t="0" r="r" b="b"/>
                <a:pathLst>
                  <a:path w="32" h="43">
                    <a:moveTo>
                      <a:pt x="0" y="25"/>
                    </a:moveTo>
                    <a:lnTo>
                      <a:pt x="0" y="30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2" y="41"/>
                    </a:lnTo>
                    <a:lnTo>
                      <a:pt x="5" y="41"/>
                    </a:lnTo>
                    <a:lnTo>
                      <a:pt x="5" y="30"/>
                    </a:lnTo>
                    <a:lnTo>
                      <a:pt x="9" y="25"/>
                    </a:lnTo>
                    <a:lnTo>
                      <a:pt x="11" y="25"/>
                    </a:lnTo>
                    <a:lnTo>
                      <a:pt x="9" y="30"/>
                    </a:lnTo>
                    <a:lnTo>
                      <a:pt x="13" y="34"/>
                    </a:lnTo>
                    <a:lnTo>
                      <a:pt x="13" y="39"/>
                    </a:lnTo>
                    <a:lnTo>
                      <a:pt x="17" y="39"/>
                    </a:lnTo>
                    <a:lnTo>
                      <a:pt x="17" y="41"/>
                    </a:lnTo>
                    <a:lnTo>
                      <a:pt x="17" y="43"/>
                    </a:lnTo>
                    <a:lnTo>
                      <a:pt x="19" y="41"/>
                    </a:lnTo>
                    <a:lnTo>
                      <a:pt x="19" y="39"/>
                    </a:lnTo>
                    <a:lnTo>
                      <a:pt x="13" y="30"/>
                    </a:lnTo>
                    <a:lnTo>
                      <a:pt x="17" y="30"/>
                    </a:lnTo>
                    <a:lnTo>
                      <a:pt x="13" y="18"/>
                    </a:lnTo>
                    <a:lnTo>
                      <a:pt x="19" y="16"/>
                    </a:lnTo>
                    <a:lnTo>
                      <a:pt x="23" y="16"/>
                    </a:lnTo>
                    <a:lnTo>
                      <a:pt x="19" y="14"/>
                    </a:lnTo>
                    <a:lnTo>
                      <a:pt x="9" y="16"/>
                    </a:lnTo>
                    <a:lnTo>
                      <a:pt x="5" y="14"/>
                    </a:lnTo>
                    <a:lnTo>
                      <a:pt x="5" y="9"/>
                    </a:lnTo>
                    <a:lnTo>
                      <a:pt x="9" y="7"/>
                    </a:lnTo>
                    <a:lnTo>
                      <a:pt x="23" y="7"/>
                    </a:lnTo>
                    <a:lnTo>
                      <a:pt x="27" y="7"/>
                    </a:lnTo>
                    <a:lnTo>
                      <a:pt x="32" y="0"/>
                    </a:lnTo>
                    <a:lnTo>
                      <a:pt x="27" y="0"/>
                    </a:lnTo>
                    <a:lnTo>
                      <a:pt x="25" y="5"/>
                    </a:lnTo>
                    <a:lnTo>
                      <a:pt x="19" y="5"/>
                    </a:lnTo>
                    <a:lnTo>
                      <a:pt x="11" y="0"/>
                    </a:lnTo>
                    <a:lnTo>
                      <a:pt x="9" y="5"/>
                    </a:lnTo>
                    <a:lnTo>
                      <a:pt x="5" y="5"/>
                    </a:lnTo>
                    <a:lnTo>
                      <a:pt x="5" y="14"/>
                    </a:lnTo>
                    <a:lnTo>
                      <a:pt x="2" y="21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5" name="Indonesia"/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7579497" y="4507284"/>
                <a:ext cx="43139" cy="100066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2" y="11"/>
                  </a:cxn>
                  <a:cxn ang="0">
                    <a:pos x="4" y="18"/>
                  </a:cxn>
                  <a:cxn ang="0">
                    <a:pos x="2" y="11"/>
                  </a:cxn>
                  <a:cxn ang="0">
                    <a:pos x="2" y="9"/>
                  </a:cxn>
                  <a:cxn ang="0">
                    <a:pos x="4" y="9"/>
                  </a:cxn>
                  <a:cxn ang="0">
                    <a:pos x="4" y="7"/>
                  </a:cxn>
                  <a:cxn ang="0">
                    <a:pos x="8" y="7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5"/>
                  </a:cxn>
                  <a:cxn ang="0">
                    <a:pos x="0" y="7"/>
                  </a:cxn>
                </a:cxnLst>
                <a:rect l="0" t="0" r="r" b="b"/>
                <a:pathLst>
                  <a:path w="8" h="18">
                    <a:moveTo>
                      <a:pt x="0" y="7"/>
                    </a:moveTo>
                    <a:lnTo>
                      <a:pt x="2" y="11"/>
                    </a:lnTo>
                    <a:lnTo>
                      <a:pt x="4" y="18"/>
                    </a:lnTo>
                    <a:lnTo>
                      <a:pt x="2" y="11"/>
                    </a:lnTo>
                    <a:lnTo>
                      <a:pt x="2" y="9"/>
                    </a:lnTo>
                    <a:lnTo>
                      <a:pt x="4" y="9"/>
                    </a:lnTo>
                    <a:lnTo>
                      <a:pt x="4" y="7"/>
                    </a:lnTo>
                    <a:lnTo>
                      <a:pt x="8" y="7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6" name="Indonesia"/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7544986" y="4686712"/>
                <a:ext cx="34511" cy="1035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6" y="2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6" h="2">
                    <a:moveTo>
                      <a:pt x="0" y="0"/>
                    </a:moveTo>
                    <a:lnTo>
                      <a:pt x="2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7" name="Indonesia"/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7589850" y="4657382"/>
                <a:ext cx="82826" cy="39682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15" y="7"/>
                  </a:cxn>
                  <a:cxn ang="0">
                    <a:pos x="11" y="5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5"/>
                  </a:cxn>
                </a:cxnLst>
                <a:rect l="0" t="0" r="r" b="b"/>
                <a:pathLst>
                  <a:path w="15" h="7">
                    <a:moveTo>
                      <a:pt x="0" y="5"/>
                    </a:moveTo>
                    <a:lnTo>
                      <a:pt x="15" y="7"/>
                    </a:lnTo>
                    <a:lnTo>
                      <a:pt x="11" y="5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8" name="Indonesia"/>
              <p:cNvSpPr>
                <a:spLocks noChangeShapeType="1"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7507024" y="4634954"/>
                <a:ext cx="27609" cy="6901"/>
              </a:xfrm>
              <a:prstGeom prst="line">
                <a:avLst/>
              </a:pr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9" name="Indonesia"/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7579497" y="4607350"/>
                <a:ext cx="22433" cy="12076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00" name="Indonesia"/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7650245" y="4569394"/>
                <a:ext cx="34511" cy="2760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5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6" h="5">
                    <a:moveTo>
                      <a:pt x="0" y="0"/>
                    </a:moveTo>
                    <a:lnTo>
                      <a:pt x="4" y="5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01" name="Indonesia"/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7462160" y="4847162"/>
                <a:ext cx="117337" cy="50033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6" y="9"/>
                  </a:cxn>
                  <a:cxn ang="0">
                    <a:pos x="8" y="2"/>
                  </a:cxn>
                  <a:cxn ang="0">
                    <a:pos x="21" y="0"/>
                  </a:cxn>
                  <a:cxn ang="0">
                    <a:pos x="8" y="0"/>
                  </a:cxn>
                  <a:cxn ang="0">
                    <a:pos x="4" y="7"/>
                  </a:cxn>
                  <a:cxn ang="0">
                    <a:pos x="2" y="9"/>
                  </a:cxn>
                  <a:cxn ang="0">
                    <a:pos x="0" y="9"/>
                  </a:cxn>
                </a:cxnLst>
                <a:rect l="0" t="0" r="r" b="b"/>
                <a:pathLst>
                  <a:path w="21" h="9">
                    <a:moveTo>
                      <a:pt x="0" y="9"/>
                    </a:moveTo>
                    <a:lnTo>
                      <a:pt x="6" y="9"/>
                    </a:lnTo>
                    <a:lnTo>
                      <a:pt x="8" y="2"/>
                    </a:lnTo>
                    <a:lnTo>
                      <a:pt x="21" y="0"/>
                    </a:lnTo>
                    <a:lnTo>
                      <a:pt x="8" y="0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02" name="India"/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5991993" y="3415186"/>
                <a:ext cx="721279" cy="902318"/>
              </a:xfrm>
              <a:custGeom>
                <a:avLst/>
                <a:gdLst/>
                <a:ahLst/>
                <a:cxnLst>
                  <a:cxn ang="0">
                    <a:pos x="92" y="50"/>
                  </a:cxn>
                  <a:cxn ang="0">
                    <a:pos x="96" y="52"/>
                  </a:cxn>
                  <a:cxn ang="0">
                    <a:pos x="107" y="50"/>
                  </a:cxn>
                  <a:cxn ang="0">
                    <a:pos x="111" y="43"/>
                  </a:cxn>
                  <a:cxn ang="0">
                    <a:pos x="121" y="36"/>
                  </a:cxn>
                  <a:cxn ang="0">
                    <a:pos x="130" y="50"/>
                  </a:cxn>
                  <a:cxn ang="0">
                    <a:pos x="121" y="57"/>
                  </a:cxn>
                  <a:cxn ang="0">
                    <a:pos x="115" y="70"/>
                  </a:cxn>
                  <a:cxn ang="0">
                    <a:pos x="113" y="79"/>
                  </a:cxn>
                  <a:cxn ang="0">
                    <a:pos x="111" y="75"/>
                  </a:cxn>
                  <a:cxn ang="0">
                    <a:pos x="104" y="68"/>
                  </a:cxn>
                  <a:cxn ang="0">
                    <a:pos x="98" y="61"/>
                  </a:cxn>
                  <a:cxn ang="0">
                    <a:pos x="92" y="57"/>
                  </a:cxn>
                  <a:cxn ang="0">
                    <a:pos x="90" y="59"/>
                  </a:cxn>
                  <a:cxn ang="0">
                    <a:pos x="90" y="66"/>
                  </a:cxn>
                  <a:cxn ang="0">
                    <a:pos x="96" y="84"/>
                  </a:cxn>
                  <a:cxn ang="0">
                    <a:pos x="92" y="84"/>
                  </a:cxn>
                  <a:cxn ang="0">
                    <a:pos x="88" y="93"/>
                  </a:cxn>
                  <a:cxn ang="0">
                    <a:pos x="79" y="102"/>
                  </a:cxn>
                  <a:cxn ang="0">
                    <a:pos x="67" y="113"/>
                  </a:cxn>
                  <a:cxn ang="0">
                    <a:pos x="65" y="117"/>
                  </a:cxn>
                  <a:cxn ang="0">
                    <a:pos x="59" y="120"/>
                  </a:cxn>
                  <a:cxn ang="0">
                    <a:pos x="59" y="142"/>
                  </a:cxn>
                  <a:cxn ang="0">
                    <a:pos x="56" y="153"/>
                  </a:cxn>
                  <a:cxn ang="0">
                    <a:pos x="50" y="162"/>
                  </a:cxn>
                  <a:cxn ang="0">
                    <a:pos x="34" y="122"/>
                  </a:cxn>
                  <a:cxn ang="0">
                    <a:pos x="23" y="79"/>
                  </a:cxn>
                  <a:cxn ang="0">
                    <a:pos x="19" y="86"/>
                  </a:cxn>
                  <a:cxn ang="0">
                    <a:pos x="13" y="90"/>
                  </a:cxn>
                  <a:cxn ang="0">
                    <a:pos x="11" y="77"/>
                  </a:cxn>
                  <a:cxn ang="0">
                    <a:pos x="4" y="77"/>
                  </a:cxn>
                  <a:cxn ang="0">
                    <a:pos x="2" y="68"/>
                  </a:cxn>
                  <a:cxn ang="0">
                    <a:pos x="11" y="66"/>
                  </a:cxn>
                  <a:cxn ang="0">
                    <a:pos x="8" y="59"/>
                  </a:cxn>
                  <a:cxn ang="0">
                    <a:pos x="4" y="52"/>
                  </a:cxn>
                  <a:cxn ang="0">
                    <a:pos x="8" y="48"/>
                  </a:cxn>
                  <a:cxn ang="0">
                    <a:pos x="13" y="48"/>
                  </a:cxn>
                  <a:cxn ang="0">
                    <a:pos x="23" y="23"/>
                  </a:cxn>
                  <a:cxn ang="0">
                    <a:pos x="19" y="16"/>
                  </a:cxn>
                  <a:cxn ang="0">
                    <a:pos x="17" y="7"/>
                  </a:cxn>
                  <a:cxn ang="0">
                    <a:pos x="31" y="7"/>
                  </a:cxn>
                  <a:cxn ang="0">
                    <a:pos x="40" y="0"/>
                  </a:cxn>
                  <a:cxn ang="0">
                    <a:pos x="44" y="7"/>
                  </a:cxn>
                  <a:cxn ang="0">
                    <a:pos x="44" y="18"/>
                  </a:cxn>
                  <a:cxn ang="0">
                    <a:pos x="40" y="23"/>
                  </a:cxn>
                  <a:cxn ang="0">
                    <a:pos x="52" y="34"/>
                  </a:cxn>
                  <a:cxn ang="0">
                    <a:pos x="65" y="50"/>
                  </a:cxn>
                  <a:cxn ang="0">
                    <a:pos x="75" y="52"/>
                  </a:cxn>
                  <a:cxn ang="0">
                    <a:pos x="90" y="57"/>
                  </a:cxn>
                  <a:cxn ang="0">
                    <a:pos x="88" y="48"/>
                  </a:cxn>
                </a:cxnLst>
                <a:rect l="0" t="0" r="r" b="b"/>
                <a:pathLst>
                  <a:path w="130" h="162">
                    <a:moveTo>
                      <a:pt x="90" y="48"/>
                    </a:moveTo>
                    <a:lnTo>
                      <a:pt x="92" y="50"/>
                    </a:lnTo>
                    <a:lnTo>
                      <a:pt x="92" y="52"/>
                    </a:lnTo>
                    <a:lnTo>
                      <a:pt x="96" y="52"/>
                    </a:lnTo>
                    <a:lnTo>
                      <a:pt x="107" y="52"/>
                    </a:lnTo>
                    <a:lnTo>
                      <a:pt x="107" y="50"/>
                    </a:lnTo>
                    <a:lnTo>
                      <a:pt x="104" y="48"/>
                    </a:lnTo>
                    <a:lnTo>
                      <a:pt x="111" y="43"/>
                    </a:lnTo>
                    <a:lnTo>
                      <a:pt x="115" y="36"/>
                    </a:lnTo>
                    <a:lnTo>
                      <a:pt x="121" y="36"/>
                    </a:lnTo>
                    <a:lnTo>
                      <a:pt x="130" y="48"/>
                    </a:lnTo>
                    <a:lnTo>
                      <a:pt x="130" y="50"/>
                    </a:lnTo>
                    <a:lnTo>
                      <a:pt x="127" y="50"/>
                    </a:lnTo>
                    <a:lnTo>
                      <a:pt x="121" y="57"/>
                    </a:lnTo>
                    <a:lnTo>
                      <a:pt x="119" y="70"/>
                    </a:lnTo>
                    <a:lnTo>
                      <a:pt x="115" y="70"/>
                    </a:lnTo>
                    <a:lnTo>
                      <a:pt x="115" y="79"/>
                    </a:lnTo>
                    <a:lnTo>
                      <a:pt x="113" y="79"/>
                    </a:lnTo>
                    <a:lnTo>
                      <a:pt x="111" y="70"/>
                    </a:lnTo>
                    <a:lnTo>
                      <a:pt x="111" y="75"/>
                    </a:lnTo>
                    <a:lnTo>
                      <a:pt x="104" y="70"/>
                    </a:lnTo>
                    <a:lnTo>
                      <a:pt x="104" y="68"/>
                    </a:lnTo>
                    <a:lnTo>
                      <a:pt x="111" y="61"/>
                    </a:lnTo>
                    <a:lnTo>
                      <a:pt x="98" y="61"/>
                    </a:lnTo>
                    <a:lnTo>
                      <a:pt x="96" y="57"/>
                    </a:lnTo>
                    <a:lnTo>
                      <a:pt x="92" y="57"/>
                    </a:lnTo>
                    <a:lnTo>
                      <a:pt x="90" y="57"/>
                    </a:lnTo>
                    <a:lnTo>
                      <a:pt x="90" y="59"/>
                    </a:lnTo>
                    <a:lnTo>
                      <a:pt x="92" y="61"/>
                    </a:lnTo>
                    <a:lnTo>
                      <a:pt x="90" y="66"/>
                    </a:lnTo>
                    <a:lnTo>
                      <a:pt x="92" y="68"/>
                    </a:lnTo>
                    <a:lnTo>
                      <a:pt x="96" y="84"/>
                    </a:lnTo>
                    <a:lnTo>
                      <a:pt x="92" y="79"/>
                    </a:lnTo>
                    <a:lnTo>
                      <a:pt x="92" y="84"/>
                    </a:lnTo>
                    <a:lnTo>
                      <a:pt x="88" y="84"/>
                    </a:lnTo>
                    <a:lnTo>
                      <a:pt x="88" y="93"/>
                    </a:lnTo>
                    <a:lnTo>
                      <a:pt x="82" y="95"/>
                    </a:lnTo>
                    <a:lnTo>
                      <a:pt x="79" y="102"/>
                    </a:lnTo>
                    <a:lnTo>
                      <a:pt x="71" y="111"/>
                    </a:lnTo>
                    <a:lnTo>
                      <a:pt x="67" y="113"/>
                    </a:lnTo>
                    <a:lnTo>
                      <a:pt x="65" y="113"/>
                    </a:lnTo>
                    <a:lnTo>
                      <a:pt x="65" y="117"/>
                    </a:lnTo>
                    <a:lnTo>
                      <a:pt x="63" y="117"/>
                    </a:lnTo>
                    <a:lnTo>
                      <a:pt x="59" y="120"/>
                    </a:lnTo>
                    <a:lnTo>
                      <a:pt x="63" y="133"/>
                    </a:lnTo>
                    <a:lnTo>
                      <a:pt x="59" y="142"/>
                    </a:lnTo>
                    <a:lnTo>
                      <a:pt x="59" y="147"/>
                    </a:lnTo>
                    <a:lnTo>
                      <a:pt x="56" y="153"/>
                    </a:lnTo>
                    <a:lnTo>
                      <a:pt x="52" y="156"/>
                    </a:lnTo>
                    <a:lnTo>
                      <a:pt x="50" y="162"/>
                    </a:lnTo>
                    <a:lnTo>
                      <a:pt x="44" y="156"/>
                    </a:lnTo>
                    <a:lnTo>
                      <a:pt x="34" y="122"/>
                    </a:lnTo>
                    <a:lnTo>
                      <a:pt x="27" y="113"/>
                    </a:lnTo>
                    <a:lnTo>
                      <a:pt x="23" y="79"/>
                    </a:lnTo>
                    <a:lnTo>
                      <a:pt x="19" y="79"/>
                    </a:lnTo>
                    <a:lnTo>
                      <a:pt x="19" y="86"/>
                    </a:lnTo>
                    <a:lnTo>
                      <a:pt x="17" y="86"/>
                    </a:lnTo>
                    <a:lnTo>
                      <a:pt x="13" y="90"/>
                    </a:lnTo>
                    <a:lnTo>
                      <a:pt x="4" y="79"/>
                    </a:lnTo>
                    <a:lnTo>
                      <a:pt x="11" y="77"/>
                    </a:lnTo>
                    <a:lnTo>
                      <a:pt x="11" y="75"/>
                    </a:lnTo>
                    <a:lnTo>
                      <a:pt x="4" y="77"/>
                    </a:lnTo>
                    <a:lnTo>
                      <a:pt x="0" y="70"/>
                    </a:lnTo>
                    <a:lnTo>
                      <a:pt x="2" y="68"/>
                    </a:lnTo>
                    <a:lnTo>
                      <a:pt x="11" y="68"/>
                    </a:lnTo>
                    <a:lnTo>
                      <a:pt x="11" y="66"/>
                    </a:lnTo>
                    <a:lnTo>
                      <a:pt x="11" y="59"/>
                    </a:lnTo>
                    <a:lnTo>
                      <a:pt x="8" y="59"/>
                    </a:lnTo>
                    <a:lnTo>
                      <a:pt x="8" y="57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8" y="48"/>
                    </a:lnTo>
                    <a:lnTo>
                      <a:pt x="11" y="48"/>
                    </a:lnTo>
                    <a:lnTo>
                      <a:pt x="13" y="48"/>
                    </a:lnTo>
                    <a:lnTo>
                      <a:pt x="25" y="27"/>
                    </a:lnTo>
                    <a:lnTo>
                      <a:pt x="23" y="23"/>
                    </a:lnTo>
                    <a:lnTo>
                      <a:pt x="25" y="23"/>
                    </a:lnTo>
                    <a:lnTo>
                      <a:pt x="19" y="16"/>
                    </a:lnTo>
                    <a:lnTo>
                      <a:pt x="19" y="9"/>
                    </a:lnTo>
                    <a:lnTo>
                      <a:pt x="17" y="7"/>
                    </a:lnTo>
                    <a:lnTo>
                      <a:pt x="25" y="7"/>
                    </a:lnTo>
                    <a:lnTo>
                      <a:pt x="31" y="7"/>
                    </a:lnTo>
                    <a:lnTo>
                      <a:pt x="34" y="5"/>
                    </a:lnTo>
                    <a:lnTo>
                      <a:pt x="40" y="0"/>
                    </a:lnTo>
                    <a:lnTo>
                      <a:pt x="44" y="5"/>
                    </a:lnTo>
                    <a:lnTo>
                      <a:pt x="44" y="7"/>
                    </a:lnTo>
                    <a:lnTo>
                      <a:pt x="42" y="14"/>
                    </a:lnTo>
                    <a:lnTo>
                      <a:pt x="44" y="18"/>
                    </a:lnTo>
                    <a:lnTo>
                      <a:pt x="40" y="18"/>
                    </a:lnTo>
                    <a:lnTo>
                      <a:pt x="40" y="23"/>
                    </a:lnTo>
                    <a:lnTo>
                      <a:pt x="44" y="27"/>
                    </a:lnTo>
                    <a:lnTo>
                      <a:pt x="52" y="34"/>
                    </a:lnTo>
                    <a:lnTo>
                      <a:pt x="50" y="41"/>
                    </a:lnTo>
                    <a:lnTo>
                      <a:pt x="65" y="50"/>
                    </a:lnTo>
                    <a:lnTo>
                      <a:pt x="71" y="50"/>
                    </a:lnTo>
                    <a:lnTo>
                      <a:pt x="75" y="52"/>
                    </a:lnTo>
                    <a:lnTo>
                      <a:pt x="84" y="57"/>
                    </a:lnTo>
                    <a:lnTo>
                      <a:pt x="90" y="57"/>
                    </a:lnTo>
                    <a:lnTo>
                      <a:pt x="88" y="52"/>
                    </a:lnTo>
                    <a:lnTo>
                      <a:pt x="88" y="48"/>
                    </a:lnTo>
                    <a:lnTo>
                      <a:pt x="90" y="48"/>
                    </a:lnTo>
                    <a:close/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03" name="Iceland"/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3817802" y="2490440"/>
                <a:ext cx="215694" cy="72461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0" y="4"/>
                  </a:cxn>
                  <a:cxn ang="0">
                    <a:pos x="0" y="9"/>
                  </a:cxn>
                  <a:cxn ang="0">
                    <a:pos x="10" y="9"/>
                  </a:cxn>
                  <a:cxn ang="0">
                    <a:pos x="4" y="11"/>
                  </a:cxn>
                  <a:cxn ang="0">
                    <a:pos x="19" y="13"/>
                  </a:cxn>
                  <a:cxn ang="0">
                    <a:pos x="35" y="9"/>
                  </a:cxn>
                  <a:cxn ang="0">
                    <a:pos x="37" y="4"/>
                  </a:cxn>
                  <a:cxn ang="0">
                    <a:pos x="39" y="2"/>
                  </a:cxn>
                  <a:cxn ang="0">
                    <a:pos x="37" y="2"/>
                  </a:cxn>
                  <a:cxn ang="0">
                    <a:pos x="37" y="0"/>
                  </a:cxn>
                  <a:cxn ang="0">
                    <a:pos x="31" y="0"/>
                  </a:cxn>
                  <a:cxn ang="0">
                    <a:pos x="27" y="2"/>
                  </a:cxn>
                  <a:cxn ang="0">
                    <a:pos x="19" y="2"/>
                  </a:cxn>
                  <a:cxn ang="0">
                    <a:pos x="19" y="0"/>
                  </a:cxn>
                  <a:cxn ang="0">
                    <a:pos x="12" y="4"/>
                  </a:cxn>
                  <a:cxn ang="0">
                    <a:pos x="12" y="2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39" h="13">
                    <a:moveTo>
                      <a:pt x="0" y="2"/>
                    </a:moveTo>
                    <a:lnTo>
                      <a:pt x="10" y="4"/>
                    </a:lnTo>
                    <a:lnTo>
                      <a:pt x="0" y="9"/>
                    </a:lnTo>
                    <a:lnTo>
                      <a:pt x="10" y="9"/>
                    </a:lnTo>
                    <a:lnTo>
                      <a:pt x="4" y="11"/>
                    </a:lnTo>
                    <a:lnTo>
                      <a:pt x="19" y="13"/>
                    </a:lnTo>
                    <a:lnTo>
                      <a:pt x="35" y="9"/>
                    </a:lnTo>
                    <a:lnTo>
                      <a:pt x="37" y="4"/>
                    </a:lnTo>
                    <a:lnTo>
                      <a:pt x="39" y="2"/>
                    </a:lnTo>
                    <a:lnTo>
                      <a:pt x="37" y="2"/>
                    </a:lnTo>
                    <a:lnTo>
                      <a:pt x="37" y="0"/>
                    </a:lnTo>
                    <a:lnTo>
                      <a:pt x="31" y="0"/>
                    </a:lnTo>
                    <a:lnTo>
                      <a:pt x="27" y="2"/>
                    </a:lnTo>
                    <a:lnTo>
                      <a:pt x="19" y="2"/>
                    </a:lnTo>
                    <a:lnTo>
                      <a:pt x="19" y="0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287" name="Hungary"/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auto">
              <a:xfrm>
                <a:off x="4638721" y="3013905"/>
                <a:ext cx="160877" cy="78028"/>
              </a:xfrm>
              <a:custGeom>
                <a:avLst/>
                <a:gdLst>
                  <a:gd name="T0" fmla="*/ 11095 w 29"/>
                  <a:gd name="T1" fmla="*/ 61308 h 14"/>
                  <a:gd name="T2" fmla="*/ 44380 w 29"/>
                  <a:gd name="T3" fmla="*/ 78028 h 14"/>
                  <a:gd name="T4" fmla="*/ 116497 w 29"/>
                  <a:gd name="T5" fmla="*/ 78028 h 14"/>
                  <a:gd name="T6" fmla="*/ 127592 w 29"/>
                  <a:gd name="T7" fmla="*/ 61308 h 14"/>
                  <a:gd name="T8" fmla="*/ 138687 w 29"/>
                  <a:gd name="T9" fmla="*/ 27867 h 14"/>
                  <a:gd name="T10" fmla="*/ 160877 w 29"/>
                  <a:gd name="T11" fmla="*/ 11147 h 14"/>
                  <a:gd name="T12" fmla="*/ 138687 w 29"/>
                  <a:gd name="T13" fmla="*/ 11147 h 14"/>
                  <a:gd name="T14" fmla="*/ 138687 w 29"/>
                  <a:gd name="T15" fmla="*/ 0 h 14"/>
                  <a:gd name="T16" fmla="*/ 116497 w 29"/>
                  <a:gd name="T17" fmla="*/ 0 h 14"/>
                  <a:gd name="T18" fmla="*/ 55475 w 29"/>
                  <a:gd name="T19" fmla="*/ 27867 h 14"/>
                  <a:gd name="T20" fmla="*/ 33285 w 29"/>
                  <a:gd name="T21" fmla="*/ 11147 h 14"/>
                  <a:gd name="T22" fmla="*/ 0 w 29"/>
                  <a:gd name="T23" fmla="*/ 50161 h 14"/>
                  <a:gd name="T24" fmla="*/ 0 w 29"/>
                  <a:gd name="T25" fmla="*/ 61308 h 14"/>
                  <a:gd name="T26" fmla="*/ 11095 w 29"/>
                  <a:gd name="T27" fmla="*/ 61308 h 1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9"/>
                  <a:gd name="T43" fmla="*/ 0 h 14"/>
                  <a:gd name="T44" fmla="*/ 29 w 29"/>
                  <a:gd name="T45" fmla="*/ 14 h 1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9" h="14">
                    <a:moveTo>
                      <a:pt x="2" y="11"/>
                    </a:moveTo>
                    <a:lnTo>
                      <a:pt x="8" y="14"/>
                    </a:lnTo>
                    <a:lnTo>
                      <a:pt x="21" y="14"/>
                    </a:lnTo>
                    <a:lnTo>
                      <a:pt x="23" y="11"/>
                    </a:lnTo>
                    <a:lnTo>
                      <a:pt x="25" y="5"/>
                    </a:lnTo>
                    <a:lnTo>
                      <a:pt x="29" y="2"/>
                    </a:lnTo>
                    <a:lnTo>
                      <a:pt x="25" y="2"/>
                    </a:lnTo>
                    <a:lnTo>
                      <a:pt x="25" y="0"/>
                    </a:lnTo>
                    <a:lnTo>
                      <a:pt x="21" y="0"/>
                    </a:lnTo>
                    <a:lnTo>
                      <a:pt x="10" y="5"/>
                    </a:lnTo>
                    <a:lnTo>
                      <a:pt x="6" y="2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2" y="11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34288" name="Honduras"/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1903804" y="4067286"/>
                <a:ext cx="177520" cy="89175"/>
              </a:xfrm>
              <a:custGeom>
                <a:avLst/>
                <a:gdLst>
                  <a:gd name="T0" fmla="*/ 49927 w 32"/>
                  <a:gd name="T1" fmla="*/ 0 h 16"/>
                  <a:gd name="T2" fmla="*/ 127592 w 32"/>
                  <a:gd name="T3" fmla="*/ 0 h 16"/>
                  <a:gd name="T4" fmla="*/ 177520 w 32"/>
                  <a:gd name="T5" fmla="*/ 16720 h 16"/>
                  <a:gd name="T6" fmla="*/ 127592 w 32"/>
                  <a:gd name="T7" fmla="*/ 27867 h 16"/>
                  <a:gd name="T8" fmla="*/ 61022 w 32"/>
                  <a:gd name="T9" fmla="*/ 89175 h 16"/>
                  <a:gd name="T10" fmla="*/ 49927 w 32"/>
                  <a:gd name="T11" fmla="*/ 66881 h 16"/>
                  <a:gd name="T12" fmla="*/ 0 w 32"/>
                  <a:gd name="T13" fmla="*/ 27867 h 16"/>
                  <a:gd name="T14" fmla="*/ 27737 w 32"/>
                  <a:gd name="T15" fmla="*/ 16720 h 16"/>
                  <a:gd name="T16" fmla="*/ 49927 w 32"/>
                  <a:gd name="T17" fmla="*/ 0 h 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2"/>
                  <a:gd name="T28" fmla="*/ 0 h 16"/>
                  <a:gd name="T29" fmla="*/ 32 w 32"/>
                  <a:gd name="T30" fmla="*/ 16 h 1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2" h="16">
                    <a:moveTo>
                      <a:pt x="9" y="0"/>
                    </a:moveTo>
                    <a:lnTo>
                      <a:pt x="23" y="0"/>
                    </a:lnTo>
                    <a:lnTo>
                      <a:pt x="32" y="3"/>
                    </a:lnTo>
                    <a:lnTo>
                      <a:pt x="23" y="5"/>
                    </a:lnTo>
                    <a:lnTo>
                      <a:pt x="11" y="16"/>
                    </a:lnTo>
                    <a:lnTo>
                      <a:pt x="9" y="12"/>
                    </a:lnTo>
                    <a:lnTo>
                      <a:pt x="0" y="5"/>
                    </a:lnTo>
                    <a:lnTo>
                      <a:pt x="5" y="3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EF7A04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34289" name="Haiti"/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2314320" y="3933523"/>
                <a:ext cx="77665" cy="61307"/>
              </a:xfrm>
              <a:custGeom>
                <a:avLst/>
                <a:gdLst>
                  <a:gd name="T0" fmla="*/ 77665 w 14"/>
                  <a:gd name="T1" fmla="*/ 0 h 11"/>
                  <a:gd name="T2" fmla="*/ 44380 w 14"/>
                  <a:gd name="T3" fmla="*/ 0 h 11"/>
                  <a:gd name="T4" fmla="*/ 33285 w 14"/>
                  <a:gd name="T5" fmla="*/ 11147 h 11"/>
                  <a:gd name="T6" fmla="*/ 44380 w 14"/>
                  <a:gd name="T7" fmla="*/ 11147 h 11"/>
                  <a:gd name="T8" fmla="*/ 66570 w 14"/>
                  <a:gd name="T9" fmla="*/ 50160 h 11"/>
                  <a:gd name="T10" fmla="*/ 33285 w 14"/>
                  <a:gd name="T11" fmla="*/ 50160 h 11"/>
                  <a:gd name="T12" fmla="*/ 22190 w 14"/>
                  <a:gd name="T13" fmla="*/ 50160 h 11"/>
                  <a:gd name="T14" fmla="*/ 0 w 14"/>
                  <a:gd name="T15" fmla="*/ 50160 h 11"/>
                  <a:gd name="T16" fmla="*/ 22190 w 14"/>
                  <a:gd name="T17" fmla="*/ 61307 h 11"/>
                  <a:gd name="T18" fmla="*/ 66570 w 14"/>
                  <a:gd name="T19" fmla="*/ 61307 h 11"/>
                  <a:gd name="T20" fmla="*/ 66570 w 14"/>
                  <a:gd name="T21" fmla="*/ 33440 h 11"/>
                  <a:gd name="T22" fmla="*/ 77665 w 14"/>
                  <a:gd name="T23" fmla="*/ 0 h 1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4"/>
                  <a:gd name="T37" fmla="*/ 0 h 11"/>
                  <a:gd name="T38" fmla="*/ 14 w 14"/>
                  <a:gd name="T39" fmla="*/ 11 h 1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4" h="11">
                    <a:moveTo>
                      <a:pt x="14" y="0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12" y="9"/>
                    </a:lnTo>
                    <a:lnTo>
                      <a:pt x="6" y="9"/>
                    </a:lnTo>
                    <a:lnTo>
                      <a:pt x="4" y="9"/>
                    </a:lnTo>
                    <a:lnTo>
                      <a:pt x="0" y="9"/>
                    </a:lnTo>
                    <a:lnTo>
                      <a:pt x="4" y="11"/>
                    </a:lnTo>
                    <a:lnTo>
                      <a:pt x="12" y="11"/>
                    </a:lnTo>
                    <a:lnTo>
                      <a:pt x="12" y="6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EF7A04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07" name="Guyana"/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auto">
              <a:xfrm>
                <a:off x="2625449" y="4307153"/>
                <a:ext cx="127691" cy="21220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4" y="2"/>
                  </a:cxn>
                  <a:cxn ang="0">
                    <a:pos x="4" y="5"/>
                  </a:cxn>
                  <a:cxn ang="0">
                    <a:pos x="6" y="9"/>
                  </a:cxn>
                  <a:cxn ang="0">
                    <a:pos x="4" y="9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6" y="18"/>
                  </a:cxn>
                  <a:cxn ang="0">
                    <a:pos x="8" y="25"/>
                  </a:cxn>
                  <a:cxn ang="0">
                    <a:pos x="6" y="34"/>
                  </a:cxn>
                  <a:cxn ang="0">
                    <a:pos x="8" y="38"/>
                  </a:cxn>
                  <a:cxn ang="0">
                    <a:pos x="12" y="38"/>
                  </a:cxn>
                  <a:cxn ang="0">
                    <a:pos x="21" y="36"/>
                  </a:cxn>
                  <a:cxn ang="0">
                    <a:pos x="23" y="36"/>
                  </a:cxn>
                  <a:cxn ang="0">
                    <a:pos x="19" y="25"/>
                  </a:cxn>
                  <a:cxn ang="0">
                    <a:pos x="21" y="14"/>
                  </a:cxn>
                  <a:cxn ang="0">
                    <a:pos x="14" y="9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23" h="38">
                    <a:moveTo>
                      <a:pt x="8" y="0"/>
                    </a:moveTo>
                    <a:lnTo>
                      <a:pt x="4" y="2"/>
                    </a:lnTo>
                    <a:lnTo>
                      <a:pt x="4" y="5"/>
                    </a:lnTo>
                    <a:lnTo>
                      <a:pt x="6" y="9"/>
                    </a:lnTo>
                    <a:lnTo>
                      <a:pt x="4" y="9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8" y="25"/>
                    </a:lnTo>
                    <a:lnTo>
                      <a:pt x="6" y="34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21" y="36"/>
                    </a:lnTo>
                    <a:lnTo>
                      <a:pt x="23" y="36"/>
                    </a:lnTo>
                    <a:lnTo>
                      <a:pt x="19" y="25"/>
                    </a:lnTo>
                    <a:lnTo>
                      <a:pt x="21" y="14"/>
                    </a:lnTo>
                    <a:lnTo>
                      <a:pt x="14" y="9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608" name="Guinea-Bissau"/>
              <p:cNvGrpSpPr/>
              <p:nvPr/>
            </p:nvGrpSpPr>
            <p:grpSpPr>
              <a:xfrm>
                <a:off x="3784147" y="4146538"/>
                <a:ext cx="80174" cy="60085"/>
                <a:chOff x="571500" y="3703638"/>
                <a:chExt cx="180975" cy="114300"/>
              </a:xfrm>
              <a:solidFill>
                <a:schemeClr val="accent3"/>
              </a:solidFill>
            </p:grpSpPr>
            <p:sp>
              <p:nvSpPr>
                <p:cNvPr id="764" name="Guinea-Bissau"/>
                <p:cNvSpPr>
                  <a:spLocks/>
                </p:cNvSpPr>
                <p:nvPr/>
              </p:nvSpPr>
              <p:spPr bwMode="auto">
                <a:xfrm>
                  <a:off x="595313" y="3803650"/>
                  <a:ext cx="15875" cy="11112"/>
                </a:xfrm>
                <a:custGeom>
                  <a:avLst/>
                  <a:gdLst>
                    <a:gd name="T0" fmla="*/ 10 w 10"/>
                    <a:gd name="T1" fmla="*/ 1 h 7"/>
                    <a:gd name="T2" fmla="*/ 7 w 10"/>
                    <a:gd name="T3" fmla="*/ 3 h 7"/>
                    <a:gd name="T4" fmla="*/ 2 w 10"/>
                    <a:gd name="T5" fmla="*/ 7 h 7"/>
                    <a:gd name="T6" fmla="*/ 0 w 10"/>
                    <a:gd name="T7" fmla="*/ 2 h 7"/>
                    <a:gd name="T8" fmla="*/ 5 w 10"/>
                    <a:gd name="T9" fmla="*/ 0 h 7"/>
                    <a:gd name="T10" fmla="*/ 10 w 10"/>
                    <a:gd name="T11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7">
                      <a:moveTo>
                        <a:pt x="10" y="1"/>
                      </a:moveTo>
                      <a:lnTo>
                        <a:pt x="7" y="3"/>
                      </a:lnTo>
                      <a:lnTo>
                        <a:pt x="2" y="7"/>
                      </a:lnTo>
                      <a:lnTo>
                        <a:pt x="0" y="2"/>
                      </a:lnTo>
                      <a:lnTo>
                        <a:pt x="5" y="0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65" name="Guinea-Bissau"/>
                <p:cNvSpPr>
                  <a:spLocks/>
                </p:cNvSpPr>
                <p:nvPr/>
              </p:nvSpPr>
              <p:spPr bwMode="auto">
                <a:xfrm>
                  <a:off x="571500" y="3703638"/>
                  <a:ext cx="180975" cy="114300"/>
                </a:xfrm>
                <a:custGeom>
                  <a:avLst/>
                  <a:gdLst>
                    <a:gd name="T0" fmla="*/ 28 w 221"/>
                    <a:gd name="T1" fmla="*/ 40 h 139"/>
                    <a:gd name="T2" fmla="*/ 6 w 221"/>
                    <a:gd name="T3" fmla="*/ 32 h 139"/>
                    <a:gd name="T4" fmla="*/ 0 w 221"/>
                    <a:gd name="T5" fmla="*/ 29 h 139"/>
                    <a:gd name="T6" fmla="*/ 0 w 221"/>
                    <a:gd name="T7" fmla="*/ 29 h 139"/>
                    <a:gd name="T8" fmla="*/ 25 w 221"/>
                    <a:gd name="T9" fmla="*/ 19 h 139"/>
                    <a:gd name="T10" fmla="*/ 70 w 221"/>
                    <a:gd name="T11" fmla="*/ 18 h 139"/>
                    <a:gd name="T12" fmla="*/ 107 w 221"/>
                    <a:gd name="T13" fmla="*/ 0 h 139"/>
                    <a:gd name="T14" fmla="*/ 211 w 221"/>
                    <a:gd name="T15" fmla="*/ 4 h 139"/>
                    <a:gd name="T16" fmla="*/ 215 w 221"/>
                    <a:gd name="T17" fmla="*/ 4 h 139"/>
                    <a:gd name="T18" fmla="*/ 216 w 221"/>
                    <a:gd name="T19" fmla="*/ 29 h 139"/>
                    <a:gd name="T20" fmla="*/ 200 w 221"/>
                    <a:gd name="T21" fmla="*/ 36 h 139"/>
                    <a:gd name="T22" fmla="*/ 208 w 221"/>
                    <a:gd name="T23" fmla="*/ 53 h 139"/>
                    <a:gd name="T24" fmla="*/ 199 w 221"/>
                    <a:gd name="T25" fmla="*/ 76 h 139"/>
                    <a:gd name="T26" fmla="*/ 167 w 221"/>
                    <a:gd name="T27" fmla="*/ 82 h 139"/>
                    <a:gd name="T28" fmla="*/ 130 w 221"/>
                    <a:gd name="T29" fmla="*/ 102 h 139"/>
                    <a:gd name="T30" fmla="*/ 105 w 221"/>
                    <a:gd name="T31" fmla="*/ 139 h 139"/>
                    <a:gd name="T32" fmla="*/ 110 w 221"/>
                    <a:gd name="T33" fmla="*/ 124 h 139"/>
                    <a:gd name="T34" fmla="*/ 92 w 221"/>
                    <a:gd name="T35" fmla="*/ 124 h 139"/>
                    <a:gd name="T36" fmla="*/ 86 w 221"/>
                    <a:gd name="T37" fmla="*/ 111 h 139"/>
                    <a:gd name="T38" fmla="*/ 90 w 221"/>
                    <a:gd name="T39" fmla="*/ 92 h 139"/>
                    <a:gd name="T40" fmla="*/ 85 w 221"/>
                    <a:gd name="T41" fmla="*/ 78 h 139"/>
                    <a:gd name="T42" fmla="*/ 94 w 221"/>
                    <a:gd name="T43" fmla="*/ 69 h 139"/>
                    <a:gd name="T44" fmla="*/ 127 w 221"/>
                    <a:gd name="T45" fmla="*/ 66 h 139"/>
                    <a:gd name="T46" fmla="*/ 123 w 221"/>
                    <a:gd name="T47" fmla="*/ 59 h 139"/>
                    <a:gd name="T48" fmla="*/ 92 w 221"/>
                    <a:gd name="T49" fmla="*/ 63 h 139"/>
                    <a:gd name="T50" fmla="*/ 59 w 221"/>
                    <a:gd name="T51" fmla="*/ 74 h 139"/>
                    <a:gd name="T52" fmla="*/ 53 w 221"/>
                    <a:gd name="T53" fmla="*/ 65 h 139"/>
                    <a:gd name="T54" fmla="*/ 43 w 221"/>
                    <a:gd name="T55" fmla="*/ 62 h 139"/>
                    <a:gd name="T56" fmla="*/ 30 w 221"/>
                    <a:gd name="T57" fmla="*/ 58 h 139"/>
                    <a:gd name="T58" fmla="*/ 28 w 221"/>
                    <a:gd name="T59" fmla="*/ 40 h 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221" h="139">
                      <a:moveTo>
                        <a:pt x="28" y="40"/>
                      </a:moveTo>
                      <a:cubicBezTo>
                        <a:pt x="20" y="37"/>
                        <a:pt x="13" y="35"/>
                        <a:pt x="6" y="32"/>
                      </a:cubicBezTo>
                      <a:cubicBezTo>
                        <a:pt x="4" y="32"/>
                        <a:pt x="2" y="31"/>
                        <a:pt x="0" y="29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7" y="22"/>
                        <a:pt x="18" y="27"/>
                        <a:pt x="25" y="19"/>
                      </a:cubicBezTo>
                      <a:cubicBezTo>
                        <a:pt x="39" y="10"/>
                        <a:pt x="55" y="18"/>
                        <a:pt x="70" y="18"/>
                      </a:cubicBezTo>
                      <a:cubicBezTo>
                        <a:pt x="84" y="15"/>
                        <a:pt x="96" y="7"/>
                        <a:pt x="107" y="0"/>
                      </a:cubicBezTo>
                      <a:cubicBezTo>
                        <a:pt x="142" y="1"/>
                        <a:pt x="176" y="3"/>
                        <a:pt x="211" y="4"/>
                      </a:cubicBezTo>
                      <a:cubicBezTo>
                        <a:pt x="212" y="4"/>
                        <a:pt x="213" y="4"/>
                        <a:pt x="215" y="4"/>
                      </a:cubicBezTo>
                      <a:cubicBezTo>
                        <a:pt x="211" y="12"/>
                        <a:pt x="221" y="20"/>
                        <a:pt x="216" y="29"/>
                      </a:cubicBezTo>
                      <a:cubicBezTo>
                        <a:pt x="214" y="40"/>
                        <a:pt x="205" y="32"/>
                        <a:pt x="200" y="36"/>
                      </a:cubicBezTo>
                      <a:cubicBezTo>
                        <a:pt x="186" y="41"/>
                        <a:pt x="202" y="48"/>
                        <a:pt x="208" y="53"/>
                      </a:cubicBezTo>
                      <a:cubicBezTo>
                        <a:pt x="208" y="57"/>
                        <a:pt x="210" y="87"/>
                        <a:pt x="199" y="76"/>
                      </a:cubicBezTo>
                      <a:cubicBezTo>
                        <a:pt x="195" y="90"/>
                        <a:pt x="176" y="79"/>
                        <a:pt x="167" y="82"/>
                      </a:cubicBezTo>
                      <a:cubicBezTo>
                        <a:pt x="157" y="96"/>
                        <a:pt x="136" y="86"/>
                        <a:pt x="130" y="102"/>
                      </a:cubicBezTo>
                      <a:cubicBezTo>
                        <a:pt x="123" y="114"/>
                        <a:pt x="117" y="131"/>
                        <a:pt x="105" y="139"/>
                      </a:cubicBezTo>
                      <a:cubicBezTo>
                        <a:pt x="106" y="134"/>
                        <a:pt x="106" y="128"/>
                        <a:pt x="110" y="124"/>
                      </a:cubicBezTo>
                      <a:cubicBezTo>
                        <a:pt x="104" y="125"/>
                        <a:pt x="98" y="127"/>
                        <a:pt x="92" y="124"/>
                      </a:cubicBezTo>
                      <a:cubicBezTo>
                        <a:pt x="90" y="120"/>
                        <a:pt x="86" y="116"/>
                        <a:pt x="86" y="111"/>
                      </a:cubicBezTo>
                      <a:cubicBezTo>
                        <a:pt x="84" y="104"/>
                        <a:pt x="89" y="99"/>
                        <a:pt x="90" y="92"/>
                      </a:cubicBezTo>
                      <a:cubicBezTo>
                        <a:pt x="89" y="87"/>
                        <a:pt x="86" y="83"/>
                        <a:pt x="85" y="78"/>
                      </a:cubicBezTo>
                      <a:cubicBezTo>
                        <a:pt x="85" y="74"/>
                        <a:pt x="92" y="72"/>
                        <a:pt x="94" y="69"/>
                      </a:cubicBezTo>
                      <a:cubicBezTo>
                        <a:pt x="104" y="65"/>
                        <a:pt x="116" y="67"/>
                        <a:pt x="127" y="66"/>
                      </a:cubicBezTo>
                      <a:cubicBezTo>
                        <a:pt x="129" y="60"/>
                        <a:pt x="129" y="57"/>
                        <a:pt x="123" y="59"/>
                      </a:cubicBezTo>
                      <a:cubicBezTo>
                        <a:pt x="112" y="61"/>
                        <a:pt x="102" y="60"/>
                        <a:pt x="92" y="63"/>
                      </a:cubicBezTo>
                      <a:cubicBezTo>
                        <a:pt x="80" y="66"/>
                        <a:pt x="71" y="74"/>
                        <a:pt x="59" y="74"/>
                      </a:cubicBezTo>
                      <a:cubicBezTo>
                        <a:pt x="53" y="75"/>
                        <a:pt x="52" y="70"/>
                        <a:pt x="53" y="65"/>
                      </a:cubicBezTo>
                      <a:cubicBezTo>
                        <a:pt x="54" y="59"/>
                        <a:pt x="46" y="64"/>
                        <a:pt x="43" y="62"/>
                      </a:cubicBezTo>
                      <a:cubicBezTo>
                        <a:pt x="39" y="60"/>
                        <a:pt x="33" y="61"/>
                        <a:pt x="30" y="58"/>
                      </a:cubicBezTo>
                      <a:cubicBezTo>
                        <a:pt x="26" y="53"/>
                        <a:pt x="27" y="46"/>
                        <a:pt x="28" y="4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609" name="Guinea"/>
              <p:cNvSpPr>
                <a:spLocks noEditPoints="1"/>
              </p:cNvSpPr>
              <p:nvPr/>
            </p:nvSpPr>
            <p:spPr bwMode="auto">
              <a:xfrm>
                <a:off x="3821253" y="4148427"/>
                <a:ext cx="194987" cy="189780"/>
              </a:xfrm>
              <a:custGeom>
                <a:avLst/>
                <a:gdLst>
                  <a:gd name="T0" fmla="*/ 269 w 532"/>
                  <a:gd name="T1" fmla="*/ 48 h 438"/>
                  <a:gd name="T2" fmla="*/ 127 w 532"/>
                  <a:gd name="T3" fmla="*/ 281 h 438"/>
                  <a:gd name="T4" fmla="*/ 126 w 532"/>
                  <a:gd name="T5" fmla="*/ 279 h 438"/>
                  <a:gd name="T6" fmla="*/ 105 w 532"/>
                  <a:gd name="T7" fmla="*/ 243 h 438"/>
                  <a:gd name="T8" fmla="*/ 80 w 532"/>
                  <a:gd name="T9" fmla="*/ 212 h 438"/>
                  <a:gd name="T10" fmla="*/ 49 w 532"/>
                  <a:gd name="T11" fmla="*/ 192 h 438"/>
                  <a:gd name="T12" fmla="*/ 38 w 532"/>
                  <a:gd name="T13" fmla="*/ 155 h 438"/>
                  <a:gd name="T14" fmla="*/ 29 w 532"/>
                  <a:gd name="T15" fmla="*/ 131 h 438"/>
                  <a:gd name="T16" fmla="*/ 8 w 532"/>
                  <a:gd name="T17" fmla="*/ 148 h 438"/>
                  <a:gd name="T18" fmla="*/ 1 w 532"/>
                  <a:gd name="T19" fmla="*/ 135 h 438"/>
                  <a:gd name="T20" fmla="*/ 63 w 532"/>
                  <a:gd name="T21" fmla="*/ 78 h 438"/>
                  <a:gd name="T22" fmla="*/ 104 w 532"/>
                  <a:gd name="T23" fmla="*/ 49 h 438"/>
                  <a:gd name="T24" fmla="*/ 104 w 532"/>
                  <a:gd name="T25" fmla="*/ 49 h 438"/>
                  <a:gd name="T26" fmla="*/ 112 w 532"/>
                  <a:gd name="T27" fmla="*/ 25 h 438"/>
                  <a:gd name="T28" fmla="*/ 157 w 532"/>
                  <a:gd name="T29" fmla="*/ 6 h 438"/>
                  <a:gd name="T30" fmla="*/ 191 w 532"/>
                  <a:gd name="T31" fmla="*/ 25 h 438"/>
                  <a:gd name="T32" fmla="*/ 253 w 532"/>
                  <a:gd name="T33" fmla="*/ 26 h 438"/>
                  <a:gd name="T34" fmla="*/ 275 w 532"/>
                  <a:gd name="T35" fmla="*/ 27 h 438"/>
                  <a:gd name="T36" fmla="*/ 269 w 532"/>
                  <a:gd name="T37" fmla="*/ 45 h 438"/>
                  <a:gd name="T38" fmla="*/ 269 w 532"/>
                  <a:gd name="T39" fmla="*/ 45 h 438"/>
                  <a:gd name="T40" fmla="*/ 319 w 532"/>
                  <a:gd name="T41" fmla="*/ 58 h 438"/>
                  <a:gd name="T42" fmla="*/ 384 w 532"/>
                  <a:gd name="T43" fmla="*/ 54 h 438"/>
                  <a:gd name="T44" fmla="*/ 423 w 532"/>
                  <a:gd name="T45" fmla="*/ 28 h 438"/>
                  <a:gd name="T46" fmla="*/ 456 w 532"/>
                  <a:gd name="T47" fmla="*/ 49 h 438"/>
                  <a:gd name="T48" fmla="*/ 467 w 532"/>
                  <a:gd name="T49" fmla="*/ 90 h 438"/>
                  <a:gd name="T50" fmla="*/ 487 w 532"/>
                  <a:gd name="T51" fmla="*/ 117 h 438"/>
                  <a:gd name="T52" fmla="*/ 494 w 532"/>
                  <a:gd name="T53" fmla="*/ 140 h 438"/>
                  <a:gd name="T54" fmla="*/ 514 w 532"/>
                  <a:gd name="T55" fmla="*/ 192 h 438"/>
                  <a:gd name="T56" fmla="*/ 514 w 532"/>
                  <a:gd name="T57" fmla="*/ 204 h 438"/>
                  <a:gd name="T58" fmla="*/ 501 w 532"/>
                  <a:gd name="T59" fmla="*/ 216 h 438"/>
                  <a:gd name="T60" fmla="*/ 519 w 532"/>
                  <a:gd name="T61" fmla="*/ 262 h 438"/>
                  <a:gd name="T62" fmla="*/ 511 w 532"/>
                  <a:gd name="T63" fmla="*/ 303 h 438"/>
                  <a:gd name="T64" fmla="*/ 521 w 532"/>
                  <a:gd name="T65" fmla="*/ 337 h 438"/>
                  <a:gd name="T66" fmla="*/ 489 w 532"/>
                  <a:gd name="T67" fmla="*/ 346 h 438"/>
                  <a:gd name="T68" fmla="*/ 498 w 532"/>
                  <a:gd name="T69" fmla="*/ 375 h 438"/>
                  <a:gd name="T70" fmla="*/ 468 w 532"/>
                  <a:gd name="T71" fmla="*/ 401 h 438"/>
                  <a:gd name="T72" fmla="*/ 442 w 532"/>
                  <a:gd name="T73" fmla="*/ 416 h 438"/>
                  <a:gd name="T74" fmla="*/ 408 w 532"/>
                  <a:gd name="T75" fmla="*/ 416 h 438"/>
                  <a:gd name="T76" fmla="*/ 399 w 532"/>
                  <a:gd name="T77" fmla="*/ 371 h 438"/>
                  <a:gd name="T78" fmla="*/ 394 w 532"/>
                  <a:gd name="T79" fmla="*/ 350 h 438"/>
                  <a:gd name="T80" fmla="*/ 380 w 532"/>
                  <a:gd name="T81" fmla="*/ 334 h 438"/>
                  <a:gd name="T82" fmla="*/ 352 w 532"/>
                  <a:gd name="T83" fmla="*/ 327 h 438"/>
                  <a:gd name="T84" fmla="*/ 324 w 532"/>
                  <a:gd name="T85" fmla="*/ 339 h 438"/>
                  <a:gd name="T86" fmla="*/ 325 w 532"/>
                  <a:gd name="T87" fmla="*/ 315 h 438"/>
                  <a:gd name="T88" fmla="*/ 312 w 532"/>
                  <a:gd name="T89" fmla="*/ 273 h 438"/>
                  <a:gd name="T90" fmla="*/ 275 w 532"/>
                  <a:gd name="T91" fmla="*/ 212 h 438"/>
                  <a:gd name="T92" fmla="*/ 185 w 532"/>
                  <a:gd name="T93" fmla="*/ 219 h 438"/>
                  <a:gd name="T94" fmla="*/ 145 w 532"/>
                  <a:gd name="T95" fmla="*/ 275 h 4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32" h="438">
                    <a:moveTo>
                      <a:pt x="269" y="48"/>
                    </a:moveTo>
                    <a:cubicBezTo>
                      <a:pt x="269" y="51"/>
                      <a:pt x="269" y="52"/>
                      <a:pt x="269" y="48"/>
                    </a:cubicBezTo>
                    <a:close/>
                    <a:moveTo>
                      <a:pt x="145" y="275"/>
                    </a:moveTo>
                    <a:cubicBezTo>
                      <a:pt x="140" y="288"/>
                      <a:pt x="131" y="277"/>
                      <a:pt x="127" y="281"/>
                    </a:cubicBezTo>
                    <a:cubicBezTo>
                      <a:pt x="127" y="281"/>
                      <a:pt x="127" y="281"/>
                      <a:pt x="127" y="281"/>
                    </a:cubicBezTo>
                    <a:cubicBezTo>
                      <a:pt x="127" y="280"/>
                      <a:pt x="127" y="280"/>
                      <a:pt x="126" y="279"/>
                    </a:cubicBezTo>
                    <a:cubicBezTo>
                      <a:pt x="126" y="272"/>
                      <a:pt x="119" y="267"/>
                      <a:pt x="116" y="261"/>
                    </a:cubicBezTo>
                    <a:cubicBezTo>
                      <a:pt x="114" y="254"/>
                      <a:pt x="105" y="251"/>
                      <a:pt x="105" y="243"/>
                    </a:cubicBezTo>
                    <a:cubicBezTo>
                      <a:pt x="106" y="238"/>
                      <a:pt x="101" y="236"/>
                      <a:pt x="98" y="233"/>
                    </a:cubicBezTo>
                    <a:cubicBezTo>
                      <a:pt x="93" y="225"/>
                      <a:pt x="86" y="219"/>
                      <a:pt x="80" y="212"/>
                    </a:cubicBezTo>
                    <a:cubicBezTo>
                      <a:pt x="72" y="211"/>
                      <a:pt x="67" y="206"/>
                      <a:pt x="61" y="201"/>
                    </a:cubicBezTo>
                    <a:cubicBezTo>
                      <a:pt x="57" y="198"/>
                      <a:pt x="51" y="196"/>
                      <a:pt x="49" y="192"/>
                    </a:cubicBezTo>
                    <a:cubicBezTo>
                      <a:pt x="44" y="183"/>
                      <a:pt x="40" y="174"/>
                      <a:pt x="41" y="164"/>
                    </a:cubicBezTo>
                    <a:cubicBezTo>
                      <a:pt x="40" y="160"/>
                      <a:pt x="45" y="154"/>
                      <a:pt x="38" y="155"/>
                    </a:cubicBezTo>
                    <a:cubicBezTo>
                      <a:pt x="34" y="155"/>
                      <a:pt x="28" y="153"/>
                      <a:pt x="30" y="148"/>
                    </a:cubicBezTo>
                    <a:cubicBezTo>
                      <a:pt x="28" y="143"/>
                      <a:pt x="28" y="137"/>
                      <a:pt x="29" y="131"/>
                    </a:cubicBezTo>
                    <a:cubicBezTo>
                      <a:pt x="24" y="131"/>
                      <a:pt x="22" y="137"/>
                      <a:pt x="18" y="141"/>
                    </a:cubicBezTo>
                    <a:cubicBezTo>
                      <a:pt x="17" y="145"/>
                      <a:pt x="13" y="147"/>
                      <a:pt x="8" y="148"/>
                    </a:cubicBezTo>
                    <a:cubicBezTo>
                      <a:pt x="5" y="144"/>
                      <a:pt x="2" y="141"/>
                      <a:pt x="0" y="137"/>
                    </a:cubicBezTo>
                    <a:cubicBezTo>
                      <a:pt x="1" y="137"/>
                      <a:pt x="1" y="136"/>
                      <a:pt x="1" y="135"/>
                    </a:cubicBezTo>
                    <a:cubicBezTo>
                      <a:pt x="13" y="127"/>
                      <a:pt x="19" y="110"/>
                      <a:pt x="26" y="98"/>
                    </a:cubicBezTo>
                    <a:cubicBezTo>
                      <a:pt x="32" y="82"/>
                      <a:pt x="53" y="92"/>
                      <a:pt x="63" y="78"/>
                    </a:cubicBezTo>
                    <a:cubicBezTo>
                      <a:pt x="72" y="75"/>
                      <a:pt x="91" y="86"/>
                      <a:pt x="95" y="72"/>
                    </a:cubicBezTo>
                    <a:cubicBezTo>
                      <a:pt x="106" y="83"/>
                      <a:pt x="104" y="53"/>
                      <a:pt x="104" y="49"/>
                    </a:cubicBezTo>
                    <a:cubicBezTo>
                      <a:pt x="105" y="50"/>
                      <a:pt x="105" y="50"/>
                      <a:pt x="105" y="50"/>
                    </a:cubicBezTo>
                    <a:cubicBezTo>
                      <a:pt x="105" y="49"/>
                      <a:pt x="104" y="49"/>
                      <a:pt x="104" y="49"/>
                    </a:cubicBezTo>
                    <a:cubicBezTo>
                      <a:pt x="98" y="44"/>
                      <a:pt x="82" y="37"/>
                      <a:pt x="96" y="32"/>
                    </a:cubicBezTo>
                    <a:cubicBezTo>
                      <a:pt x="101" y="28"/>
                      <a:pt x="110" y="36"/>
                      <a:pt x="112" y="25"/>
                    </a:cubicBezTo>
                    <a:cubicBezTo>
                      <a:pt x="117" y="16"/>
                      <a:pt x="107" y="8"/>
                      <a:pt x="111" y="0"/>
                    </a:cubicBezTo>
                    <a:cubicBezTo>
                      <a:pt x="126" y="1"/>
                      <a:pt x="144" y="1"/>
                      <a:pt x="157" y="6"/>
                    </a:cubicBezTo>
                    <a:cubicBezTo>
                      <a:pt x="154" y="14"/>
                      <a:pt x="161" y="22"/>
                      <a:pt x="167" y="12"/>
                    </a:cubicBezTo>
                    <a:cubicBezTo>
                      <a:pt x="173" y="18"/>
                      <a:pt x="184" y="20"/>
                      <a:pt x="191" y="25"/>
                    </a:cubicBezTo>
                    <a:cubicBezTo>
                      <a:pt x="202" y="20"/>
                      <a:pt x="205" y="34"/>
                      <a:pt x="215" y="29"/>
                    </a:cubicBezTo>
                    <a:cubicBezTo>
                      <a:pt x="227" y="21"/>
                      <a:pt x="240" y="26"/>
                      <a:pt x="253" y="26"/>
                    </a:cubicBezTo>
                    <a:cubicBezTo>
                      <a:pt x="258" y="21"/>
                      <a:pt x="266" y="24"/>
                      <a:pt x="272" y="24"/>
                    </a:cubicBezTo>
                    <a:cubicBezTo>
                      <a:pt x="275" y="27"/>
                      <a:pt x="275" y="27"/>
                      <a:pt x="275" y="27"/>
                    </a:cubicBezTo>
                    <a:cubicBezTo>
                      <a:pt x="272" y="30"/>
                      <a:pt x="270" y="40"/>
                      <a:pt x="269" y="45"/>
                    </a:cubicBezTo>
                    <a:cubicBezTo>
                      <a:pt x="269" y="45"/>
                      <a:pt x="269" y="45"/>
                      <a:pt x="269" y="45"/>
                    </a:cubicBezTo>
                    <a:cubicBezTo>
                      <a:pt x="269" y="46"/>
                      <a:pt x="269" y="47"/>
                      <a:pt x="269" y="47"/>
                    </a:cubicBezTo>
                    <a:cubicBezTo>
                      <a:pt x="269" y="47"/>
                      <a:pt x="269" y="46"/>
                      <a:pt x="269" y="45"/>
                    </a:cubicBezTo>
                    <a:cubicBezTo>
                      <a:pt x="277" y="52"/>
                      <a:pt x="288" y="64"/>
                      <a:pt x="295" y="49"/>
                    </a:cubicBezTo>
                    <a:cubicBezTo>
                      <a:pt x="302" y="33"/>
                      <a:pt x="320" y="45"/>
                      <a:pt x="319" y="58"/>
                    </a:cubicBezTo>
                    <a:cubicBezTo>
                      <a:pt x="328" y="78"/>
                      <a:pt x="336" y="46"/>
                      <a:pt x="349" y="46"/>
                    </a:cubicBezTo>
                    <a:cubicBezTo>
                      <a:pt x="360" y="38"/>
                      <a:pt x="373" y="50"/>
                      <a:pt x="384" y="54"/>
                    </a:cubicBezTo>
                    <a:cubicBezTo>
                      <a:pt x="398" y="65"/>
                      <a:pt x="399" y="45"/>
                      <a:pt x="410" y="44"/>
                    </a:cubicBezTo>
                    <a:cubicBezTo>
                      <a:pt x="418" y="41"/>
                      <a:pt x="435" y="39"/>
                      <a:pt x="423" y="28"/>
                    </a:cubicBezTo>
                    <a:cubicBezTo>
                      <a:pt x="423" y="17"/>
                      <a:pt x="446" y="25"/>
                      <a:pt x="451" y="32"/>
                    </a:cubicBezTo>
                    <a:cubicBezTo>
                      <a:pt x="453" y="39"/>
                      <a:pt x="448" y="45"/>
                      <a:pt x="456" y="49"/>
                    </a:cubicBezTo>
                    <a:cubicBezTo>
                      <a:pt x="450" y="60"/>
                      <a:pt x="469" y="61"/>
                      <a:pt x="462" y="73"/>
                    </a:cubicBezTo>
                    <a:cubicBezTo>
                      <a:pt x="459" y="80"/>
                      <a:pt x="456" y="90"/>
                      <a:pt x="467" y="90"/>
                    </a:cubicBezTo>
                    <a:cubicBezTo>
                      <a:pt x="469" y="102"/>
                      <a:pt x="483" y="103"/>
                      <a:pt x="489" y="111"/>
                    </a:cubicBezTo>
                    <a:cubicBezTo>
                      <a:pt x="486" y="113"/>
                      <a:pt x="494" y="117"/>
                      <a:pt x="487" y="117"/>
                    </a:cubicBezTo>
                    <a:cubicBezTo>
                      <a:pt x="478" y="118"/>
                      <a:pt x="469" y="132"/>
                      <a:pt x="466" y="141"/>
                    </a:cubicBezTo>
                    <a:cubicBezTo>
                      <a:pt x="476" y="145"/>
                      <a:pt x="487" y="125"/>
                      <a:pt x="494" y="140"/>
                    </a:cubicBezTo>
                    <a:cubicBezTo>
                      <a:pt x="494" y="154"/>
                      <a:pt x="486" y="176"/>
                      <a:pt x="502" y="184"/>
                    </a:cubicBezTo>
                    <a:cubicBezTo>
                      <a:pt x="513" y="191"/>
                      <a:pt x="498" y="187"/>
                      <a:pt x="514" y="192"/>
                    </a:cubicBezTo>
                    <a:cubicBezTo>
                      <a:pt x="516" y="195"/>
                      <a:pt x="515" y="200"/>
                      <a:pt x="516" y="203"/>
                    </a:cubicBezTo>
                    <a:cubicBezTo>
                      <a:pt x="514" y="204"/>
                      <a:pt x="514" y="204"/>
                      <a:pt x="514" y="204"/>
                    </a:cubicBezTo>
                    <a:cubicBezTo>
                      <a:pt x="512" y="210"/>
                      <a:pt x="504" y="211"/>
                      <a:pt x="501" y="216"/>
                    </a:cubicBezTo>
                    <a:cubicBezTo>
                      <a:pt x="501" y="216"/>
                      <a:pt x="501" y="216"/>
                      <a:pt x="501" y="216"/>
                    </a:cubicBezTo>
                    <a:cubicBezTo>
                      <a:pt x="502" y="228"/>
                      <a:pt x="500" y="241"/>
                      <a:pt x="499" y="254"/>
                    </a:cubicBezTo>
                    <a:cubicBezTo>
                      <a:pt x="505" y="269"/>
                      <a:pt x="522" y="259"/>
                      <a:pt x="519" y="262"/>
                    </a:cubicBezTo>
                    <a:cubicBezTo>
                      <a:pt x="515" y="272"/>
                      <a:pt x="512" y="281"/>
                      <a:pt x="525" y="284"/>
                    </a:cubicBezTo>
                    <a:cubicBezTo>
                      <a:pt x="527" y="290"/>
                      <a:pt x="507" y="291"/>
                      <a:pt x="511" y="303"/>
                    </a:cubicBezTo>
                    <a:cubicBezTo>
                      <a:pt x="507" y="315"/>
                      <a:pt x="530" y="310"/>
                      <a:pt x="529" y="325"/>
                    </a:cubicBezTo>
                    <a:cubicBezTo>
                      <a:pt x="532" y="332"/>
                      <a:pt x="530" y="350"/>
                      <a:pt x="521" y="337"/>
                    </a:cubicBezTo>
                    <a:cubicBezTo>
                      <a:pt x="520" y="329"/>
                      <a:pt x="514" y="344"/>
                      <a:pt x="511" y="334"/>
                    </a:cubicBezTo>
                    <a:cubicBezTo>
                      <a:pt x="501" y="328"/>
                      <a:pt x="484" y="331"/>
                      <a:pt x="489" y="346"/>
                    </a:cubicBezTo>
                    <a:cubicBezTo>
                      <a:pt x="482" y="361"/>
                      <a:pt x="510" y="350"/>
                      <a:pt x="505" y="364"/>
                    </a:cubicBezTo>
                    <a:cubicBezTo>
                      <a:pt x="512" y="370"/>
                      <a:pt x="495" y="366"/>
                      <a:pt x="498" y="375"/>
                    </a:cubicBezTo>
                    <a:cubicBezTo>
                      <a:pt x="495" y="385"/>
                      <a:pt x="495" y="396"/>
                      <a:pt x="486" y="404"/>
                    </a:cubicBezTo>
                    <a:cubicBezTo>
                      <a:pt x="481" y="399"/>
                      <a:pt x="474" y="401"/>
                      <a:pt x="468" y="401"/>
                    </a:cubicBezTo>
                    <a:cubicBezTo>
                      <a:pt x="464" y="401"/>
                      <a:pt x="461" y="399"/>
                      <a:pt x="460" y="392"/>
                    </a:cubicBezTo>
                    <a:cubicBezTo>
                      <a:pt x="446" y="391"/>
                      <a:pt x="453" y="411"/>
                      <a:pt x="442" y="416"/>
                    </a:cubicBezTo>
                    <a:cubicBezTo>
                      <a:pt x="440" y="422"/>
                      <a:pt x="438" y="428"/>
                      <a:pt x="430" y="425"/>
                    </a:cubicBezTo>
                    <a:cubicBezTo>
                      <a:pt x="419" y="438"/>
                      <a:pt x="417" y="417"/>
                      <a:pt x="408" y="416"/>
                    </a:cubicBezTo>
                    <a:cubicBezTo>
                      <a:pt x="403" y="409"/>
                      <a:pt x="389" y="421"/>
                      <a:pt x="396" y="411"/>
                    </a:cubicBezTo>
                    <a:cubicBezTo>
                      <a:pt x="407" y="399"/>
                      <a:pt x="401" y="384"/>
                      <a:pt x="399" y="371"/>
                    </a:cubicBezTo>
                    <a:cubicBezTo>
                      <a:pt x="403" y="362"/>
                      <a:pt x="395" y="368"/>
                      <a:pt x="397" y="359"/>
                    </a:cubicBezTo>
                    <a:cubicBezTo>
                      <a:pt x="397" y="351"/>
                      <a:pt x="397" y="352"/>
                      <a:pt x="394" y="350"/>
                    </a:cubicBezTo>
                    <a:cubicBezTo>
                      <a:pt x="398" y="342"/>
                      <a:pt x="392" y="335"/>
                      <a:pt x="384" y="337"/>
                    </a:cubicBezTo>
                    <a:cubicBezTo>
                      <a:pt x="386" y="332"/>
                      <a:pt x="385" y="330"/>
                      <a:pt x="380" y="334"/>
                    </a:cubicBezTo>
                    <a:cubicBezTo>
                      <a:pt x="378" y="328"/>
                      <a:pt x="377" y="322"/>
                      <a:pt x="372" y="329"/>
                    </a:cubicBezTo>
                    <a:cubicBezTo>
                      <a:pt x="363" y="329"/>
                      <a:pt x="355" y="339"/>
                      <a:pt x="352" y="327"/>
                    </a:cubicBezTo>
                    <a:cubicBezTo>
                      <a:pt x="348" y="328"/>
                      <a:pt x="344" y="328"/>
                      <a:pt x="339" y="329"/>
                    </a:cubicBezTo>
                    <a:cubicBezTo>
                      <a:pt x="333" y="330"/>
                      <a:pt x="327" y="331"/>
                      <a:pt x="324" y="339"/>
                    </a:cubicBezTo>
                    <a:cubicBezTo>
                      <a:pt x="321" y="343"/>
                      <a:pt x="312" y="342"/>
                      <a:pt x="307" y="341"/>
                    </a:cubicBezTo>
                    <a:cubicBezTo>
                      <a:pt x="312" y="332"/>
                      <a:pt x="316" y="321"/>
                      <a:pt x="325" y="315"/>
                    </a:cubicBezTo>
                    <a:cubicBezTo>
                      <a:pt x="318" y="307"/>
                      <a:pt x="315" y="296"/>
                      <a:pt x="318" y="286"/>
                    </a:cubicBezTo>
                    <a:cubicBezTo>
                      <a:pt x="311" y="284"/>
                      <a:pt x="302" y="280"/>
                      <a:pt x="312" y="273"/>
                    </a:cubicBezTo>
                    <a:cubicBezTo>
                      <a:pt x="317" y="261"/>
                      <a:pt x="298" y="258"/>
                      <a:pt x="299" y="245"/>
                    </a:cubicBezTo>
                    <a:cubicBezTo>
                      <a:pt x="292" y="232"/>
                      <a:pt x="284" y="221"/>
                      <a:pt x="275" y="212"/>
                    </a:cubicBezTo>
                    <a:cubicBezTo>
                      <a:pt x="259" y="211"/>
                      <a:pt x="243" y="211"/>
                      <a:pt x="227" y="211"/>
                    </a:cubicBezTo>
                    <a:cubicBezTo>
                      <a:pt x="220" y="229"/>
                      <a:pt x="198" y="209"/>
                      <a:pt x="185" y="219"/>
                    </a:cubicBezTo>
                    <a:cubicBezTo>
                      <a:pt x="179" y="233"/>
                      <a:pt x="171" y="247"/>
                      <a:pt x="162" y="259"/>
                    </a:cubicBezTo>
                    <a:cubicBezTo>
                      <a:pt x="156" y="267"/>
                      <a:pt x="144" y="262"/>
                      <a:pt x="145" y="275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293" name="Guatemala"/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1848329" y="3994831"/>
                <a:ext cx="105402" cy="139336"/>
              </a:xfrm>
              <a:custGeom>
                <a:avLst/>
                <a:gdLst>
                  <a:gd name="T0" fmla="*/ 55475 w 19"/>
                  <a:gd name="T1" fmla="*/ 100322 h 25"/>
                  <a:gd name="T2" fmla="*/ 44380 w 19"/>
                  <a:gd name="T3" fmla="*/ 139336 h 25"/>
                  <a:gd name="T4" fmla="*/ 0 w 19"/>
                  <a:gd name="T5" fmla="*/ 122616 h 25"/>
                  <a:gd name="T6" fmla="*/ 0 w 19"/>
                  <a:gd name="T7" fmla="*/ 100322 h 25"/>
                  <a:gd name="T8" fmla="*/ 22190 w 19"/>
                  <a:gd name="T9" fmla="*/ 50161 h 25"/>
                  <a:gd name="T10" fmla="*/ 44380 w 19"/>
                  <a:gd name="T11" fmla="*/ 50161 h 25"/>
                  <a:gd name="T12" fmla="*/ 22190 w 19"/>
                  <a:gd name="T13" fmla="*/ 22294 h 25"/>
                  <a:gd name="T14" fmla="*/ 44380 w 19"/>
                  <a:gd name="T15" fmla="*/ 0 h 25"/>
                  <a:gd name="T16" fmla="*/ 94307 w 19"/>
                  <a:gd name="T17" fmla="*/ 0 h 25"/>
                  <a:gd name="T18" fmla="*/ 72117 w 19"/>
                  <a:gd name="T19" fmla="*/ 50161 h 25"/>
                  <a:gd name="T20" fmla="*/ 94307 w 19"/>
                  <a:gd name="T21" fmla="*/ 72455 h 25"/>
                  <a:gd name="T22" fmla="*/ 105402 w 19"/>
                  <a:gd name="T23" fmla="*/ 72455 h 25"/>
                  <a:gd name="T24" fmla="*/ 83212 w 19"/>
                  <a:gd name="T25" fmla="*/ 89175 h 25"/>
                  <a:gd name="T26" fmla="*/ 55475 w 19"/>
                  <a:gd name="T27" fmla="*/ 89175 h 25"/>
                  <a:gd name="T28" fmla="*/ 55475 w 19"/>
                  <a:gd name="T29" fmla="*/ 100322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9"/>
                  <a:gd name="T46" fmla="*/ 0 h 25"/>
                  <a:gd name="T47" fmla="*/ 19 w 19"/>
                  <a:gd name="T48" fmla="*/ 25 h 2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9" h="25">
                    <a:moveTo>
                      <a:pt x="10" y="18"/>
                    </a:moveTo>
                    <a:lnTo>
                      <a:pt x="8" y="25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9"/>
                    </a:lnTo>
                    <a:lnTo>
                      <a:pt x="8" y="9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7" y="0"/>
                    </a:lnTo>
                    <a:lnTo>
                      <a:pt x="13" y="9"/>
                    </a:lnTo>
                    <a:lnTo>
                      <a:pt x="17" y="13"/>
                    </a:lnTo>
                    <a:lnTo>
                      <a:pt x="19" y="13"/>
                    </a:lnTo>
                    <a:lnTo>
                      <a:pt x="15" y="16"/>
                    </a:lnTo>
                    <a:lnTo>
                      <a:pt x="10" y="16"/>
                    </a:lnTo>
                    <a:lnTo>
                      <a:pt x="10" y="18"/>
                    </a:lnTo>
                    <a:close/>
                  </a:path>
                </a:pathLst>
              </a:custGeom>
              <a:solidFill>
                <a:srgbClr val="EF7A04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11" name="Grenada"/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 rot="5400000">
                <a:off x="3223354" y="4616839"/>
                <a:ext cx="44857" cy="1207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4" y="2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lnTo>
                      <a:pt x="4" y="2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12" name="Greenland"/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3113779" y="2060848"/>
                <a:ext cx="1047408" cy="612471"/>
              </a:xfrm>
              <a:custGeom>
                <a:avLst/>
                <a:gdLst/>
                <a:ahLst/>
                <a:cxnLst>
                  <a:cxn ang="0">
                    <a:pos x="6" y="20"/>
                  </a:cxn>
                  <a:cxn ang="0">
                    <a:pos x="0" y="27"/>
                  </a:cxn>
                  <a:cxn ang="0">
                    <a:pos x="27" y="29"/>
                  </a:cxn>
                  <a:cxn ang="0">
                    <a:pos x="35" y="34"/>
                  </a:cxn>
                  <a:cxn ang="0">
                    <a:pos x="37" y="43"/>
                  </a:cxn>
                  <a:cxn ang="0">
                    <a:pos x="35" y="47"/>
                  </a:cxn>
                  <a:cxn ang="0">
                    <a:pos x="37" y="52"/>
                  </a:cxn>
                  <a:cxn ang="0">
                    <a:pos x="39" y="52"/>
                  </a:cxn>
                  <a:cxn ang="0">
                    <a:pos x="35" y="54"/>
                  </a:cxn>
                  <a:cxn ang="0">
                    <a:pos x="35" y="61"/>
                  </a:cxn>
                  <a:cxn ang="0">
                    <a:pos x="43" y="61"/>
                  </a:cxn>
                  <a:cxn ang="0">
                    <a:pos x="35" y="63"/>
                  </a:cxn>
                  <a:cxn ang="0">
                    <a:pos x="27" y="79"/>
                  </a:cxn>
                  <a:cxn ang="0">
                    <a:pos x="27" y="86"/>
                  </a:cxn>
                  <a:cxn ang="0">
                    <a:pos x="29" y="90"/>
                  </a:cxn>
                  <a:cxn ang="0">
                    <a:pos x="35" y="104"/>
                  </a:cxn>
                  <a:cxn ang="0">
                    <a:pos x="48" y="110"/>
                  </a:cxn>
                  <a:cxn ang="0">
                    <a:pos x="58" y="95"/>
                  </a:cxn>
                  <a:cxn ang="0">
                    <a:pos x="68" y="86"/>
                  </a:cxn>
                  <a:cxn ang="0">
                    <a:pos x="70" y="81"/>
                  </a:cxn>
                  <a:cxn ang="0">
                    <a:pos x="87" y="79"/>
                  </a:cxn>
                  <a:cxn ang="0">
                    <a:pos x="125" y="63"/>
                  </a:cxn>
                  <a:cxn ang="0">
                    <a:pos x="141" y="56"/>
                  </a:cxn>
                  <a:cxn ang="0">
                    <a:pos x="133" y="52"/>
                  </a:cxn>
                  <a:cxn ang="0">
                    <a:pos x="146" y="54"/>
                  </a:cxn>
                  <a:cxn ang="0">
                    <a:pos x="146" y="47"/>
                  </a:cxn>
                  <a:cxn ang="0">
                    <a:pos x="146" y="43"/>
                  </a:cxn>
                  <a:cxn ang="0">
                    <a:pos x="156" y="38"/>
                  </a:cxn>
                  <a:cxn ang="0">
                    <a:pos x="156" y="36"/>
                  </a:cxn>
                  <a:cxn ang="0">
                    <a:pos x="154" y="29"/>
                  </a:cxn>
                  <a:cxn ang="0">
                    <a:pos x="164" y="27"/>
                  </a:cxn>
                  <a:cxn ang="0">
                    <a:pos x="162" y="20"/>
                  </a:cxn>
                  <a:cxn ang="0">
                    <a:pos x="164" y="18"/>
                  </a:cxn>
                  <a:cxn ang="0">
                    <a:pos x="189" y="9"/>
                  </a:cxn>
                  <a:cxn ang="0">
                    <a:pos x="162" y="5"/>
                  </a:cxn>
                  <a:cxn ang="0">
                    <a:pos x="148" y="0"/>
                  </a:cxn>
                  <a:cxn ang="0">
                    <a:pos x="77" y="5"/>
                  </a:cxn>
                  <a:cxn ang="0">
                    <a:pos x="48" y="9"/>
                  </a:cxn>
                  <a:cxn ang="0">
                    <a:pos x="22" y="11"/>
                  </a:cxn>
                  <a:cxn ang="0">
                    <a:pos x="31" y="14"/>
                  </a:cxn>
                  <a:cxn ang="0">
                    <a:pos x="4" y="18"/>
                  </a:cxn>
                  <a:cxn ang="0">
                    <a:pos x="0" y="20"/>
                  </a:cxn>
                </a:cxnLst>
                <a:rect l="0" t="0" r="r" b="b"/>
                <a:pathLst>
                  <a:path w="189" h="110">
                    <a:moveTo>
                      <a:pt x="0" y="20"/>
                    </a:moveTo>
                    <a:lnTo>
                      <a:pt x="6" y="20"/>
                    </a:lnTo>
                    <a:lnTo>
                      <a:pt x="6" y="25"/>
                    </a:lnTo>
                    <a:lnTo>
                      <a:pt x="0" y="27"/>
                    </a:lnTo>
                    <a:lnTo>
                      <a:pt x="6" y="29"/>
                    </a:lnTo>
                    <a:lnTo>
                      <a:pt x="27" y="29"/>
                    </a:lnTo>
                    <a:lnTo>
                      <a:pt x="37" y="29"/>
                    </a:lnTo>
                    <a:lnTo>
                      <a:pt x="35" y="34"/>
                    </a:lnTo>
                    <a:lnTo>
                      <a:pt x="37" y="36"/>
                    </a:lnTo>
                    <a:lnTo>
                      <a:pt x="37" y="43"/>
                    </a:lnTo>
                    <a:lnTo>
                      <a:pt x="35" y="45"/>
                    </a:lnTo>
                    <a:lnTo>
                      <a:pt x="35" y="47"/>
                    </a:lnTo>
                    <a:lnTo>
                      <a:pt x="31" y="47"/>
                    </a:lnTo>
                    <a:lnTo>
                      <a:pt x="37" y="52"/>
                    </a:lnTo>
                    <a:lnTo>
                      <a:pt x="39" y="47"/>
                    </a:lnTo>
                    <a:lnTo>
                      <a:pt x="39" y="52"/>
                    </a:lnTo>
                    <a:lnTo>
                      <a:pt x="45" y="54"/>
                    </a:lnTo>
                    <a:lnTo>
                      <a:pt x="35" y="54"/>
                    </a:lnTo>
                    <a:lnTo>
                      <a:pt x="29" y="61"/>
                    </a:lnTo>
                    <a:lnTo>
                      <a:pt x="35" y="61"/>
                    </a:lnTo>
                    <a:lnTo>
                      <a:pt x="43" y="56"/>
                    </a:lnTo>
                    <a:lnTo>
                      <a:pt x="43" y="61"/>
                    </a:lnTo>
                    <a:lnTo>
                      <a:pt x="39" y="63"/>
                    </a:lnTo>
                    <a:lnTo>
                      <a:pt x="35" y="63"/>
                    </a:lnTo>
                    <a:lnTo>
                      <a:pt x="31" y="68"/>
                    </a:lnTo>
                    <a:lnTo>
                      <a:pt x="27" y="79"/>
                    </a:lnTo>
                    <a:lnTo>
                      <a:pt x="29" y="79"/>
                    </a:lnTo>
                    <a:lnTo>
                      <a:pt x="27" y="86"/>
                    </a:lnTo>
                    <a:lnTo>
                      <a:pt x="29" y="88"/>
                    </a:lnTo>
                    <a:lnTo>
                      <a:pt x="29" y="90"/>
                    </a:lnTo>
                    <a:lnTo>
                      <a:pt x="31" y="99"/>
                    </a:lnTo>
                    <a:lnTo>
                      <a:pt x="35" y="104"/>
                    </a:lnTo>
                    <a:lnTo>
                      <a:pt x="45" y="110"/>
                    </a:lnTo>
                    <a:lnTo>
                      <a:pt x="48" y="110"/>
                    </a:lnTo>
                    <a:lnTo>
                      <a:pt x="58" y="97"/>
                    </a:lnTo>
                    <a:lnTo>
                      <a:pt x="58" y="95"/>
                    </a:lnTo>
                    <a:lnTo>
                      <a:pt x="66" y="90"/>
                    </a:lnTo>
                    <a:lnTo>
                      <a:pt x="68" y="86"/>
                    </a:lnTo>
                    <a:lnTo>
                      <a:pt x="68" y="81"/>
                    </a:lnTo>
                    <a:lnTo>
                      <a:pt x="70" y="81"/>
                    </a:lnTo>
                    <a:lnTo>
                      <a:pt x="75" y="79"/>
                    </a:lnTo>
                    <a:lnTo>
                      <a:pt x="87" y="79"/>
                    </a:lnTo>
                    <a:lnTo>
                      <a:pt x="106" y="68"/>
                    </a:lnTo>
                    <a:lnTo>
                      <a:pt x="125" y="63"/>
                    </a:lnTo>
                    <a:lnTo>
                      <a:pt x="139" y="56"/>
                    </a:lnTo>
                    <a:lnTo>
                      <a:pt x="141" y="56"/>
                    </a:lnTo>
                    <a:lnTo>
                      <a:pt x="133" y="54"/>
                    </a:lnTo>
                    <a:lnTo>
                      <a:pt x="133" y="52"/>
                    </a:lnTo>
                    <a:lnTo>
                      <a:pt x="137" y="52"/>
                    </a:lnTo>
                    <a:lnTo>
                      <a:pt x="146" y="54"/>
                    </a:lnTo>
                    <a:lnTo>
                      <a:pt x="146" y="52"/>
                    </a:lnTo>
                    <a:lnTo>
                      <a:pt x="146" y="47"/>
                    </a:lnTo>
                    <a:lnTo>
                      <a:pt x="148" y="45"/>
                    </a:lnTo>
                    <a:lnTo>
                      <a:pt x="146" y="43"/>
                    </a:lnTo>
                    <a:lnTo>
                      <a:pt x="154" y="43"/>
                    </a:lnTo>
                    <a:lnTo>
                      <a:pt x="156" y="38"/>
                    </a:lnTo>
                    <a:lnTo>
                      <a:pt x="158" y="36"/>
                    </a:lnTo>
                    <a:lnTo>
                      <a:pt x="156" y="36"/>
                    </a:lnTo>
                    <a:lnTo>
                      <a:pt x="158" y="29"/>
                    </a:lnTo>
                    <a:lnTo>
                      <a:pt x="154" y="29"/>
                    </a:lnTo>
                    <a:lnTo>
                      <a:pt x="154" y="27"/>
                    </a:lnTo>
                    <a:lnTo>
                      <a:pt x="164" y="27"/>
                    </a:lnTo>
                    <a:lnTo>
                      <a:pt x="164" y="25"/>
                    </a:lnTo>
                    <a:lnTo>
                      <a:pt x="162" y="20"/>
                    </a:lnTo>
                    <a:lnTo>
                      <a:pt x="164" y="20"/>
                    </a:lnTo>
                    <a:lnTo>
                      <a:pt x="164" y="18"/>
                    </a:lnTo>
                    <a:lnTo>
                      <a:pt x="177" y="11"/>
                    </a:lnTo>
                    <a:lnTo>
                      <a:pt x="189" y="9"/>
                    </a:lnTo>
                    <a:lnTo>
                      <a:pt x="177" y="5"/>
                    </a:lnTo>
                    <a:lnTo>
                      <a:pt x="162" y="5"/>
                    </a:lnTo>
                    <a:lnTo>
                      <a:pt x="166" y="2"/>
                    </a:lnTo>
                    <a:lnTo>
                      <a:pt x="148" y="0"/>
                    </a:lnTo>
                    <a:lnTo>
                      <a:pt x="102" y="2"/>
                    </a:lnTo>
                    <a:lnTo>
                      <a:pt x="77" y="5"/>
                    </a:lnTo>
                    <a:lnTo>
                      <a:pt x="45" y="5"/>
                    </a:lnTo>
                    <a:lnTo>
                      <a:pt x="48" y="9"/>
                    </a:lnTo>
                    <a:lnTo>
                      <a:pt x="39" y="9"/>
                    </a:lnTo>
                    <a:lnTo>
                      <a:pt x="22" y="11"/>
                    </a:lnTo>
                    <a:lnTo>
                      <a:pt x="31" y="11"/>
                    </a:lnTo>
                    <a:lnTo>
                      <a:pt x="31" y="14"/>
                    </a:lnTo>
                    <a:lnTo>
                      <a:pt x="27" y="18"/>
                    </a:lnTo>
                    <a:lnTo>
                      <a:pt x="4" y="18"/>
                    </a:lnTo>
                    <a:lnTo>
                      <a:pt x="2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13" name="Georgia"/>
              <p:cNvSpPr>
                <a:spLocks/>
              </p:cNvSpPr>
              <p:nvPr>
                <p:custDataLst>
                  <p:tags r:id="rId95"/>
                </p:custDataLst>
              </p:nvPr>
            </p:nvSpPr>
            <p:spPr bwMode="auto">
              <a:xfrm>
                <a:off x="5215496" y="3175374"/>
                <a:ext cx="167379" cy="77637"/>
              </a:xfrm>
              <a:custGeom>
                <a:avLst/>
                <a:gdLst/>
                <a:ahLst/>
                <a:cxnLst>
                  <a:cxn ang="0">
                    <a:pos x="23" y="14"/>
                  </a:cxn>
                  <a:cxn ang="0">
                    <a:pos x="23" y="9"/>
                  </a:cxn>
                  <a:cxn ang="0">
                    <a:pos x="30" y="9"/>
                  </a:cxn>
                  <a:cxn ang="0">
                    <a:pos x="23" y="5"/>
                  </a:cxn>
                  <a:cxn ang="0">
                    <a:pos x="17" y="5"/>
                  </a:cxn>
                  <a:cxn ang="0">
                    <a:pos x="13" y="0"/>
                  </a:cxn>
                  <a:cxn ang="0">
                    <a:pos x="0" y="0"/>
                  </a:cxn>
                  <a:cxn ang="0">
                    <a:pos x="4" y="5"/>
                  </a:cxn>
                  <a:cxn ang="0">
                    <a:pos x="9" y="7"/>
                  </a:cxn>
                  <a:cxn ang="0">
                    <a:pos x="9" y="9"/>
                  </a:cxn>
                  <a:cxn ang="0">
                    <a:pos x="15" y="9"/>
                  </a:cxn>
                  <a:cxn ang="0">
                    <a:pos x="15" y="14"/>
                  </a:cxn>
                  <a:cxn ang="0">
                    <a:pos x="19" y="14"/>
                  </a:cxn>
                  <a:cxn ang="0">
                    <a:pos x="23" y="14"/>
                  </a:cxn>
                </a:cxnLst>
                <a:rect l="0" t="0" r="r" b="b"/>
                <a:pathLst>
                  <a:path w="30" h="14">
                    <a:moveTo>
                      <a:pt x="23" y="14"/>
                    </a:moveTo>
                    <a:lnTo>
                      <a:pt x="23" y="9"/>
                    </a:lnTo>
                    <a:lnTo>
                      <a:pt x="30" y="9"/>
                    </a:lnTo>
                    <a:lnTo>
                      <a:pt x="23" y="5"/>
                    </a:lnTo>
                    <a:lnTo>
                      <a:pt x="17" y="5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4" y="5"/>
                    </a:lnTo>
                    <a:lnTo>
                      <a:pt x="9" y="7"/>
                    </a:lnTo>
                    <a:lnTo>
                      <a:pt x="9" y="9"/>
                    </a:lnTo>
                    <a:lnTo>
                      <a:pt x="15" y="9"/>
                    </a:lnTo>
                    <a:lnTo>
                      <a:pt x="15" y="14"/>
                    </a:lnTo>
                    <a:lnTo>
                      <a:pt x="19" y="14"/>
                    </a:lnTo>
                    <a:lnTo>
                      <a:pt x="23" y="14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614" name="Greece"/>
              <p:cNvGrpSpPr/>
              <p:nvPr/>
            </p:nvGrpSpPr>
            <p:grpSpPr>
              <a:xfrm>
                <a:off x="4755219" y="3225696"/>
                <a:ext cx="194163" cy="228511"/>
                <a:chOff x="4755219" y="3206607"/>
                <a:chExt cx="194163" cy="228511"/>
              </a:xfrm>
              <a:solidFill>
                <a:srgbClr val="D992FF"/>
              </a:solidFill>
            </p:grpSpPr>
            <p:sp>
              <p:nvSpPr>
                <p:cNvPr id="760" name="Greece"/>
                <p:cNvSpPr>
                  <a:spLocks/>
                </p:cNvSpPr>
                <p:nvPr/>
              </p:nvSpPr>
              <p:spPr bwMode="auto">
                <a:xfrm>
                  <a:off x="4755219" y="3206607"/>
                  <a:ext cx="138687" cy="139336"/>
                </a:xfrm>
                <a:custGeom>
                  <a:avLst/>
                  <a:gdLst/>
                  <a:ahLst/>
                  <a:cxnLst>
                    <a:cxn ang="0">
                      <a:pos x="25" y="0"/>
                    </a:cxn>
                    <a:cxn ang="0">
                      <a:pos x="21" y="5"/>
                    </a:cxn>
                    <a:cxn ang="0">
                      <a:pos x="17" y="0"/>
                    </a:cxn>
                    <a:cxn ang="0">
                      <a:pos x="10" y="5"/>
                    </a:cxn>
                    <a:cxn ang="0">
                      <a:pos x="2" y="7"/>
                    </a:cxn>
                    <a:cxn ang="0">
                      <a:pos x="0" y="14"/>
                    </a:cxn>
                    <a:cxn ang="0">
                      <a:pos x="4" y="18"/>
                    </a:cxn>
                    <a:cxn ang="0">
                      <a:pos x="10" y="18"/>
                    </a:cxn>
                    <a:cxn ang="0">
                      <a:pos x="17" y="25"/>
                    </a:cxn>
                    <a:cxn ang="0">
                      <a:pos x="17" y="23"/>
                    </a:cxn>
                    <a:cxn ang="0">
                      <a:pos x="19" y="23"/>
                    </a:cxn>
                    <a:cxn ang="0">
                      <a:pos x="12" y="16"/>
                    </a:cxn>
                    <a:cxn ang="0">
                      <a:pos x="10" y="9"/>
                    </a:cxn>
                    <a:cxn ang="0">
                      <a:pos x="10" y="7"/>
                    </a:cxn>
                    <a:cxn ang="0">
                      <a:pos x="12" y="9"/>
                    </a:cxn>
                    <a:cxn ang="0">
                      <a:pos x="12" y="7"/>
                    </a:cxn>
                    <a:cxn ang="0">
                      <a:pos x="17" y="5"/>
                    </a:cxn>
                    <a:cxn ang="0">
                      <a:pos x="21" y="7"/>
                    </a:cxn>
                    <a:cxn ang="0">
                      <a:pos x="25" y="7"/>
                    </a:cxn>
                    <a:cxn ang="0">
                      <a:pos x="25" y="5"/>
                    </a:cxn>
                    <a:cxn ang="0">
                      <a:pos x="25" y="0"/>
                    </a:cxn>
                  </a:cxnLst>
                  <a:rect l="0" t="0" r="r" b="b"/>
                  <a:pathLst>
                    <a:path w="25" h="25">
                      <a:moveTo>
                        <a:pt x="25" y="0"/>
                      </a:moveTo>
                      <a:lnTo>
                        <a:pt x="21" y="5"/>
                      </a:lnTo>
                      <a:lnTo>
                        <a:pt x="17" y="0"/>
                      </a:lnTo>
                      <a:lnTo>
                        <a:pt x="10" y="5"/>
                      </a:lnTo>
                      <a:lnTo>
                        <a:pt x="2" y="7"/>
                      </a:lnTo>
                      <a:lnTo>
                        <a:pt x="0" y="14"/>
                      </a:lnTo>
                      <a:lnTo>
                        <a:pt x="4" y="18"/>
                      </a:lnTo>
                      <a:lnTo>
                        <a:pt x="10" y="18"/>
                      </a:lnTo>
                      <a:lnTo>
                        <a:pt x="17" y="25"/>
                      </a:lnTo>
                      <a:lnTo>
                        <a:pt x="17" y="23"/>
                      </a:lnTo>
                      <a:lnTo>
                        <a:pt x="19" y="23"/>
                      </a:lnTo>
                      <a:lnTo>
                        <a:pt x="12" y="16"/>
                      </a:lnTo>
                      <a:lnTo>
                        <a:pt x="10" y="9"/>
                      </a:lnTo>
                      <a:lnTo>
                        <a:pt x="10" y="7"/>
                      </a:lnTo>
                      <a:lnTo>
                        <a:pt x="12" y="9"/>
                      </a:lnTo>
                      <a:lnTo>
                        <a:pt x="12" y="7"/>
                      </a:lnTo>
                      <a:lnTo>
                        <a:pt x="17" y="5"/>
                      </a:lnTo>
                      <a:lnTo>
                        <a:pt x="21" y="7"/>
                      </a:lnTo>
                      <a:lnTo>
                        <a:pt x="25" y="7"/>
                      </a:lnTo>
                      <a:lnTo>
                        <a:pt x="25" y="5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61" name="Greece"/>
                <p:cNvSpPr>
                  <a:spLocks/>
                </p:cNvSpPr>
                <p:nvPr/>
              </p:nvSpPr>
              <p:spPr bwMode="auto">
                <a:xfrm>
                  <a:off x="4777410" y="3306929"/>
                  <a:ext cx="44380" cy="78028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0" y="7"/>
                    </a:cxn>
                    <a:cxn ang="0">
                      <a:pos x="4" y="9"/>
                    </a:cxn>
                    <a:cxn ang="0">
                      <a:pos x="6" y="14"/>
                    </a:cxn>
                    <a:cxn ang="0">
                      <a:pos x="6" y="9"/>
                    </a:cxn>
                    <a:cxn ang="0">
                      <a:pos x="8" y="14"/>
                    </a:cxn>
                    <a:cxn ang="0">
                      <a:pos x="6" y="7"/>
                    </a:cxn>
                    <a:cxn ang="0">
                      <a:pos x="8" y="7"/>
                    </a:cxn>
                    <a:cxn ang="0">
                      <a:pos x="6" y="5"/>
                    </a:cxn>
                    <a:cxn ang="0">
                      <a:pos x="4" y="0"/>
                    </a:cxn>
                    <a:cxn ang="0">
                      <a:pos x="2" y="3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8" h="14">
                      <a:moveTo>
                        <a:pt x="0" y="5"/>
                      </a:moveTo>
                      <a:lnTo>
                        <a:pt x="0" y="7"/>
                      </a:lnTo>
                      <a:lnTo>
                        <a:pt x="4" y="9"/>
                      </a:lnTo>
                      <a:lnTo>
                        <a:pt x="6" y="14"/>
                      </a:lnTo>
                      <a:lnTo>
                        <a:pt x="6" y="9"/>
                      </a:lnTo>
                      <a:lnTo>
                        <a:pt x="8" y="14"/>
                      </a:lnTo>
                      <a:lnTo>
                        <a:pt x="6" y="7"/>
                      </a:lnTo>
                      <a:lnTo>
                        <a:pt x="8" y="7"/>
                      </a:lnTo>
                      <a:lnTo>
                        <a:pt x="6" y="5"/>
                      </a:lnTo>
                      <a:lnTo>
                        <a:pt x="4" y="0"/>
                      </a:lnTo>
                      <a:lnTo>
                        <a:pt x="2" y="3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62" name="Greece"/>
                <p:cNvSpPr>
                  <a:spLocks/>
                </p:cNvSpPr>
                <p:nvPr/>
              </p:nvSpPr>
              <p:spPr bwMode="auto">
                <a:xfrm>
                  <a:off x="4849527" y="3396104"/>
                  <a:ext cx="55475" cy="39014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4" y="7"/>
                    </a:cxn>
                    <a:cxn ang="0">
                      <a:pos x="10" y="7"/>
                    </a:cxn>
                    <a:cxn ang="0">
                      <a:pos x="10" y="5"/>
                    </a:cxn>
                    <a:cxn ang="0">
                      <a:pos x="8" y="5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10" h="7">
                      <a:moveTo>
                        <a:pt x="0" y="5"/>
                      </a:moveTo>
                      <a:lnTo>
                        <a:pt x="4" y="7"/>
                      </a:lnTo>
                      <a:lnTo>
                        <a:pt x="10" y="7"/>
                      </a:lnTo>
                      <a:lnTo>
                        <a:pt x="10" y="5"/>
                      </a:lnTo>
                      <a:lnTo>
                        <a:pt x="8" y="5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63" name="Greece"/>
                <p:cNvSpPr>
                  <a:spLocks/>
                </p:cNvSpPr>
                <p:nvPr/>
              </p:nvSpPr>
              <p:spPr bwMode="auto">
                <a:xfrm>
                  <a:off x="4938287" y="3384958"/>
                  <a:ext cx="11095" cy="1114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grpSp>
            <p:nvGrpSpPr>
              <p:cNvPr id="615" name="Great Britain"/>
              <p:cNvGrpSpPr/>
              <p:nvPr/>
            </p:nvGrpSpPr>
            <p:grpSpPr>
              <a:xfrm>
                <a:off x="4106161" y="2701794"/>
                <a:ext cx="221901" cy="261952"/>
                <a:chOff x="4106161" y="2682705"/>
                <a:chExt cx="221901" cy="261952"/>
              </a:xfrm>
              <a:solidFill>
                <a:srgbClr val="D992FF"/>
              </a:solidFill>
            </p:grpSpPr>
            <p:sp>
              <p:nvSpPr>
                <p:cNvPr id="757" name="Freeform 1444"/>
                <p:cNvSpPr>
                  <a:spLocks/>
                </p:cNvSpPr>
                <p:nvPr/>
              </p:nvSpPr>
              <p:spPr bwMode="auto">
                <a:xfrm>
                  <a:off x="4139447" y="2682705"/>
                  <a:ext cx="22190" cy="39014"/>
                </a:xfrm>
                <a:custGeom>
                  <a:avLst/>
                  <a:gdLst/>
                  <a:ahLst/>
                  <a:cxnLst>
                    <a:cxn ang="0">
                      <a:pos x="0" y="7"/>
                    </a:cxn>
                    <a:cxn ang="0">
                      <a:pos x="2" y="7"/>
                    </a:cxn>
                    <a:cxn ang="0">
                      <a:pos x="4" y="0"/>
                    </a:cxn>
                    <a:cxn ang="0">
                      <a:pos x="0" y="4"/>
                    </a:cxn>
                    <a:cxn ang="0">
                      <a:pos x="0" y="7"/>
                    </a:cxn>
                  </a:cxnLst>
                  <a:rect l="0" t="0" r="r" b="b"/>
                  <a:pathLst>
                    <a:path w="4" h="7">
                      <a:moveTo>
                        <a:pt x="0" y="7"/>
                      </a:moveTo>
                      <a:lnTo>
                        <a:pt x="2" y="7"/>
                      </a:lnTo>
                      <a:lnTo>
                        <a:pt x="4" y="0"/>
                      </a:lnTo>
                      <a:lnTo>
                        <a:pt x="0" y="4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58" name="North Ireland"/>
                <p:cNvSpPr>
                  <a:spLocks/>
                </p:cNvSpPr>
                <p:nvPr/>
              </p:nvSpPr>
              <p:spPr bwMode="auto">
                <a:xfrm>
                  <a:off x="4106161" y="2783026"/>
                  <a:ext cx="44380" cy="3901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4"/>
                    </a:cxn>
                    <a:cxn ang="0">
                      <a:pos x="2" y="7"/>
                    </a:cxn>
                    <a:cxn ang="0">
                      <a:pos x="8" y="7"/>
                    </a:cxn>
                    <a:cxn ang="0">
                      <a:pos x="8" y="0"/>
                    </a:cxn>
                    <a:cxn ang="0">
                      <a:pos x="4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7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2" y="7"/>
                      </a:lnTo>
                      <a:lnTo>
                        <a:pt x="8" y="7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59" name="UK"/>
                <p:cNvSpPr>
                  <a:spLocks/>
                </p:cNvSpPr>
                <p:nvPr/>
              </p:nvSpPr>
              <p:spPr bwMode="auto">
                <a:xfrm>
                  <a:off x="4150542" y="2682705"/>
                  <a:ext cx="177520" cy="261952"/>
                </a:xfrm>
                <a:custGeom>
                  <a:avLst/>
                  <a:gdLst/>
                  <a:ahLst/>
                  <a:cxnLst>
                    <a:cxn ang="0">
                      <a:pos x="0" y="47"/>
                    </a:cxn>
                    <a:cxn ang="0">
                      <a:pos x="2" y="47"/>
                    </a:cxn>
                    <a:cxn ang="0">
                      <a:pos x="9" y="47"/>
                    </a:cxn>
                    <a:cxn ang="0">
                      <a:pos x="11" y="43"/>
                    </a:cxn>
                    <a:cxn ang="0">
                      <a:pos x="15" y="47"/>
                    </a:cxn>
                    <a:cxn ang="0">
                      <a:pos x="25" y="43"/>
                    </a:cxn>
                    <a:cxn ang="0">
                      <a:pos x="30" y="40"/>
                    </a:cxn>
                    <a:cxn ang="0">
                      <a:pos x="25" y="40"/>
                    </a:cxn>
                    <a:cxn ang="0">
                      <a:pos x="32" y="34"/>
                    </a:cxn>
                    <a:cxn ang="0">
                      <a:pos x="30" y="31"/>
                    </a:cxn>
                    <a:cxn ang="0">
                      <a:pos x="23" y="31"/>
                    </a:cxn>
                    <a:cxn ang="0">
                      <a:pos x="25" y="31"/>
                    </a:cxn>
                    <a:cxn ang="0">
                      <a:pos x="23" y="25"/>
                    </a:cxn>
                    <a:cxn ang="0">
                      <a:pos x="19" y="22"/>
                    </a:cxn>
                    <a:cxn ang="0">
                      <a:pos x="17" y="16"/>
                    </a:cxn>
                    <a:cxn ang="0">
                      <a:pos x="11" y="16"/>
                    </a:cxn>
                    <a:cxn ang="0">
                      <a:pos x="17" y="7"/>
                    </a:cxn>
                    <a:cxn ang="0">
                      <a:pos x="9" y="7"/>
                    </a:cxn>
                    <a:cxn ang="0">
                      <a:pos x="15" y="4"/>
                    </a:cxn>
                    <a:cxn ang="0">
                      <a:pos x="15" y="0"/>
                    </a:cxn>
                    <a:cxn ang="0">
                      <a:pos x="7" y="0"/>
                    </a:cxn>
                    <a:cxn ang="0">
                      <a:pos x="2" y="7"/>
                    </a:cxn>
                    <a:cxn ang="0">
                      <a:pos x="2" y="9"/>
                    </a:cxn>
                    <a:cxn ang="0">
                      <a:pos x="0" y="13"/>
                    </a:cxn>
                    <a:cxn ang="0">
                      <a:pos x="2" y="13"/>
                    </a:cxn>
                    <a:cxn ang="0">
                      <a:pos x="2" y="16"/>
                    </a:cxn>
                    <a:cxn ang="0">
                      <a:pos x="0" y="16"/>
                    </a:cxn>
                    <a:cxn ang="0">
                      <a:pos x="2" y="16"/>
                    </a:cxn>
                    <a:cxn ang="0">
                      <a:pos x="2" y="18"/>
                    </a:cxn>
                    <a:cxn ang="0">
                      <a:pos x="7" y="16"/>
                    </a:cxn>
                    <a:cxn ang="0">
                      <a:pos x="7" y="18"/>
                    </a:cxn>
                    <a:cxn ang="0">
                      <a:pos x="2" y="22"/>
                    </a:cxn>
                    <a:cxn ang="0">
                      <a:pos x="7" y="22"/>
                    </a:cxn>
                    <a:cxn ang="0">
                      <a:pos x="11" y="22"/>
                    </a:cxn>
                    <a:cxn ang="0">
                      <a:pos x="9" y="22"/>
                    </a:cxn>
                    <a:cxn ang="0">
                      <a:pos x="15" y="25"/>
                    </a:cxn>
                    <a:cxn ang="0">
                      <a:pos x="11" y="31"/>
                    </a:cxn>
                    <a:cxn ang="0">
                      <a:pos x="7" y="31"/>
                    </a:cxn>
                    <a:cxn ang="0">
                      <a:pos x="7" y="34"/>
                    </a:cxn>
                    <a:cxn ang="0">
                      <a:pos x="2" y="38"/>
                    </a:cxn>
                    <a:cxn ang="0">
                      <a:pos x="2" y="40"/>
                    </a:cxn>
                    <a:cxn ang="0">
                      <a:pos x="9" y="40"/>
                    </a:cxn>
                    <a:cxn ang="0">
                      <a:pos x="11" y="40"/>
                    </a:cxn>
                    <a:cxn ang="0">
                      <a:pos x="7" y="40"/>
                    </a:cxn>
                    <a:cxn ang="0">
                      <a:pos x="2" y="45"/>
                    </a:cxn>
                    <a:cxn ang="0">
                      <a:pos x="0" y="47"/>
                    </a:cxn>
                  </a:cxnLst>
                  <a:rect l="0" t="0" r="r" b="b"/>
                  <a:pathLst>
                    <a:path w="32" h="47">
                      <a:moveTo>
                        <a:pt x="0" y="47"/>
                      </a:moveTo>
                      <a:lnTo>
                        <a:pt x="2" y="47"/>
                      </a:lnTo>
                      <a:lnTo>
                        <a:pt x="9" y="47"/>
                      </a:lnTo>
                      <a:lnTo>
                        <a:pt x="11" y="43"/>
                      </a:lnTo>
                      <a:lnTo>
                        <a:pt x="15" y="47"/>
                      </a:lnTo>
                      <a:lnTo>
                        <a:pt x="25" y="43"/>
                      </a:lnTo>
                      <a:lnTo>
                        <a:pt x="30" y="40"/>
                      </a:lnTo>
                      <a:lnTo>
                        <a:pt x="25" y="40"/>
                      </a:lnTo>
                      <a:lnTo>
                        <a:pt x="32" y="34"/>
                      </a:lnTo>
                      <a:lnTo>
                        <a:pt x="30" y="31"/>
                      </a:lnTo>
                      <a:lnTo>
                        <a:pt x="23" y="31"/>
                      </a:lnTo>
                      <a:lnTo>
                        <a:pt x="25" y="31"/>
                      </a:lnTo>
                      <a:lnTo>
                        <a:pt x="23" y="25"/>
                      </a:lnTo>
                      <a:lnTo>
                        <a:pt x="19" y="22"/>
                      </a:lnTo>
                      <a:lnTo>
                        <a:pt x="17" y="16"/>
                      </a:lnTo>
                      <a:lnTo>
                        <a:pt x="11" y="16"/>
                      </a:lnTo>
                      <a:lnTo>
                        <a:pt x="17" y="7"/>
                      </a:lnTo>
                      <a:lnTo>
                        <a:pt x="9" y="7"/>
                      </a:lnTo>
                      <a:lnTo>
                        <a:pt x="15" y="4"/>
                      </a:lnTo>
                      <a:lnTo>
                        <a:pt x="15" y="0"/>
                      </a:lnTo>
                      <a:lnTo>
                        <a:pt x="7" y="0"/>
                      </a:lnTo>
                      <a:lnTo>
                        <a:pt x="2" y="7"/>
                      </a:lnTo>
                      <a:lnTo>
                        <a:pt x="2" y="9"/>
                      </a:lnTo>
                      <a:lnTo>
                        <a:pt x="0" y="13"/>
                      </a:lnTo>
                      <a:lnTo>
                        <a:pt x="2" y="13"/>
                      </a:lnTo>
                      <a:lnTo>
                        <a:pt x="2" y="16"/>
                      </a:lnTo>
                      <a:lnTo>
                        <a:pt x="0" y="16"/>
                      </a:lnTo>
                      <a:lnTo>
                        <a:pt x="2" y="16"/>
                      </a:lnTo>
                      <a:lnTo>
                        <a:pt x="2" y="18"/>
                      </a:lnTo>
                      <a:lnTo>
                        <a:pt x="7" y="16"/>
                      </a:lnTo>
                      <a:lnTo>
                        <a:pt x="7" y="18"/>
                      </a:lnTo>
                      <a:lnTo>
                        <a:pt x="2" y="22"/>
                      </a:lnTo>
                      <a:lnTo>
                        <a:pt x="7" y="22"/>
                      </a:lnTo>
                      <a:lnTo>
                        <a:pt x="11" y="22"/>
                      </a:lnTo>
                      <a:lnTo>
                        <a:pt x="9" y="22"/>
                      </a:lnTo>
                      <a:lnTo>
                        <a:pt x="15" y="25"/>
                      </a:lnTo>
                      <a:lnTo>
                        <a:pt x="11" y="31"/>
                      </a:lnTo>
                      <a:lnTo>
                        <a:pt x="7" y="31"/>
                      </a:lnTo>
                      <a:lnTo>
                        <a:pt x="7" y="34"/>
                      </a:lnTo>
                      <a:lnTo>
                        <a:pt x="2" y="38"/>
                      </a:lnTo>
                      <a:lnTo>
                        <a:pt x="2" y="40"/>
                      </a:lnTo>
                      <a:lnTo>
                        <a:pt x="9" y="40"/>
                      </a:lnTo>
                      <a:lnTo>
                        <a:pt x="11" y="40"/>
                      </a:lnTo>
                      <a:lnTo>
                        <a:pt x="7" y="40"/>
                      </a:lnTo>
                      <a:lnTo>
                        <a:pt x="2" y="45"/>
                      </a:lnTo>
                      <a:lnTo>
                        <a:pt x="0" y="4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34299" name="Ghana"/>
              <p:cNvSpPr>
                <a:spLocks/>
              </p:cNvSpPr>
              <p:nvPr/>
            </p:nvSpPr>
            <p:spPr bwMode="auto">
              <a:xfrm>
                <a:off x="4131566" y="4206622"/>
                <a:ext cx="120964" cy="213634"/>
              </a:xfrm>
              <a:custGeom>
                <a:avLst/>
                <a:gdLst>
                  <a:gd name="T0" fmla="*/ 530857 w 332"/>
                  <a:gd name="T1" fmla="*/ 87712331 h 494"/>
                  <a:gd name="T2" fmla="*/ 4380937 w 332"/>
                  <a:gd name="T3" fmla="*/ 84345650 h 494"/>
                  <a:gd name="T4" fmla="*/ 2522391 w 332"/>
                  <a:gd name="T5" fmla="*/ 78548126 h 494"/>
                  <a:gd name="T6" fmla="*/ 132623 w 332"/>
                  <a:gd name="T7" fmla="*/ 66579003 h 494"/>
                  <a:gd name="T8" fmla="*/ 3185871 w 332"/>
                  <a:gd name="T9" fmla="*/ 52552667 h 494"/>
                  <a:gd name="T10" fmla="*/ 7035951 w 332"/>
                  <a:gd name="T11" fmla="*/ 42453490 h 494"/>
                  <a:gd name="T12" fmla="*/ 6239120 w 332"/>
                  <a:gd name="T13" fmla="*/ 30484367 h 494"/>
                  <a:gd name="T14" fmla="*/ 6504730 w 332"/>
                  <a:gd name="T15" fmla="*/ 23938685 h 494"/>
                  <a:gd name="T16" fmla="*/ 5575638 w 332"/>
                  <a:gd name="T17" fmla="*/ 14400405 h 494"/>
                  <a:gd name="T18" fmla="*/ 4779171 w 332"/>
                  <a:gd name="T19" fmla="*/ 5797525 h 494"/>
                  <a:gd name="T20" fmla="*/ 14204162 w 332"/>
                  <a:gd name="T21" fmla="*/ 2244022 h 494"/>
                  <a:gd name="T22" fmla="*/ 25222454 w 332"/>
                  <a:gd name="T23" fmla="*/ 2618098 h 494"/>
                  <a:gd name="T24" fmla="*/ 30267233 w 332"/>
                  <a:gd name="T25" fmla="*/ 1309049 h 494"/>
                  <a:gd name="T26" fmla="*/ 31860168 w 332"/>
                  <a:gd name="T27" fmla="*/ 748151 h 494"/>
                  <a:gd name="T28" fmla="*/ 32922246 w 332"/>
                  <a:gd name="T29" fmla="*/ 5423450 h 494"/>
                  <a:gd name="T30" fmla="*/ 36506350 w 332"/>
                  <a:gd name="T31" fmla="*/ 14026326 h 494"/>
                  <a:gd name="T32" fmla="*/ 35444272 w 332"/>
                  <a:gd name="T33" fmla="*/ 22255129 h 494"/>
                  <a:gd name="T34" fmla="*/ 35444272 w 332"/>
                  <a:gd name="T35" fmla="*/ 22255129 h 494"/>
                  <a:gd name="T36" fmla="*/ 35046038 w 332"/>
                  <a:gd name="T37" fmla="*/ 24499582 h 494"/>
                  <a:gd name="T38" fmla="*/ 37170195 w 332"/>
                  <a:gd name="T39" fmla="*/ 30297113 h 494"/>
                  <a:gd name="T40" fmla="*/ 39426974 w 332"/>
                  <a:gd name="T41" fmla="*/ 41331263 h 494"/>
                  <a:gd name="T42" fmla="*/ 37568428 w 332"/>
                  <a:gd name="T43" fmla="*/ 53674462 h 494"/>
                  <a:gd name="T44" fmla="*/ 37435805 w 332"/>
                  <a:gd name="T45" fmla="*/ 61903274 h 494"/>
                  <a:gd name="T46" fmla="*/ 41816376 w 332"/>
                  <a:gd name="T47" fmla="*/ 69758430 h 494"/>
                  <a:gd name="T48" fmla="*/ 44073156 w 332"/>
                  <a:gd name="T49" fmla="*/ 73311500 h 494"/>
                  <a:gd name="T50" fmla="*/ 42612844 w 332"/>
                  <a:gd name="T51" fmla="*/ 75742775 h 494"/>
                  <a:gd name="T52" fmla="*/ 39825208 w 332"/>
                  <a:gd name="T53" fmla="*/ 77613154 h 494"/>
                  <a:gd name="T54" fmla="*/ 38232273 w 332"/>
                  <a:gd name="T55" fmla="*/ 76116851 h 494"/>
                  <a:gd name="T56" fmla="*/ 35842506 w 332"/>
                  <a:gd name="T57" fmla="*/ 72750603 h 494"/>
                  <a:gd name="T58" fmla="*/ 33851337 w 332"/>
                  <a:gd name="T59" fmla="*/ 72563781 h 494"/>
                  <a:gd name="T60" fmla="*/ 36108116 w 332"/>
                  <a:gd name="T61" fmla="*/ 72937424 h 494"/>
                  <a:gd name="T62" fmla="*/ 37966662 w 332"/>
                  <a:gd name="T63" fmla="*/ 74994624 h 494"/>
                  <a:gd name="T64" fmla="*/ 37966662 w 332"/>
                  <a:gd name="T65" fmla="*/ 77425900 h 494"/>
                  <a:gd name="T66" fmla="*/ 25222454 w 332"/>
                  <a:gd name="T67" fmla="*/ 85093801 h 494"/>
                  <a:gd name="T68" fmla="*/ 17124785 w 332"/>
                  <a:gd name="T69" fmla="*/ 88460050 h 494"/>
                  <a:gd name="T70" fmla="*/ 6372107 w 332"/>
                  <a:gd name="T71" fmla="*/ 89021379 h 49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32"/>
                  <a:gd name="T109" fmla="*/ 0 h 494"/>
                  <a:gd name="T110" fmla="*/ 332 w 332"/>
                  <a:gd name="T111" fmla="*/ 494 h 49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32" h="494">
                    <a:moveTo>
                      <a:pt x="15" y="472"/>
                    </a:moveTo>
                    <a:cubicBezTo>
                      <a:pt x="11" y="471"/>
                      <a:pt x="8" y="470"/>
                      <a:pt x="4" y="469"/>
                    </a:cubicBezTo>
                    <a:cubicBezTo>
                      <a:pt x="4" y="469"/>
                      <a:pt x="4" y="469"/>
                      <a:pt x="4" y="469"/>
                    </a:cubicBezTo>
                    <a:cubicBezTo>
                      <a:pt x="10" y="457"/>
                      <a:pt x="40" y="478"/>
                      <a:pt x="33" y="451"/>
                    </a:cubicBezTo>
                    <a:cubicBezTo>
                      <a:pt x="29" y="442"/>
                      <a:pt x="41" y="442"/>
                      <a:pt x="35" y="434"/>
                    </a:cubicBezTo>
                    <a:cubicBezTo>
                      <a:pt x="36" y="423"/>
                      <a:pt x="28" y="420"/>
                      <a:pt x="19" y="420"/>
                    </a:cubicBezTo>
                    <a:cubicBezTo>
                      <a:pt x="19" y="414"/>
                      <a:pt x="12" y="412"/>
                      <a:pt x="16" y="404"/>
                    </a:cubicBezTo>
                    <a:cubicBezTo>
                      <a:pt x="11" y="388"/>
                      <a:pt x="5" y="373"/>
                      <a:pt x="1" y="356"/>
                    </a:cubicBezTo>
                    <a:cubicBezTo>
                      <a:pt x="0" y="340"/>
                      <a:pt x="2" y="325"/>
                      <a:pt x="12" y="312"/>
                    </a:cubicBezTo>
                    <a:cubicBezTo>
                      <a:pt x="24" y="306"/>
                      <a:pt x="20" y="292"/>
                      <a:pt x="24" y="281"/>
                    </a:cubicBezTo>
                    <a:cubicBezTo>
                      <a:pt x="25" y="271"/>
                      <a:pt x="30" y="260"/>
                      <a:pt x="36" y="251"/>
                    </a:cubicBezTo>
                    <a:cubicBezTo>
                      <a:pt x="37" y="239"/>
                      <a:pt x="54" y="240"/>
                      <a:pt x="53" y="227"/>
                    </a:cubicBezTo>
                    <a:cubicBezTo>
                      <a:pt x="66" y="223"/>
                      <a:pt x="54" y="204"/>
                      <a:pt x="55" y="193"/>
                    </a:cubicBezTo>
                    <a:cubicBezTo>
                      <a:pt x="53" y="182"/>
                      <a:pt x="53" y="173"/>
                      <a:pt x="47" y="163"/>
                    </a:cubicBezTo>
                    <a:cubicBezTo>
                      <a:pt x="32" y="159"/>
                      <a:pt x="53" y="147"/>
                      <a:pt x="46" y="139"/>
                    </a:cubicBezTo>
                    <a:cubicBezTo>
                      <a:pt x="49" y="136"/>
                      <a:pt x="50" y="132"/>
                      <a:pt x="49" y="128"/>
                    </a:cubicBezTo>
                    <a:cubicBezTo>
                      <a:pt x="50" y="128"/>
                      <a:pt x="44" y="114"/>
                      <a:pt x="41" y="109"/>
                    </a:cubicBezTo>
                    <a:cubicBezTo>
                      <a:pt x="47" y="99"/>
                      <a:pt x="43" y="88"/>
                      <a:pt x="42" y="77"/>
                    </a:cubicBezTo>
                    <a:cubicBezTo>
                      <a:pt x="50" y="69"/>
                      <a:pt x="33" y="63"/>
                      <a:pt x="44" y="57"/>
                    </a:cubicBezTo>
                    <a:cubicBezTo>
                      <a:pt x="37" y="51"/>
                      <a:pt x="31" y="40"/>
                      <a:pt x="36" y="31"/>
                    </a:cubicBezTo>
                    <a:cubicBezTo>
                      <a:pt x="42" y="24"/>
                      <a:pt x="39" y="8"/>
                      <a:pt x="51" y="12"/>
                    </a:cubicBezTo>
                    <a:cubicBezTo>
                      <a:pt x="70" y="11"/>
                      <a:pt x="89" y="12"/>
                      <a:pt x="107" y="12"/>
                    </a:cubicBezTo>
                    <a:cubicBezTo>
                      <a:pt x="124" y="14"/>
                      <a:pt x="139" y="8"/>
                      <a:pt x="155" y="13"/>
                    </a:cubicBezTo>
                    <a:cubicBezTo>
                      <a:pt x="167" y="13"/>
                      <a:pt x="179" y="11"/>
                      <a:pt x="190" y="14"/>
                    </a:cubicBezTo>
                    <a:cubicBezTo>
                      <a:pt x="199" y="7"/>
                      <a:pt x="203" y="24"/>
                      <a:pt x="207" y="17"/>
                    </a:cubicBezTo>
                    <a:cubicBezTo>
                      <a:pt x="216" y="16"/>
                      <a:pt x="219" y="4"/>
                      <a:pt x="228" y="7"/>
                    </a:cubicBezTo>
                    <a:cubicBezTo>
                      <a:pt x="230" y="0"/>
                      <a:pt x="235" y="2"/>
                      <a:pt x="240" y="3"/>
                    </a:cubicBezTo>
                    <a:cubicBezTo>
                      <a:pt x="240" y="4"/>
                      <a:pt x="240" y="4"/>
                      <a:pt x="240" y="4"/>
                    </a:cubicBezTo>
                    <a:cubicBezTo>
                      <a:pt x="241" y="5"/>
                      <a:pt x="242" y="7"/>
                      <a:pt x="244" y="7"/>
                    </a:cubicBezTo>
                    <a:cubicBezTo>
                      <a:pt x="260" y="3"/>
                      <a:pt x="250" y="21"/>
                      <a:pt x="248" y="29"/>
                    </a:cubicBezTo>
                    <a:cubicBezTo>
                      <a:pt x="235" y="43"/>
                      <a:pt x="258" y="45"/>
                      <a:pt x="262" y="56"/>
                    </a:cubicBezTo>
                    <a:cubicBezTo>
                      <a:pt x="267" y="60"/>
                      <a:pt x="282" y="65"/>
                      <a:pt x="275" y="75"/>
                    </a:cubicBezTo>
                    <a:cubicBezTo>
                      <a:pt x="279" y="87"/>
                      <a:pt x="273" y="96"/>
                      <a:pt x="272" y="109"/>
                    </a:cubicBezTo>
                    <a:cubicBezTo>
                      <a:pt x="278" y="119"/>
                      <a:pt x="264" y="113"/>
                      <a:pt x="267" y="119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9" y="120"/>
                      <a:pt x="275" y="123"/>
                      <a:pt x="269" y="123"/>
                    </a:cubicBezTo>
                    <a:cubicBezTo>
                      <a:pt x="256" y="123"/>
                      <a:pt x="275" y="130"/>
                      <a:pt x="264" y="131"/>
                    </a:cubicBezTo>
                    <a:cubicBezTo>
                      <a:pt x="265" y="139"/>
                      <a:pt x="273" y="129"/>
                      <a:pt x="277" y="129"/>
                    </a:cubicBezTo>
                    <a:cubicBezTo>
                      <a:pt x="294" y="131"/>
                      <a:pt x="284" y="152"/>
                      <a:pt x="280" y="162"/>
                    </a:cubicBezTo>
                    <a:cubicBezTo>
                      <a:pt x="281" y="170"/>
                      <a:pt x="288" y="182"/>
                      <a:pt x="275" y="184"/>
                    </a:cubicBezTo>
                    <a:cubicBezTo>
                      <a:pt x="273" y="201"/>
                      <a:pt x="300" y="203"/>
                      <a:pt x="297" y="221"/>
                    </a:cubicBezTo>
                    <a:cubicBezTo>
                      <a:pt x="284" y="226"/>
                      <a:pt x="289" y="241"/>
                      <a:pt x="289" y="252"/>
                    </a:cubicBezTo>
                    <a:cubicBezTo>
                      <a:pt x="294" y="266"/>
                      <a:pt x="275" y="275"/>
                      <a:pt x="283" y="287"/>
                    </a:cubicBezTo>
                    <a:cubicBezTo>
                      <a:pt x="299" y="288"/>
                      <a:pt x="285" y="307"/>
                      <a:pt x="287" y="317"/>
                    </a:cubicBezTo>
                    <a:cubicBezTo>
                      <a:pt x="277" y="319"/>
                      <a:pt x="285" y="324"/>
                      <a:pt x="282" y="331"/>
                    </a:cubicBezTo>
                    <a:cubicBezTo>
                      <a:pt x="289" y="336"/>
                      <a:pt x="287" y="346"/>
                      <a:pt x="294" y="350"/>
                    </a:cubicBezTo>
                    <a:cubicBezTo>
                      <a:pt x="294" y="361"/>
                      <a:pt x="305" y="368"/>
                      <a:pt x="315" y="373"/>
                    </a:cubicBezTo>
                    <a:cubicBezTo>
                      <a:pt x="316" y="382"/>
                      <a:pt x="331" y="381"/>
                      <a:pt x="332" y="392"/>
                    </a:cubicBezTo>
                    <a:cubicBezTo>
                      <a:pt x="332" y="392"/>
                      <a:pt x="332" y="392"/>
                      <a:pt x="332" y="392"/>
                    </a:cubicBezTo>
                    <a:cubicBezTo>
                      <a:pt x="332" y="392"/>
                      <a:pt x="332" y="393"/>
                      <a:pt x="331" y="393"/>
                    </a:cubicBezTo>
                    <a:cubicBezTo>
                      <a:pt x="328" y="396"/>
                      <a:pt x="325" y="401"/>
                      <a:pt x="321" y="405"/>
                    </a:cubicBezTo>
                    <a:cubicBezTo>
                      <a:pt x="318" y="408"/>
                      <a:pt x="317" y="415"/>
                      <a:pt x="312" y="415"/>
                    </a:cubicBezTo>
                    <a:cubicBezTo>
                      <a:pt x="308" y="415"/>
                      <a:pt x="303" y="419"/>
                      <a:pt x="300" y="415"/>
                    </a:cubicBezTo>
                    <a:cubicBezTo>
                      <a:pt x="299" y="410"/>
                      <a:pt x="290" y="414"/>
                      <a:pt x="291" y="413"/>
                    </a:cubicBezTo>
                    <a:cubicBezTo>
                      <a:pt x="291" y="412"/>
                      <a:pt x="287" y="409"/>
                      <a:pt x="288" y="407"/>
                    </a:cubicBezTo>
                    <a:cubicBezTo>
                      <a:pt x="290" y="401"/>
                      <a:pt x="285" y="396"/>
                      <a:pt x="280" y="393"/>
                    </a:cubicBezTo>
                    <a:cubicBezTo>
                      <a:pt x="277" y="390"/>
                      <a:pt x="273" y="388"/>
                      <a:pt x="270" y="389"/>
                    </a:cubicBezTo>
                    <a:cubicBezTo>
                      <a:pt x="269" y="392"/>
                      <a:pt x="266" y="391"/>
                      <a:pt x="263" y="391"/>
                    </a:cubicBezTo>
                    <a:cubicBezTo>
                      <a:pt x="261" y="389"/>
                      <a:pt x="258" y="385"/>
                      <a:pt x="255" y="388"/>
                    </a:cubicBezTo>
                    <a:cubicBezTo>
                      <a:pt x="259" y="387"/>
                      <a:pt x="261" y="392"/>
                      <a:pt x="264" y="393"/>
                    </a:cubicBezTo>
                    <a:cubicBezTo>
                      <a:pt x="268" y="396"/>
                      <a:pt x="269" y="390"/>
                      <a:pt x="272" y="390"/>
                    </a:cubicBezTo>
                    <a:cubicBezTo>
                      <a:pt x="274" y="392"/>
                      <a:pt x="277" y="392"/>
                      <a:pt x="279" y="394"/>
                    </a:cubicBezTo>
                    <a:cubicBezTo>
                      <a:pt x="282" y="395"/>
                      <a:pt x="285" y="398"/>
                      <a:pt x="286" y="401"/>
                    </a:cubicBezTo>
                    <a:cubicBezTo>
                      <a:pt x="289" y="404"/>
                      <a:pt x="286" y="407"/>
                      <a:pt x="287" y="410"/>
                    </a:cubicBezTo>
                    <a:cubicBezTo>
                      <a:pt x="288" y="413"/>
                      <a:pt x="290" y="414"/>
                      <a:pt x="286" y="414"/>
                    </a:cubicBezTo>
                    <a:cubicBezTo>
                      <a:pt x="275" y="415"/>
                      <a:pt x="265" y="417"/>
                      <a:pt x="255" y="420"/>
                    </a:cubicBezTo>
                    <a:cubicBezTo>
                      <a:pt x="232" y="430"/>
                      <a:pt x="211" y="442"/>
                      <a:pt x="190" y="455"/>
                    </a:cubicBezTo>
                    <a:cubicBezTo>
                      <a:pt x="176" y="459"/>
                      <a:pt x="161" y="461"/>
                      <a:pt x="147" y="465"/>
                    </a:cubicBezTo>
                    <a:cubicBezTo>
                      <a:pt x="141" y="467"/>
                      <a:pt x="134" y="468"/>
                      <a:pt x="129" y="473"/>
                    </a:cubicBezTo>
                    <a:cubicBezTo>
                      <a:pt x="119" y="483"/>
                      <a:pt x="106" y="488"/>
                      <a:pt x="93" y="494"/>
                    </a:cubicBezTo>
                    <a:cubicBezTo>
                      <a:pt x="78" y="489"/>
                      <a:pt x="64" y="481"/>
                      <a:pt x="48" y="476"/>
                    </a:cubicBezTo>
                    <a:cubicBezTo>
                      <a:pt x="37" y="474"/>
                      <a:pt x="26" y="473"/>
                      <a:pt x="15" y="472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34300" name="Germany"/>
              <p:cNvSpPr>
                <a:spLocks/>
              </p:cNvSpPr>
              <p:nvPr>
                <p:custDataLst>
                  <p:tags r:id="rId96"/>
                </p:custDataLst>
              </p:nvPr>
            </p:nvSpPr>
            <p:spPr bwMode="auto">
              <a:xfrm>
                <a:off x="4416821" y="2824410"/>
                <a:ext cx="188615" cy="217364"/>
              </a:xfrm>
              <a:custGeom>
                <a:avLst/>
                <a:gdLst>
                  <a:gd name="T0" fmla="*/ 116497 w 34"/>
                  <a:gd name="T1" fmla="*/ 16720 h 39"/>
                  <a:gd name="T2" fmla="*/ 83212 w 34"/>
                  <a:gd name="T3" fmla="*/ 0 h 39"/>
                  <a:gd name="T4" fmla="*/ 61022 w 34"/>
                  <a:gd name="T5" fmla="*/ 0 h 39"/>
                  <a:gd name="T6" fmla="*/ 49927 w 34"/>
                  <a:gd name="T7" fmla="*/ 27867 h 39"/>
                  <a:gd name="T8" fmla="*/ 38832 w 34"/>
                  <a:gd name="T9" fmla="*/ 27867 h 39"/>
                  <a:gd name="T10" fmla="*/ 11095 w 34"/>
                  <a:gd name="T11" fmla="*/ 66881 h 39"/>
                  <a:gd name="T12" fmla="*/ 0 w 34"/>
                  <a:gd name="T13" fmla="*/ 89175 h 39"/>
                  <a:gd name="T14" fmla="*/ 0 w 34"/>
                  <a:gd name="T15" fmla="*/ 117042 h 39"/>
                  <a:gd name="T16" fmla="*/ 0 w 34"/>
                  <a:gd name="T17" fmla="*/ 139336 h 39"/>
                  <a:gd name="T18" fmla="*/ 0 w 34"/>
                  <a:gd name="T19" fmla="*/ 150483 h 39"/>
                  <a:gd name="T20" fmla="*/ 38832 w 34"/>
                  <a:gd name="T21" fmla="*/ 189497 h 39"/>
                  <a:gd name="T22" fmla="*/ 38832 w 34"/>
                  <a:gd name="T23" fmla="*/ 217364 h 39"/>
                  <a:gd name="T24" fmla="*/ 83212 w 34"/>
                  <a:gd name="T25" fmla="*/ 217364 h 39"/>
                  <a:gd name="T26" fmla="*/ 166425 w 34"/>
                  <a:gd name="T27" fmla="*/ 217364 h 39"/>
                  <a:gd name="T28" fmla="*/ 138687 w 34"/>
                  <a:gd name="T29" fmla="*/ 200644 h 39"/>
                  <a:gd name="T30" fmla="*/ 177520 w 34"/>
                  <a:gd name="T31" fmla="*/ 189497 h 39"/>
                  <a:gd name="T32" fmla="*/ 138687 w 34"/>
                  <a:gd name="T33" fmla="*/ 150483 h 39"/>
                  <a:gd name="T34" fmla="*/ 127592 w 34"/>
                  <a:gd name="T35" fmla="*/ 139336 h 39"/>
                  <a:gd name="T36" fmla="*/ 188615 w 34"/>
                  <a:gd name="T37" fmla="*/ 100322 h 39"/>
                  <a:gd name="T38" fmla="*/ 188615 w 34"/>
                  <a:gd name="T39" fmla="*/ 117042 h 39"/>
                  <a:gd name="T40" fmla="*/ 177520 w 34"/>
                  <a:gd name="T41" fmla="*/ 27867 h 39"/>
                  <a:gd name="T42" fmla="*/ 166425 w 34"/>
                  <a:gd name="T43" fmla="*/ 16720 h 39"/>
                  <a:gd name="T44" fmla="*/ 177520 w 34"/>
                  <a:gd name="T45" fmla="*/ 16720 h 39"/>
                  <a:gd name="T46" fmla="*/ 166425 w 34"/>
                  <a:gd name="T47" fmla="*/ 0 h 39"/>
                  <a:gd name="T48" fmla="*/ 116497 w 34"/>
                  <a:gd name="T49" fmla="*/ 27867 h 39"/>
                  <a:gd name="T50" fmla="*/ 116497 w 34"/>
                  <a:gd name="T51" fmla="*/ 16720 h 3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34"/>
                  <a:gd name="T79" fmla="*/ 0 h 39"/>
                  <a:gd name="T80" fmla="*/ 34 w 34"/>
                  <a:gd name="T81" fmla="*/ 39 h 39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34" h="39">
                    <a:moveTo>
                      <a:pt x="21" y="3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9" y="5"/>
                    </a:lnTo>
                    <a:lnTo>
                      <a:pt x="7" y="5"/>
                    </a:lnTo>
                    <a:lnTo>
                      <a:pt x="2" y="12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0" y="25"/>
                    </a:lnTo>
                    <a:lnTo>
                      <a:pt x="0" y="27"/>
                    </a:lnTo>
                    <a:lnTo>
                      <a:pt x="7" y="34"/>
                    </a:lnTo>
                    <a:lnTo>
                      <a:pt x="7" y="39"/>
                    </a:lnTo>
                    <a:lnTo>
                      <a:pt x="15" y="39"/>
                    </a:lnTo>
                    <a:lnTo>
                      <a:pt x="30" y="39"/>
                    </a:lnTo>
                    <a:lnTo>
                      <a:pt x="25" y="36"/>
                    </a:lnTo>
                    <a:lnTo>
                      <a:pt x="32" y="34"/>
                    </a:lnTo>
                    <a:lnTo>
                      <a:pt x="25" y="27"/>
                    </a:lnTo>
                    <a:lnTo>
                      <a:pt x="23" y="25"/>
                    </a:lnTo>
                    <a:lnTo>
                      <a:pt x="34" y="18"/>
                    </a:lnTo>
                    <a:lnTo>
                      <a:pt x="34" y="21"/>
                    </a:lnTo>
                    <a:lnTo>
                      <a:pt x="32" y="5"/>
                    </a:lnTo>
                    <a:lnTo>
                      <a:pt x="30" y="3"/>
                    </a:lnTo>
                    <a:lnTo>
                      <a:pt x="32" y="3"/>
                    </a:lnTo>
                    <a:lnTo>
                      <a:pt x="30" y="0"/>
                    </a:lnTo>
                    <a:lnTo>
                      <a:pt x="21" y="5"/>
                    </a:lnTo>
                    <a:lnTo>
                      <a:pt x="21" y="3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18" name="Gambia"/>
              <p:cNvSpPr>
                <a:spLocks/>
              </p:cNvSpPr>
              <p:nvPr/>
            </p:nvSpPr>
            <p:spPr bwMode="auto">
              <a:xfrm>
                <a:off x="3791919" y="4107021"/>
                <a:ext cx="72473" cy="24154"/>
              </a:xfrm>
              <a:custGeom>
                <a:avLst/>
                <a:gdLst>
                  <a:gd name="T0" fmla="*/ 16 w 196"/>
                  <a:gd name="T1" fmla="*/ 34 h 56"/>
                  <a:gd name="T2" fmla="*/ 6 w 196"/>
                  <a:gd name="T3" fmla="*/ 41 h 56"/>
                  <a:gd name="T4" fmla="*/ 3 w 196"/>
                  <a:gd name="T5" fmla="*/ 30 h 56"/>
                  <a:gd name="T6" fmla="*/ 0 w 196"/>
                  <a:gd name="T7" fmla="*/ 19 h 56"/>
                  <a:gd name="T8" fmla="*/ 0 w 196"/>
                  <a:gd name="T9" fmla="*/ 19 h 56"/>
                  <a:gd name="T10" fmla="*/ 70 w 196"/>
                  <a:gd name="T11" fmla="*/ 22 h 56"/>
                  <a:gd name="T12" fmla="*/ 91 w 196"/>
                  <a:gd name="T13" fmla="*/ 9 h 56"/>
                  <a:gd name="T14" fmla="*/ 123 w 196"/>
                  <a:gd name="T15" fmla="*/ 21 h 56"/>
                  <a:gd name="T16" fmla="*/ 144 w 196"/>
                  <a:gd name="T17" fmla="*/ 30 h 56"/>
                  <a:gd name="T18" fmla="*/ 187 w 196"/>
                  <a:gd name="T19" fmla="*/ 33 h 56"/>
                  <a:gd name="T20" fmla="*/ 162 w 196"/>
                  <a:gd name="T21" fmla="*/ 52 h 56"/>
                  <a:gd name="T22" fmla="*/ 131 w 196"/>
                  <a:gd name="T23" fmla="*/ 43 h 56"/>
                  <a:gd name="T24" fmla="*/ 94 w 196"/>
                  <a:gd name="T25" fmla="*/ 23 h 56"/>
                  <a:gd name="T26" fmla="*/ 73 w 196"/>
                  <a:gd name="T27" fmla="*/ 38 h 56"/>
                  <a:gd name="T28" fmla="*/ 75 w 196"/>
                  <a:gd name="T29" fmla="*/ 34 h 56"/>
                  <a:gd name="T30" fmla="*/ 78 w 196"/>
                  <a:gd name="T31" fmla="*/ 34 h 56"/>
                  <a:gd name="T32" fmla="*/ 82 w 196"/>
                  <a:gd name="T33" fmla="*/ 31 h 56"/>
                  <a:gd name="T34" fmla="*/ 72 w 196"/>
                  <a:gd name="T35" fmla="*/ 30 h 56"/>
                  <a:gd name="T36" fmla="*/ 66 w 196"/>
                  <a:gd name="T37" fmla="*/ 28 h 56"/>
                  <a:gd name="T38" fmla="*/ 58 w 196"/>
                  <a:gd name="T39" fmla="*/ 30 h 56"/>
                  <a:gd name="T40" fmla="*/ 48 w 196"/>
                  <a:gd name="T41" fmla="*/ 32 h 56"/>
                  <a:gd name="T42" fmla="*/ 31 w 196"/>
                  <a:gd name="T43" fmla="*/ 33 h 56"/>
                  <a:gd name="T44" fmla="*/ 23 w 196"/>
                  <a:gd name="T45" fmla="*/ 32 h 56"/>
                  <a:gd name="T46" fmla="*/ 16 w 196"/>
                  <a:gd name="T47" fmla="*/ 3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96" h="56">
                    <a:moveTo>
                      <a:pt x="16" y="34"/>
                    </a:moveTo>
                    <a:cubicBezTo>
                      <a:pt x="14" y="37"/>
                      <a:pt x="10" y="40"/>
                      <a:pt x="6" y="41"/>
                    </a:cubicBezTo>
                    <a:cubicBezTo>
                      <a:pt x="3" y="38"/>
                      <a:pt x="4" y="34"/>
                      <a:pt x="3" y="30"/>
                    </a:cubicBezTo>
                    <a:cubicBezTo>
                      <a:pt x="3" y="26"/>
                      <a:pt x="1" y="23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26" y="20"/>
                      <a:pt x="44" y="21"/>
                      <a:pt x="70" y="22"/>
                    </a:cubicBezTo>
                    <a:cubicBezTo>
                      <a:pt x="70" y="11"/>
                      <a:pt x="82" y="4"/>
                      <a:pt x="91" y="9"/>
                    </a:cubicBezTo>
                    <a:cubicBezTo>
                      <a:pt x="103" y="0"/>
                      <a:pt x="120" y="7"/>
                      <a:pt x="123" y="21"/>
                    </a:cubicBezTo>
                    <a:cubicBezTo>
                      <a:pt x="133" y="17"/>
                      <a:pt x="142" y="17"/>
                      <a:pt x="144" y="30"/>
                    </a:cubicBezTo>
                    <a:cubicBezTo>
                      <a:pt x="155" y="45"/>
                      <a:pt x="176" y="14"/>
                      <a:pt x="187" y="33"/>
                    </a:cubicBezTo>
                    <a:cubicBezTo>
                      <a:pt x="196" y="50"/>
                      <a:pt x="170" y="46"/>
                      <a:pt x="162" y="52"/>
                    </a:cubicBezTo>
                    <a:cubicBezTo>
                      <a:pt x="150" y="56"/>
                      <a:pt x="141" y="45"/>
                      <a:pt x="131" y="43"/>
                    </a:cubicBezTo>
                    <a:cubicBezTo>
                      <a:pt x="118" y="40"/>
                      <a:pt x="106" y="29"/>
                      <a:pt x="94" y="23"/>
                    </a:cubicBezTo>
                    <a:cubicBezTo>
                      <a:pt x="89" y="31"/>
                      <a:pt x="85" y="45"/>
                      <a:pt x="73" y="38"/>
                    </a:cubicBezTo>
                    <a:cubicBezTo>
                      <a:pt x="75" y="34"/>
                      <a:pt x="75" y="34"/>
                      <a:pt x="75" y="34"/>
                    </a:cubicBezTo>
                    <a:cubicBezTo>
                      <a:pt x="76" y="34"/>
                      <a:pt x="77" y="35"/>
                      <a:pt x="78" y="34"/>
                    </a:cubicBezTo>
                    <a:cubicBezTo>
                      <a:pt x="80" y="36"/>
                      <a:pt x="83" y="31"/>
                      <a:pt x="82" y="31"/>
                    </a:cubicBezTo>
                    <a:cubicBezTo>
                      <a:pt x="80" y="36"/>
                      <a:pt x="74" y="33"/>
                      <a:pt x="72" y="30"/>
                    </a:cubicBezTo>
                    <a:cubicBezTo>
                      <a:pt x="71" y="28"/>
                      <a:pt x="67" y="31"/>
                      <a:pt x="66" y="28"/>
                    </a:cubicBezTo>
                    <a:cubicBezTo>
                      <a:pt x="63" y="24"/>
                      <a:pt x="61" y="31"/>
                      <a:pt x="58" y="30"/>
                    </a:cubicBezTo>
                    <a:cubicBezTo>
                      <a:pt x="55" y="26"/>
                      <a:pt x="51" y="32"/>
                      <a:pt x="48" y="32"/>
                    </a:cubicBezTo>
                    <a:cubicBezTo>
                      <a:pt x="42" y="31"/>
                      <a:pt x="37" y="32"/>
                      <a:pt x="31" y="33"/>
                    </a:cubicBezTo>
                    <a:cubicBezTo>
                      <a:pt x="28" y="31"/>
                      <a:pt x="25" y="35"/>
                      <a:pt x="23" y="32"/>
                    </a:cubicBezTo>
                    <a:cubicBezTo>
                      <a:pt x="20" y="31"/>
                      <a:pt x="18" y="33"/>
                      <a:pt x="16" y="34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19" name="Gabon"/>
              <p:cNvSpPr>
                <a:spLocks/>
              </p:cNvSpPr>
              <p:nvPr/>
            </p:nvSpPr>
            <p:spPr bwMode="auto">
              <a:xfrm>
                <a:off x="4454530" y="4496932"/>
                <a:ext cx="160475" cy="207033"/>
              </a:xfrm>
              <a:custGeom>
                <a:avLst/>
                <a:gdLst>
                  <a:gd name="T0" fmla="*/ 54 w 441"/>
                  <a:gd name="T1" fmla="*/ 169 h 482"/>
                  <a:gd name="T2" fmla="*/ 86 w 441"/>
                  <a:gd name="T3" fmla="*/ 171 h 482"/>
                  <a:gd name="T4" fmla="*/ 47 w 441"/>
                  <a:gd name="T5" fmla="*/ 145 h 482"/>
                  <a:gd name="T6" fmla="*/ 62 w 441"/>
                  <a:gd name="T7" fmla="*/ 129 h 482"/>
                  <a:gd name="T8" fmla="*/ 65 w 441"/>
                  <a:gd name="T9" fmla="*/ 104 h 482"/>
                  <a:gd name="T10" fmla="*/ 200 w 441"/>
                  <a:gd name="T11" fmla="*/ 105 h 482"/>
                  <a:gd name="T12" fmla="*/ 197 w 441"/>
                  <a:gd name="T13" fmla="*/ 16 h 482"/>
                  <a:gd name="T14" fmla="*/ 265 w 441"/>
                  <a:gd name="T15" fmla="*/ 8 h 482"/>
                  <a:gd name="T16" fmla="*/ 347 w 441"/>
                  <a:gd name="T17" fmla="*/ 17 h 482"/>
                  <a:gd name="T18" fmla="*/ 343 w 441"/>
                  <a:gd name="T19" fmla="*/ 78 h 482"/>
                  <a:gd name="T20" fmla="*/ 378 w 441"/>
                  <a:gd name="T21" fmla="*/ 77 h 482"/>
                  <a:gd name="T22" fmla="*/ 435 w 441"/>
                  <a:gd name="T23" fmla="*/ 113 h 482"/>
                  <a:gd name="T24" fmla="*/ 404 w 441"/>
                  <a:gd name="T25" fmla="*/ 149 h 482"/>
                  <a:gd name="T26" fmla="*/ 401 w 441"/>
                  <a:gd name="T27" fmla="*/ 199 h 482"/>
                  <a:gd name="T28" fmla="*/ 435 w 441"/>
                  <a:gd name="T29" fmla="*/ 240 h 482"/>
                  <a:gd name="T30" fmla="*/ 431 w 441"/>
                  <a:gd name="T31" fmla="*/ 301 h 482"/>
                  <a:gd name="T32" fmla="*/ 420 w 441"/>
                  <a:gd name="T33" fmla="*/ 331 h 482"/>
                  <a:gd name="T34" fmla="*/ 396 w 441"/>
                  <a:gd name="T35" fmla="*/ 368 h 482"/>
                  <a:gd name="T36" fmla="*/ 378 w 441"/>
                  <a:gd name="T37" fmla="*/ 347 h 482"/>
                  <a:gd name="T38" fmla="*/ 325 w 441"/>
                  <a:gd name="T39" fmla="*/ 357 h 482"/>
                  <a:gd name="T40" fmla="*/ 286 w 441"/>
                  <a:gd name="T41" fmla="*/ 325 h 482"/>
                  <a:gd name="T42" fmla="*/ 265 w 441"/>
                  <a:gd name="T43" fmla="*/ 361 h 482"/>
                  <a:gd name="T44" fmla="*/ 219 w 441"/>
                  <a:gd name="T45" fmla="*/ 365 h 482"/>
                  <a:gd name="T46" fmla="*/ 226 w 441"/>
                  <a:gd name="T47" fmla="*/ 400 h 482"/>
                  <a:gd name="T48" fmla="*/ 241 w 441"/>
                  <a:gd name="T49" fmla="*/ 439 h 482"/>
                  <a:gd name="T50" fmla="*/ 213 w 441"/>
                  <a:gd name="T51" fmla="*/ 446 h 482"/>
                  <a:gd name="T52" fmla="*/ 181 w 441"/>
                  <a:gd name="T53" fmla="*/ 482 h 482"/>
                  <a:gd name="T54" fmla="*/ 166 w 441"/>
                  <a:gd name="T55" fmla="*/ 459 h 482"/>
                  <a:gd name="T56" fmla="*/ 90 w 441"/>
                  <a:gd name="T57" fmla="*/ 388 h 482"/>
                  <a:gd name="T58" fmla="*/ 41 w 441"/>
                  <a:gd name="T59" fmla="*/ 327 h 482"/>
                  <a:gd name="T60" fmla="*/ 8 w 441"/>
                  <a:gd name="T61" fmla="*/ 246 h 482"/>
                  <a:gd name="T62" fmla="*/ 22 w 441"/>
                  <a:gd name="T63" fmla="*/ 230 h 482"/>
                  <a:gd name="T64" fmla="*/ 41 w 441"/>
                  <a:gd name="T65" fmla="*/ 175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41" h="482">
                    <a:moveTo>
                      <a:pt x="42" y="162"/>
                    </a:moveTo>
                    <a:cubicBezTo>
                      <a:pt x="48" y="162"/>
                      <a:pt x="50" y="166"/>
                      <a:pt x="54" y="169"/>
                    </a:cubicBezTo>
                    <a:cubicBezTo>
                      <a:pt x="60" y="173"/>
                      <a:pt x="67" y="175"/>
                      <a:pt x="74" y="175"/>
                    </a:cubicBezTo>
                    <a:cubicBezTo>
                      <a:pt x="79" y="175"/>
                      <a:pt x="84" y="176"/>
                      <a:pt x="86" y="171"/>
                    </a:cubicBezTo>
                    <a:cubicBezTo>
                      <a:pt x="82" y="166"/>
                      <a:pt x="75" y="167"/>
                      <a:pt x="69" y="165"/>
                    </a:cubicBezTo>
                    <a:cubicBezTo>
                      <a:pt x="61" y="159"/>
                      <a:pt x="52" y="154"/>
                      <a:pt x="47" y="145"/>
                    </a:cubicBezTo>
                    <a:cubicBezTo>
                      <a:pt x="45" y="142"/>
                      <a:pt x="47" y="134"/>
                      <a:pt x="52" y="135"/>
                    </a:cubicBezTo>
                    <a:cubicBezTo>
                      <a:pt x="57" y="136"/>
                      <a:pt x="60" y="134"/>
                      <a:pt x="62" y="129"/>
                    </a:cubicBezTo>
                    <a:cubicBezTo>
                      <a:pt x="63" y="122"/>
                      <a:pt x="61" y="115"/>
                      <a:pt x="62" y="109"/>
                    </a:cubicBezTo>
                    <a:cubicBezTo>
                      <a:pt x="61" y="109"/>
                      <a:pt x="64" y="107"/>
                      <a:pt x="65" y="104"/>
                    </a:cubicBezTo>
                    <a:cubicBezTo>
                      <a:pt x="76" y="89"/>
                      <a:pt x="92" y="119"/>
                      <a:pt x="98" y="105"/>
                    </a:cubicBezTo>
                    <a:cubicBezTo>
                      <a:pt x="132" y="105"/>
                      <a:pt x="166" y="105"/>
                      <a:pt x="200" y="105"/>
                    </a:cubicBezTo>
                    <a:cubicBezTo>
                      <a:pt x="199" y="75"/>
                      <a:pt x="200" y="46"/>
                      <a:pt x="199" y="17"/>
                    </a:cubicBezTo>
                    <a:cubicBezTo>
                      <a:pt x="197" y="16"/>
                      <a:pt x="197" y="16"/>
                      <a:pt x="197" y="16"/>
                    </a:cubicBezTo>
                    <a:cubicBezTo>
                      <a:pt x="201" y="3"/>
                      <a:pt x="217" y="5"/>
                      <a:pt x="227" y="7"/>
                    </a:cubicBezTo>
                    <a:cubicBezTo>
                      <a:pt x="240" y="9"/>
                      <a:pt x="253" y="7"/>
                      <a:pt x="265" y="8"/>
                    </a:cubicBezTo>
                    <a:cubicBezTo>
                      <a:pt x="281" y="3"/>
                      <a:pt x="296" y="13"/>
                      <a:pt x="311" y="11"/>
                    </a:cubicBezTo>
                    <a:cubicBezTo>
                      <a:pt x="323" y="14"/>
                      <a:pt x="344" y="0"/>
                      <a:pt x="347" y="17"/>
                    </a:cubicBezTo>
                    <a:cubicBezTo>
                      <a:pt x="346" y="28"/>
                      <a:pt x="336" y="35"/>
                      <a:pt x="337" y="48"/>
                    </a:cubicBezTo>
                    <a:cubicBezTo>
                      <a:pt x="330" y="59"/>
                      <a:pt x="342" y="67"/>
                      <a:pt x="343" y="78"/>
                    </a:cubicBezTo>
                    <a:cubicBezTo>
                      <a:pt x="340" y="84"/>
                      <a:pt x="334" y="90"/>
                      <a:pt x="345" y="88"/>
                    </a:cubicBezTo>
                    <a:cubicBezTo>
                      <a:pt x="356" y="80"/>
                      <a:pt x="368" y="85"/>
                      <a:pt x="378" y="77"/>
                    </a:cubicBezTo>
                    <a:cubicBezTo>
                      <a:pt x="390" y="68"/>
                      <a:pt x="407" y="75"/>
                      <a:pt x="419" y="79"/>
                    </a:cubicBezTo>
                    <a:cubicBezTo>
                      <a:pt x="421" y="92"/>
                      <a:pt x="429" y="102"/>
                      <a:pt x="435" y="113"/>
                    </a:cubicBezTo>
                    <a:cubicBezTo>
                      <a:pt x="435" y="123"/>
                      <a:pt x="425" y="129"/>
                      <a:pt x="421" y="138"/>
                    </a:cubicBezTo>
                    <a:cubicBezTo>
                      <a:pt x="414" y="140"/>
                      <a:pt x="403" y="137"/>
                      <a:pt x="404" y="149"/>
                    </a:cubicBezTo>
                    <a:cubicBezTo>
                      <a:pt x="390" y="155"/>
                      <a:pt x="390" y="171"/>
                      <a:pt x="395" y="182"/>
                    </a:cubicBezTo>
                    <a:cubicBezTo>
                      <a:pt x="387" y="190"/>
                      <a:pt x="387" y="204"/>
                      <a:pt x="401" y="199"/>
                    </a:cubicBezTo>
                    <a:cubicBezTo>
                      <a:pt x="414" y="197"/>
                      <a:pt x="409" y="219"/>
                      <a:pt x="423" y="214"/>
                    </a:cubicBezTo>
                    <a:cubicBezTo>
                      <a:pt x="436" y="215"/>
                      <a:pt x="441" y="229"/>
                      <a:pt x="435" y="240"/>
                    </a:cubicBezTo>
                    <a:cubicBezTo>
                      <a:pt x="431" y="252"/>
                      <a:pt x="432" y="264"/>
                      <a:pt x="436" y="276"/>
                    </a:cubicBezTo>
                    <a:cubicBezTo>
                      <a:pt x="434" y="285"/>
                      <a:pt x="440" y="295"/>
                      <a:pt x="431" y="301"/>
                    </a:cubicBezTo>
                    <a:cubicBezTo>
                      <a:pt x="429" y="307"/>
                      <a:pt x="438" y="308"/>
                      <a:pt x="432" y="312"/>
                    </a:cubicBezTo>
                    <a:cubicBezTo>
                      <a:pt x="435" y="324"/>
                      <a:pt x="427" y="326"/>
                      <a:pt x="420" y="331"/>
                    </a:cubicBezTo>
                    <a:cubicBezTo>
                      <a:pt x="424" y="342"/>
                      <a:pt x="406" y="349"/>
                      <a:pt x="418" y="357"/>
                    </a:cubicBezTo>
                    <a:cubicBezTo>
                      <a:pt x="412" y="361"/>
                      <a:pt x="407" y="374"/>
                      <a:pt x="396" y="368"/>
                    </a:cubicBezTo>
                    <a:cubicBezTo>
                      <a:pt x="382" y="371"/>
                      <a:pt x="399" y="357"/>
                      <a:pt x="390" y="354"/>
                    </a:cubicBezTo>
                    <a:cubicBezTo>
                      <a:pt x="387" y="347"/>
                      <a:pt x="381" y="332"/>
                      <a:pt x="378" y="347"/>
                    </a:cubicBezTo>
                    <a:cubicBezTo>
                      <a:pt x="370" y="355"/>
                      <a:pt x="361" y="369"/>
                      <a:pt x="348" y="362"/>
                    </a:cubicBezTo>
                    <a:cubicBezTo>
                      <a:pt x="341" y="360"/>
                      <a:pt x="327" y="357"/>
                      <a:pt x="325" y="357"/>
                    </a:cubicBezTo>
                    <a:cubicBezTo>
                      <a:pt x="327" y="346"/>
                      <a:pt x="313" y="342"/>
                      <a:pt x="313" y="330"/>
                    </a:cubicBezTo>
                    <a:cubicBezTo>
                      <a:pt x="308" y="319"/>
                      <a:pt x="292" y="315"/>
                      <a:pt x="286" y="325"/>
                    </a:cubicBezTo>
                    <a:cubicBezTo>
                      <a:pt x="275" y="326"/>
                      <a:pt x="291" y="345"/>
                      <a:pt x="287" y="342"/>
                    </a:cubicBezTo>
                    <a:cubicBezTo>
                      <a:pt x="289" y="357"/>
                      <a:pt x="276" y="360"/>
                      <a:pt x="265" y="361"/>
                    </a:cubicBezTo>
                    <a:cubicBezTo>
                      <a:pt x="253" y="368"/>
                      <a:pt x="244" y="351"/>
                      <a:pt x="233" y="361"/>
                    </a:cubicBezTo>
                    <a:cubicBezTo>
                      <a:pt x="228" y="364"/>
                      <a:pt x="214" y="351"/>
                      <a:pt x="219" y="365"/>
                    </a:cubicBezTo>
                    <a:cubicBezTo>
                      <a:pt x="221" y="375"/>
                      <a:pt x="224" y="385"/>
                      <a:pt x="215" y="393"/>
                    </a:cubicBezTo>
                    <a:cubicBezTo>
                      <a:pt x="214" y="400"/>
                      <a:pt x="225" y="390"/>
                      <a:pt x="226" y="400"/>
                    </a:cubicBezTo>
                    <a:cubicBezTo>
                      <a:pt x="233" y="405"/>
                      <a:pt x="235" y="410"/>
                      <a:pt x="227" y="414"/>
                    </a:cubicBezTo>
                    <a:cubicBezTo>
                      <a:pt x="223" y="428"/>
                      <a:pt x="257" y="426"/>
                      <a:pt x="241" y="439"/>
                    </a:cubicBezTo>
                    <a:cubicBezTo>
                      <a:pt x="236" y="445"/>
                      <a:pt x="240" y="456"/>
                      <a:pt x="241" y="459"/>
                    </a:cubicBezTo>
                    <a:cubicBezTo>
                      <a:pt x="229" y="468"/>
                      <a:pt x="222" y="451"/>
                      <a:pt x="213" y="446"/>
                    </a:cubicBezTo>
                    <a:cubicBezTo>
                      <a:pt x="201" y="453"/>
                      <a:pt x="187" y="459"/>
                      <a:pt x="185" y="476"/>
                    </a:cubicBezTo>
                    <a:cubicBezTo>
                      <a:pt x="181" y="482"/>
                      <a:pt x="181" y="482"/>
                      <a:pt x="181" y="482"/>
                    </a:cubicBezTo>
                    <a:cubicBezTo>
                      <a:pt x="181" y="482"/>
                      <a:pt x="181" y="482"/>
                      <a:pt x="180" y="482"/>
                    </a:cubicBezTo>
                    <a:cubicBezTo>
                      <a:pt x="174" y="475"/>
                      <a:pt x="174" y="464"/>
                      <a:pt x="166" y="459"/>
                    </a:cubicBezTo>
                    <a:cubicBezTo>
                      <a:pt x="154" y="448"/>
                      <a:pt x="145" y="435"/>
                      <a:pt x="133" y="424"/>
                    </a:cubicBezTo>
                    <a:cubicBezTo>
                      <a:pt x="120" y="411"/>
                      <a:pt x="104" y="401"/>
                      <a:pt x="90" y="388"/>
                    </a:cubicBezTo>
                    <a:cubicBezTo>
                      <a:pt x="83" y="380"/>
                      <a:pt x="79" y="370"/>
                      <a:pt x="72" y="363"/>
                    </a:cubicBezTo>
                    <a:cubicBezTo>
                      <a:pt x="62" y="351"/>
                      <a:pt x="53" y="337"/>
                      <a:pt x="41" y="327"/>
                    </a:cubicBezTo>
                    <a:cubicBezTo>
                      <a:pt x="34" y="311"/>
                      <a:pt x="27" y="295"/>
                      <a:pt x="22" y="278"/>
                    </a:cubicBezTo>
                    <a:cubicBezTo>
                      <a:pt x="18" y="267"/>
                      <a:pt x="13" y="257"/>
                      <a:pt x="8" y="246"/>
                    </a:cubicBezTo>
                    <a:cubicBezTo>
                      <a:pt x="6" y="243"/>
                      <a:pt x="0" y="237"/>
                      <a:pt x="8" y="238"/>
                    </a:cubicBezTo>
                    <a:cubicBezTo>
                      <a:pt x="13" y="236"/>
                      <a:pt x="19" y="235"/>
                      <a:pt x="22" y="230"/>
                    </a:cubicBezTo>
                    <a:cubicBezTo>
                      <a:pt x="25" y="224"/>
                      <a:pt x="31" y="218"/>
                      <a:pt x="37" y="214"/>
                    </a:cubicBezTo>
                    <a:cubicBezTo>
                      <a:pt x="40" y="201"/>
                      <a:pt x="41" y="188"/>
                      <a:pt x="41" y="175"/>
                    </a:cubicBezTo>
                    <a:cubicBezTo>
                      <a:pt x="42" y="171"/>
                      <a:pt x="40" y="165"/>
                      <a:pt x="42" y="162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20" name="French Guiana"/>
              <p:cNvSpPr>
                <a:spLocks/>
              </p:cNvSpPr>
              <p:nvPr>
                <p:custDataLst>
                  <p:tags r:id="rId97"/>
                </p:custDataLst>
              </p:nvPr>
            </p:nvSpPr>
            <p:spPr bwMode="auto">
              <a:xfrm>
                <a:off x="2818710" y="4384789"/>
                <a:ext cx="62120" cy="122495"/>
              </a:xfrm>
              <a:custGeom>
                <a:avLst/>
                <a:gdLst/>
                <a:ahLst/>
                <a:cxnLst>
                  <a:cxn ang="0">
                    <a:pos x="11" y="11"/>
                  </a:cxn>
                  <a:cxn ang="0">
                    <a:pos x="5" y="22"/>
                  </a:cxn>
                  <a:cxn ang="0">
                    <a:pos x="0" y="22"/>
                  </a:cxn>
                  <a:cxn ang="0">
                    <a:pos x="0" y="13"/>
                  </a:cxn>
                  <a:cxn ang="0">
                    <a:pos x="0" y="6"/>
                  </a:cxn>
                  <a:cxn ang="0">
                    <a:pos x="0" y="0"/>
                  </a:cxn>
                  <a:cxn ang="0">
                    <a:pos x="5" y="6"/>
                  </a:cxn>
                  <a:cxn ang="0">
                    <a:pos x="11" y="11"/>
                  </a:cxn>
                </a:cxnLst>
                <a:rect l="0" t="0" r="r" b="b"/>
                <a:pathLst>
                  <a:path w="11" h="22">
                    <a:moveTo>
                      <a:pt x="11" y="11"/>
                    </a:moveTo>
                    <a:lnTo>
                      <a:pt x="5" y="22"/>
                    </a:lnTo>
                    <a:lnTo>
                      <a:pt x="0" y="22"/>
                    </a:lnTo>
                    <a:lnTo>
                      <a:pt x="0" y="13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5" y="6"/>
                    </a:lnTo>
                    <a:lnTo>
                      <a:pt x="11" y="11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304" name="France"/>
              <p:cNvSpPr>
                <a:spLocks/>
              </p:cNvSpPr>
              <p:nvPr>
                <p:custDataLst>
                  <p:tags r:id="rId98"/>
                </p:custDataLst>
              </p:nvPr>
            </p:nvSpPr>
            <p:spPr bwMode="auto">
              <a:xfrm>
                <a:off x="4161636" y="2924731"/>
                <a:ext cx="294018" cy="278672"/>
              </a:xfrm>
              <a:custGeom>
                <a:avLst/>
                <a:gdLst>
                  <a:gd name="T0" fmla="*/ 294018 w 53"/>
                  <a:gd name="T1" fmla="*/ 117042 h 50"/>
                  <a:gd name="T2" fmla="*/ 294018 w 53"/>
                  <a:gd name="T3" fmla="*/ 89175 h 50"/>
                  <a:gd name="T4" fmla="*/ 255185 w 53"/>
                  <a:gd name="T5" fmla="*/ 50161 h 50"/>
                  <a:gd name="T6" fmla="*/ 244090 w 53"/>
                  <a:gd name="T7" fmla="*/ 50161 h 50"/>
                  <a:gd name="T8" fmla="*/ 221900 w 53"/>
                  <a:gd name="T9" fmla="*/ 50161 h 50"/>
                  <a:gd name="T10" fmla="*/ 221900 w 53"/>
                  <a:gd name="T11" fmla="*/ 39014 h 50"/>
                  <a:gd name="T12" fmla="*/ 210805 w 53"/>
                  <a:gd name="T13" fmla="*/ 50161 h 50"/>
                  <a:gd name="T14" fmla="*/ 177520 w 53"/>
                  <a:gd name="T15" fmla="*/ 16720 h 50"/>
                  <a:gd name="T16" fmla="*/ 177520 w 53"/>
                  <a:gd name="T17" fmla="*/ 0 h 50"/>
                  <a:gd name="T18" fmla="*/ 166425 w 53"/>
                  <a:gd name="T19" fmla="*/ 16720 h 50"/>
                  <a:gd name="T20" fmla="*/ 155330 w 53"/>
                  <a:gd name="T21" fmla="*/ 39014 h 50"/>
                  <a:gd name="T22" fmla="*/ 116498 w 53"/>
                  <a:gd name="T23" fmla="*/ 50161 h 50"/>
                  <a:gd name="T24" fmla="*/ 116498 w 53"/>
                  <a:gd name="T25" fmla="*/ 66881 h 50"/>
                  <a:gd name="T26" fmla="*/ 83213 w 53"/>
                  <a:gd name="T27" fmla="*/ 66881 h 50"/>
                  <a:gd name="T28" fmla="*/ 83213 w 53"/>
                  <a:gd name="T29" fmla="*/ 50161 h 50"/>
                  <a:gd name="T30" fmla="*/ 72118 w 53"/>
                  <a:gd name="T31" fmla="*/ 50161 h 50"/>
                  <a:gd name="T32" fmla="*/ 83213 w 53"/>
                  <a:gd name="T33" fmla="*/ 89175 h 50"/>
                  <a:gd name="T34" fmla="*/ 49928 w 53"/>
                  <a:gd name="T35" fmla="*/ 89175 h 50"/>
                  <a:gd name="T36" fmla="*/ 38833 w 53"/>
                  <a:gd name="T37" fmla="*/ 89175 h 50"/>
                  <a:gd name="T38" fmla="*/ 0 w 53"/>
                  <a:gd name="T39" fmla="*/ 89175 h 50"/>
                  <a:gd name="T40" fmla="*/ 0 w 53"/>
                  <a:gd name="T41" fmla="*/ 100322 h 50"/>
                  <a:gd name="T42" fmla="*/ 49928 w 53"/>
                  <a:gd name="T43" fmla="*/ 117042 h 50"/>
                  <a:gd name="T44" fmla="*/ 83213 w 53"/>
                  <a:gd name="T45" fmla="*/ 150483 h 50"/>
                  <a:gd name="T46" fmla="*/ 83213 w 53"/>
                  <a:gd name="T47" fmla="*/ 167203 h 50"/>
                  <a:gd name="T48" fmla="*/ 72118 w 53"/>
                  <a:gd name="T49" fmla="*/ 239658 h 50"/>
                  <a:gd name="T50" fmla="*/ 72118 w 53"/>
                  <a:gd name="T51" fmla="*/ 250805 h 50"/>
                  <a:gd name="T52" fmla="*/ 94308 w 53"/>
                  <a:gd name="T53" fmla="*/ 278672 h 50"/>
                  <a:gd name="T54" fmla="*/ 177520 w 53"/>
                  <a:gd name="T55" fmla="*/ 278672 h 50"/>
                  <a:gd name="T56" fmla="*/ 199710 w 53"/>
                  <a:gd name="T57" fmla="*/ 250805 h 50"/>
                  <a:gd name="T58" fmla="*/ 255185 w 53"/>
                  <a:gd name="T59" fmla="*/ 250805 h 50"/>
                  <a:gd name="T60" fmla="*/ 294018 w 53"/>
                  <a:gd name="T61" fmla="*/ 239658 h 50"/>
                  <a:gd name="T62" fmla="*/ 255185 w 53"/>
                  <a:gd name="T63" fmla="*/ 200644 h 50"/>
                  <a:gd name="T64" fmla="*/ 266280 w 53"/>
                  <a:gd name="T65" fmla="*/ 167203 h 50"/>
                  <a:gd name="T66" fmla="*/ 255185 w 53"/>
                  <a:gd name="T67" fmla="*/ 150483 h 50"/>
                  <a:gd name="T68" fmla="*/ 255185 w 53"/>
                  <a:gd name="T69" fmla="*/ 167203 h 50"/>
                  <a:gd name="T70" fmla="*/ 244090 w 53"/>
                  <a:gd name="T71" fmla="*/ 150483 h 50"/>
                  <a:gd name="T72" fmla="*/ 266280 w 53"/>
                  <a:gd name="T73" fmla="*/ 117042 h 50"/>
                  <a:gd name="T74" fmla="*/ 282923 w 53"/>
                  <a:gd name="T75" fmla="*/ 117042 h 50"/>
                  <a:gd name="T76" fmla="*/ 294018 w 53"/>
                  <a:gd name="T77" fmla="*/ 117042 h 50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53"/>
                  <a:gd name="T118" fmla="*/ 0 h 50"/>
                  <a:gd name="T119" fmla="*/ 53 w 53"/>
                  <a:gd name="T120" fmla="*/ 50 h 50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53" h="50">
                    <a:moveTo>
                      <a:pt x="53" y="21"/>
                    </a:moveTo>
                    <a:lnTo>
                      <a:pt x="53" y="16"/>
                    </a:lnTo>
                    <a:lnTo>
                      <a:pt x="46" y="9"/>
                    </a:lnTo>
                    <a:lnTo>
                      <a:pt x="44" y="9"/>
                    </a:lnTo>
                    <a:lnTo>
                      <a:pt x="40" y="9"/>
                    </a:lnTo>
                    <a:lnTo>
                      <a:pt x="40" y="7"/>
                    </a:lnTo>
                    <a:lnTo>
                      <a:pt x="38" y="9"/>
                    </a:lnTo>
                    <a:lnTo>
                      <a:pt x="32" y="3"/>
                    </a:lnTo>
                    <a:lnTo>
                      <a:pt x="32" y="0"/>
                    </a:lnTo>
                    <a:lnTo>
                      <a:pt x="30" y="3"/>
                    </a:lnTo>
                    <a:lnTo>
                      <a:pt x="28" y="7"/>
                    </a:lnTo>
                    <a:lnTo>
                      <a:pt x="21" y="9"/>
                    </a:lnTo>
                    <a:lnTo>
                      <a:pt x="21" y="12"/>
                    </a:lnTo>
                    <a:lnTo>
                      <a:pt x="15" y="12"/>
                    </a:lnTo>
                    <a:lnTo>
                      <a:pt x="15" y="9"/>
                    </a:lnTo>
                    <a:lnTo>
                      <a:pt x="13" y="9"/>
                    </a:lnTo>
                    <a:lnTo>
                      <a:pt x="15" y="16"/>
                    </a:lnTo>
                    <a:lnTo>
                      <a:pt x="9" y="16"/>
                    </a:lnTo>
                    <a:lnTo>
                      <a:pt x="7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9" y="21"/>
                    </a:lnTo>
                    <a:lnTo>
                      <a:pt x="15" y="27"/>
                    </a:lnTo>
                    <a:lnTo>
                      <a:pt x="15" y="30"/>
                    </a:lnTo>
                    <a:lnTo>
                      <a:pt x="13" y="43"/>
                    </a:lnTo>
                    <a:lnTo>
                      <a:pt x="13" y="45"/>
                    </a:lnTo>
                    <a:lnTo>
                      <a:pt x="17" y="50"/>
                    </a:lnTo>
                    <a:lnTo>
                      <a:pt x="32" y="50"/>
                    </a:lnTo>
                    <a:lnTo>
                      <a:pt x="36" y="45"/>
                    </a:lnTo>
                    <a:lnTo>
                      <a:pt x="46" y="45"/>
                    </a:lnTo>
                    <a:lnTo>
                      <a:pt x="53" y="43"/>
                    </a:lnTo>
                    <a:lnTo>
                      <a:pt x="46" y="36"/>
                    </a:lnTo>
                    <a:lnTo>
                      <a:pt x="48" y="30"/>
                    </a:lnTo>
                    <a:lnTo>
                      <a:pt x="46" y="27"/>
                    </a:lnTo>
                    <a:lnTo>
                      <a:pt x="46" y="30"/>
                    </a:lnTo>
                    <a:lnTo>
                      <a:pt x="44" y="27"/>
                    </a:lnTo>
                    <a:lnTo>
                      <a:pt x="48" y="21"/>
                    </a:lnTo>
                    <a:lnTo>
                      <a:pt x="51" y="21"/>
                    </a:lnTo>
                    <a:lnTo>
                      <a:pt x="53" y="21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22" name="Finland"/>
              <p:cNvSpPr>
                <a:spLocks/>
              </p:cNvSpPr>
              <p:nvPr>
                <p:custDataLst>
                  <p:tags r:id="rId99"/>
                </p:custDataLst>
              </p:nvPr>
            </p:nvSpPr>
            <p:spPr bwMode="auto">
              <a:xfrm>
                <a:off x="4694381" y="2373122"/>
                <a:ext cx="243303" cy="300197"/>
              </a:xfrm>
              <a:custGeom>
                <a:avLst/>
                <a:gdLst/>
                <a:ahLst/>
                <a:cxnLst>
                  <a:cxn ang="0">
                    <a:pos x="32" y="7"/>
                  </a:cxn>
                  <a:cxn ang="0">
                    <a:pos x="30" y="7"/>
                  </a:cxn>
                  <a:cxn ang="0">
                    <a:pos x="30" y="12"/>
                  </a:cxn>
                  <a:cxn ang="0">
                    <a:pos x="36" y="14"/>
                  </a:cxn>
                  <a:cxn ang="0">
                    <a:pos x="36" y="16"/>
                  </a:cxn>
                  <a:cxn ang="0">
                    <a:pos x="38" y="23"/>
                  </a:cxn>
                  <a:cxn ang="0">
                    <a:pos x="38" y="25"/>
                  </a:cxn>
                  <a:cxn ang="0">
                    <a:pos x="40" y="30"/>
                  </a:cxn>
                  <a:cxn ang="0">
                    <a:pos x="40" y="32"/>
                  </a:cxn>
                  <a:cxn ang="0">
                    <a:pos x="44" y="39"/>
                  </a:cxn>
                  <a:cxn ang="0">
                    <a:pos x="32" y="50"/>
                  </a:cxn>
                  <a:cxn ang="0">
                    <a:pos x="19" y="54"/>
                  </a:cxn>
                  <a:cxn ang="0">
                    <a:pos x="11" y="50"/>
                  </a:cxn>
                  <a:cxn ang="0">
                    <a:pos x="11" y="43"/>
                  </a:cxn>
                  <a:cxn ang="0">
                    <a:pos x="7" y="39"/>
                  </a:cxn>
                  <a:cxn ang="0">
                    <a:pos x="11" y="39"/>
                  </a:cxn>
                  <a:cxn ang="0">
                    <a:pos x="21" y="25"/>
                  </a:cxn>
                  <a:cxn ang="0">
                    <a:pos x="21" y="23"/>
                  </a:cxn>
                  <a:cxn ang="0">
                    <a:pos x="19" y="23"/>
                  </a:cxn>
                  <a:cxn ang="0">
                    <a:pos x="15" y="23"/>
                  </a:cxn>
                  <a:cxn ang="0">
                    <a:pos x="13" y="12"/>
                  </a:cxn>
                  <a:cxn ang="0">
                    <a:pos x="0" y="7"/>
                  </a:cxn>
                  <a:cxn ang="0">
                    <a:pos x="5" y="5"/>
                  </a:cxn>
                  <a:cxn ang="0">
                    <a:pos x="11" y="7"/>
                  </a:cxn>
                  <a:cxn ang="0">
                    <a:pos x="19" y="7"/>
                  </a:cxn>
                  <a:cxn ang="0">
                    <a:pos x="21" y="7"/>
                  </a:cxn>
                  <a:cxn ang="0">
                    <a:pos x="21" y="0"/>
                  </a:cxn>
                  <a:cxn ang="0">
                    <a:pos x="28" y="0"/>
                  </a:cxn>
                  <a:cxn ang="0">
                    <a:pos x="32" y="5"/>
                  </a:cxn>
                  <a:cxn ang="0">
                    <a:pos x="32" y="7"/>
                  </a:cxn>
                </a:cxnLst>
                <a:rect l="0" t="0" r="r" b="b"/>
                <a:pathLst>
                  <a:path w="44" h="54">
                    <a:moveTo>
                      <a:pt x="32" y="7"/>
                    </a:moveTo>
                    <a:lnTo>
                      <a:pt x="30" y="7"/>
                    </a:lnTo>
                    <a:lnTo>
                      <a:pt x="30" y="12"/>
                    </a:lnTo>
                    <a:lnTo>
                      <a:pt x="36" y="14"/>
                    </a:lnTo>
                    <a:lnTo>
                      <a:pt x="36" y="16"/>
                    </a:lnTo>
                    <a:lnTo>
                      <a:pt x="38" y="23"/>
                    </a:lnTo>
                    <a:lnTo>
                      <a:pt x="38" y="25"/>
                    </a:lnTo>
                    <a:lnTo>
                      <a:pt x="40" y="30"/>
                    </a:lnTo>
                    <a:lnTo>
                      <a:pt x="40" y="32"/>
                    </a:lnTo>
                    <a:lnTo>
                      <a:pt x="44" y="39"/>
                    </a:lnTo>
                    <a:lnTo>
                      <a:pt x="32" y="50"/>
                    </a:lnTo>
                    <a:lnTo>
                      <a:pt x="19" y="54"/>
                    </a:lnTo>
                    <a:lnTo>
                      <a:pt x="11" y="50"/>
                    </a:lnTo>
                    <a:lnTo>
                      <a:pt x="11" y="43"/>
                    </a:lnTo>
                    <a:lnTo>
                      <a:pt x="7" y="39"/>
                    </a:lnTo>
                    <a:lnTo>
                      <a:pt x="11" y="39"/>
                    </a:lnTo>
                    <a:lnTo>
                      <a:pt x="21" y="25"/>
                    </a:lnTo>
                    <a:lnTo>
                      <a:pt x="21" y="23"/>
                    </a:lnTo>
                    <a:lnTo>
                      <a:pt x="19" y="23"/>
                    </a:lnTo>
                    <a:lnTo>
                      <a:pt x="15" y="23"/>
                    </a:lnTo>
                    <a:lnTo>
                      <a:pt x="13" y="12"/>
                    </a:lnTo>
                    <a:lnTo>
                      <a:pt x="0" y="7"/>
                    </a:lnTo>
                    <a:lnTo>
                      <a:pt x="5" y="5"/>
                    </a:lnTo>
                    <a:lnTo>
                      <a:pt x="11" y="7"/>
                    </a:lnTo>
                    <a:lnTo>
                      <a:pt x="19" y="7"/>
                    </a:lnTo>
                    <a:lnTo>
                      <a:pt x="21" y="7"/>
                    </a:lnTo>
                    <a:lnTo>
                      <a:pt x="21" y="0"/>
                    </a:lnTo>
                    <a:lnTo>
                      <a:pt x="28" y="0"/>
                    </a:lnTo>
                    <a:lnTo>
                      <a:pt x="32" y="5"/>
                    </a:lnTo>
                    <a:lnTo>
                      <a:pt x="32" y="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23" name="Ethiopia"/>
              <p:cNvSpPr>
                <a:spLocks/>
              </p:cNvSpPr>
              <p:nvPr/>
            </p:nvSpPr>
            <p:spPr bwMode="auto">
              <a:xfrm>
                <a:off x="5115414" y="4081141"/>
                <a:ext cx="400327" cy="377835"/>
              </a:xfrm>
              <a:custGeom>
                <a:avLst/>
                <a:gdLst>
                  <a:gd name="T0" fmla="*/ 676 w 1102"/>
                  <a:gd name="T1" fmla="*/ 174 h 879"/>
                  <a:gd name="T2" fmla="*/ 658 w 1102"/>
                  <a:gd name="T3" fmla="*/ 209 h 879"/>
                  <a:gd name="T4" fmla="*/ 640 w 1102"/>
                  <a:gd name="T5" fmla="*/ 268 h 879"/>
                  <a:gd name="T6" fmla="*/ 688 w 1102"/>
                  <a:gd name="T7" fmla="*/ 287 h 879"/>
                  <a:gd name="T8" fmla="*/ 722 w 1102"/>
                  <a:gd name="T9" fmla="*/ 288 h 879"/>
                  <a:gd name="T10" fmla="*/ 717 w 1102"/>
                  <a:gd name="T11" fmla="*/ 300 h 879"/>
                  <a:gd name="T12" fmla="*/ 732 w 1102"/>
                  <a:gd name="T13" fmla="*/ 359 h 879"/>
                  <a:gd name="T14" fmla="*/ 775 w 1102"/>
                  <a:gd name="T15" fmla="*/ 416 h 879"/>
                  <a:gd name="T16" fmla="*/ 1032 w 1102"/>
                  <a:gd name="T17" fmla="*/ 516 h 879"/>
                  <a:gd name="T18" fmla="*/ 1006 w 1102"/>
                  <a:gd name="T19" fmla="*/ 624 h 879"/>
                  <a:gd name="T20" fmla="*/ 848 w 1102"/>
                  <a:gd name="T21" fmla="*/ 759 h 879"/>
                  <a:gd name="T22" fmla="*/ 764 w 1102"/>
                  <a:gd name="T23" fmla="*/ 781 h 879"/>
                  <a:gd name="T24" fmla="*/ 705 w 1102"/>
                  <a:gd name="T25" fmla="*/ 818 h 879"/>
                  <a:gd name="T26" fmla="*/ 673 w 1102"/>
                  <a:gd name="T27" fmla="*/ 835 h 879"/>
                  <a:gd name="T28" fmla="*/ 609 w 1102"/>
                  <a:gd name="T29" fmla="*/ 829 h 879"/>
                  <a:gd name="T30" fmla="*/ 553 w 1102"/>
                  <a:gd name="T31" fmla="*/ 830 h 879"/>
                  <a:gd name="T32" fmla="*/ 502 w 1102"/>
                  <a:gd name="T33" fmla="*/ 879 h 879"/>
                  <a:gd name="T34" fmla="*/ 425 w 1102"/>
                  <a:gd name="T35" fmla="*/ 864 h 879"/>
                  <a:gd name="T36" fmla="*/ 323 w 1102"/>
                  <a:gd name="T37" fmla="*/ 816 h 879"/>
                  <a:gd name="T38" fmla="*/ 232 w 1102"/>
                  <a:gd name="T39" fmla="*/ 789 h 879"/>
                  <a:gd name="T40" fmla="*/ 219 w 1102"/>
                  <a:gd name="T41" fmla="*/ 769 h 879"/>
                  <a:gd name="T42" fmla="*/ 186 w 1102"/>
                  <a:gd name="T43" fmla="*/ 733 h 879"/>
                  <a:gd name="T44" fmla="*/ 158 w 1102"/>
                  <a:gd name="T45" fmla="*/ 685 h 879"/>
                  <a:gd name="T46" fmla="*/ 120 w 1102"/>
                  <a:gd name="T47" fmla="*/ 617 h 879"/>
                  <a:gd name="T48" fmla="*/ 72 w 1102"/>
                  <a:gd name="T49" fmla="*/ 568 h 879"/>
                  <a:gd name="T50" fmla="*/ 9 w 1102"/>
                  <a:gd name="T51" fmla="*/ 534 h 879"/>
                  <a:gd name="T52" fmla="*/ 54 w 1102"/>
                  <a:gd name="T53" fmla="*/ 498 h 879"/>
                  <a:gd name="T54" fmla="*/ 88 w 1102"/>
                  <a:gd name="T55" fmla="*/ 456 h 879"/>
                  <a:gd name="T56" fmla="*/ 94 w 1102"/>
                  <a:gd name="T57" fmla="*/ 375 h 879"/>
                  <a:gd name="T58" fmla="*/ 120 w 1102"/>
                  <a:gd name="T59" fmla="*/ 313 h 879"/>
                  <a:gd name="T60" fmla="*/ 144 w 1102"/>
                  <a:gd name="T61" fmla="*/ 293 h 879"/>
                  <a:gd name="T62" fmla="*/ 168 w 1102"/>
                  <a:gd name="T63" fmla="*/ 214 h 879"/>
                  <a:gd name="T64" fmla="*/ 222 w 1102"/>
                  <a:gd name="T65" fmla="*/ 167 h 879"/>
                  <a:gd name="T66" fmla="*/ 240 w 1102"/>
                  <a:gd name="T67" fmla="*/ 83 h 879"/>
                  <a:gd name="T68" fmla="*/ 242 w 1102"/>
                  <a:gd name="T69" fmla="*/ 50 h 879"/>
                  <a:gd name="T70" fmla="*/ 304 w 1102"/>
                  <a:gd name="T71" fmla="*/ 44 h 879"/>
                  <a:gd name="T72" fmla="*/ 338 w 1102"/>
                  <a:gd name="T73" fmla="*/ 0 h 879"/>
                  <a:gd name="T74" fmla="*/ 398 w 1102"/>
                  <a:gd name="T75" fmla="*/ 31 h 879"/>
                  <a:gd name="T76" fmla="*/ 444 w 1102"/>
                  <a:gd name="T77" fmla="*/ 27 h 879"/>
                  <a:gd name="T78" fmla="*/ 499 w 1102"/>
                  <a:gd name="T79" fmla="*/ 28 h 879"/>
                  <a:gd name="T80" fmla="*/ 564 w 1102"/>
                  <a:gd name="T81" fmla="*/ 63 h 879"/>
                  <a:gd name="T82" fmla="*/ 628 w 1102"/>
                  <a:gd name="T83" fmla="*/ 123 h 879"/>
                  <a:gd name="T84" fmla="*/ 672 w 1102"/>
                  <a:gd name="T85" fmla="*/ 173 h 8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102" h="879">
                    <a:moveTo>
                      <a:pt x="672" y="173"/>
                    </a:moveTo>
                    <a:cubicBezTo>
                      <a:pt x="673" y="174"/>
                      <a:pt x="674" y="174"/>
                      <a:pt x="676" y="174"/>
                    </a:cubicBezTo>
                    <a:cubicBezTo>
                      <a:pt x="676" y="177"/>
                      <a:pt x="676" y="177"/>
                      <a:pt x="676" y="177"/>
                    </a:cubicBezTo>
                    <a:cubicBezTo>
                      <a:pt x="670" y="187"/>
                      <a:pt x="664" y="198"/>
                      <a:pt x="658" y="209"/>
                    </a:cubicBezTo>
                    <a:cubicBezTo>
                      <a:pt x="653" y="219"/>
                      <a:pt x="647" y="228"/>
                      <a:pt x="638" y="236"/>
                    </a:cubicBezTo>
                    <a:cubicBezTo>
                      <a:pt x="635" y="247"/>
                      <a:pt x="635" y="257"/>
                      <a:pt x="640" y="268"/>
                    </a:cubicBezTo>
                    <a:cubicBezTo>
                      <a:pt x="643" y="278"/>
                      <a:pt x="634" y="296"/>
                      <a:pt x="651" y="295"/>
                    </a:cubicBezTo>
                    <a:cubicBezTo>
                      <a:pt x="663" y="293"/>
                      <a:pt x="676" y="291"/>
                      <a:pt x="688" y="287"/>
                    </a:cubicBezTo>
                    <a:cubicBezTo>
                      <a:pt x="699" y="278"/>
                      <a:pt x="710" y="287"/>
                      <a:pt x="719" y="291"/>
                    </a:cubicBezTo>
                    <a:cubicBezTo>
                      <a:pt x="720" y="290"/>
                      <a:pt x="721" y="289"/>
                      <a:pt x="722" y="288"/>
                    </a:cubicBezTo>
                    <a:cubicBezTo>
                      <a:pt x="723" y="289"/>
                      <a:pt x="723" y="289"/>
                      <a:pt x="723" y="289"/>
                    </a:cubicBezTo>
                    <a:cubicBezTo>
                      <a:pt x="722" y="294"/>
                      <a:pt x="721" y="296"/>
                      <a:pt x="717" y="300"/>
                    </a:cubicBezTo>
                    <a:cubicBezTo>
                      <a:pt x="711" y="310"/>
                      <a:pt x="700" y="323"/>
                      <a:pt x="714" y="332"/>
                    </a:cubicBezTo>
                    <a:cubicBezTo>
                      <a:pt x="717" y="343"/>
                      <a:pt x="721" y="354"/>
                      <a:pt x="732" y="359"/>
                    </a:cubicBezTo>
                    <a:cubicBezTo>
                      <a:pt x="734" y="374"/>
                      <a:pt x="754" y="372"/>
                      <a:pt x="752" y="389"/>
                    </a:cubicBezTo>
                    <a:cubicBezTo>
                      <a:pt x="761" y="397"/>
                      <a:pt x="765" y="410"/>
                      <a:pt x="775" y="416"/>
                    </a:cubicBezTo>
                    <a:cubicBezTo>
                      <a:pt x="790" y="417"/>
                      <a:pt x="798" y="434"/>
                      <a:pt x="810" y="442"/>
                    </a:cubicBezTo>
                    <a:cubicBezTo>
                      <a:pt x="885" y="466"/>
                      <a:pt x="958" y="491"/>
                      <a:pt x="1032" y="516"/>
                    </a:cubicBezTo>
                    <a:cubicBezTo>
                      <a:pt x="1055" y="516"/>
                      <a:pt x="1079" y="515"/>
                      <a:pt x="1102" y="515"/>
                    </a:cubicBezTo>
                    <a:cubicBezTo>
                      <a:pt x="1070" y="551"/>
                      <a:pt x="1037" y="586"/>
                      <a:pt x="1006" y="624"/>
                    </a:cubicBezTo>
                    <a:cubicBezTo>
                      <a:pt x="967" y="668"/>
                      <a:pt x="931" y="715"/>
                      <a:pt x="893" y="761"/>
                    </a:cubicBezTo>
                    <a:cubicBezTo>
                      <a:pt x="878" y="760"/>
                      <a:pt x="863" y="759"/>
                      <a:pt x="848" y="759"/>
                    </a:cubicBezTo>
                    <a:cubicBezTo>
                      <a:pt x="836" y="758"/>
                      <a:pt x="824" y="756"/>
                      <a:pt x="813" y="761"/>
                    </a:cubicBezTo>
                    <a:cubicBezTo>
                      <a:pt x="796" y="763"/>
                      <a:pt x="779" y="772"/>
                      <a:pt x="764" y="781"/>
                    </a:cubicBezTo>
                    <a:cubicBezTo>
                      <a:pt x="749" y="786"/>
                      <a:pt x="751" y="804"/>
                      <a:pt x="739" y="811"/>
                    </a:cubicBezTo>
                    <a:cubicBezTo>
                      <a:pt x="728" y="812"/>
                      <a:pt x="716" y="816"/>
                      <a:pt x="705" y="818"/>
                    </a:cubicBezTo>
                    <a:cubicBezTo>
                      <a:pt x="694" y="816"/>
                      <a:pt x="683" y="819"/>
                      <a:pt x="677" y="828"/>
                    </a:cubicBezTo>
                    <a:cubicBezTo>
                      <a:pt x="676" y="832"/>
                      <a:pt x="675" y="834"/>
                      <a:pt x="673" y="835"/>
                    </a:cubicBezTo>
                    <a:cubicBezTo>
                      <a:pt x="668" y="839"/>
                      <a:pt x="659" y="833"/>
                      <a:pt x="652" y="835"/>
                    </a:cubicBezTo>
                    <a:cubicBezTo>
                      <a:pt x="638" y="837"/>
                      <a:pt x="617" y="845"/>
                      <a:pt x="609" y="829"/>
                    </a:cubicBezTo>
                    <a:cubicBezTo>
                      <a:pt x="601" y="826"/>
                      <a:pt x="594" y="808"/>
                      <a:pt x="584" y="816"/>
                    </a:cubicBezTo>
                    <a:cubicBezTo>
                      <a:pt x="573" y="820"/>
                      <a:pt x="563" y="825"/>
                      <a:pt x="553" y="830"/>
                    </a:cubicBezTo>
                    <a:cubicBezTo>
                      <a:pt x="542" y="836"/>
                      <a:pt x="528" y="840"/>
                      <a:pt x="521" y="851"/>
                    </a:cubicBezTo>
                    <a:cubicBezTo>
                      <a:pt x="520" y="863"/>
                      <a:pt x="505" y="868"/>
                      <a:pt x="502" y="879"/>
                    </a:cubicBezTo>
                    <a:cubicBezTo>
                      <a:pt x="491" y="876"/>
                      <a:pt x="478" y="876"/>
                      <a:pt x="465" y="872"/>
                    </a:cubicBezTo>
                    <a:cubicBezTo>
                      <a:pt x="450" y="875"/>
                      <a:pt x="439" y="866"/>
                      <a:pt x="425" y="864"/>
                    </a:cubicBezTo>
                    <a:cubicBezTo>
                      <a:pt x="412" y="868"/>
                      <a:pt x="394" y="869"/>
                      <a:pt x="385" y="857"/>
                    </a:cubicBezTo>
                    <a:cubicBezTo>
                      <a:pt x="364" y="843"/>
                      <a:pt x="344" y="829"/>
                      <a:pt x="323" y="816"/>
                    </a:cubicBezTo>
                    <a:cubicBezTo>
                      <a:pt x="310" y="801"/>
                      <a:pt x="291" y="803"/>
                      <a:pt x="274" y="803"/>
                    </a:cubicBezTo>
                    <a:cubicBezTo>
                      <a:pt x="260" y="801"/>
                      <a:pt x="234" y="810"/>
                      <a:pt x="232" y="789"/>
                    </a:cubicBezTo>
                    <a:cubicBezTo>
                      <a:pt x="227" y="789"/>
                      <a:pt x="227" y="789"/>
                      <a:pt x="227" y="789"/>
                    </a:cubicBezTo>
                    <a:cubicBezTo>
                      <a:pt x="235" y="786"/>
                      <a:pt x="215" y="778"/>
                      <a:pt x="219" y="769"/>
                    </a:cubicBezTo>
                    <a:cubicBezTo>
                      <a:pt x="216" y="757"/>
                      <a:pt x="229" y="740"/>
                      <a:pt x="216" y="733"/>
                    </a:cubicBezTo>
                    <a:cubicBezTo>
                      <a:pt x="206" y="731"/>
                      <a:pt x="195" y="724"/>
                      <a:pt x="186" y="733"/>
                    </a:cubicBezTo>
                    <a:cubicBezTo>
                      <a:pt x="179" y="729"/>
                      <a:pt x="183" y="717"/>
                      <a:pt x="172" y="715"/>
                    </a:cubicBezTo>
                    <a:cubicBezTo>
                      <a:pt x="166" y="706"/>
                      <a:pt x="159" y="697"/>
                      <a:pt x="158" y="685"/>
                    </a:cubicBezTo>
                    <a:cubicBezTo>
                      <a:pt x="154" y="671"/>
                      <a:pt x="146" y="658"/>
                      <a:pt x="142" y="644"/>
                    </a:cubicBezTo>
                    <a:cubicBezTo>
                      <a:pt x="142" y="628"/>
                      <a:pt x="120" y="632"/>
                      <a:pt x="120" y="617"/>
                    </a:cubicBezTo>
                    <a:cubicBezTo>
                      <a:pt x="111" y="611"/>
                      <a:pt x="98" y="610"/>
                      <a:pt x="95" y="596"/>
                    </a:cubicBezTo>
                    <a:cubicBezTo>
                      <a:pt x="81" y="593"/>
                      <a:pt x="87" y="573"/>
                      <a:pt x="72" y="568"/>
                    </a:cubicBezTo>
                    <a:cubicBezTo>
                      <a:pt x="60" y="558"/>
                      <a:pt x="46" y="551"/>
                      <a:pt x="29" y="553"/>
                    </a:cubicBezTo>
                    <a:cubicBezTo>
                      <a:pt x="22" y="547"/>
                      <a:pt x="0" y="550"/>
                      <a:pt x="9" y="534"/>
                    </a:cubicBezTo>
                    <a:cubicBezTo>
                      <a:pt x="16" y="526"/>
                      <a:pt x="24" y="517"/>
                      <a:pt x="18" y="507"/>
                    </a:cubicBezTo>
                    <a:cubicBezTo>
                      <a:pt x="21" y="492"/>
                      <a:pt x="42" y="499"/>
                      <a:pt x="54" y="498"/>
                    </a:cubicBezTo>
                    <a:cubicBezTo>
                      <a:pt x="60" y="510"/>
                      <a:pt x="74" y="498"/>
                      <a:pt x="83" y="494"/>
                    </a:cubicBezTo>
                    <a:cubicBezTo>
                      <a:pt x="93" y="484"/>
                      <a:pt x="87" y="468"/>
                      <a:pt x="88" y="456"/>
                    </a:cubicBezTo>
                    <a:cubicBezTo>
                      <a:pt x="87" y="441"/>
                      <a:pt x="83" y="426"/>
                      <a:pt x="83" y="411"/>
                    </a:cubicBezTo>
                    <a:cubicBezTo>
                      <a:pt x="86" y="399"/>
                      <a:pt x="89" y="386"/>
                      <a:pt x="94" y="375"/>
                    </a:cubicBezTo>
                    <a:cubicBezTo>
                      <a:pt x="104" y="364"/>
                      <a:pt x="97" y="350"/>
                      <a:pt x="94" y="338"/>
                    </a:cubicBezTo>
                    <a:cubicBezTo>
                      <a:pt x="101" y="328"/>
                      <a:pt x="106" y="308"/>
                      <a:pt x="120" y="313"/>
                    </a:cubicBezTo>
                    <a:cubicBezTo>
                      <a:pt x="128" y="318"/>
                      <a:pt x="131" y="331"/>
                      <a:pt x="138" y="318"/>
                    </a:cubicBezTo>
                    <a:cubicBezTo>
                      <a:pt x="148" y="311"/>
                      <a:pt x="137" y="301"/>
                      <a:pt x="144" y="293"/>
                    </a:cubicBezTo>
                    <a:cubicBezTo>
                      <a:pt x="137" y="276"/>
                      <a:pt x="155" y="262"/>
                      <a:pt x="146" y="246"/>
                    </a:cubicBezTo>
                    <a:cubicBezTo>
                      <a:pt x="148" y="232"/>
                      <a:pt x="168" y="230"/>
                      <a:pt x="168" y="214"/>
                    </a:cubicBezTo>
                    <a:cubicBezTo>
                      <a:pt x="175" y="203"/>
                      <a:pt x="178" y="189"/>
                      <a:pt x="187" y="179"/>
                    </a:cubicBezTo>
                    <a:cubicBezTo>
                      <a:pt x="193" y="166"/>
                      <a:pt x="213" y="173"/>
                      <a:pt x="222" y="167"/>
                    </a:cubicBezTo>
                    <a:cubicBezTo>
                      <a:pt x="219" y="150"/>
                      <a:pt x="222" y="134"/>
                      <a:pt x="226" y="118"/>
                    </a:cubicBezTo>
                    <a:cubicBezTo>
                      <a:pt x="235" y="108"/>
                      <a:pt x="237" y="96"/>
                      <a:pt x="240" y="83"/>
                    </a:cubicBezTo>
                    <a:cubicBezTo>
                      <a:pt x="235" y="72"/>
                      <a:pt x="241" y="61"/>
                      <a:pt x="242" y="50"/>
                    </a:cubicBezTo>
                    <a:cubicBezTo>
                      <a:pt x="242" y="50"/>
                      <a:pt x="242" y="50"/>
                      <a:pt x="242" y="50"/>
                    </a:cubicBezTo>
                    <a:cubicBezTo>
                      <a:pt x="253" y="40"/>
                      <a:pt x="269" y="49"/>
                      <a:pt x="280" y="47"/>
                    </a:cubicBezTo>
                    <a:cubicBezTo>
                      <a:pt x="280" y="31"/>
                      <a:pt x="300" y="30"/>
                      <a:pt x="304" y="44"/>
                    </a:cubicBezTo>
                    <a:cubicBezTo>
                      <a:pt x="309" y="51"/>
                      <a:pt x="319" y="69"/>
                      <a:pt x="321" y="51"/>
                    </a:cubicBezTo>
                    <a:cubicBezTo>
                      <a:pt x="327" y="34"/>
                      <a:pt x="332" y="17"/>
                      <a:pt x="338" y="0"/>
                    </a:cubicBezTo>
                    <a:cubicBezTo>
                      <a:pt x="343" y="12"/>
                      <a:pt x="355" y="14"/>
                      <a:pt x="365" y="17"/>
                    </a:cubicBezTo>
                    <a:cubicBezTo>
                      <a:pt x="370" y="31"/>
                      <a:pt x="384" y="40"/>
                      <a:pt x="398" y="31"/>
                    </a:cubicBezTo>
                    <a:cubicBezTo>
                      <a:pt x="410" y="33"/>
                      <a:pt x="416" y="18"/>
                      <a:pt x="425" y="16"/>
                    </a:cubicBezTo>
                    <a:cubicBezTo>
                      <a:pt x="434" y="20"/>
                      <a:pt x="432" y="36"/>
                      <a:pt x="444" y="27"/>
                    </a:cubicBezTo>
                    <a:cubicBezTo>
                      <a:pt x="453" y="28"/>
                      <a:pt x="458" y="17"/>
                      <a:pt x="466" y="25"/>
                    </a:cubicBezTo>
                    <a:cubicBezTo>
                      <a:pt x="477" y="24"/>
                      <a:pt x="487" y="34"/>
                      <a:pt x="499" y="28"/>
                    </a:cubicBezTo>
                    <a:cubicBezTo>
                      <a:pt x="514" y="27"/>
                      <a:pt x="520" y="43"/>
                      <a:pt x="534" y="46"/>
                    </a:cubicBezTo>
                    <a:cubicBezTo>
                      <a:pt x="546" y="47"/>
                      <a:pt x="556" y="53"/>
                      <a:pt x="564" y="63"/>
                    </a:cubicBezTo>
                    <a:cubicBezTo>
                      <a:pt x="574" y="71"/>
                      <a:pt x="577" y="84"/>
                      <a:pt x="586" y="93"/>
                    </a:cubicBezTo>
                    <a:cubicBezTo>
                      <a:pt x="601" y="102"/>
                      <a:pt x="616" y="110"/>
                      <a:pt x="628" y="123"/>
                    </a:cubicBezTo>
                    <a:cubicBezTo>
                      <a:pt x="635" y="132"/>
                      <a:pt x="637" y="147"/>
                      <a:pt x="650" y="150"/>
                    </a:cubicBezTo>
                    <a:cubicBezTo>
                      <a:pt x="661" y="153"/>
                      <a:pt x="665" y="164"/>
                      <a:pt x="672" y="173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24" name="Estonia"/>
              <p:cNvSpPr>
                <a:spLocks/>
              </p:cNvSpPr>
              <p:nvPr>
                <p:custDataLst>
                  <p:tags r:id="rId100"/>
                </p:custDataLst>
              </p:nvPr>
            </p:nvSpPr>
            <p:spPr bwMode="auto">
              <a:xfrm>
                <a:off x="4799640" y="2673319"/>
                <a:ext cx="94905" cy="67286"/>
              </a:xfrm>
              <a:custGeom>
                <a:avLst/>
                <a:gdLst/>
                <a:ahLst/>
                <a:cxnLst>
                  <a:cxn ang="0">
                    <a:pos x="2" y="9"/>
                  </a:cxn>
                  <a:cxn ang="0">
                    <a:pos x="0" y="9"/>
                  </a:cxn>
                  <a:cxn ang="0">
                    <a:pos x="0" y="3"/>
                  </a:cxn>
                  <a:cxn ang="0">
                    <a:pos x="9" y="0"/>
                  </a:cxn>
                  <a:cxn ang="0">
                    <a:pos x="17" y="3"/>
                  </a:cxn>
                  <a:cxn ang="0">
                    <a:pos x="13" y="3"/>
                  </a:cxn>
                  <a:cxn ang="0">
                    <a:pos x="11" y="5"/>
                  </a:cxn>
                  <a:cxn ang="0">
                    <a:pos x="13" y="9"/>
                  </a:cxn>
                  <a:cxn ang="0">
                    <a:pos x="13" y="12"/>
                  </a:cxn>
                  <a:cxn ang="0">
                    <a:pos x="4" y="9"/>
                  </a:cxn>
                  <a:cxn ang="0">
                    <a:pos x="2" y="9"/>
                  </a:cxn>
                </a:cxnLst>
                <a:rect l="0" t="0" r="r" b="b"/>
                <a:pathLst>
                  <a:path w="17" h="12">
                    <a:moveTo>
                      <a:pt x="2" y="9"/>
                    </a:moveTo>
                    <a:lnTo>
                      <a:pt x="0" y="9"/>
                    </a:lnTo>
                    <a:lnTo>
                      <a:pt x="0" y="3"/>
                    </a:lnTo>
                    <a:lnTo>
                      <a:pt x="9" y="0"/>
                    </a:lnTo>
                    <a:lnTo>
                      <a:pt x="17" y="3"/>
                    </a:lnTo>
                    <a:lnTo>
                      <a:pt x="13" y="3"/>
                    </a:lnTo>
                    <a:lnTo>
                      <a:pt x="11" y="5"/>
                    </a:lnTo>
                    <a:lnTo>
                      <a:pt x="13" y="9"/>
                    </a:lnTo>
                    <a:lnTo>
                      <a:pt x="13" y="12"/>
                    </a:lnTo>
                    <a:lnTo>
                      <a:pt x="4" y="9"/>
                    </a:lnTo>
                    <a:lnTo>
                      <a:pt x="2" y="9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25" name="Eritrea"/>
              <p:cNvSpPr>
                <a:spLocks/>
              </p:cNvSpPr>
              <p:nvPr/>
            </p:nvSpPr>
            <p:spPr bwMode="auto">
              <a:xfrm>
                <a:off x="5198241" y="3977625"/>
                <a:ext cx="179457" cy="184605"/>
              </a:xfrm>
              <a:custGeom>
                <a:avLst/>
                <a:gdLst>
                  <a:gd name="T0" fmla="*/ 12 w 497"/>
                  <a:gd name="T1" fmla="*/ 289 h 428"/>
                  <a:gd name="T2" fmla="*/ 10 w 497"/>
                  <a:gd name="T3" fmla="*/ 279 h 428"/>
                  <a:gd name="T4" fmla="*/ 0 w 497"/>
                  <a:gd name="T5" fmla="*/ 222 h 428"/>
                  <a:gd name="T6" fmla="*/ 13 w 497"/>
                  <a:gd name="T7" fmla="*/ 185 h 428"/>
                  <a:gd name="T8" fmla="*/ 28 w 497"/>
                  <a:gd name="T9" fmla="*/ 142 h 428"/>
                  <a:gd name="T10" fmla="*/ 31 w 497"/>
                  <a:gd name="T11" fmla="*/ 98 h 428"/>
                  <a:gd name="T12" fmla="*/ 39 w 497"/>
                  <a:gd name="T13" fmla="*/ 77 h 428"/>
                  <a:gd name="T14" fmla="*/ 65 w 497"/>
                  <a:gd name="T15" fmla="*/ 57 h 428"/>
                  <a:gd name="T16" fmla="*/ 83 w 497"/>
                  <a:gd name="T17" fmla="*/ 42 h 428"/>
                  <a:gd name="T18" fmla="*/ 106 w 497"/>
                  <a:gd name="T19" fmla="*/ 40 h 428"/>
                  <a:gd name="T20" fmla="*/ 118 w 497"/>
                  <a:gd name="T21" fmla="*/ 30 h 428"/>
                  <a:gd name="T22" fmla="*/ 136 w 497"/>
                  <a:gd name="T23" fmla="*/ 0 h 428"/>
                  <a:gd name="T24" fmla="*/ 158 w 497"/>
                  <a:gd name="T25" fmla="*/ 34 h 428"/>
                  <a:gd name="T26" fmla="*/ 171 w 497"/>
                  <a:gd name="T27" fmla="*/ 65 h 428"/>
                  <a:gd name="T28" fmla="*/ 184 w 497"/>
                  <a:gd name="T29" fmla="*/ 95 h 428"/>
                  <a:gd name="T30" fmla="*/ 202 w 497"/>
                  <a:gd name="T31" fmla="*/ 160 h 428"/>
                  <a:gd name="T32" fmla="*/ 217 w 497"/>
                  <a:gd name="T33" fmla="*/ 185 h 428"/>
                  <a:gd name="T34" fmla="*/ 242 w 497"/>
                  <a:gd name="T35" fmla="*/ 219 h 428"/>
                  <a:gd name="T36" fmla="*/ 243 w 497"/>
                  <a:gd name="T37" fmla="*/ 202 h 428"/>
                  <a:gd name="T38" fmla="*/ 247 w 497"/>
                  <a:gd name="T39" fmla="*/ 187 h 428"/>
                  <a:gd name="T40" fmla="*/ 261 w 497"/>
                  <a:gd name="T41" fmla="*/ 212 h 428"/>
                  <a:gd name="T42" fmla="*/ 271 w 497"/>
                  <a:gd name="T43" fmla="*/ 223 h 428"/>
                  <a:gd name="T44" fmla="*/ 285 w 497"/>
                  <a:gd name="T45" fmla="*/ 226 h 428"/>
                  <a:gd name="T46" fmla="*/ 303 w 497"/>
                  <a:gd name="T47" fmla="*/ 232 h 428"/>
                  <a:gd name="T48" fmla="*/ 310 w 497"/>
                  <a:gd name="T49" fmla="*/ 243 h 428"/>
                  <a:gd name="T50" fmla="*/ 330 w 497"/>
                  <a:gd name="T51" fmla="*/ 248 h 428"/>
                  <a:gd name="T52" fmla="*/ 352 w 497"/>
                  <a:gd name="T53" fmla="*/ 258 h 428"/>
                  <a:gd name="T54" fmla="*/ 384 w 497"/>
                  <a:gd name="T55" fmla="*/ 299 h 428"/>
                  <a:gd name="T56" fmla="*/ 405 w 497"/>
                  <a:gd name="T57" fmla="*/ 315 h 428"/>
                  <a:gd name="T58" fmla="*/ 435 w 497"/>
                  <a:gd name="T59" fmla="*/ 342 h 428"/>
                  <a:gd name="T60" fmla="*/ 458 w 497"/>
                  <a:gd name="T61" fmla="*/ 364 h 428"/>
                  <a:gd name="T62" fmla="*/ 474 w 497"/>
                  <a:gd name="T63" fmla="*/ 386 h 428"/>
                  <a:gd name="T64" fmla="*/ 493 w 497"/>
                  <a:gd name="T65" fmla="*/ 389 h 428"/>
                  <a:gd name="T66" fmla="*/ 497 w 497"/>
                  <a:gd name="T67" fmla="*/ 395 h 428"/>
                  <a:gd name="T68" fmla="*/ 496 w 497"/>
                  <a:gd name="T69" fmla="*/ 396 h 428"/>
                  <a:gd name="T70" fmla="*/ 476 w 497"/>
                  <a:gd name="T71" fmla="*/ 408 h 428"/>
                  <a:gd name="T72" fmla="*/ 461 w 497"/>
                  <a:gd name="T73" fmla="*/ 417 h 428"/>
                  <a:gd name="T74" fmla="*/ 446 w 497"/>
                  <a:gd name="T75" fmla="*/ 413 h 428"/>
                  <a:gd name="T76" fmla="*/ 442 w 497"/>
                  <a:gd name="T77" fmla="*/ 412 h 428"/>
                  <a:gd name="T78" fmla="*/ 420 w 497"/>
                  <a:gd name="T79" fmla="*/ 389 h 428"/>
                  <a:gd name="T80" fmla="*/ 398 w 497"/>
                  <a:gd name="T81" fmla="*/ 362 h 428"/>
                  <a:gd name="T82" fmla="*/ 356 w 497"/>
                  <a:gd name="T83" fmla="*/ 332 h 428"/>
                  <a:gd name="T84" fmla="*/ 334 w 497"/>
                  <a:gd name="T85" fmla="*/ 302 h 428"/>
                  <a:gd name="T86" fmla="*/ 304 w 497"/>
                  <a:gd name="T87" fmla="*/ 285 h 428"/>
                  <a:gd name="T88" fmla="*/ 269 w 497"/>
                  <a:gd name="T89" fmla="*/ 267 h 428"/>
                  <a:gd name="T90" fmla="*/ 236 w 497"/>
                  <a:gd name="T91" fmla="*/ 264 h 428"/>
                  <a:gd name="T92" fmla="*/ 214 w 497"/>
                  <a:gd name="T93" fmla="*/ 266 h 428"/>
                  <a:gd name="T94" fmla="*/ 195 w 497"/>
                  <a:gd name="T95" fmla="*/ 255 h 428"/>
                  <a:gd name="T96" fmla="*/ 168 w 497"/>
                  <a:gd name="T97" fmla="*/ 270 h 428"/>
                  <a:gd name="T98" fmla="*/ 135 w 497"/>
                  <a:gd name="T99" fmla="*/ 256 h 428"/>
                  <a:gd name="T100" fmla="*/ 108 w 497"/>
                  <a:gd name="T101" fmla="*/ 239 h 428"/>
                  <a:gd name="T102" fmla="*/ 91 w 497"/>
                  <a:gd name="T103" fmla="*/ 290 h 428"/>
                  <a:gd name="T104" fmla="*/ 74 w 497"/>
                  <a:gd name="T105" fmla="*/ 283 h 428"/>
                  <a:gd name="T106" fmla="*/ 50 w 497"/>
                  <a:gd name="T107" fmla="*/ 286 h 428"/>
                  <a:gd name="T108" fmla="*/ 12 w 497"/>
                  <a:gd name="T109" fmla="*/ 289 h 4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97" h="428">
                    <a:moveTo>
                      <a:pt x="12" y="289"/>
                    </a:moveTo>
                    <a:cubicBezTo>
                      <a:pt x="12" y="286"/>
                      <a:pt x="12" y="282"/>
                      <a:pt x="10" y="279"/>
                    </a:cubicBezTo>
                    <a:cubicBezTo>
                      <a:pt x="6" y="260"/>
                      <a:pt x="4" y="241"/>
                      <a:pt x="0" y="222"/>
                    </a:cubicBezTo>
                    <a:cubicBezTo>
                      <a:pt x="11" y="213"/>
                      <a:pt x="12" y="198"/>
                      <a:pt x="13" y="185"/>
                    </a:cubicBezTo>
                    <a:cubicBezTo>
                      <a:pt x="17" y="171"/>
                      <a:pt x="25" y="157"/>
                      <a:pt x="28" y="142"/>
                    </a:cubicBezTo>
                    <a:cubicBezTo>
                      <a:pt x="39" y="128"/>
                      <a:pt x="15" y="111"/>
                      <a:pt x="31" y="98"/>
                    </a:cubicBezTo>
                    <a:cubicBezTo>
                      <a:pt x="33" y="90"/>
                      <a:pt x="22" y="67"/>
                      <a:pt x="39" y="77"/>
                    </a:cubicBezTo>
                    <a:cubicBezTo>
                      <a:pt x="51" y="78"/>
                      <a:pt x="69" y="75"/>
                      <a:pt x="65" y="57"/>
                    </a:cubicBezTo>
                    <a:cubicBezTo>
                      <a:pt x="65" y="47"/>
                      <a:pt x="82" y="54"/>
                      <a:pt x="83" y="42"/>
                    </a:cubicBezTo>
                    <a:cubicBezTo>
                      <a:pt x="93" y="50"/>
                      <a:pt x="99" y="28"/>
                      <a:pt x="106" y="40"/>
                    </a:cubicBezTo>
                    <a:cubicBezTo>
                      <a:pt x="106" y="30"/>
                      <a:pt x="117" y="41"/>
                      <a:pt x="118" y="30"/>
                    </a:cubicBezTo>
                    <a:cubicBezTo>
                      <a:pt x="127" y="22"/>
                      <a:pt x="125" y="7"/>
                      <a:pt x="136" y="0"/>
                    </a:cubicBezTo>
                    <a:cubicBezTo>
                      <a:pt x="144" y="11"/>
                      <a:pt x="150" y="23"/>
                      <a:pt x="158" y="34"/>
                    </a:cubicBezTo>
                    <a:cubicBezTo>
                      <a:pt x="163" y="44"/>
                      <a:pt x="168" y="54"/>
                      <a:pt x="171" y="65"/>
                    </a:cubicBezTo>
                    <a:cubicBezTo>
                      <a:pt x="173" y="76"/>
                      <a:pt x="179" y="85"/>
                      <a:pt x="184" y="95"/>
                    </a:cubicBezTo>
                    <a:cubicBezTo>
                      <a:pt x="189" y="117"/>
                      <a:pt x="194" y="139"/>
                      <a:pt x="202" y="160"/>
                    </a:cubicBezTo>
                    <a:cubicBezTo>
                      <a:pt x="207" y="168"/>
                      <a:pt x="213" y="176"/>
                      <a:pt x="217" y="185"/>
                    </a:cubicBezTo>
                    <a:cubicBezTo>
                      <a:pt x="225" y="196"/>
                      <a:pt x="234" y="207"/>
                      <a:pt x="242" y="219"/>
                    </a:cubicBezTo>
                    <a:cubicBezTo>
                      <a:pt x="243" y="213"/>
                      <a:pt x="244" y="207"/>
                      <a:pt x="243" y="202"/>
                    </a:cubicBezTo>
                    <a:cubicBezTo>
                      <a:pt x="241" y="196"/>
                      <a:pt x="245" y="192"/>
                      <a:pt x="247" y="187"/>
                    </a:cubicBezTo>
                    <a:cubicBezTo>
                      <a:pt x="252" y="196"/>
                      <a:pt x="257" y="204"/>
                      <a:pt x="261" y="212"/>
                    </a:cubicBezTo>
                    <a:cubicBezTo>
                      <a:pt x="263" y="217"/>
                      <a:pt x="266" y="221"/>
                      <a:pt x="271" y="223"/>
                    </a:cubicBezTo>
                    <a:cubicBezTo>
                      <a:pt x="274" y="228"/>
                      <a:pt x="280" y="225"/>
                      <a:pt x="285" y="226"/>
                    </a:cubicBezTo>
                    <a:cubicBezTo>
                      <a:pt x="291" y="227"/>
                      <a:pt x="298" y="228"/>
                      <a:pt x="303" y="232"/>
                    </a:cubicBezTo>
                    <a:cubicBezTo>
                      <a:pt x="308" y="234"/>
                      <a:pt x="309" y="238"/>
                      <a:pt x="310" y="243"/>
                    </a:cubicBezTo>
                    <a:cubicBezTo>
                      <a:pt x="317" y="244"/>
                      <a:pt x="323" y="246"/>
                      <a:pt x="330" y="248"/>
                    </a:cubicBezTo>
                    <a:cubicBezTo>
                      <a:pt x="338" y="249"/>
                      <a:pt x="345" y="254"/>
                      <a:pt x="352" y="258"/>
                    </a:cubicBezTo>
                    <a:cubicBezTo>
                      <a:pt x="363" y="271"/>
                      <a:pt x="373" y="286"/>
                      <a:pt x="384" y="299"/>
                    </a:cubicBezTo>
                    <a:cubicBezTo>
                      <a:pt x="389" y="307"/>
                      <a:pt x="398" y="310"/>
                      <a:pt x="405" y="315"/>
                    </a:cubicBezTo>
                    <a:cubicBezTo>
                      <a:pt x="416" y="323"/>
                      <a:pt x="427" y="331"/>
                      <a:pt x="435" y="342"/>
                    </a:cubicBezTo>
                    <a:cubicBezTo>
                      <a:pt x="440" y="351"/>
                      <a:pt x="449" y="358"/>
                      <a:pt x="458" y="364"/>
                    </a:cubicBezTo>
                    <a:cubicBezTo>
                      <a:pt x="465" y="370"/>
                      <a:pt x="470" y="378"/>
                      <a:pt x="474" y="386"/>
                    </a:cubicBezTo>
                    <a:cubicBezTo>
                      <a:pt x="480" y="387"/>
                      <a:pt x="487" y="387"/>
                      <a:pt x="493" y="389"/>
                    </a:cubicBezTo>
                    <a:cubicBezTo>
                      <a:pt x="494" y="391"/>
                      <a:pt x="495" y="393"/>
                      <a:pt x="497" y="395"/>
                    </a:cubicBezTo>
                    <a:cubicBezTo>
                      <a:pt x="496" y="396"/>
                      <a:pt x="496" y="396"/>
                      <a:pt x="496" y="396"/>
                    </a:cubicBezTo>
                    <a:cubicBezTo>
                      <a:pt x="490" y="400"/>
                      <a:pt x="481" y="401"/>
                      <a:pt x="476" y="408"/>
                    </a:cubicBezTo>
                    <a:cubicBezTo>
                      <a:pt x="478" y="416"/>
                      <a:pt x="468" y="428"/>
                      <a:pt x="461" y="417"/>
                    </a:cubicBezTo>
                    <a:cubicBezTo>
                      <a:pt x="457" y="409"/>
                      <a:pt x="451" y="413"/>
                      <a:pt x="446" y="413"/>
                    </a:cubicBezTo>
                    <a:cubicBezTo>
                      <a:pt x="444" y="413"/>
                      <a:pt x="443" y="413"/>
                      <a:pt x="442" y="412"/>
                    </a:cubicBezTo>
                    <a:cubicBezTo>
                      <a:pt x="435" y="403"/>
                      <a:pt x="431" y="392"/>
                      <a:pt x="420" y="389"/>
                    </a:cubicBezTo>
                    <a:cubicBezTo>
                      <a:pt x="407" y="386"/>
                      <a:pt x="405" y="371"/>
                      <a:pt x="398" y="362"/>
                    </a:cubicBezTo>
                    <a:cubicBezTo>
                      <a:pt x="386" y="349"/>
                      <a:pt x="371" y="341"/>
                      <a:pt x="356" y="332"/>
                    </a:cubicBezTo>
                    <a:cubicBezTo>
                      <a:pt x="347" y="323"/>
                      <a:pt x="344" y="310"/>
                      <a:pt x="334" y="302"/>
                    </a:cubicBezTo>
                    <a:cubicBezTo>
                      <a:pt x="326" y="292"/>
                      <a:pt x="316" y="286"/>
                      <a:pt x="304" y="285"/>
                    </a:cubicBezTo>
                    <a:cubicBezTo>
                      <a:pt x="290" y="282"/>
                      <a:pt x="284" y="266"/>
                      <a:pt x="269" y="267"/>
                    </a:cubicBezTo>
                    <a:cubicBezTo>
                      <a:pt x="257" y="273"/>
                      <a:pt x="247" y="263"/>
                      <a:pt x="236" y="264"/>
                    </a:cubicBezTo>
                    <a:cubicBezTo>
                      <a:pt x="228" y="256"/>
                      <a:pt x="223" y="267"/>
                      <a:pt x="214" y="266"/>
                    </a:cubicBezTo>
                    <a:cubicBezTo>
                      <a:pt x="202" y="275"/>
                      <a:pt x="204" y="259"/>
                      <a:pt x="195" y="255"/>
                    </a:cubicBezTo>
                    <a:cubicBezTo>
                      <a:pt x="186" y="257"/>
                      <a:pt x="180" y="272"/>
                      <a:pt x="168" y="270"/>
                    </a:cubicBezTo>
                    <a:cubicBezTo>
                      <a:pt x="154" y="279"/>
                      <a:pt x="140" y="270"/>
                      <a:pt x="135" y="256"/>
                    </a:cubicBezTo>
                    <a:cubicBezTo>
                      <a:pt x="125" y="253"/>
                      <a:pt x="113" y="251"/>
                      <a:pt x="108" y="239"/>
                    </a:cubicBezTo>
                    <a:cubicBezTo>
                      <a:pt x="102" y="256"/>
                      <a:pt x="97" y="273"/>
                      <a:pt x="91" y="290"/>
                    </a:cubicBezTo>
                    <a:cubicBezTo>
                      <a:pt x="89" y="308"/>
                      <a:pt x="79" y="290"/>
                      <a:pt x="74" y="283"/>
                    </a:cubicBezTo>
                    <a:cubicBezTo>
                      <a:pt x="70" y="269"/>
                      <a:pt x="50" y="270"/>
                      <a:pt x="50" y="286"/>
                    </a:cubicBezTo>
                    <a:cubicBezTo>
                      <a:pt x="39" y="288"/>
                      <a:pt x="23" y="279"/>
                      <a:pt x="12" y="28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309" name="Equatorial Guinea"/>
              <p:cNvSpPr>
                <a:spLocks/>
              </p:cNvSpPr>
              <p:nvPr/>
            </p:nvSpPr>
            <p:spPr bwMode="auto">
              <a:xfrm>
                <a:off x="4471952" y="4494528"/>
                <a:ext cx="55559" cy="53409"/>
              </a:xfrm>
              <a:custGeom>
                <a:avLst/>
                <a:gdLst>
                  <a:gd name="T0" fmla="*/ 2473097 w 154"/>
                  <a:gd name="T1" fmla="*/ 19739881 h 122"/>
                  <a:gd name="T2" fmla="*/ 0 w 154"/>
                  <a:gd name="T3" fmla="*/ 17631977 h 122"/>
                  <a:gd name="T4" fmla="*/ 2082380 w 154"/>
                  <a:gd name="T5" fmla="*/ 11690880 h 122"/>
                  <a:gd name="T6" fmla="*/ 3514287 w 154"/>
                  <a:gd name="T7" fmla="*/ 6515898 h 122"/>
                  <a:gd name="T8" fmla="*/ 3904643 w 154"/>
                  <a:gd name="T9" fmla="*/ 1533101 h 122"/>
                  <a:gd name="T10" fmla="*/ 3904643 w 154"/>
                  <a:gd name="T11" fmla="*/ 0 h 122"/>
                  <a:gd name="T12" fmla="*/ 4034882 w 154"/>
                  <a:gd name="T13" fmla="*/ 0 h 122"/>
                  <a:gd name="T14" fmla="*/ 5466428 w 154"/>
                  <a:gd name="T15" fmla="*/ 3257949 h 122"/>
                  <a:gd name="T16" fmla="*/ 12885359 w 154"/>
                  <a:gd name="T17" fmla="*/ 3833191 h 122"/>
                  <a:gd name="T18" fmla="*/ 19653814 w 154"/>
                  <a:gd name="T19" fmla="*/ 3833191 h 122"/>
                  <a:gd name="T20" fmla="*/ 19653814 w 154"/>
                  <a:gd name="T21" fmla="*/ 3641444 h 122"/>
                  <a:gd name="T22" fmla="*/ 19913931 w 154"/>
                  <a:gd name="T23" fmla="*/ 3833191 h 122"/>
                  <a:gd name="T24" fmla="*/ 20044170 w 154"/>
                  <a:gd name="T25" fmla="*/ 20698178 h 122"/>
                  <a:gd name="T26" fmla="*/ 6768096 w 154"/>
                  <a:gd name="T27" fmla="*/ 20698178 h 122"/>
                  <a:gd name="T28" fmla="*/ 2473097 w 154"/>
                  <a:gd name="T29" fmla="*/ 20506431 h 122"/>
                  <a:gd name="T30" fmla="*/ 2473097 w 154"/>
                  <a:gd name="T31" fmla="*/ 19739881 h 12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54"/>
                  <a:gd name="T49" fmla="*/ 0 h 122"/>
                  <a:gd name="T50" fmla="*/ 154 w 154"/>
                  <a:gd name="T51" fmla="*/ 122 h 12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54" h="122">
                    <a:moveTo>
                      <a:pt x="19" y="103"/>
                    </a:moveTo>
                    <a:cubicBezTo>
                      <a:pt x="13" y="99"/>
                      <a:pt x="6" y="96"/>
                      <a:pt x="0" y="92"/>
                    </a:cubicBezTo>
                    <a:cubicBezTo>
                      <a:pt x="4" y="81"/>
                      <a:pt x="15" y="73"/>
                      <a:pt x="16" y="61"/>
                    </a:cubicBezTo>
                    <a:cubicBezTo>
                      <a:pt x="17" y="51"/>
                      <a:pt x="23" y="43"/>
                      <a:pt x="27" y="34"/>
                    </a:cubicBezTo>
                    <a:cubicBezTo>
                      <a:pt x="27" y="25"/>
                      <a:pt x="27" y="16"/>
                      <a:pt x="30" y="8"/>
                    </a:cubicBezTo>
                    <a:cubicBezTo>
                      <a:pt x="30" y="5"/>
                      <a:pt x="30" y="3"/>
                      <a:pt x="30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3" y="4"/>
                      <a:pt x="36" y="15"/>
                      <a:pt x="42" y="17"/>
                    </a:cubicBezTo>
                    <a:cubicBezTo>
                      <a:pt x="59" y="23"/>
                      <a:pt x="81" y="18"/>
                      <a:pt x="99" y="20"/>
                    </a:cubicBezTo>
                    <a:cubicBezTo>
                      <a:pt x="116" y="19"/>
                      <a:pt x="134" y="20"/>
                      <a:pt x="151" y="20"/>
                    </a:cubicBezTo>
                    <a:cubicBezTo>
                      <a:pt x="151" y="20"/>
                      <a:pt x="151" y="19"/>
                      <a:pt x="151" y="19"/>
                    </a:cubicBezTo>
                    <a:cubicBezTo>
                      <a:pt x="153" y="20"/>
                      <a:pt x="153" y="20"/>
                      <a:pt x="153" y="20"/>
                    </a:cubicBezTo>
                    <a:cubicBezTo>
                      <a:pt x="154" y="49"/>
                      <a:pt x="153" y="78"/>
                      <a:pt x="154" y="108"/>
                    </a:cubicBezTo>
                    <a:cubicBezTo>
                      <a:pt x="120" y="108"/>
                      <a:pt x="86" y="108"/>
                      <a:pt x="52" y="108"/>
                    </a:cubicBezTo>
                    <a:cubicBezTo>
                      <a:pt x="46" y="122"/>
                      <a:pt x="30" y="92"/>
                      <a:pt x="19" y="107"/>
                    </a:cubicBezTo>
                    <a:cubicBezTo>
                      <a:pt x="20" y="106"/>
                      <a:pt x="20" y="105"/>
                      <a:pt x="19" y="103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34310" name="El Salvador"/>
              <p:cNvSpPr>
                <a:spLocks/>
              </p:cNvSpPr>
              <p:nvPr>
                <p:custDataLst>
                  <p:tags r:id="rId101"/>
                </p:custDataLst>
              </p:nvPr>
            </p:nvSpPr>
            <p:spPr bwMode="auto">
              <a:xfrm>
                <a:off x="1892710" y="4095152"/>
                <a:ext cx="61023" cy="61307"/>
              </a:xfrm>
              <a:custGeom>
                <a:avLst/>
                <a:gdLst>
                  <a:gd name="T0" fmla="*/ 61023 w 11"/>
                  <a:gd name="T1" fmla="*/ 39014 h 11"/>
                  <a:gd name="T2" fmla="*/ 11095 w 11"/>
                  <a:gd name="T3" fmla="*/ 0 h 11"/>
                  <a:gd name="T4" fmla="*/ 0 w 11"/>
                  <a:gd name="T5" fmla="*/ 39014 h 11"/>
                  <a:gd name="T6" fmla="*/ 11095 w 11"/>
                  <a:gd name="T7" fmla="*/ 39014 h 11"/>
                  <a:gd name="T8" fmla="*/ 61023 w 11"/>
                  <a:gd name="T9" fmla="*/ 61307 h 11"/>
                  <a:gd name="T10" fmla="*/ 61023 w 11"/>
                  <a:gd name="T11" fmla="*/ 50160 h 11"/>
                  <a:gd name="T12" fmla="*/ 61023 w 11"/>
                  <a:gd name="T13" fmla="*/ 39014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"/>
                  <a:gd name="T22" fmla="*/ 0 h 11"/>
                  <a:gd name="T23" fmla="*/ 11 w 11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" h="11">
                    <a:moveTo>
                      <a:pt x="11" y="7"/>
                    </a:moveTo>
                    <a:lnTo>
                      <a:pt x="2" y="0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11" y="11"/>
                    </a:lnTo>
                    <a:lnTo>
                      <a:pt x="11" y="9"/>
                    </a:lnTo>
                    <a:lnTo>
                      <a:pt x="11" y="7"/>
                    </a:lnTo>
                    <a:close/>
                  </a:path>
                </a:pathLst>
              </a:custGeom>
              <a:solidFill>
                <a:srgbClr val="EF7A04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3334311" name="Egypt"/>
              <p:cNvGrpSpPr>
                <a:grpSpLocks/>
              </p:cNvGrpSpPr>
              <p:nvPr/>
            </p:nvGrpSpPr>
            <p:grpSpPr bwMode="auto">
              <a:xfrm>
                <a:off x="4866734" y="3549863"/>
                <a:ext cx="294205" cy="308768"/>
                <a:chOff x="4866734" y="3530774"/>
                <a:chExt cx="294205" cy="308768"/>
              </a:xfrm>
            </p:grpSpPr>
            <p:sp>
              <p:nvSpPr>
                <p:cNvPr id="755" name="Egypt"/>
                <p:cNvSpPr>
                  <a:spLocks/>
                </p:cNvSpPr>
                <p:nvPr>
                  <p:custDataLst>
                    <p:tags r:id="rId133"/>
                  </p:custDataLst>
                </p:nvPr>
              </p:nvSpPr>
              <p:spPr bwMode="auto">
                <a:xfrm>
                  <a:off x="5032588" y="3535845"/>
                  <a:ext cx="93180" cy="127670"/>
                </a:xfrm>
                <a:custGeom>
                  <a:avLst/>
                  <a:gdLst>
                    <a:gd name="connsiteX0" fmla="*/ 8462 w 10000"/>
                    <a:gd name="connsiteY0" fmla="*/ 370 h 10000"/>
                    <a:gd name="connsiteX1" fmla="*/ 7115 w 10000"/>
                    <a:gd name="connsiteY1" fmla="*/ 370 h 10000"/>
                    <a:gd name="connsiteX2" fmla="*/ 6731 w 10000"/>
                    <a:gd name="connsiteY2" fmla="*/ 370 h 10000"/>
                    <a:gd name="connsiteX3" fmla="*/ 5962 w 10000"/>
                    <a:gd name="connsiteY3" fmla="*/ 370 h 10000"/>
                    <a:gd name="connsiteX4" fmla="*/ 5962 w 10000"/>
                    <a:gd name="connsiteY4" fmla="*/ 0 h 10000"/>
                    <a:gd name="connsiteX5" fmla="*/ 5577 w 10000"/>
                    <a:gd name="connsiteY5" fmla="*/ 0 h 10000"/>
                    <a:gd name="connsiteX6" fmla="*/ 4038 w 10000"/>
                    <a:gd name="connsiteY6" fmla="*/ 370 h 10000"/>
                    <a:gd name="connsiteX7" fmla="*/ 1538 w 10000"/>
                    <a:gd name="connsiteY7" fmla="*/ 0 h 10000"/>
                    <a:gd name="connsiteX8" fmla="*/ 0 w 10000"/>
                    <a:gd name="connsiteY8" fmla="*/ 0 h 10000"/>
                    <a:gd name="connsiteX9" fmla="*/ 0 w 10000"/>
                    <a:gd name="connsiteY9" fmla="*/ 1667 h 10000"/>
                    <a:gd name="connsiteX10" fmla="*/ 0 w 10000"/>
                    <a:gd name="connsiteY10" fmla="*/ 3333 h 10000"/>
                    <a:gd name="connsiteX11" fmla="*/ 7500 w 10000"/>
                    <a:gd name="connsiteY11" fmla="*/ 10000 h 10000"/>
                    <a:gd name="connsiteX12" fmla="*/ 8846 w 10000"/>
                    <a:gd name="connsiteY12" fmla="*/ 10000 h 10000"/>
                    <a:gd name="connsiteX13" fmla="*/ 10000 w 10000"/>
                    <a:gd name="connsiteY13" fmla="*/ 9259 h 10000"/>
                    <a:gd name="connsiteX14" fmla="*/ 10000 w 10000"/>
                    <a:gd name="connsiteY14" fmla="*/ 7963 h 10000"/>
                    <a:gd name="connsiteX15" fmla="*/ 7115 w 10000"/>
                    <a:gd name="connsiteY15" fmla="*/ 2963 h 10000"/>
                    <a:gd name="connsiteX16" fmla="*/ 6731 w 10000"/>
                    <a:gd name="connsiteY16" fmla="*/ 1667 h 10000"/>
                    <a:gd name="connsiteX17" fmla="*/ 7500 w 10000"/>
                    <a:gd name="connsiteY17" fmla="*/ 3333 h 10000"/>
                    <a:gd name="connsiteX18" fmla="*/ 8462 w 10000"/>
                    <a:gd name="connsiteY18" fmla="*/ 4259 h 10000"/>
                    <a:gd name="connsiteX19" fmla="*/ 8846 w 10000"/>
                    <a:gd name="connsiteY19" fmla="*/ 2037 h 10000"/>
                    <a:gd name="connsiteX20" fmla="*/ 8462 w 10000"/>
                    <a:gd name="connsiteY20" fmla="*/ 1296 h 10000"/>
                    <a:gd name="connsiteX21" fmla="*/ 8462 w 10000"/>
                    <a:gd name="connsiteY21" fmla="*/ 370 h 10000"/>
                    <a:gd name="connsiteX0" fmla="*/ 8462 w 10000"/>
                    <a:gd name="connsiteY0" fmla="*/ 370 h 10000"/>
                    <a:gd name="connsiteX1" fmla="*/ 7115 w 10000"/>
                    <a:gd name="connsiteY1" fmla="*/ 370 h 10000"/>
                    <a:gd name="connsiteX2" fmla="*/ 6731 w 10000"/>
                    <a:gd name="connsiteY2" fmla="*/ 370 h 10000"/>
                    <a:gd name="connsiteX3" fmla="*/ 5962 w 10000"/>
                    <a:gd name="connsiteY3" fmla="*/ 370 h 10000"/>
                    <a:gd name="connsiteX4" fmla="*/ 5962 w 10000"/>
                    <a:gd name="connsiteY4" fmla="*/ 0 h 10000"/>
                    <a:gd name="connsiteX5" fmla="*/ 5577 w 10000"/>
                    <a:gd name="connsiteY5" fmla="*/ 0 h 10000"/>
                    <a:gd name="connsiteX6" fmla="*/ 4038 w 10000"/>
                    <a:gd name="connsiteY6" fmla="*/ 370 h 10000"/>
                    <a:gd name="connsiteX7" fmla="*/ 1538 w 10000"/>
                    <a:gd name="connsiteY7" fmla="*/ 0 h 10000"/>
                    <a:gd name="connsiteX8" fmla="*/ 0 w 10000"/>
                    <a:gd name="connsiteY8" fmla="*/ 0 h 10000"/>
                    <a:gd name="connsiteX9" fmla="*/ 0 w 10000"/>
                    <a:gd name="connsiteY9" fmla="*/ 1667 h 10000"/>
                    <a:gd name="connsiteX10" fmla="*/ 7500 w 10000"/>
                    <a:gd name="connsiteY10" fmla="*/ 10000 h 10000"/>
                    <a:gd name="connsiteX11" fmla="*/ 8846 w 10000"/>
                    <a:gd name="connsiteY11" fmla="*/ 10000 h 10000"/>
                    <a:gd name="connsiteX12" fmla="*/ 10000 w 10000"/>
                    <a:gd name="connsiteY12" fmla="*/ 9259 h 10000"/>
                    <a:gd name="connsiteX13" fmla="*/ 10000 w 10000"/>
                    <a:gd name="connsiteY13" fmla="*/ 7963 h 10000"/>
                    <a:gd name="connsiteX14" fmla="*/ 7115 w 10000"/>
                    <a:gd name="connsiteY14" fmla="*/ 2963 h 10000"/>
                    <a:gd name="connsiteX15" fmla="*/ 6731 w 10000"/>
                    <a:gd name="connsiteY15" fmla="*/ 1667 h 10000"/>
                    <a:gd name="connsiteX16" fmla="*/ 7500 w 10000"/>
                    <a:gd name="connsiteY16" fmla="*/ 3333 h 10000"/>
                    <a:gd name="connsiteX17" fmla="*/ 8462 w 10000"/>
                    <a:gd name="connsiteY17" fmla="*/ 4259 h 10000"/>
                    <a:gd name="connsiteX18" fmla="*/ 8846 w 10000"/>
                    <a:gd name="connsiteY18" fmla="*/ 2037 h 10000"/>
                    <a:gd name="connsiteX19" fmla="*/ 8462 w 10000"/>
                    <a:gd name="connsiteY19" fmla="*/ 1296 h 10000"/>
                    <a:gd name="connsiteX20" fmla="*/ 8462 w 10000"/>
                    <a:gd name="connsiteY20" fmla="*/ 370 h 10000"/>
                    <a:gd name="connsiteX0" fmla="*/ 8462 w 10000"/>
                    <a:gd name="connsiteY0" fmla="*/ 370 h 10000"/>
                    <a:gd name="connsiteX1" fmla="*/ 7115 w 10000"/>
                    <a:gd name="connsiteY1" fmla="*/ 370 h 10000"/>
                    <a:gd name="connsiteX2" fmla="*/ 6731 w 10000"/>
                    <a:gd name="connsiteY2" fmla="*/ 370 h 10000"/>
                    <a:gd name="connsiteX3" fmla="*/ 5962 w 10000"/>
                    <a:gd name="connsiteY3" fmla="*/ 370 h 10000"/>
                    <a:gd name="connsiteX4" fmla="*/ 5962 w 10000"/>
                    <a:gd name="connsiteY4" fmla="*/ 0 h 10000"/>
                    <a:gd name="connsiteX5" fmla="*/ 5577 w 10000"/>
                    <a:gd name="connsiteY5" fmla="*/ 0 h 10000"/>
                    <a:gd name="connsiteX6" fmla="*/ 4038 w 10000"/>
                    <a:gd name="connsiteY6" fmla="*/ 370 h 10000"/>
                    <a:gd name="connsiteX7" fmla="*/ 1538 w 10000"/>
                    <a:gd name="connsiteY7" fmla="*/ 0 h 10000"/>
                    <a:gd name="connsiteX8" fmla="*/ 0 w 10000"/>
                    <a:gd name="connsiteY8" fmla="*/ 0 h 10000"/>
                    <a:gd name="connsiteX9" fmla="*/ 7500 w 10000"/>
                    <a:gd name="connsiteY9" fmla="*/ 10000 h 10000"/>
                    <a:gd name="connsiteX10" fmla="*/ 8846 w 10000"/>
                    <a:gd name="connsiteY10" fmla="*/ 10000 h 10000"/>
                    <a:gd name="connsiteX11" fmla="*/ 10000 w 10000"/>
                    <a:gd name="connsiteY11" fmla="*/ 9259 h 10000"/>
                    <a:gd name="connsiteX12" fmla="*/ 10000 w 10000"/>
                    <a:gd name="connsiteY12" fmla="*/ 7963 h 10000"/>
                    <a:gd name="connsiteX13" fmla="*/ 7115 w 10000"/>
                    <a:gd name="connsiteY13" fmla="*/ 2963 h 10000"/>
                    <a:gd name="connsiteX14" fmla="*/ 6731 w 10000"/>
                    <a:gd name="connsiteY14" fmla="*/ 1667 h 10000"/>
                    <a:gd name="connsiteX15" fmla="*/ 7500 w 10000"/>
                    <a:gd name="connsiteY15" fmla="*/ 3333 h 10000"/>
                    <a:gd name="connsiteX16" fmla="*/ 8462 w 10000"/>
                    <a:gd name="connsiteY16" fmla="*/ 4259 h 10000"/>
                    <a:gd name="connsiteX17" fmla="*/ 8846 w 10000"/>
                    <a:gd name="connsiteY17" fmla="*/ 2037 h 10000"/>
                    <a:gd name="connsiteX18" fmla="*/ 8462 w 10000"/>
                    <a:gd name="connsiteY18" fmla="*/ 1296 h 10000"/>
                    <a:gd name="connsiteX19" fmla="*/ 8462 w 10000"/>
                    <a:gd name="connsiteY19" fmla="*/ 370 h 10000"/>
                    <a:gd name="connsiteX0" fmla="*/ 6924 w 8462"/>
                    <a:gd name="connsiteY0" fmla="*/ 370 h 10000"/>
                    <a:gd name="connsiteX1" fmla="*/ 5577 w 8462"/>
                    <a:gd name="connsiteY1" fmla="*/ 370 h 10000"/>
                    <a:gd name="connsiteX2" fmla="*/ 5193 w 8462"/>
                    <a:gd name="connsiteY2" fmla="*/ 370 h 10000"/>
                    <a:gd name="connsiteX3" fmla="*/ 4424 w 8462"/>
                    <a:gd name="connsiteY3" fmla="*/ 370 h 10000"/>
                    <a:gd name="connsiteX4" fmla="*/ 4424 w 8462"/>
                    <a:gd name="connsiteY4" fmla="*/ 0 h 10000"/>
                    <a:gd name="connsiteX5" fmla="*/ 4039 w 8462"/>
                    <a:gd name="connsiteY5" fmla="*/ 0 h 10000"/>
                    <a:gd name="connsiteX6" fmla="*/ 2500 w 8462"/>
                    <a:gd name="connsiteY6" fmla="*/ 370 h 10000"/>
                    <a:gd name="connsiteX7" fmla="*/ 0 w 8462"/>
                    <a:gd name="connsiteY7" fmla="*/ 0 h 10000"/>
                    <a:gd name="connsiteX8" fmla="*/ 5962 w 8462"/>
                    <a:gd name="connsiteY8" fmla="*/ 10000 h 10000"/>
                    <a:gd name="connsiteX9" fmla="*/ 7308 w 8462"/>
                    <a:gd name="connsiteY9" fmla="*/ 10000 h 10000"/>
                    <a:gd name="connsiteX10" fmla="*/ 8462 w 8462"/>
                    <a:gd name="connsiteY10" fmla="*/ 9259 h 10000"/>
                    <a:gd name="connsiteX11" fmla="*/ 8462 w 8462"/>
                    <a:gd name="connsiteY11" fmla="*/ 7963 h 10000"/>
                    <a:gd name="connsiteX12" fmla="*/ 5577 w 8462"/>
                    <a:gd name="connsiteY12" fmla="*/ 2963 h 10000"/>
                    <a:gd name="connsiteX13" fmla="*/ 5193 w 8462"/>
                    <a:gd name="connsiteY13" fmla="*/ 1667 h 10000"/>
                    <a:gd name="connsiteX14" fmla="*/ 5962 w 8462"/>
                    <a:gd name="connsiteY14" fmla="*/ 3333 h 10000"/>
                    <a:gd name="connsiteX15" fmla="*/ 6924 w 8462"/>
                    <a:gd name="connsiteY15" fmla="*/ 4259 h 10000"/>
                    <a:gd name="connsiteX16" fmla="*/ 7308 w 8462"/>
                    <a:gd name="connsiteY16" fmla="*/ 2037 h 10000"/>
                    <a:gd name="connsiteX17" fmla="*/ 6924 w 8462"/>
                    <a:gd name="connsiteY17" fmla="*/ 1296 h 10000"/>
                    <a:gd name="connsiteX18" fmla="*/ 6924 w 8462"/>
                    <a:gd name="connsiteY18" fmla="*/ 370 h 10000"/>
                    <a:gd name="connsiteX0" fmla="*/ 8182 w 10000"/>
                    <a:gd name="connsiteY0" fmla="*/ 370 h 10000"/>
                    <a:gd name="connsiteX1" fmla="*/ 6591 w 10000"/>
                    <a:gd name="connsiteY1" fmla="*/ 370 h 10000"/>
                    <a:gd name="connsiteX2" fmla="*/ 6137 w 10000"/>
                    <a:gd name="connsiteY2" fmla="*/ 370 h 10000"/>
                    <a:gd name="connsiteX3" fmla="*/ 5228 w 10000"/>
                    <a:gd name="connsiteY3" fmla="*/ 370 h 10000"/>
                    <a:gd name="connsiteX4" fmla="*/ 5228 w 10000"/>
                    <a:gd name="connsiteY4" fmla="*/ 0 h 10000"/>
                    <a:gd name="connsiteX5" fmla="*/ 4773 w 10000"/>
                    <a:gd name="connsiteY5" fmla="*/ 0 h 10000"/>
                    <a:gd name="connsiteX6" fmla="*/ 0 w 10000"/>
                    <a:gd name="connsiteY6" fmla="*/ 0 h 10000"/>
                    <a:gd name="connsiteX7" fmla="*/ 7046 w 10000"/>
                    <a:gd name="connsiteY7" fmla="*/ 10000 h 10000"/>
                    <a:gd name="connsiteX8" fmla="*/ 8636 w 10000"/>
                    <a:gd name="connsiteY8" fmla="*/ 10000 h 10000"/>
                    <a:gd name="connsiteX9" fmla="*/ 10000 w 10000"/>
                    <a:gd name="connsiteY9" fmla="*/ 9259 h 10000"/>
                    <a:gd name="connsiteX10" fmla="*/ 10000 w 10000"/>
                    <a:gd name="connsiteY10" fmla="*/ 7963 h 10000"/>
                    <a:gd name="connsiteX11" fmla="*/ 6591 w 10000"/>
                    <a:gd name="connsiteY11" fmla="*/ 2963 h 10000"/>
                    <a:gd name="connsiteX12" fmla="*/ 6137 w 10000"/>
                    <a:gd name="connsiteY12" fmla="*/ 1667 h 10000"/>
                    <a:gd name="connsiteX13" fmla="*/ 7046 w 10000"/>
                    <a:gd name="connsiteY13" fmla="*/ 3333 h 10000"/>
                    <a:gd name="connsiteX14" fmla="*/ 8182 w 10000"/>
                    <a:gd name="connsiteY14" fmla="*/ 4259 h 10000"/>
                    <a:gd name="connsiteX15" fmla="*/ 8636 w 10000"/>
                    <a:gd name="connsiteY15" fmla="*/ 2037 h 10000"/>
                    <a:gd name="connsiteX16" fmla="*/ 8182 w 10000"/>
                    <a:gd name="connsiteY16" fmla="*/ 1296 h 10000"/>
                    <a:gd name="connsiteX17" fmla="*/ 8182 w 10000"/>
                    <a:gd name="connsiteY17" fmla="*/ 370 h 10000"/>
                    <a:gd name="connsiteX0" fmla="*/ 3409 w 5227"/>
                    <a:gd name="connsiteY0" fmla="*/ 370 h 10000"/>
                    <a:gd name="connsiteX1" fmla="*/ 1818 w 5227"/>
                    <a:gd name="connsiteY1" fmla="*/ 370 h 10000"/>
                    <a:gd name="connsiteX2" fmla="*/ 1364 w 5227"/>
                    <a:gd name="connsiteY2" fmla="*/ 370 h 10000"/>
                    <a:gd name="connsiteX3" fmla="*/ 455 w 5227"/>
                    <a:gd name="connsiteY3" fmla="*/ 370 h 10000"/>
                    <a:gd name="connsiteX4" fmla="*/ 455 w 5227"/>
                    <a:gd name="connsiteY4" fmla="*/ 0 h 10000"/>
                    <a:gd name="connsiteX5" fmla="*/ 0 w 5227"/>
                    <a:gd name="connsiteY5" fmla="*/ 0 h 10000"/>
                    <a:gd name="connsiteX6" fmla="*/ 2273 w 5227"/>
                    <a:gd name="connsiteY6" fmla="*/ 10000 h 10000"/>
                    <a:gd name="connsiteX7" fmla="*/ 3863 w 5227"/>
                    <a:gd name="connsiteY7" fmla="*/ 10000 h 10000"/>
                    <a:gd name="connsiteX8" fmla="*/ 5227 w 5227"/>
                    <a:gd name="connsiteY8" fmla="*/ 9259 h 10000"/>
                    <a:gd name="connsiteX9" fmla="*/ 5227 w 5227"/>
                    <a:gd name="connsiteY9" fmla="*/ 7963 h 10000"/>
                    <a:gd name="connsiteX10" fmla="*/ 1818 w 5227"/>
                    <a:gd name="connsiteY10" fmla="*/ 2963 h 10000"/>
                    <a:gd name="connsiteX11" fmla="*/ 1364 w 5227"/>
                    <a:gd name="connsiteY11" fmla="*/ 1667 h 10000"/>
                    <a:gd name="connsiteX12" fmla="*/ 2273 w 5227"/>
                    <a:gd name="connsiteY12" fmla="*/ 3333 h 10000"/>
                    <a:gd name="connsiteX13" fmla="*/ 3409 w 5227"/>
                    <a:gd name="connsiteY13" fmla="*/ 4259 h 10000"/>
                    <a:gd name="connsiteX14" fmla="*/ 3863 w 5227"/>
                    <a:gd name="connsiteY14" fmla="*/ 2037 h 10000"/>
                    <a:gd name="connsiteX15" fmla="*/ 3409 w 5227"/>
                    <a:gd name="connsiteY15" fmla="*/ 1296 h 10000"/>
                    <a:gd name="connsiteX16" fmla="*/ 3409 w 5227"/>
                    <a:gd name="connsiteY16" fmla="*/ 370 h 10000"/>
                    <a:gd name="connsiteX0" fmla="*/ 6522 w 10000"/>
                    <a:gd name="connsiteY0" fmla="*/ 370 h 10000"/>
                    <a:gd name="connsiteX1" fmla="*/ 3478 w 10000"/>
                    <a:gd name="connsiteY1" fmla="*/ 370 h 10000"/>
                    <a:gd name="connsiteX2" fmla="*/ 2610 w 10000"/>
                    <a:gd name="connsiteY2" fmla="*/ 370 h 10000"/>
                    <a:gd name="connsiteX3" fmla="*/ 870 w 10000"/>
                    <a:gd name="connsiteY3" fmla="*/ 370 h 10000"/>
                    <a:gd name="connsiteX4" fmla="*/ 870 w 10000"/>
                    <a:gd name="connsiteY4" fmla="*/ 0 h 10000"/>
                    <a:gd name="connsiteX5" fmla="*/ 0 w 10000"/>
                    <a:gd name="connsiteY5" fmla="*/ 0 h 10000"/>
                    <a:gd name="connsiteX6" fmla="*/ 7390 w 10000"/>
                    <a:gd name="connsiteY6" fmla="*/ 10000 h 10000"/>
                    <a:gd name="connsiteX7" fmla="*/ 10000 w 10000"/>
                    <a:gd name="connsiteY7" fmla="*/ 9259 h 10000"/>
                    <a:gd name="connsiteX8" fmla="*/ 10000 w 10000"/>
                    <a:gd name="connsiteY8" fmla="*/ 7963 h 10000"/>
                    <a:gd name="connsiteX9" fmla="*/ 3478 w 10000"/>
                    <a:gd name="connsiteY9" fmla="*/ 2963 h 10000"/>
                    <a:gd name="connsiteX10" fmla="*/ 2610 w 10000"/>
                    <a:gd name="connsiteY10" fmla="*/ 1667 h 10000"/>
                    <a:gd name="connsiteX11" fmla="*/ 4349 w 10000"/>
                    <a:gd name="connsiteY11" fmla="*/ 3333 h 10000"/>
                    <a:gd name="connsiteX12" fmla="*/ 6522 w 10000"/>
                    <a:gd name="connsiteY12" fmla="*/ 4259 h 10000"/>
                    <a:gd name="connsiteX13" fmla="*/ 7390 w 10000"/>
                    <a:gd name="connsiteY13" fmla="*/ 2037 h 10000"/>
                    <a:gd name="connsiteX14" fmla="*/ 6522 w 10000"/>
                    <a:gd name="connsiteY14" fmla="*/ 1296 h 10000"/>
                    <a:gd name="connsiteX15" fmla="*/ 6522 w 10000"/>
                    <a:gd name="connsiteY15" fmla="*/ 370 h 10000"/>
                    <a:gd name="connsiteX0" fmla="*/ 6522 w 10000"/>
                    <a:gd name="connsiteY0" fmla="*/ 370 h 10000"/>
                    <a:gd name="connsiteX1" fmla="*/ 3478 w 10000"/>
                    <a:gd name="connsiteY1" fmla="*/ 370 h 10000"/>
                    <a:gd name="connsiteX2" fmla="*/ 2610 w 10000"/>
                    <a:gd name="connsiteY2" fmla="*/ 370 h 10000"/>
                    <a:gd name="connsiteX3" fmla="*/ 870 w 10000"/>
                    <a:gd name="connsiteY3" fmla="*/ 370 h 10000"/>
                    <a:gd name="connsiteX4" fmla="*/ 870 w 10000"/>
                    <a:gd name="connsiteY4" fmla="*/ 0 h 10000"/>
                    <a:gd name="connsiteX5" fmla="*/ 0 w 10000"/>
                    <a:gd name="connsiteY5" fmla="*/ 0 h 10000"/>
                    <a:gd name="connsiteX6" fmla="*/ 7390 w 10000"/>
                    <a:gd name="connsiteY6" fmla="*/ 10000 h 10000"/>
                    <a:gd name="connsiteX7" fmla="*/ 8357 w 10000"/>
                    <a:gd name="connsiteY7" fmla="*/ 9888 h 10000"/>
                    <a:gd name="connsiteX8" fmla="*/ 10000 w 10000"/>
                    <a:gd name="connsiteY8" fmla="*/ 9259 h 10000"/>
                    <a:gd name="connsiteX9" fmla="*/ 10000 w 10000"/>
                    <a:gd name="connsiteY9" fmla="*/ 7963 h 10000"/>
                    <a:gd name="connsiteX10" fmla="*/ 3478 w 10000"/>
                    <a:gd name="connsiteY10" fmla="*/ 2963 h 10000"/>
                    <a:gd name="connsiteX11" fmla="*/ 2610 w 10000"/>
                    <a:gd name="connsiteY11" fmla="*/ 1667 h 10000"/>
                    <a:gd name="connsiteX12" fmla="*/ 4349 w 10000"/>
                    <a:gd name="connsiteY12" fmla="*/ 3333 h 10000"/>
                    <a:gd name="connsiteX13" fmla="*/ 6522 w 10000"/>
                    <a:gd name="connsiteY13" fmla="*/ 4259 h 10000"/>
                    <a:gd name="connsiteX14" fmla="*/ 7390 w 10000"/>
                    <a:gd name="connsiteY14" fmla="*/ 2037 h 10000"/>
                    <a:gd name="connsiteX15" fmla="*/ 6522 w 10000"/>
                    <a:gd name="connsiteY15" fmla="*/ 1296 h 10000"/>
                    <a:gd name="connsiteX16" fmla="*/ 6522 w 10000"/>
                    <a:gd name="connsiteY16" fmla="*/ 370 h 10000"/>
                    <a:gd name="connsiteX0" fmla="*/ 6522 w 10000"/>
                    <a:gd name="connsiteY0" fmla="*/ 370 h 10000"/>
                    <a:gd name="connsiteX1" fmla="*/ 3478 w 10000"/>
                    <a:gd name="connsiteY1" fmla="*/ 370 h 10000"/>
                    <a:gd name="connsiteX2" fmla="*/ 2610 w 10000"/>
                    <a:gd name="connsiteY2" fmla="*/ 370 h 10000"/>
                    <a:gd name="connsiteX3" fmla="*/ 870 w 10000"/>
                    <a:gd name="connsiteY3" fmla="*/ 370 h 10000"/>
                    <a:gd name="connsiteX4" fmla="*/ 870 w 10000"/>
                    <a:gd name="connsiteY4" fmla="*/ 0 h 10000"/>
                    <a:gd name="connsiteX5" fmla="*/ 0 w 10000"/>
                    <a:gd name="connsiteY5" fmla="*/ 0 h 10000"/>
                    <a:gd name="connsiteX6" fmla="*/ 7390 w 10000"/>
                    <a:gd name="connsiteY6" fmla="*/ 10000 h 10000"/>
                    <a:gd name="connsiteX7" fmla="*/ 10000 w 10000"/>
                    <a:gd name="connsiteY7" fmla="*/ 9259 h 10000"/>
                    <a:gd name="connsiteX8" fmla="*/ 10000 w 10000"/>
                    <a:gd name="connsiteY8" fmla="*/ 7963 h 10000"/>
                    <a:gd name="connsiteX9" fmla="*/ 3478 w 10000"/>
                    <a:gd name="connsiteY9" fmla="*/ 2963 h 10000"/>
                    <a:gd name="connsiteX10" fmla="*/ 2610 w 10000"/>
                    <a:gd name="connsiteY10" fmla="*/ 1667 h 10000"/>
                    <a:gd name="connsiteX11" fmla="*/ 4349 w 10000"/>
                    <a:gd name="connsiteY11" fmla="*/ 3333 h 10000"/>
                    <a:gd name="connsiteX12" fmla="*/ 6522 w 10000"/>
                    <a:gd name="connsiteY12" fmla="*/ 4259 h 10000"/>
                    <a:gd name="connsiteX13" fmla="*/ 7390 w 10000"/>
                    <a:gd name="connsiteY13" fmla="*/ 2037 h 10000"/>
                    <a:gd name="connsiteX14" fmla="*/ 6522 w 10000"/>
                    <a:gd name="connsiteY14" fmla="*/ 1296 h 10000"/>
                    <a:gd name="connsiteX15" fmla="*/ 6522 w 10000"/>
                    <a:gd name="connsiteY15" fmla="*/ 370 h 10000"/>
                    <a:gd name="connsiteX0" fmla="*/ 6522 w 10000"/>
                    <a:gd name="connsiteY0" fmla="*/ 370 h 10000"/>
                    <a:gd name="connsiteX1" fmla="*/ 3478 w 10000"/>
                    <a:gd name="connsiteY1" fmla="*/ 370 h 10000"/>
                    <a:gd name="connsiteX2" fmla="*/ 2610 w 10000"/>
                    <a:gd name="connsiteY2" fmla="*/ 370 h 10000"/>
                    <a:gd name="connsiteX3" fmla="*/ 870 w 10000"/>
                    <a:gd name="connsiteY3" fmla="*/ 370 h 10000"/>
                    <a:gd name="connsiteX4" fmla="*/ 870 w 10000"/>
                    <a:gd name="connsiteY4" fmla="*/ 0 h 10000"/>
                    <a:gd name="connsiteX5" fmla="*/ 0 w 10000"/>
                    <a:gd name="connsiteY5" fmla="*/ 0 h 10000"/>
                    <a:gd name="connsiteX6" fmla="*/ 7390 w 10000"/>
                    <a:gd name="connsiteY6" fmla="*/ 10000 h 10000"/>
                    <a:gd name="connsiteX7" fmla="*/ 10000 w 10000"/>
                    <a:gd name="connsiteY7" fmla="*/ 7963 h 10000"/>
                    <a:gd name="connsiteX8" fmla="*/ 3478 w 10000"/>
                    <a:gd name="connsiteY8" fmla="*/ 2963 h 10000"/>
                    <a:gd name="connsiteX9" fmla="*/ 2610 w 10000"/>
                    <a:gd name="connsiteY9" fmla="*/ 1667 h 10000"/>
                    <a:gd name="connsiteX10" fmla="*/ 4349 w 10000"/>
                    <a:gd name="connsiteY10" fmla="*/ 3333 h 10000"/>
                    <a:gd name="connsiteX11" fmla="*/ 6522 w 10000"/>
                    <a:gd name="connsiteY11" fmla="*/ 4259 h 10000"/>
                    <a:gd name="connsiteX12" fmla="*/ 7390 w 10000"/>
                    <a:gd name="connsiteY12" fmla="*/ 2037 h 10000"/>
                    <a:gd name="connsiteX13" fmla="*/ 6522 w 10000"/>
                    <a:gd name="connsiteY13" fmla="*/ 1296 h 10000"/>
                    <a:gd name="connsiteX14" fmla="*/ 6522 w 10000"/>
                    <a:gd name="connsiteY14" fmla="*/ 370 h 10000"/>
                    <a:gd name="connsiteX0" fmla="*/ 6522 w 10000"/>
                    <a:gd name="connsiteY0" fmla="*/ 370 h 7963"/>
                    <a:gd name="connsiteX1" fmla="*/ 3478 w 10000"/>
                    <a:gd name="connsiteY1" fmla="*/ 370 h 7963"/>
                    <a:gd name="connsiteX2" fmla="*/ 2610 w 10000"/>
                    <a:gd name="connsiteY2" fmla="*/ 370 h 7963"/>
                    <a:gd name="connsiteX3" fmla="*/ 870 w 10000"/>
                    <a:gd name="connsiteY3" fmla="*/ 370 h 7963"/>
                    <a:gd name="connsiteX4" fmla="*/ 870 w 10000"/>
                    <a:gd name="connsiteY4" fmla="*/ 0 h 7963"/>
                    <a:gd name="connsiteX5" fmla="*/ 0 w 10000"/>
                    <a:gd name="connsiteY5" fmla="*/ 0 h 7963"/>
                    <a:gd name="connsiteX6" fmla="*/ 10000 w 10000"/>
                    <a:gd name="connsiteY6" fmla="*/ 7963 h 7963"/>
                    <a:gd name="connsiteX7" fmla="*/ 3478 w 10000"/>
                    <a:gd name="connsiteY7" fmla="*/ 2963 h 7963"/>
                    <a:gd name="connsiteX8" fmla="*/ 2610 w 10000"/>
                    <a:gd name="connsiteY8" fmla="*/ 1667 h 7963"/>
                    <a:gd name="connsiteX9" fmla="*/ 4349 w 10000"/>
                    <a:gd name="connsiteY9" fmla="*/ 3333 h 7963"/>
                    <a:gd name="connsiteX10" fmla="*/ 6522 w 10000"/>
                    <a:gd name="connsiteY10" fmla="*/ 4259 h 7963"/>
                    <a:gd name="connsiteX11" fmla="*/ 7390 w 10000"/>
                    <a:gd name="connsiteY11" fmla="*/ 2037 h 7963"/>
                    <a:gd name="connsiteX12" fmla="*/ 6522 w 10000"/>
                    <a:gd name="connsiteY12" fmla="*/ 1296 h 7963"/>
                    <a:gd name="connsiteX13" fmla="*/ 6522 w 10000"/>
                    <a:gd name="connsiteY13" fmla="*/ 370 h 7963"/>
                    <a:gd name="connsiteX0" fmla="*/ 6522 w 7390"/>
                    <a:gd name="connsiteY0" fmla="*/ 465 h 5348"/>
                    <a:gd name="connsiteX1" fmla="*/ 3478 w 7390"/>
                    <a:gd name="connsiteY1" fmla="*/ 465 h 5348"/>
                    <a:gd name="connsiteX2" fmla="*/ 2610 w 7390"/>
                    <a:gd name="connsiteY2" fmla="*/ 465 h 5348"/>
                    <a:gd name="connsiteX3" fmla="*/ 870 w 7390"/>
                    <a:gd name="connsiteY3" fmla="*/ 465 h 5348"/>
                    <a:gd name="connsiteX4" fmla="*/ 870 w 7390"/>
                    <a:gd name="connsiteY4" fmla="*/ 0 h 5348"/>
                    <a:gd name="connsiteX5" fmla="*/ 0 w 7390"/>
                    <a:gd name="connsiteY5" fmla="*/ 0 h 5348"/>
                    <a:gd name="connsiteX6" fmla="*/ 3478 w 7390"/>
                    <a:gd name="connsiteY6" fmla="*/ 3721 h 5348"/>
                    <a:gd name="connsiteX7" fmla="*/ 2610 w 7390"/>
                    <a:gd name="connsiteY7" fmla="*/ 2093 h 5348"/>
                    <a:gd name="connsiteX8" fmla="*/ 4349 w 7390"/>
                    <a:gd name="connsiteY8" fmla="*/ 4186 h 5348"/>
                    <a:gd name="connsiteX9" fmla="*/ 6522 w 7390"/>
                    <a:gd name="connsiteY9" fmla="*/ 5348 h 5348"/>
                    <a:gd name="connsiteX10" fmla="*/ 7390 w 7390"/>
                    <a:gd name="connsiteY10" fmla="*/ 2558 h 5348"/>
                    <a:gd name="connsiteX11" fmla="*/ 6522 w 7390"/>
                    <a:gd name="connsiteY11" fmla="*/ 1628 h 5348"/>
                    <a:gd name="connsiteX12" fmla="*/ 6522 w 7390"/>
                    <a:gd name="connsiteY12" fmla="*/ 465 h 5348"/>
                    <a:gd name="connsiteX0" fmla="*/ 8825 w 10000"/>
                    <a:gd name="connsiteY0" fmla="*/ 869 h 10000"/>
                    <a:gd name="connsiteX1" fmla="*/ 4706 w 10000"/>
                    <a:gd name="connsiteY1" fmla="*/ 869 h 10000"/>
                    <a:gd name="connsiteX2" fmla="*/ 3532 w 10000"/>
                    <a:gd name="connsiteY2" fmla="*/ 869 h 10000"/>
                    <a:gd name="connsiteX3" fmla="*/ 1177 w 10000"/>
                    <a:gd name="connsiteY3" fmla="*/ 869 h 10000"/>
                    <a:gd name="connsiteX4" fmla="*/ 1177 w 10000"/>
                    <a:gd name="connsiteY4" fmla="*/ 0 h 10000"/>
                    <a:gd name="connsiteX5" fmla="*/ 0 w 10000"/>
                    <a:gd name="connsiteY5" fmla="*/ 0 h 10000"/>
                    <a:gd name="connsiteX6" fmla="*/ 4706 w 10000"/>
                    <a:gd name="connsiteY6" fmla="*/ 6958 h 10000"/>
                    <a:gd name="connsiteX7" fmla="*/ 3532 w 10000"/>
                    <a:gd name="connsiteY7" fmla="*/ 3914 h 10000"/>
                    <a:gd name="connsiteX8" fmla="*/ 8825 w 10000"/>
                    <a:gd name="connsiteY8" fmla="*/ 10000 h 10000"/>
                    <a:gd name="connsiteX9" fmla="*/ 10000 w 10000"/>
                    <a:gd name="connsiteY9" fmla="*/ 4783 h 10000"/>
                    <a:gd name="connsiteX10" fmla="*/ 8825 w 10000"/>
                    <a:gd name="connsiteY10" fmla="*/ 3044 h 10000"/>
                    <a:gd name="connsiteX11" fmla="*/ 8825 w 10000"/>
                    <a:gd name="connsiteY11" fmla="*/ 869 h 10000"/>
                    <a:gd name="connsiteX0" fmla="*/ 8825 w 10000"/>
                    <a:gd name="connsiteY0" fmla="*/ 869 h 10000"/>
                    <a:gd name="connsiteX1" fmla="*/ 4706 w 10000"/>
                    <a:gd name="connsiteY1" fmla="*/ 869 h 10000"/>
                    <a:gd name="connsiteX2" fmla="*/ 3532 w 10000"/>
                    <a:gd name="connsiteY2" fmla="*/ 869 h 10000"/>
                    <a:gd name="connsiteX3" fmla="*/ 1177 w 10000"/>
                    <a:gd name="connsiteY3" fmla="*/ 869 h 10000"/>
                    <a:gd name="connsiteX4" fmla="*/ 1177 w 10000"/>
                    <a:gd name="connsiteY4" fmla="*/ 0 h 10000"/>
                    <a:gd name="connsiteX5" fmla="*/ 0 w 10000"/>
                    <a:gd name="connsiteY5" fmla="*/ 0 h 10000"/>
                    <a:gd name="connsiteX6" fmla="*/ 3532 w 10000"/>
                    <a:gd name="connsiteY6" fmla="*/ 3914 h 10000"/>
                    <a:gd name="connsiteX7" fmla="*/ 8825 w 10000"/>
                    <a:gd name="connsiteY7" fmla="*/ 10000 h 10000"/>
                    <a:gd name="connsiteX8" fmla="*/ 10000 w 10000"/>
                    <a:gd name="connsiteY8" fmla="*/ 4783 h 10000"/>
                    <a:gd name="connsiteX9" fmla="*/ 8825 w 10000"/>
                    <a:gd name="connsiteY9" fmla="*/ 3044 h 10000"/>
                    <a:gd name="connsiteX10" fmla="*/ 8825 w 10000"/>
                    <a:gd name="connsiteY10" fmla="*/ 869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0000" h="10000">
                      <a:moveTo>
                        <a:pt x="8825" y="869"/>
                      </a:moveTo>
                      <a:lnTo>
                        <a:pt x="4706" y="869"/>
                      </a:lnTo>
                      <a:lnTo>
                        <a:pt x="3532" y="869"/>
                      </a:lnTo>
                      <a:lnTo>
                        <a:pt x="1177" y="869"/>
                      </a:lnTo>
                      <a:lnTo>
                        <a:pt x="1177" y="0"/>
                      </a:lnTo>
                      <a:lnTo>
                        <a:pt x="0" y="0"/>
                      </a:lnTo>
                      <a:lnTo>
                        <a:pt x="3532" y="3914"/>
                      </a:lnTo>
                      <a:lnTo>
                        <a:pt x="8825" y="10000"/>
                      </a:lnTo>
                      <a:lnTo>
                        <a:pt x="10000" y="4783"/>
                      </a:lnTo>
                      <a:lnTo>
                        <a:pt x="8825" y="3044"/>
                      </a:lnTo>
                      <a:lnTo>
                        <a:pt x="8825" y="869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56" name="Egypt"/>
                <p:cNvSpPr>
                  <a:spLocks/>
                </p:cNvSpPr>
                <p:nvPr/>
              </p:nvSpPr>
              <p:spPr bwMode="auto">
                <a:xfrm>
                  <a:off x="4866935" y="3530669"/>
                  <a:ext cx="293343" cy="308825"/>
                </a:xfrm>
                <a:custGeom>
                  <a:avLst/>
                  <a:gdLst>
                    <a:gd name="T0" fmla="*/ 62 w 808"/>
                    <a:gd name="T1" fmla="*/ 7 h 716"/>
                    <a:gd name="T2" fmla="*/ 123 w 808"/>
                    <a:gd name="T3" fmla="*/ 12 h 716"/>
                    <a:gd name="T4" fmla="*/ 177 w 808"/>
                    <a:gd name="T5" fmla="*/ 29 h 716"/>
                    <a:gd name="T6" fmla="*/ 218 w 808"/>
                    <a:gd name="T7" fmla="*/ 41 h 716"/>
                    <a:gd name="T8" fmla="*/ 282 w 808"/>
                    <a:gd name="T9" fmla="*/ 54 h 716"/>
                    <a:gd name="T10" fmla="*/ 322 w 808"/>
                    <a:gd name="T11" fmla="*/ 41 h 716"/>
                    <a:gd name="T12" fmla="*/ 369 w 808"/>
                    <a:gd name="T13" fmla="*/ 8 h 716"/>
                    <a:gd name="T14" fmla="*/ 397 w 808"/>
                    <a:gd name="T15" fmla="*/ 5 h 716"/>
                    <a:gd name="T16" fmla="*/ 392 w 808"/>
                    <a:gd name="T17" fmla="*/ 15 h 716"/>
                    <a:gd name="T18" fmla="*/ 417 w 808"/>
                    <a:gd name="T19" fmla="*/ 0 h 716"/>
                    <a:gd name="T20" fmla="*/ 472 w 808"/>
                    <a:gd name="T21" fmla="*/ 3 h 716"/>
                    <a:gd name="T22" fmla="*/ 497 w 808"/>
                    <a:gd name="T23" fmla="*/ 17 h 716"/>
                    <a:gd name="T24" fmla="*/ 507 w 808"/>
                    <a:gd name="T25" fmla="*/ 69 h 716"/>
                    <a:gd name="T26" fmla="*/ 521 w 808"/>
                    <a:gd name="T27" fmla="*/ 96 h 716"/>
                    <a:gd name="T28" fmla="*/ 527 w 808"/>
                    <a:gd name="T29" fmla="*/ 138 h 716"/>
                    <a:gd name="T30" fmla="*/ 574 w 808"/>
                    <a:gd name="T31" fmla="*/ 222 h 716"/>
                    <a:gd name="T32" fmla="*/ 617 w 808"/>
                    <a:gd name="T33" fmla="*/ 260 h 716"/>
                    <a:gd name="T34" fmla="*/ 644 w 808"/>
                    <a:gd name="T35" fmla="*/ 310 h 716"/>
                    <a:gd name="T36" fmla="*/ 679 w 808"/>
                    <a:gd name="T37" fmla="*/ 384 h 716"/>
                    <a:gd name="T38" fmla="*/ 713 w 808"/>
                    <a:gd name="T39" fmla="*/ 435 h 716"/>
                    <a:gd name="T40" fmla="*/ 755 w 808"/>
                    <a:gd name="T41" fmla="*/ 503 h 716"/>
                    <a:gd name="T42" fmla="*/ 806 w 808"/>
                    <a:gd name="T43" fmla="*/ 550 h 716"/>
                    <a:gd name="T44" fmla="*/ 788 w 808"/>
                    <a:gd name="T45" fmla="*/ 553 h 716"/>
                    <a:gd name="T46" fmla="*/ 794 w 808"/>
                    <a:gd name="T47" fmla="*/ 589 h 716"/>
                    <a:gd name="T48" fmla="*/ 803 w 808"/>
                    <a:gd name="T49" fmla="*/ 613 h 716"/>
                    <a:gd name="T50" fmla="*/ 785 w 808"/>
                    <a:gd name="T51" fmla="*/ 636 h 716"/>
                    <a:gd name="T52" fmla="*/ 743 w 808"/>
                    <a:gd name="T53" fmla="*/ 679 h 716"/>
                    <a:gd name="T54" fmla="*/ 706 w 808"/>
                    <a:gd name="T55" fmla="*/ 699 h 716"/>
                    <a:gd name="T56" fmla="*/ 643 w 808"/>
                    <a:gd name="T57" fmla="*/ 701 h 716"/>
                    <a:gd name="T58" fmla="*/ 532 w 808"/>
                    <a:gd name="T59" fmla="*/ 705 h 716"/>
                    <a:gd name="T60" fmla="*/ 509 w 808"/>
                    <a:gd name="T61" fmla="*/ 705 h 716"/>
                    <a:gd name="T62" fmla="*/ 59 w 808"/>
                    <a:gd name="T63" fmla="*/ 614 h 716"/>
                    <a:gd name="T64" fmla="*/ 32 w 808"/>
                    <a:gd name="T65" fmla="*/ 183 h 716"/>
                    <a:gd name="T66" fmla="*/ 13 w 808"/>
                    <a:gd name="T67" fmla="*/ 100 h 716"/>
                    <a:gd name="T68" fmla="*/ 12 w 808"/>
                    <a:gd name="T69" fmla="*/ 26 h 716"/>
                    <a:gd name="T70" fmla="*/ 24 w 808"/>
                    <a:gd name="T71" fmla="*/ 10 h 716"/>
                    <a:gd name="connsiteX0" fmla="*/ 292 w 10230"/>
                    <a:gd name="connsiteY0" fmla="*/ 182 h 10000"/>
                    <a:gd name="connsiteX1" fmla="*/ 663 w 10230"/>
                    <a:gd name="connsiteY1" fmla="*/ 98 h 10000"/>
                    <a:gd name="connsiteX2" fmla="*/ 985 w 10230"/>
                    <a:gd name="connsiteY2" fmla="*/ 126 h 10000"/>
                    <a:gd name="connsiteX3" fmla="*/ 1418 w 10230"/>
                    <a:gd name="connsiteY3" fmla="*/ 168 h 10000"/>
                    <a:gd name="connsiteX4" fmla="*/ 1802 w 10230"/>
                    <a:gd name="connsiteY4" fmla="*/ 251 h 10000"/>
                    <a:gd name="connsiteX5" fmla="*/ 2087 w 10230"/>
                    <a:gd name="connsiteY5" fmla="*/ 405 h 10000"/>
                    <a:gd name="connsiteX6" fmla="*/ 2384 w 10230"/>
                    <a:gd name="connsiteY6" fmla="*/ 461 h 10000"/>
                    <a:gd name="connsiteX7" fmla="*/ 2594 w 10230"/>
                    <a:gd name="connsiteY7" fmla="*/ 573 h 10000"/>
                    <a:gd name="connsiteX8" fmla="*/ 2879 w 10230"/>
                    <a:gd name="connsiteY8" fmla="*/ 573 h 10000"/>
                    <a:gd name="connsiteX9" fmla="*/ 3386 w 10230"/>
                    <a:gd name="connsiteY9" fmla="*/ 754 h 10000"/>
                    <a:gd name="connsiteX10" fmla="*/ 3559 w 10230"/>
                    <a:gd name="connsiteY10" fmla="*/ 740 h 10000"/>
                    <a:gd name="connsiteX11" fmla="*/ 3881 w 10230"/>
                    <a:gd name="connsiteY11" fmla="*/ 573 h 10000"/>
                    <a:gd name="connsiteX12" fmla="*/ 4240 w 10230"/>
                    <a:gd name="connsiteY12" fmla="*/ 279 h 10000"/>
                    <a:gd name="connsiteX13" fmla="*/ 4463 w 10230"/>
                    <a:gd name="connsiteY13" fmla="*/ 112 h 10000"/>
                    <a:gd name="connsiteX14" fmla="*/ 4735 w 10230"/>
                    <a:gd name="connsiteY14" fmla="*/ 56 h 10000"/>
                    <a:gd name="connsiteX15" fmla="*/ 4809 w 10230"/>
                    <a:gd name="connsiteY15" fmla="*/ 70 h 10000"/>
                    <a:gd name="connsiteX16" fmla="*/ 4636 w 10230"/>
                    <a:gd name="connsiteY16" fmla="*/ 196 h 10000"/>
                    <a:gd name="connsiteX17" fmla="*/ 4747 w 10230"/>
                    <a:gd name="connsiteY17" fmla="*/ 209 h 10000"/>
                    <a:gd name="connsiteX18" fmla="*/ 4983 w 10230"/>
                    <a:gd name="connsiteY18" fmla="*/ 126 h 10000"/>
                    <a:gd name="connsiteX19" fmla="*/ 5057 w 10230"/>
                    <a:gd name="connsiteY19" fmla="*/ 0 h 10000"/>
                    <a:gd name="connsiteX20" fmla="*/ 5230 w 10230"/>
                    <a:gd name="connsiteY20" fmla="*/ 28 h 10000"/>
                    <a:gd name="connsiteX21" fmla="*/ 5738 w 10230"/>
                    <a:gd name="connsiteY21" fmla="*/ 42 h 10000"/>
                    <a:gd name="connsiteX22" fmla="*/ 5898 w 10230"/>
                    <a:gd name="connsiteY22" fmla="*/ 168 h 10000"/>
                    <a:gd name="connsiteX23" fmla="*/ 6047 w 10230"/>
                    <a:gd name="connsiteY23" fmla="*/ 237 h 10000"/>
                    <a:gd name="connsiteX24" fmla="*/ 6096 w 10230"/>
                    <a:gd name="connsiteY24" fmla="*/ 489 h 10000"/>
                    <a:gd name="connsiteX25" fmla="*/ 6171 w 10230"/>
                    <a:gd name="connsiteY25" fmla="*/ 964 h 10000"/>
                    <a:gd name="connsiteX26" fmla="*/ 6196 w 10230"/>
                    <a:gd name="connsiteY26" fmla="*/ 1187 h 10000"/>
                    <a:gd name="connsiteX27" fmla="*/ 6344 w 10230"/>
                    <a:gd name="connsiteY27" fmla="*/ 1341 h 10000"/>
                    <a:gd name="connsiteX28" fmla="*/ 6394 w 10230"/>
                    <a:gd name="connsiteY28" fmla="*/ 1620 h 10000"/>
                    <a:gd name="connsiteX29" fmla="*/ 6418 w 10230"/>
                    <a:gd name="connsiteY29" fmla="*/ 1927 h 10000"/>
                    <a:gd name="connsiteX30" fmla="*/ 6691 w 10230"/>
                    <a:gd name="connsiteY30" fmla="*/ 2556 h 10000"/>
                    <a:gd name="connsiteX31" fmla="*/ 7000 w 10230"/>
                    <a:gd name="connsiteY31" fmla="*/ 3101 h 10000"/>
                    <a:gd name="connsiteX32" fmla="*/ 7408 w 10230"/>
                    <a:gd name="connsiteY32" fmla="*/ 3534 h 10000"/>
                    <a:gd name="connsiteX33" fmla="*/ 7532 w 10230"/>
                    <a:gd name="connsiteY33" fmla="*/ 3631 h 10000"/>
                    <a:gd name="connsiteX34" fmla="*/ 7606 w 10230"/>
                    <a:gd name="connsiteY34" fmla="*/ 4036 h 10000"/>
                    <a:gd name="connsiteX35" fmla="*/ 7866 w 10230"/>
                    <a:gd name="connsiteY35" fmla="*/ 4330 h 10000"/>
                    <a:gd name="connsiteX36" fmla="*/ 8077 w 10230"/>
                    <a:gd name="connsiteY36" fmla="*/ 4972 h 10000"/>
                    <a:gd name="connsiteX37" fmla="*/ 8299 w 10230"/>
                    <a:gd name="connsiteY37" fmla="*/ 5363 h 10000"/>
                    <a:gd name="connsiteX38" fmla="*/ 8535 w 10230"/>
                    <a:gd name="connsiteY38" fmla="*/ 5810 h 10000"/>
                    <a:gd name="connsiteX39" fmla="*/ 8720 w 10230"/>
                    <a:gd name="connsiteY39" fmla="*/ 6075 h 10000"/>
                    <a:gd name="connsiteX40" fmla="*/ 8993 w 10230"/>
                    <a:gd name="connsiteY40" fmla="*/ 6606 h 10000"/>
                    <a:gd name="connsiteX41" fmla="*/ 9240 w 10230"/>
                    <a:gd name="connsiteY41" fmla="*/ 7025 h 10000"/>
                    <a:gd name="connsiteX42" fmla="*/ 9698 w 10230"/>
                    <a:gd name="connsiteY42" fmla="*/ 7514 h 10000"/>
                    <a:gd name="connsiteX43" fmla="*/ 9871 w 10230"/>
                    <a:gd name="connsiteY43" fmla="*/ 7682 h 10000"/>
                    <a:gd name="connsiteX44" fmla="*/ 9797 w 10230"/>
                    <a:gd name="connsiteY44" fmla="*/ 7709 h 10000"/>
                    <a:gd name="connsiteX45" fmla="*/ 9648 w 10230"/>
                    <a:gd name="connsiteY45" fmla="*/ 7723 h 10000"/>
                    <a:gd name="connsiteX46" fmla="*/ 9673 w 10230"/>
                    <a:gd name="connsiteY46" fmla="*/ 7905 h 10000"/>
                    <a:gd name="connsiteX47" fmla="*/ 9723 w 10230"/>
                    <a:gd name="connsiteY47" fmla="*/ 8226 h 10000"/>
                    <a:gd name="connsiteX48" fmla="*/ 9822 w 10230"/>
                    <a:gd name="connsiteY48" fmla="*/ 8547 h 10000"/>
                    <a:gd name="connsiteX49" fmla="*/ 9834 w 10230"/>
                    <a:gd name="connsiteY49" fmla="*/ 8561 h 10000"/>
                    <a:gd name="connsiteX50" fmla="*/ 9834 w 10230"/>
                    <a:gd name="connsiteY50" fmla="*/ 8561 h 10000"/>
                    <a:gd name="connsiteX51" fmla="*/ 10221 w 10230"/>
                    <a:gd name="connsiteY51" fmla="*/ 9005 h 10000"/>
                    <a:gd name="connsiteX52" fmla="*/ 9327 w 10230"/>
                    <a:gd name="connsiteY52" fmla="*/ 8841 h 10000"/>
                    <a:gd name="connsiteX53" fmla="*/ 9092 w 10230"/>
                    <a:gd name="connsiteY53" fmla="*/ 9483 h 10000"/>
                    <a:gd name="connsiteX54" fmla="*/ 8696 w 10230"/>
                    <a:gd name="connsiteY54" fmla="*/ 9553 h 10000"/>
                    <a:gd name="connsiteX55" fmla="*/ 8634 w 10230"/>
                    <a:gd name="connsiteY55" fmla="*/ 9763 h 10000"/>
                    <a:gd name="connsiteX56" fmla="*/ 7854 w 10230"/>
                    <a:gd name="connsiteY56" fmla="*/ 9791 h 10000"/>
                    <a:gd name="connsiteX57" fmla="*/ 7854 w 10230"/>
                    <a:gd name="connsiteY57" fmla="*/ 9791 h 10000"/>
                    <a:gd name="connsiteX58" fmla="*/ 7854 w 10230"/>
                    <a:gd name="connsiteY58" fmla="*/ 9791 h 10000"/>
                    <a:gd name="connsiteX59" fmla="*/ 6480 w 10230"/>
                    <a:gd name="connsiteY59" fmla="*/ 9846 h 10000"/>
                    <a:gd name="connsiteX60" fmla="*/ 6381 w 10230"/>
                    <a:gd name="connsiteY60" fmla="*/ 9665 h 10000"/>
                    <a:gd name="connsiteX61" fmla="*/ 6196 w 10230"/>
                    <a:gd name="connsiteY61" fmla="*/ 9846 h 10000"/>
                    <a:gd name="connsiteX62" fmla="*/ 688 w 10230"/>
                    <a:gd name="connsiteY62" fmla="*/ 10000 h 10000"/>
                    <a:gd name="connsiteX63" fmla="*/ 626 w 10230"/>
                    <a:gd name="connsiteY63" fmla="*/ 8575 h 10000"/>
                    <a:gd name="connsiteX64" fmla="*/ 626 w 10230"/>
                    <a:gd name="connsiteY64" fmla="*/ 8575 h 10000"/>
                    <a:gd name="connsiteX65" fmla="*/ 292 w 10230"/>
                    <a:gd name="connsiteY65" fmla="*/ 2556 h 10000"/>
                    <a:gd name="connsiteX66" fmla="*/ 119 w 10230"/>
                    <a:gd name="connsiteY66" fmla="*/ 1997 h 10000"/>
                    <a:gd name="connsiteX67" fmla="*/ 57 w 10230"/>
                    <a:gd name="connsiteY67" fmla="*/ 1397 h 10000"/>
                    <a:gd name="connsiteX68" fmla="*/ 181 w 10230"/>
                    <a:gd name="connsiteY68" fmla="*/ 880 h 10000"/>
                    <a:gd name="connsiteX69" fmla="*/ 45 w 10230"/>
                    <a:gd name="connsiteY69" fmla="*/ 363 h 10000"/>
                    <a:gd name="connsiteX70" fmla="*/ 181 w 10230"/>
                    <a:gd name="connsiteY70" fmla="*/ 154 h 10000"/>
                    <a:gd name="connsiteX71" fmla="*/ 193 w 10230"/>
                    <a:gd name="connsiteY71" fmla="*/ 140 h 10000"/>
                    <a:gd name="connsiteX72" fmla="*/ 292 w 10230"/>
                    <a:gd name="connsiteY72" fmla="*/ 182 h 10000"/>
                    <a:gd name="connsiteX0" fmla="*/ 292 w 10870"/>
                    <a:gd name="connsiteY0" fmla="*/ 182 h 10000"/>
                    <a:gd name="connsiteX1" fmla="*/ 663 w 10870"/>
                    <a:gd name="connsiteY1" fmla="*/ 98 h 10000"/>
                    <a:gd name="connsiteX2" fmla="*/ 985 w 10870"/>
                    <a:gd name="connsiteY2" fmla="*/ 126 h 10000"/>
                    <a:gd name="connsiteX3" fmla="*/ 1418 w 10870"/>
                    <a:gd name="connsiteY3" fmla="*/ 168 h 10000"/>
                    <a:gd name="connsiteX4" fmla="*/ 1802 w 10870"/>
                    <a:gd name="connsiteY4" fmla="*/ 251 h 10000"/>
                    <a:gd name="connsiteX5" fmla="*/ 2087 w 10870"/>
                    <a:gd name="connsiteY5" fmla="*/ 405 h 10000"/>
                    <a:gd name="connsiteX6" fmla="*/ 2384 w 10870"/>
                    <a:gd name="connsiteY6" fmla="*/ 461 h 10000"/>
                    <a:gd name="connsiteX7" fmla="*/ 2594 w 10870"/>
                    <a:gd name="connsiteY7" fmla="*/ 573 h 10000"/>
                    <a:gd name="connsiteX8" fmla="*/ 2879 w 10870"/>
                    <a:gd name="connsiteY8" fmla="*/ 573 h 10000"/>
                    <a:gd name="connsiteX9" fmla="*/ 3386 w 10870"/>
                    <a:gd name="connsiteY9" fmla="*/ 754 h 10000"/>
                    <a:gd name="connsiteX10" fmla="*/ 3559 w 10870"/>
                    <a:gd name="connsiteY10" fmla="*/ 740 h 10000"/>
                    <a:gd name="connsiteX11" fmla="*/ 3881 w 10870"/>
                    <a:gd name="connsiteY11" fmla="*/ 573 h 10000"/>
                    <a:gd name="connsiteX12" fmla="*/ 4240 w 10870"/>
                    <a:gd name="connsiteY12" fmla="*/ 279 h 10000"/>
                    <a:gd name="connsiteX13" fmla="*/ 4463 w 10870"/>
                    <a:gd name="connsiteY13" fmla="*/ 112 h 10000"/>
                    <a:gd name="connsiteX14" fmla="*/ 4735 w 10870"/>
                    <a:gd name="connsiteY14" fmla="*/ 56 h 10000"/>
                    <a:gd name="connsiteX15" fmla="*/ 4809 w 10870"/>
                    <a:gd name="connsiteY15" fmla="*/ 70 h 10000"/>
                    <a:gd name="connsiteX16" fmla="*/ 4636 w 10870"/>
                    <a:gd name="connsiteY16" fmla="*/ 196 h 10000"/>
                    <a:gd name="connsiteX17" fmla="*/ 4747 w 10870"/>
                    <a:gd name="connsiteY17" fmla="*/ 209 h 10000"/>
                    <a:gd name="connsiteX18" fmla="*/ 4983 w 10870"/>
                    <a:gd name="connsiteY18" fmla="*/ 126 h 10000"/>
                    <a:gd name="connsiteX19" fmla="*/ 5057 w 10870"/>
                    <a:gd name="connsiteY19" fmla="*/ 0 h 10000"/>
                    <a:gd name="connsiteX20" fmla="*/ 5230 w 10870"/>
                    <a:gd name="connsiteY20" fmla="*/ 28 h 10000"/>
                    <a:gd name="connsiteX21" fmla="*/ 5738 w 10870"/>
                    <a:gd name="connsiteY21" fmla="*/ 42 h 10000"/>
                    <a:gd name="connsiteX22" fmla="*/ 5898 w 10870"/>
                    <a:gd name="connsiteY22" fmla="*/ 168 h 10000"/>
                    <a:gd name="connsiteX23" fmla="*/ 6047 w 10870"/>
                    <a:gd name="connsiteY23" fmla="*/ 237 h 10000"/>
                    <a:gd name="connsiteX24" fmla="*/ 6096 w 10870"/>
                    <a:gd name="connsiteY24" fmla="*/ 489 h 10000"/>
                    <a:gd name="connsiteX25" fmla="*/ 6171 w 10870"/>
                    <a:gd name="connsiteY25" fmla="*/ 964 h 10000"/>
                    <a:gd name="connsiteX26" fmla="*/ 6196 w 10870"/>
                    <a:gd name="connsiteY26" fmla="*/ 1187 h 10000"/>
                    <a:gd name="connsiteX27" fmla="*/ 6344 w 10870"/>
                    <a:gd name="connsiteY27" fmla="*/ 1341 h 10000"/>
                    <a:gd name="connsiteX28" fmla="*/ 6394 w 10870"/>
                    <a:gd name="connsiteY28" fmla="*/ 1620 h 10000"/>
                    <a:gd name="connsiteX29" fmla="*/ 6418 w 10870"/>
                    <a:gd name="connsiteY29" fmla="*/ 1927 h 10000"/>
                    <a:gd name="connsiteX30" fmla="*/ 6691 w 10870"/>
                    <a:gd name="connsiteY30" fmla="*/ 2556 h 10000"/>
                    <a:gd name="connsiteX31" fmla="*/ 7000 w 10870"/>
                    <a:gd name="connsiteY31" fmla="*/ 3101 h 10000"/>
                    <a:gd name="connsiteX32" fmla="*/ 7408 w 10870"/>
                    <a:gd name="connsiteY32" fmla="*/ 3534 h 10000"/>
                    <a:gd name="connsiteX33" fmla="*/ 7532 w 10870"/>
                    <a:gd name="connsiteY33" fmla="*/ 3631 h 10000"/>
                    <a:gd name="connsiteX34" fmla="*/ 7606 w 10870"/>
                    <a:gd name="connsiteY34" fmla="*/ 4036 h 10000"/>
                    <a:gd name="connsiteX35" fmla="*/ 7866 w 10870"/>
                    <a:gd name="connsiteY35" fmla="*/ 4330 h 10000"/>
                    <a:gd name="connsiteX36" fmla="*/ 8077 w 10870"/>
                    <a:gd name="connsiteY36" fmla="*/ 4972 h 10000"/>
                    <a:gd name="connsiteX37" fmla="*/ 8299 w 10870"/>
                    <a:gd name="connsiteY37" fmla="*/ 5363 h 10000"/>
                    <a:gd name="connsiteX38" fmla="*/ 8535 w 10870"/>
                    <a:gd name="connsiteY38" fmla="*/ 5810 h 10000"/>
                    <a:gd name="connsiteX39" fmla="*/ 8720 w 10870"/>
                    <a:gd name="connsiteY39" fmla="*/ 6075 h 10000"/>
                    <a:gd name="connsiteX40" fmla="*/ 8993 w 10870"/>
                    <a:gd name="connsiteY40" fmla="*/ 6606 h 10000"/>
                    <a:gd name="connsiteX41" fmla="*/ 9240 w 10870"/>
                    <a:gd name="connsiteY41" fmla="*/ 7025 h 10000"/>
                    <a:gd name="connsiteX42" fmla="*/ 9698 w 10870"/>
                    <a:gd name="connsiteY42" fmla="*/ 7514 h 10000"/>
                    <a:gd name="connsiteX43" fmla="*/ 9871 w 10870"/>
                    <a:gd name="connsiteY43" fmla="*/ 7682 h 10000"/>
                    <a:gd name="connsiteX44" fmla="*/ 9797 w 10870"/>
                    <a:gd name="connsiteY44" fmla="*/ 7709 h 10000"/>
                    <a:gd name="connsiteX45" fmla="*/ 9648 w 10870"/>
                    <a:gd name="connsiteY45" fmla="*/ 7723 h 10000"/>
                    <a:gd name="connsiteX46" fmla="*/ 9673 w 10870"/>
                    <a:gd name="connsiteY46" fmla="*/ 7905 h 10000"/>
                    <a:gd name="connsiteX47" fmla="*/ 9723 w 10870"/>
                    <a:gd name="connsiteY47" fmla="*/ 8226 h 10000"/>
                    <a:gd name="connsiteX48" fmla="*/ 9822 w 10870"/>
                    <a:gd name="connsiteY48" fmla="*/ 8547 h 10000"/>
                    <a:gd name="connsiteX49" fmla="*/ 9834 w 10870"/>
                    <a:gd name="connsiteY49" fmla="*/ 8561 h 10000"/>
                    <a:gd name="connsiteX50" fmla="*/ 9834 w 10870"/>
                    <a:gd name="connsiteY50" fmla="*/ 8561 h 10000"/>
                    <a:gd name="connsiteX51" fmla="*/ 10221 w 10870"/>
                    <a:gd name="connsiteY51" fmla="*/ 9005 h 10000"/>
                    <a:gd name="connsiteX52" fmla="*/ 10870 w 10870"/>
                    <a:gd name="connsiteY52" fmla="*/ 9287 h 10000"/>
                    <a:gd name="connsiteX53" fmla="*/ 9092 w 10870"/>
                    <a:gd name="connsiteY53" fmla="*/ 9483 h 10000"/>
                    <a:gd name="connsiteX54" fmla="*/ 8696 w 10870"/>
                    <a:gd name="connsiteY54" fmla="*/ 9553 h 10000"/>
                    <a:gd name="connsiteX55" fmla="*/ 8634 w 10870"/>
                    <a:gd name="connsiteY55" fmla="*/ 9763 h 10000"/>
                    <a:gd name="connsiteX56" fmla="*/ 7854 w 10870"/>
                    <a:gd name="connsiteY56" fmla="*/ 9791 h 10000"/>
                    <a:gd name="connsiteX57" fmla="*/ 7854 w 10870"/>
                    <a:gd name="connsiteY57" fmla="*/ 9791 h 10000"/>
                    <a:gd name="connsiteX58" fmla="*/ 7854 w 10870"/>
                    <a:gd name="connsiteY58" fmla="*/ 9791 h 10000"/>
                    <a:gd name="connsiteX59" fmla="*/ 6480 w 10870"/>
                    <a:gd name="connsiteY59" fmla="*/ 9846 h 10000"/>
                    <a:gd name="connsiteX60" fmla="*/ 6381 w 10870"/>
                    <a:gd name="connsiteY60" fmla="*/ 9665 h 10000"/>
                    <a:gd name="connsiteX61" fmla="*/ 6196 w 10870"/>
                    <a:gd name="connsiteY61" fmla="*/ 9846 h 10000"/>
                    <a:gd name="connsiteX62" fmla="*/ 688 w 10870"/>
                    <a:gd name="connsiteY62" fmla="*/ 10000 h 10000"/>
                    <a:gd name="connsiteX63" fmla="*/ 626 w 10870"/>
                    <a:gd name="connsiteY63" fmla="*/ 8575 h 10000"/>
                    <a:gd name="connsiteX64" fmla="*/ 626 w 10870"/>
                    <a:gd name="connsiteY64" fmla="*/ 8575 h 10000"/>
                    <a:gd name="connsiteX65" fmla="*/ 292 w 10870"/>
                    <a:gd name="connsiteY65" fmla="*/ 2556 h 10000"/>
                    <a:gd name="connsiteX66" fmla="*/ 119 w 10870"/>
                    <a:gd name="connsiteY66" fmla="*/ 1997 h 10000"/>
                    <a:gd name="connsiteX67" fmla="*/ 57 w 10870"/>
                    <a:gd name="connsiteY67" fmla="*/ 1397 h 10000"/>
                    <a:gd name="connsiteX68" fmla="*/ 181 w 10870"/>
                    <a:gd name="connsiteY68" fmla="*/ 880 h 10000"/>
                    <a:gd name="connsiteX69" fmla="*/ 45 w 10870"/>
                    <a:gd name="connsiteY69" fmla="*/ 363 h 10000"/>
                    <a:gd name="connsiteX70" fmla="*/ 181 w 10870"/>
                    <a:gd name="connsiteY70" fmla="*/ 154 h 10000"/>
                    <a:gd name="connsiteX71" fmla="*/ 193 w 10870"/>
                    <a:gd name="connsiteY71" fmla="*/ 140 h 10000"/>
                    <a:gd name="connsiteX72" fmla="*/ 292 w 10870"/>
                    <a:gd name="connsiteY72" fmla="*/ 182 h 10000"/>
                    <a:gd name="connsiteX0" fmla="*/ 292 w 11069"/>
                    <a:gd name="connsiteY0" fmla="*/ 182 h 10000"/>
                    <a:gd name="connsiteX1" fmla="*/ 663 w 11069"/>
                    <a:gd name="connsiteY1" fmla="*/ 98 h 10000"/>
                    <a:gd name="connsiteX2" fmla="*/ 985 w 11069"/>
                    <a:gd name="connsiteY2" fmla="*/ 126 h 10000"/>
                    <a:gd name="connsiteX3" fmla="*/ 1418 w 11069"/>
                    <a:gd name="connsiteY3" fmla="*/ 168 h 10000"/>
                    <a:gd name="connsiteX4" fmla="*/ 1802 w 11069"/>
                    <a:gd name="connsiteY4" fmla="*/ 251 h 10000"/>
                    <a:gd name="connsiteX5" fmla="*/ 2087 w 11069"/>
                    <a:gd name="connsiteY5" fmla="*/ 405 h 10000"/>
                    <a:gd name="connsiteX6" fmla="*/ 2384 w 11069"/>
                    <a:gd name="connsiteY6" fmla="*/ 461 h 10000"/>
                    <a:gd name="connsiteX7" fmla="*/ 2594 w 11069"/>
                    <a:gd name="connsiteY7" fmla="*/ 573 h 10000"/>
                    <a:gd name="connsiteX8" fmla="*/ 2879 w 11069"/>
                    <a:gd name="connsiteY8" fmla="*/ 573 h 10000"/>
                    <a:gd name="connsiteX9" fmla="*/ 3386 w 11069"/>
                    <a:gd name="connsiteY9" fmla="*/ 754 h 10000"/>
                    <a:gd name="connsiteX10" fmla="*/ 3559 w 11069"/>
                    <a:gd name="connsiteY10" fmla="*/ 740 h 10000"/>
                    <a:gd name="connsiteX11" fmla="*/ 3881 w 11069"/>
                    <a:gd name="connsiteY11" fmla="*/ 573 h 10000"/>
                    <a:gd name="connsiteX12" fmla="*/ 4240 w 11069"/>
                    <a:gd name="connsiteY12" fmla="*/ 279 h 10000"/>
                    <a:gd name="connsiteX13" fmla="*/ 4463 w 11069"/>
                    <a:gd name="connsiteY13" fmla="*/ 112 h 10000"/>
                    <a:gd name="connsiteX14" fmla="*/ 4735 w 11069"/>
                    <a:gd name="connsiteY14" fmla="*/ 56 h 10000"/>
                    <a:gd name="connsiteX15" fmla="*/ 4809 w 11069"/>
                    <a:gd name="connsiteY15" fmla="*/ 70 h 10000"/>
                    <a:gd name="connsiteX16" fmla="*/ 4636 w 11069"/>
                    <a:gd name="connsiteY16" fmla="*/ 196 h 10000"/>
                    <a:gd name="connsiteX17" fmla="*/ 4747 w 11069"/>
                    <a:gd name="connsiteY17" fmla="*/ 209 h 10000"/>
                    <a:gd name="connsiteX18" fmla="*/ 4983 w 11069"/>
                    <a:gd name="connsiteY18" fmla="*/ 126 h 10000"/>
                    <a:gd name="connsiteX19" fmla="*/ 5057 w 11069"/>
                    <a:gd name="connsiteY19" fmla="*/ 0 h 10000"/>
                    <a:gd name="connsiteX20" fmla="*/ 5230 w 11069"/>
                    <a:gd name="connsiteY20" fmla="*/ 28 h 10000"/>
                    <a:gd name="connsiteX21" fmla="*/ 5738 w 11069"/>
                    <a:gd name="connsiteY21" fmla="*/ 42 h 10000"/>
                    <a:gd name="connsiteX22" fmla="*/ 5898 w 11069"/>
                    <a:gd name="connsiteY22" fmla="*/ 168 h 10000"/>
                    <a:gd name="connsiteX23" fmla="*/ 6047 w 11069"/>
                    <a:gd name="connsiteY23" fmla="*/ 237 h 10000"/>
                    <a:gd name="connsiteX24" fmla="*/ 6096 w 11069"/>
                    <a:gd name="connsiteY24" fmla="*/ 489 h 10000"/>
                    <a:gd name="connsiteX25" fmla="*/ 6171 w 11069"/>
                    <a:gd name="connsiteY25" fmla="*/ 964 h 10000"/>
                    <a:gd name="connsiteX26" fmla="*/ 6196 w 11069"/>
                    <a:gd name="connsiteY26" fmla="*/ 1187 h 10000"/>
                    <a:gd name="connsiteX27" fmla="*/ 6344 w 11069"/>
                    <a:gd name="connsiteY27" fmla="*/ 1341 h 10000"/>
                    <a:gd name="connsiteX28" fmla="*/ 6394 w 11069"/>
                    <a:gd name="connsiteY28" fmla="*/ 1620 h 10000"/>
                    <a:gd name="connsiteX29" fmla="*/ 6418 w 11069"/>
                    <a:gd name="connsiteY29" fmla="*/ 1927 h 10000"/>
                    <a:gd name="connsiteX30" fmla="*/ 6691 w 11069"/>
                    <a:gd name="connsiteY30" fmla="*/ 2556 h 10000"/>
                    <a:gd name="connsiteX31" fmla="*/ 7000 w 11069"/>
                    <a:gd name="connsiteY31" fmla="*/ 3101 h 10000"/>
                    <a:gd name="connsiteX32" fmla="*/ 7408 w 11069"/>
                    <a:gd name="connsiteY32" fmla="*/ 3534 h 10000"/>
                    <a:gd name="connsiteX33" fmla="*/ 7532 w 11069"/>
                    <a:gd name="connsiteY33" fmla="*/ 3631 h 10000"/>
                    <a:gd name="connsiteX34" fmla="*/ 7606 w 11069"/>
                    <a:gd name="connsiteY34" fmla="*/ 4036 h 10000"/>
                    <a:gd name="connsiteX35" fmla="*/ 7866 w 11069"/>
                    <a:gd name="connsiteY35" fmla="*/ 4330 h 10000"/>
                    <a:gd name="connsiteX36" fmla="*/ 8077 w 11069"/>
                    <a:gd name="connsiteY36" fmla="*/ 4972 h 10000"/>
                    <a:gd name="connsiteX37" fmla="*/ 8299 w 11069"/>
                    <a:gd name="connsiteY37" fmla="*/ 5363 h 10000"/>
                    <a:gd name="connsiteX38" fmla="*/ 8535 w 11069"/>
                    <a:gd name="connsiteY38" fmla="*/ 5810 h 10000"/>
                    <a:gd name="connsiteX39" fmla="*/ 8720 w 11069"/>
                    <a:gd name="connsiteY39" fmla="*/ 6075 h 10000"/>
                    <a:gd name="connsiteX40" fmla="*/ 8993 w 11069"/>
                    <a:gd name="connsiteY40" fmla="*/ 6606 h 10000"/>
                    <a:gd name="connsiteX41" fmla="*/ 9240 w 11069"/>
                    <a:gd name="connsiteY41" fmla="*/ 7025 h 10000"/>
                    <a:gd name="connsiteX42" fmla="*/ 9698 w 11069"/>
                    <a:gd name="connsiteY42" fmla="*/ 7514 h 10000"/>
                    <a:gd name="connsiteX43" fmla="*/ 9871 w 11069"/>
                    <a:gd name="connsiteY43" fmla="*/ 7682 h 10000"/>
                    <a:gd name="connsiteX44" fmla="*/ 9797 w 11069"/>
                    <a:gd name="connsiteY44" fmla="*/ 7709 h 10000"/>
                    <a:gd name="connsiteX45" fmla="*/ 9648 w 11069"/>
                    <a:gd name="connsiteY45" fmla="*/ 7723 h 10000"/>
                    <a:gd name="connsiteX46" fmla="*/ 9673 w 11069"/>
                    <a:gd name="connsiteY46" fmla="*/ 7905 h 10000"/>
                    <a:gd name="connsiteX47" fmla="*/ 9723 w 11069"/>
                    <a:gd name="connsiteY47" fmla="*/ 8226 h 10000"/>
                    <a:gd name="connsiteX48" fmla="*/ 9822 w 11069"/>
                    <a:gd name="connsiteY48" fmla="*/ 8547 h 10000"/>
                    <a:gd name="connsiteX49" fmla="*/ 9834 w 11069"/>
                    <a:gd name="connsiteY49" fmla="*/ 8561 h 10000"/>
                    <a:gd name="connsiteX50" fmla="*/ 9834 w 11069"/>
                    <a:gd name="connsiteY50" fmla="*/ 8561 h 10000"/>
                    <a:gd name="connsiteX51" fmla="*/ 10221 w 11069"/>
                    <a:gd name="connsiteY51" fmla="*/ 9005 h 10000"/>
                    <a:gd name="connsiteX52" fmla="*/ 10870 w 11069"/>
                    <a:gd name="connsiteY52" fmla="*/ 9287 h 10000"/>
                    <a:gd name="connsiteX53" fmla="*/ 11066 w 11069"/>
                    <a:gd name="connsiteY53" fmla="*/ 9605 h 10000"/>
                    <a:gd name="connsiteX54" fmla="*/ 8696 w 11069"/>
                    <a:gd name="connsiteY54" fmla="*/ 9553 h 10000"/>
                    <a:gd name="connsiteX55" fmla="*/ 8634 w 11069"/>
                    <a:gd name="connsiteY55" fmla="*/ 9763 h 10000"/>
                    <a:gd name="connsiteX56" fmla="*/ 7854 w 11069"/>
                    <a:gd name="connsiteY56" fmla="*/ 9791 h 10000"/>
                    <a:gd name="connsiteX57" fmla="*/ 7854 w 11069"/>
                    <a:gd name="connsiteY57" fmla="*/ 9791 h 10000"/>
                    <a:gd name="connsiteX58" fmla="*/ 7854 w 11069"/>
                    <a:gd name="connsiteY58" fmla="*/ 9791 h 10000"/>
                    <a:gd name="connsiteX59" fmla="*/ 6480 w 11069"/>
                    <a:gd name="connsiteY59" fmla="*/ 9846 h 10000"/>
                    <a:gd name="connsiteX60" fmla="*/ 6381 w 11069"/>
                    <a:gd name="connsiteY60" fmla="*/ 9665 h 10000"/>
                    <a:gd name="connsiteX61" fmla="*/ 6196 w 11069"/>
                    <a:gd name="connsiteY61" fmla="*/ 9846 h 10000"/>
                    <a:gd name="connsiteX62" fmla="*/ 688 w 11069"/>
                    <a:gd name="connsiteY62" fmla="*/ 10000 h 10000"/>
                    <a:gd name="connsiteX63" fmla="*/ 626 w 11069"/>
                    <a:gd name="connsiteY63" fmla="*/ 8575 h 10000"/>
                    <a:gd name="connsiteX64" fmla="*/ 626 w 11069"/>
                    <a:gd name="connsiteY64" fmla="*/ 8575 h 10000"/>
                    <a:gd name="connsiteX65" fmla="*/ 292 w 11069"/>
                    <a:gd name="connsiteY65" fmla="*/ 2556 h 10000"/>
                    <a:gd name="connsiteX66" fmla="*/ 119 w 11069"/>
                    <a:gd name="connsiteY66" fmla="*/ 1997 h 10000"/>
                    <a:gd name="connsiteX67" fmla="*/ 57 w 11069"/>
                    <a:gd name="connsiteY67" fmla="*/ 1397 h 10000"/>
                    <a:gd name="connsiteX68" fmla="*/ 181 w 11069"/>
                    <a:gd name="connsiteY68" fmla="*/ 880 h 10000"/>
                    <a:gd name="connsiteX69" fmla="*/ 45 w 11069"/>
                    <a:gd name="connsiteY69" fmla="*/ 363 h 10000"/>
                    <a:gd name="connsiteX70" fmla="*/ 181 w 11069"/>
                    <a:gd name="connsiteY70" fmla="*/ 154 h 10000"/>
                    <a:gd name="connsiteX71" fmla="*/ 193 w 11069"/>
                    <a:gd name="connsiteY71" fmla="*/ 140 h 10000"/>
                    <a:gd name="connsiteX72" fmla="*/ 292 w 11069"/>
                    <a:gd name="connsiteY72" fmla="*/ 182 h 10000"/>
                    <a:gd name="connsiteX0" fmla="*/ 292 w 11069"/>
                    <a:gd name="connsiteY0" fmla="*/ 182 h 10000"/>
                    <a:gd name="connsiteX1" fmla="*/ 663 w 11069"/>
                    <a:gd name="connsiteY1" fmla="*/ 98 h 10000"/>
                    <a:gd name="connsiteX2" fmla="*/ 985 w 11069"/>
                    <a:gd name="connsiteY2" fmla="*/ 126 h 10000"/>
                    <a:gd name="connsiteX3" fmla="*/ 1418 w 11069"/>
                    <a:gd name="connsiteY3" fmla="*/ 168 h 10000"/>
                    <a:gd name="connsiteX4" fmla="*/ 1802 w 11069"/>
                    <a:gd name="connsiteY4" fmla="*/ 251 h 10000"/>
                    <a:gd name="connsiteX5" fmla="*/ 2087 w 11069"/>
                    <a:gd name="connsiteY5" fmla="*/ 405 h 10000"/>
                    <a:gd name="connsiteX6" fmla="*/ 2384 w 11069"/>
                    <a:gd name="connsiteY6" fmla="*/ 461 h 10000"/>
                    <a:gd name="connsiteX7" fmla="*/ 2594 w 11069"/>
                    <a:gd name="connsiteY7" fmla="*/ 573 h 10000"/>
                    <a:gd name="connsiteX8" fmla="*/ 2879 w 11069"/>
                    <a:gd name="connsiteY8" fmla="*/ 573 h 10000"/>
                    <a:gd name="connsiteX9" fmla="*/ 3386 w 11069"/>
                    <a:gd name="connsiteY9" fmla="*/ 754 h 10000"/>
                    <a:gd name="connsiteX10" fmla="*/ 3559 w 11069"/>
                    <a:gd name="connsiteY10" fmla="*/ 740 h 10000"/>
                    <a:gd name="connsiteX11" fmla="*/ 3881 w 11069"/>
                    <a:gd name="connsiteY11" fmla="*/ 573 h 10000"/>
                    <a:gd name="connsiteX12" fmla="*/ 4240 w 11069"/>
                    <a:gd name="connsiteY12" fmla="*/ 279 h 10000"/>
                    <a:gd name="connsiteX13" fmla="*/ 4463 w 11069"/>
                    <a:gd name="connsiteY13" fmla="*/ 112 h 10000"/>
                    <a:gd name="connsiteX14" fmla="*/ 4735 w 11069"/>
                    <a:gd name="connsiteY14" fmla="*/ 56 h 10000"/>
                    <a:gd name="connsiteX15" fmla="*/ 4809 w 11069"/>
                    <a:gd name="connsiteY15" fmla="*/ 70 h 10000"/>
                    <a:gd name="connsiteX16" fmla="*/ 4636 w 11069"/>
                    <a:gd name="connsiteY16" fmla="*/ 196 h 10000"/>
                    <a:gd name="connsiteX17" fmla="*/ 4747 w 11069"/>
                    <a:gd name="connsiteY17" fmla="*/ 209 h 10000"/>
                    <a:gd name="connsiteX18" fmla="*/ 4983 w 11069"/>
                    <a:gd name="connsiteY18" fmla="*/ 126 h 10000"/>
                    <a:gd name="connsiteX19" fmla="*/ 5057 w 11069"/>
                    <a:gd name="connsiteY19" fmla="*/ 0 h 10000"/>
                    <a:gd name="connsiteX20" fmla="*/ 5230 w 11069"/>
                    <a:gd name="connsiteY20" fmla="*/ 28 h 10000"/>
                    <a:gd name="connsiteX21" fmla="*/ 5738 w 11069"/>
                    <a:gd name="connsiteY21" fmla="*/ 42 h 10000"/>
                    <a:gd name="connsiteX22" fmla="*/ 5898 w 11069"/>
                    <a:gd name="connsiteY22" fmla="*/ 168 h 10000"/>
                    <a:gd name="connsiteX23" fmla="*/ 6047 w 11069"/>
                    <a:gd name="connsiteY23" fmla="*/ 237 h 10000"/>
                    <a:gd name="connsiteX24" fmla="*/ 6096 w 11069"/>
                    <a:gd name="connsiteY24" fmla="*/ 489 h 10000"/>
                    <a:gd name="connsiteX25" fmla="*/ 6171 w 11069"/>
                    <a:gd name="connsiteY25" fmla="*/ 964 h 10000"/>
                    <a:gd name="connsiteX26" fmla="*/ 6196 w 11069"/>
                    <a:gd name="connsiteY26" fmla="*/ 1187 h 10000"/>
                    <a:gd name="connsiteX27" fmla="*/ 6344 w 11069"/>
                    <a:gd name="connsiteY27" fmla="*/ 1341 h 10000"/>
                    <a:gd name="connsiteX28" fmla="*/ 6394 w 11069"/>
                    <a:gd name="connsiteY28" fmla="*/ 1620 h 10000"/>
                    <a:gd name="connsiteX29" fmla="*/ 6418 w 11069"/>
                    <a:gd name="connsiteY29" fmla="*/ 1927 h 10000"/>
                    <a:gd name="connsiteX30" fmla="*/ 6691 w 11069"/>
                    <a:gd name="connsiteY30" fmla="*/ 2556 h 10000"/>
                    <a:gd name="connsiteX31" fmla="*/ 7000 w 11069"/>
                    <a:gd name="connsiteY31" fmla="*/ 3101 h 10000"/>
                    <a:gd name="connsiteX32" fmla="*/ 7408 w 11069"/>
                    <a:gd name="connsiteY32" fmla="*/ 3534 h 10000"/>
                    <a:gd name="connsiteX33" fmla="*/ 7532 w 11069"/>
                    <a:gd name="connsiteY33" fmla="*/ 3631 h 10000"/>
                    <a:gd name="connsiteX34" fmla="*/ 7606 w 11069"/>
                    <a:gd name="connsiteY34" fmla="*/ 4036 h 10000"/>
                    <a:gd name="connsiteX35" fmla="*/ 7866 w 11069"/>
                    <a:gd name="connsiteY35" fmla="*/ 4330 h 10000"/>
                    <a:gd name="connsiteX36" fmla="*/ 8077 w 11069"/>
                    <a:gd name="connsiteY36" fmla="*/ 4972 h 10000"/>
                    <a:gd name="connsiteX37" fmla="*/ 8299 w 11069"/>
                    <a:gd name="connsiteY37" fmla="*/ 5363 h 10000"/>
                    <a:gd name="connsiteX38" fmla="*/ 8535 w 11069"/>
                    <a:gd name="connsiteY38" fmla="*/ 5810 h 10000"/>
                    <a:gd name="connsiteX39" fmla="*/ 8720 w 11069"/>
                    <a:gd name="connsiteY39" fmla="*/ 6075 h 10000"/>
                    <a:gd name="connsiteX40" fmla="*/ 8993 w 11069"/>
                    <a:gd name="connsiteY40" fmla="*/ 6606 h 10000"/>
                    <a:gd name="connsiteX41" fmla="*/ 9240 w 11069"/>
                    <a:gd name="connsiteY41" fmla="*/ 7025 h 10000"/>
                    <a:gd name="connsiteX42" fmla="*/ 9698 w 11069"/>
                    <a:gd name="connsiteY42" fmla="*/ 7514 h 10000"/>
                    <a:gd name="connsiteX43" fmla="*/ 9871 w 11069"/>
                    <a:gd name="connsiteY43" fmla="*/ 7682 h 10000"/>
                    <a:gd name="connsiteX44" fmla="*/ 9797 w 11069"/>
                    <a:gd name="connsiteY44" fmla="*/ 7709 h 10000"/>
                    <a:gd name="connsiteX45" fmla="*/ 9648 w 11069"/>
                    <a:gd name="connsiteY45" fmla="*/ 7723 h 10000"/>
                    <a:gd name="connsiteX46" fmla="*/ 9673 w 11069"/>
                    <a:gd name="connsiteY46" fmla="*/ 7905 h 10000"/>
                    <a:gd name="connsiteX47" fmla="*/ 9723 w 11069"/>
                    <a:gd name="connsiteY47" fmla="*/ 8226 h 10000"/>
                    <a:gd name="connsiteX48" fmla="*/ 9822 w 11069"/>
                    <a:gd name="connsiteY48" fmla="*/ 8547 h 10000"/>
                    <a:gd name="connsiteX49" fmla="*/ 9834 w 11069"/>
                    <a:gd name="connsiteY49" fmla="*/ 8561 h 10000"/>
                    <a:gd name="connsiteX50" fmla="*/ 9834 w 11069"/>
                    <a:gd name="connsiteY50" fmla="*/ 8561 h 10000"/>
                    <a:gd name="connsiteX51" fmla="*/ 10221 w 11069"/>
                    <a:gd name="connsiteY51" fmla="*/ 9005 h 10000"/>
                    <a:gd name="connsiteX52" fmla="*/ 10870 w 11069"/>
                    <a:gd name="connsiteY52" fmla="*/ 9287 h 10000"/>
                    <a:gd name="connsiteX53" fmla="*/ 11066 w 11069"/>
                    <a:gd name="connsiteY53" fmla="*/ 9605 h 10000"/>
                    <a:gd name="connsiteX54" fmla="*/ 8634 w 11069"/>
                    <a:gd name="connsiteY54" fmla="*/ 9763 h 10000"/>
                    <a:gd name="connsiteX55" fmla="*/ 7854 w 11069"/>
                    <a:gd name="connsiteY55" fmla="*/ 9791 h 10000"/>
                    <a:gd name="connsiteX56" fmla="*/ 7854 w 11069"/>
                    <a:gd name="connsiteY56" fmla="*/ 9791 h 10000"/>
                    <a:gd name="connsiteX57" fmla="*/ 7854 w 11069"/>
                    <a:gd name="connsiteY57" fmla="*/ 9791 h 10000"/>
                    <a:gd name="connsiteX58" fmla="*/ 6480 w 11069"/>
                    <a:gd name="connsiteY58" fmla="*/ 9846 h 10000"/>
                    <a:gd name="connsiteX59" fmla="*/ 6381 w 11069"/>
                    <a:gd name="connsiteY59" fmla="*/ 9665 h 10000"/>
                    <a:gd name="connsiteX60" fmla="*/ 6196 w 11069"/>
                    <a:gd name="connsiteY60" fmla="*/ 9846 h 10000"/>
                    <a:gd name="connsiteX61" fmla="*/ 688 w 11069"/>
                    <a:gd name="connsiteY61" fmla="*/ 10000 h 10000"/>
                    <a:gd name="connsiteX62" fmla="*/ 626 w 11069"/>
                    <a:gd name="connsiteY62" fmla="*/ 8575 h 10000"/>
                    <a:gd name="connsiteX63" fmla="*/ 626 w 11069"/>
                    <a:gd name="connsiteY63" fmla="*/ 8575 h 10000"/>
                    <a:gd name="connsiteX64" fmla="*/ 292 w 11069"/>
                    <a:gd name="connsiteY64" fmla="*/ 2556 h 10000"/>
                    <a:gd name="connsiteX65" fmla="*/ 119 w 11069"/>
                    <a:gd name="connsiteY65" fmla="*/ 1997 h 10000"/>
                    <a:gd name="connsiteX66" fmla="*/ 57 w 11069"/>
                    <a:gd name="connsiteY66" fmla="*/ 1397 h 10000"/>
                    <a:gd name="connsiteX67" fmla="*/ 181 w 11069"/>
                    <a:gd name="connsiteY67" fmla="*/ 880 h 10000"/>
                    <a:gd name="connsiteX68" fmla="*/ 45 w 11069"/>
                    <a:gd name="connsiteY68" fmla="*/ 363 h 10000"/>
                    <a:gd name="connsiteX69" fmla="*/ 181 w 11069"/>
                    <a:gd name="connsiteY69" fmla="*/ 154 h 10000"/>
                    <a:gd name="connsiteX70" fmla="*/ 193 w 11069"/>
                    <a:gd name="connsiteY70" fmla="*/ 140 h 10000"/>
                    <a:gd name="connsiteX71" fmla="*/ 292 w 11069"/>
                    <a:gd name="connsiteY71" fmla="*/ 182 h 10000"/>
                    <a:gd name="connsiteX0" fmla="*/ 292 w 10870"/>
                    <a:gd name="connsiteY0" fmla="*/ 182 h 10000"/>
                    <a:gd name="connsiteX1" fmla="*/ 663 w 10870"/>
                    <a:gd name="connsiteY1" fmla="*/ 98 h 10000"/>
                    <a:gd name="connsiteX2" fmla="*/ 985 w 10870"/>
                    <a:gd name="connsiteY2" fmla="*/ 126 h 10000"/>
                    <a:gd name="connsiteX3" fmla="*/ 1418 w 10870"/>
                    <a:gd name="connsiteY3" fmla="*/ 168 h 10000"/>
                    <a:gd name="connsiteX4" fmla="*/ 1802 w 10870"/>
                    <a:gd name="connsiteY4" fmla="*/ 251 h 10000"/>
                    <a:gd name="connsiteX5" fmla="*/ 2087 w 10870"/>
                    <a:gd name="connsiteY5" fmla="*/ 405 h 10000"/>
                    <a:gd name="connsiteX6" fmla="*/ 2384 w 10870"/>
                    <a:gd name="connsiteY6" fmla="*/ 461 h 10000"/>
                    <a:gd name="connsiteX7" fmla="*/ 2594 w 10870"/>
                    <a:gd name="connsiteY7" fmla="*/ 573 h 10000"/>
                    <a:gd name="connsiteX8" fmla="*/ 2879 w 10870"/>
                    <a:gd name="connsiteY8" fmla="*/ 573 h 10000"/>
                    <a:gd name="connsiteX9" fmla="*/ 3386 w 10870"/>
                    <a:gd name="connsiteY9" fmla="*/ 754 h 10000"/>
                    <a:gd name="connsiteX10" fmla="*/ 3559 w 10870"/>
                    <a:gd name="connsiteY10" fmla="*/ 740 h 10000"/>
                    <a:gd name="connsiteX11" fmla="*/ 3881 w 10870"/>
                    <a:gd name="connsiteY11" fmla="*/ 573 h 10000"/>
                    <a:gd name="connsiteX12" fmla="*/ 4240 w 10870"/>
                    <a:gd name="connsiteY12" fmla="*/ 279 h 10000"/>
                    <a:gd name="connsiteX13" fmla="*/ 4463 w 10870"/>
                    <a:gd name="connsiteY13" fmla="*/ 112 h 10000"/>
                    <a:gd name="connsiteX14" fmla="*/ 4735 w 10870"/>
                    <a:gd name="connsiteY14" fmla="*/ 56 h 10000"/>
                    <a:gd name="connsiteX15" fmla="*/ 4809 w 10870"/>
                    <a:gd name="connsiteY15" fmla="*/ 70 h 10000"/>
                    <a:gd name="connsiteX16" fmla="*/ 4636 w 10870"/>
                    <a:gd name="connsiteY16" fmla="*/ 196 h 10000"/>
                    <a:gd name="connsiteX17" fmla="*/ 4747 w 10870"/>
                    <a:gd name="connsiteY17" fmla="*/ 209 h 10000"/>
                    <a:gd name="connsiteX18" fmla="*/ 4983 w 10870"/>
                    <a:gd name="connsiteY18" fmla="*/ 126 h 10000"/>
                    <a:gd name="connsiteX19" fmla="*/ 5057 w 10870"/>
                    <a:gd name="connsiteY19" fmla="*/ 0 h 10000"/>
                    <a:gd name="connsiteX20" fmla="*/ 5230 w 10870"/>
                    <a:gd name="connsiteY20" fmla="*/ 28 h 10000"/>
                    <a:gd name="connsiteX21" fmla="*/ 5738 w 10870"/>
                    <a:gd name="connsiteY21" fmla="*/ 42 h 10000"/>
                    <a:gd name="connsiteX22" fmla="*/ 5898 w 10870"/>
                    <a:gd name="connsiteY22" fmla="*/ 168 h 10000"/>
                    <a:gd name="connsiteX23" fmla="*/ 6047 w 10870"/>
                    <a:gd name="connsiteY23" fmla="*/ 237 h 10000"/>
                    <a:gd name="connsiteX24" fmla="*/ 6096 w 10870"/>
                    <a:gd name="connsiteY24" fmla="*/ 489 h 10000"/>
                    <a:gd name="connsiteX25" fmla="*/ 6171 w 10870"/>
                    <a:gd name="connsiteY25" fmla="*/ 964 h 10000"/>
                    <a:gd name="connsiteX26" fmla="*/ 6196 w 10870"/>
                    <a:gd name="connsiteY26" fmla="*/ 1187 h 10000"/>
                    <a:gd name="connsiteX27" fmla="*/ 6344 w 10870"/>
                    <a:gd name="connsiteY27" fmla="*/ 1341 h 10000"/>
                    <a:gd name="connsiteX28" fmla="*/ 6394 w 10870"/>
                    <a:gd name="connsiteY28" fmla="*/ 1620 h 10000"/>
                    <a:gd name="connsiteX29" fmla="*/ 6418 w 10870"/>
                    <a:gd name="connsiteY29" fmla="*/ 1927 h 10000"/>
                    <a:gd name="connsiteX30" fmla="*/ 6691 w 10870"/>
                    <a:gd name="connsiteY30" fmla="*/ 2556 h 10000"/>
                    <a:gd name="connsiteX31" fmla="*/ 7000 w 10870"/>
                    <a:gd name="connsiteY31" fmla="*/ 3101 h 10000"/>
                    <a:gd name="connsiteX32" fmla="*/ 7408 w 10870"/>
                    <a:gd name="connsiteY32" fmla="*/ 3534 h 10000"/>
                    <a:gd name="connsiteX33" fmla="*/ 7532 w 10870"/>
                    <a:gd name="connsiteY33" fmla="*/ 3631 h 10000"/>
                    <a:gd name="connsiteX34" fmla="*/ 7606 w 10870"/>
                    <a:gd name="connsiteY34" fmla="*/ 4036 h 10000"/>
                    <a:gd name="connsiteX35" fmla="*/ 7866 w 10870"/>
                    <a:gd name="connsiteY35" fmla="*/ 4330 h 10000"/>
                    <a:gd name="connsiteX36" fmla="*/ 8077 w 10870"/>
                    <a:gd name="connsiteY36" fmla="*/ 4972 h 10000"/>
                    <a:gd name="connsiteX37" fmla="*/ 8299 w 10870"/>
                    <a:gd name="connsiteY37" fmla="*/ 5363 h 10000"/>
                    <a:gd name="connsiteX38" fmla="*/ 8535 w 10870"/>
                    <a:gd name="connsiteY38" fmla="*/ 5810 h 10000"/>
                    <a:gd name="connsiteX39" fmla="*/ 8720 w 10870"/>
                    <a:gd name="connsiteY39" fmla="*/ 6075 h 10000"/>
                    <a:gd name="connsiteX40" fmla="*/ 8993 w 10870"/>
                    <a:gd name="connsiteY40" fmla="*/ 6606 h 10000"/>
                    <a:gd name="connsiteX41" fmla="*/ 9240 w 10870"/>
                    <a:gd name="connsiteY41" fmla="*/ 7025 h 10000"/>
                    <a:gd name="connsiteX42" fmla="*/ 9698 w 10870"/>
                    <a:gd name="connsiteY42" fmla="*/ 7514 h 10000"/>
                    <a:gd name="connsiteX43" fmla="*/ 9871 w 10870"/>
                    <a:gd name="connsiteY43" fmla="*/ 7682 h 10000"/>
                    <a:gd name="connsiteX44" fmla="*/ 9797 w 10870"/>
                    <a:gd name="connsiteY44" fmla="*/ 7709 h 10000"/>
                    <a:gd name="connsiteX45" fmla="*/ 9648 w 10870"/>
                    <a:gd name="connsiteY45" fmla="*/ 7723 h 10000"/>
                    <a:gd name="connsiteX46" fmla="*/ 9673 w 10870"/>
                    <a:gd name="connsiteY46" fmla="*/ 7905 h 10000"/>
                    <a:gd name="connsiteX47" fmla="*/ 9723 w 10870"/>
                    <a:gd name="connsiteY47" fmla="*/ 8226 h 10000"/>
                    <a:gd name="connsiteX48" fmla="*/ 9822 w 10870"/>
                    <a:gd name="connsiteY48" fmla="*/ 8547 h 10000"/>
                    <a:gd name="connsiteX49" fmla="*/ 9834 w 10870"/>
                    <a:gd name="connsiteY49" fmla="*/ 8561 h 10000"/>
                    <a:gd name="connsiteX50" fmla="*/ 9834 w 10870"/>
                    <a:gd name="connsiteY50" fmla="*/ 8561 h 10000"/>
                    <a:gd name="connsiteX51" fmla="*/ 10221 w 10870"/>
                    <a:gd name="connsiteY51" fmla="*/ 9005 h 10000"/>
                    <a:gd name="connsiteX52" fmla="*/ 10870 w 10870"/>
                    <a:gd name="connsiteY52" fmla="*/ 9287 h 10000"/>
                    <a:gd name="connsiteX53" fmla="*/ 9501 w 10870"/>
                    <a:gd name="connsiteY53" fmla="*/ 9303 h 10000"/>
                    <a:gd name="connsiteX54" fmla="*/ 8634 w 10870"/>
                    <a:gd name="connsiteY54" fmla="*/ 9763 h 10000"/>
                    <a:gd name="connsiteX55" fmla="*/ 7854 w 10870"/>
                    <a:gd name="connsiteY55" fmla="*/ 9791 h 10000"/>
                    <a:gd name="connsiteX56" fmla="*/ 7854 w 10870"/>
                    <a:gd name="connsiteY56" fmla="*/ 9791 h 10000"/>
                    <a:gd name="connsiteX57" fmla="*/ 7854 w 10870"/>
                    <a:gd name="connsiteY57" fmla="*/ 9791 h 10000"/>
                    <a:gd name="connsiteX58" fmla="*/ 6480 w 10870"/>
                    <a:gd name="connsiteY58" fmla="*/ 9846 h 10000"/>
                    <a:gd name="connsiteX59" fmla="*/ 6381 w 10870"/>
                    <a:gd name="connsiteY59" fmla="*/ 9665 h 10000"/>
                    <a:gd name="connsiteX60" fmla="*/ 6196 w 10870"/>
                    <a:gd name="connsiteY60" fmla="*/ 9846 h 10000"/>
                    <a:gd name="connsiteX61" fmla="*/ 688 w 10870"/>
                    <a:gd name="connsiteY61" fmla="*/ 10000 h 10000"/>
                    <a:gd name="connsiteX62" fmla="*/ 626 w 10870"/>
                    <a:gd name="connsiteY62" fmla="*/ 8575 h 10000"/>
                    <a:gd name="connsiteX63" fmla="*/ 626 w 10870"/>
                    <a:gd name="connsiteY63" fmla="*/ 8575 h 10000"/>
                    <a:gd name="connsiteX64" fmla="*/ 292 w 10870"/>
                    <a:gd name="connsiteY64" fmla="*/ 2556 h 10000"/>
                    <a:gd name="connsiteX65" fmla="*/ 119 w 10870"/>
                    <a:gd name="connsiteY65" fmla="*/ 1997 h 10000"/>
                    <a:gd name="connsiteX66" fmla="*/ 57 w 10870"/>
                    <a:gd name="connsiteY66" fmla="*/ 1397 h 10000"/>
                    <a:gd name="connsiteX67" fmla="*/ 181 w 10870"/>
                    <a:gd name="connsiteY67" fmla="*/ 880 h 10000"/>
                    <a:gd name="connsiteX68" fmla="*/ 45 w 10870"/>
                    <a:gd name="connsiteY68" fmla="*/ 363 h 10000"/>
                    <a:gd name="connsiteX69" fmla="*/ 181 w 10870"/>
                    <a:gd name="connsiteY69" fmla="*/ 154 h 10000"/>
                    <a:gd name="connsiteX70" fmla="*/ 193 w 10870"/>
                    <a:gd name="connsiteY70" fmla="*/ 140 h 10000"/>
                    <a:gd name="connsiteX71" fmla="*/ 292 w 10870"/>
                    <a:gd name="connsiteY71" fmla="*/ 182 h 10000"/>
                    <a:gd name="connsiteX0" fmla="*/ 292 w 10230"/>
                    <a:gd name="connsiteY0" fmla="*/ 182 h 10000"/>
                    <a:gd name="connsiteX1" fmla="*/ 663 w 10230"/>
                    <a:gd name="connsiteY1" fmla="*/ 98 h 10000"/>
                    <a:gd name="connsiteX2" fmla="*/ 985 w 10230"/>
                    <a:gd name="connsiteY2" fmla="*/ 126 h 10000"/>
                    <a:gd name="connsiteX3" fmla="*/ 1418 w 10230"/>
                    <a:gd name="connsiteY3" fmla="*/ 168 h 10000"/>
                    <a:gd name="connsiteX4" fmla="*/ 1802 w 10230"/>
                    <a:gd name="connsiteY4" fmla="*/ 251 h 10000"/>
                    <a:gd name="connsiteX5" fmla="*/ 2087 w 10230"/>
                    <a:gd name="connsiteY5" fmla="*/ 405 h 10000"/>
                    <a:gd name="connsiteX6" fmla="*/ 2384 w 10230"/>
                    <a:gd name="connsiteY6" fmla="*/ 461 h 10000"/>
                    <a:gd name="connsiteX7" fmla="*/ 2594 w 10230"/>
                    <a:gd name="connsiteY7" fmla="*/ 573 h 10000"/>
                    <a:gd name="connsiteX8" fmla="*/ 2879 w 10230"/>
                    <a:gd name="connsiteY8" fmla="*/ 573 h 10000"/>
                    <a:gd name="connsiteX9" fmla="*/ 3386 w 10230"/>
                    <a:gd name="connsiteY9" fmla="*/ 754 h 10000"/>
                    <a:gd name="connsiteX10" fmla="*/ 3559 w 10230"/>
                    <a:gd name="connsiteY10" fmla="*/ 740 h 10000"/>
                    <a:gd name="connsiteX11" fmla="*/ 3881 w 10230"/>
                    <a:gd name="connsiteY11" fmla="*/ 573 h 10000"/>
                    <a:gd name="connsiteX12" fmla="*/ 4240 w 10230"/>
                    <a:gd name="connsiteY12" fmla="*/ 279 h 10000"/>
                    <a:gd name="connsiteX13" fmla="*/ 4463 w 10230"/>
                    <a:gd name="connsiteY13" fmla="*/ 112 h 10000"/>
                    <a:gd name="connsiteX14" fmla="*/ 4735 w 10230"/>
                    <a:gd name="connsiteY14" fmla="*/ 56 h 10000"/>
                    <a:gd name="connsiteX15" fmla="*/ 4809 w 10230"/>
                    <a:gd name="connsiteY15" fmla="*/ 70 h 10000"/>
                    <a:gd name="connsiteX16" fmla="*/ 4636 w 10230"/>
                    <a:gd name="connsiteY16" fmla="*/ 196 h 10000"/>
                    <a:gd name="connsiteX17" fmla="*/ 4747 w 10230"/>
                    <a:gd name="connsiteY17" fmla="*/ 209 h 10000"/>
                    <a:gd name="connsiteX18" fmla="*/ 4983 w 10230"/>
                    <a:gd name="connsiteY18" fmla="*/ 126 h 10000"/>
                    <a:gd name="connsiteX19" fmla="*/ 5057 w 10230"/>
                    <a:gd name="connsiteY19" fmla="*/ 0 h 10000"/>
                    <a:gd name="connsiteX20" fmla="*/ 5230 w 10230"/>
                    <a:gd name="connsiteY20" fmla="*/ 28 h 10000"/>
                    <a:gd name="connsiteX21" fmla="*/ 5738 w 10230"/>
                    <a:gd name="connsiteY21" fmla="*/ 42 h 10000"/>
                    <a:gd name="connsiteX22" fmla="*/ 5898 w 10230"/>
                    <a:gd name="connsiteY22" fmla="*/ 168 h 10000"/>
                    <a:gd name="connsiteX23" fmla="*/ 6047 w 10230"/>
                    <a:gd name="connsiteY23" fmla="*/ 237 h 10000"/>
                    <a:gd name="connsiteX24" fmla="*/ 6096 w 10230"/>
                    <a:gd name="connsiteY24" fmla="*/ 489 h 10000"/>
                    <a:gd name="connsiteX25" fmla="*/ 6171 w 10230"/>
                    <a:gd name="connsiteY25" fmla="*/ 964 h 10000"/>
                    <a:gd name="connsiteX26" fmla="*/ 6196 w 10230"/>
                    <a:gd name="connsiteY26" fmla="*/ 1187 h 10000"/>
                    <a:gd name="connsiteX27" fmla="*/ 6344 w 10230"/>
                    <a:gd name="connsiteY27" fmla="*/ 1341 h 10000"/>
                    <a:gd name="connsiteX28" fmla="*/ 6394 w 10230"/>
                    <a:gd name="connsiteY28" fmla="*/ 1620 h 10000"/>
                    <a:gd name="connsiteX29" fmla="*/ 6418 w 10230"/>
                    <a:gd name="connsiteY29" fmla="*/ 1927 h 10000"/>
                    <a:gd name="connsiteX30" fmla="*/ 6691 w 10230"/>
                    <a:gd name="connsiteY30" fmla="*/ 2556 h 10000"/>
                    <a:gd name="connsiteX31" fmla="*/ 7000 w 10230"/>
                    <a:gd name="connsiteY31" fmla="*/ 3101 h 10000"/>
                    <a:gd name="connsiteX32" fmla="*/ 7408 w 10230"/>
                    <a:gd name="connsiteY32" fmla="*/ 3534 h 10000"/>
                    <a:gd name="connsiteX33" fmla="*/ 7532 w 10230"/>
                    <a:gd name="connsiteY33" fmla="*/ 3631 h 10000"/>
                    <a:gd name="connsiteX34" fmla="*/ 7606 w 10230"/>
                    <a:gd name="connsiteY34" fmla="*/ 4036 h 10000"/>
                    <a:gd name="connsiteX35" fmla="*/ 7866 w 10230"/>
                    <a:gd name="connsiteY35" fmla="*/ 4330 h 10000"/>
                    <a:gd name="connsiteX36" fmla="*/ 8077 w 10230"/>
                    <a:gd name="connsiteY36" fmla="*/ 4972 h 10000"/>
                    <a:gd name="connsiteX37" fmla="*/ 8299 w 10230"/>
                    <a:gd name="connsiteY37" fmla="*/ 5363 h 10000"/>
                    <a:gd name="connsiteX38" fmla="*/ 8535 w 10230"/>
                    <a:gd name="connsiteY38" fmla="*/ 5810 h 10000"/>
                    <a:gd name="connsiteX39" fmla="*/ 8720 w 10230"/>
                    <a:gd name="connsiteY39" fmla="*/ 6075 h 10000"/>
                    <a:gd name="connsiteX40" fmla="*/ 8993 w 10230"/>
                    <a:gd name="connsiteY40" fmla="*/ 6606 h 10000"/>
                    <a:gd name="connsiteX41" fmla="*/ 9240 w 10230"/>
                    <a:gd name="connsiteY41" fmla="*/ 7025 h 10000"/>
                    <a:gd name="connsiteX42" fmla="*/ 9698 w 10230"/>
                    <a:gd name="connsiteY42" fmla="*/ 7514 h 10000"/>
                    <a:gd name="connsiteX43" fmla="*/ 9871 w 10230"/>
                    <a:gd name="connsiteY43" fmla="*/ 7682 h 10000"/>
                    <a:gd name="connsiteX44" fmla="*/ 9797 w 10230"/>
                    <a:gd name="connsiteY44" fmla="*/ 7709 h 10000"/>
                    <a:gd name="connsiteX45" fmla="*/ 9648 w 10230"/>
                    <a:gd name="connsiteY45" fmla="*/ 7723 h 10000"/>
                    <a:gd name="connsiteX46" fmla="*/ 9673 w 10230"/>
                    <a:gd name="connsiteY46" fmla="*/ 7905 h 10000"/>
                    <a:gd name="connsiteX47" fmla="*/ 9723 w 10230"/>
                    <a:gd name="connsiteY47" fmla="*/ 8226 h 10000"/>
                    <a:gd name="connsiteX48" fmla="*/ 9822 w 10230"/>
                    <a:gd name="connsiteY48" fmla="*/ 8547 h 10000"/>
                    <a:gd name="connsiteX49" fmla="*/ 9834 w 10230"/>
                    <a:gd name="connsiteY49" fmla="*/ 8561 h 10000"/>
                    <a:gd name="connsiteX50" fmla="*/ 9834 w 10230"/>
                    <a:gd name="connsiteY50" fmla="*/ 8561 h 10000"/>
                    <a:gd name="connsiteX51" fmla="*/ 10221 w 10230"/>
                    <a:gd name="connsiteY51" fmla="*/ 9005 h 10000"/>
                    <a:gd name="connsiteX52" fmla="*/ 9801 w 10230"/>
                    <a:gd name="connsiteY52" fmla="*/ 8813 h 10000"/>
                    <a:gd name="connsiteX53" fmla="*/ 9501 w 10230"/>
                    <a:gd name="connsiteY53" fmla="*/ 9303 h 10000"/>
                    <a:gd name="connsiteX54" fmla="*/ 8634 w 10230"/>
                    <a:gd name="connsiteY54" fmla="*/ 9763 h 10000"/>
                    <a:gd name="connsiteX55" fmla="*/ 7854 w 10230"/>
                    <a:gd name="connsiteY55" fmla="*/ 9791 h 10000"/>
                    <a:gd name="connsiteX56" fmla="*/ 7854 w 10230"/>
                    <a:gd name="connsiteY56" fmla="*/ 9791 h 10000"/>
                    <a:gd name="connsiteX57" fmla="*/ 7854 w 10230"/>
                    <a:gd name="connsiteY57" fmla="*/ 9791 h 10000"/>
                    <a:gd name="connsiteX58" fmla="*/ 6480 w 10230"/>
                    <a:gd name="connsiteY58" fmla="*/ 9846 h 10000"/>
                    <a:gd name="connsiteX59" fmla="*/ 6381 w 10230"/>
                    <a:gd name="connsiteY59" fmla="*/ 9665 h 10000"/>
                    <a:gd name="connsiteX60" fmla="*/ 6196 w 10230"/>
                    <a:gd name="connsiteY60" fmla="*/ 9846 h 10000"/>
                    <a:gd name="connsiteX61" fmla="*/ 688 w 10230"/>
                    <a:gd name="connsiteY61" fmla="*/ 10000 h 10000"/>
                    <a:gd name="connsiteX62" fmla="*/ 626 w 10230"/>
                    <a:gd name="connsiteY62" fmla="*/ 8575 h 10000"/>
                    <a:gd name="connsiteX63" fmla="*/ 626 w 10230"/>
                    <a:gd name="connsiteY63" fmla="*/ 8575 h 10000"/>
                    <a:gd name="connsiteX64" fmla="*/ 292 w 10230"/>
                    <a:gd name="connsiteY64" fmla="*/ 2556 h 10000"/>
                    <a:gd name="connsiteX65" fmla="*/ 119 w 10230"/>
                    <a:gd name="connsiteY65" fmla="*/ 1997 h 10000"/>
                    <a:gd name="connsiteX66" fmla="*/ 57 w 10230"/>
                    <a:gd name="connsiteY66" fmla="*/ 1397 h 10000"/>
                    <a:gd name="connsiteX67" fmla="*/ 181 w 10230"/>
                    <a:gd name="connsiteY67" fmla="*/ 880 h 10000"/>
                    <a:gd name="connsiteX68" fmla="*/ 45 w 10230"/>
                    <a:gd name="connsiteY68" fmla="*/ 363 h 10000"/>
                    <a:gd name="connsiteX69" fmla="*/ 181 w 10230"/>
                    <a:gd name="connsiteY69" fmla="*/ 154 h 10000"/>
                    <a:gd name="connsiteX70" fmla="*/ 193 w 10230"/>
                    <a:gd name="connsiteY70" fmla="*/ 140 h 10000"/>
                    <a:gd name="connsiteX71" fmla="*/ 292 w 10230"/>
                    <a:gd name="connsiteY71" fmla="*/ 182 h 10000"/>
                    <a:gd name="connsiteX0" fmla="*/ 292 w 10008"/>
                    <a:gd name="connsiteY0" fmla="*/ 182 h 10000"/>
                    <a:gd name="connsiteX1" fmla="*/ 663 w 10008"/>
                    <a:gd name="connsiteY1" fmla="*/ 98 h 10000"/>
                    <a:gd name="connsiteX2" fmla="*/ 985 w 10008"/>
                    <a:gd name="connsiteY2" fmla="*/ 126 h 10000"/>
                    <a:gd name="connsiteX3" fmla="*/ 1418 w 10008"/>
                    <a:gd name="connsiteY3" fmla="*/ 168 h 10000"/>
                    <a:gd name="connsiteX4" fmla="*/ 1802 w 10008"/>
                    <a:gd name="connsiteY4" fmla="*/ 251 h 10000"/>
                    <a:gd name="connsiteX5" fmla="*/ 2087 w 10008"/>
                    <a:gd name="connsiteY5" fmla="*/ 405 h 10000"/>
                    <a:gd name="connsiteX6" fmla="*/ 2384 w 10008"/>
                    <a:gd name="connsiteY6" fmla="*/ 461 h 10000"/>
                    <a:gd name="connsiteX7" fmla="*/ 2594 w 10008"/>
                    <a:gd name="connsiteY7" fmla="*/ 573 h 10000"/>
                    <a:gd name="connsiteX8" fmla="*/ 2879 w 10008"/>
                    <a:gd name="connsiteY8" fmla="*/ 573 h 10000"/>
                    <a:gd name="connsiteX9" fmla="*/ 3386 w 10008"/>
                    <a:gd name="connsiteY9" fmla="*/ 754 h 10000"/>
                    <a:gd name="connsiteX10" fmla="*/ 3559 w 10008"/>
                    <a:gd name="connsiteY10" fmla="*/ 740 h 10000"/>
                    <a:gd name="connsiteX11" fmla="*/ 3881 w 10008"/>
                    <a:gd name="connsiteY11" fmla="*/ 573 h 10000"/>
                    <a:gd name="connsiteX12" fmla="*/ 4240 w 10008"/>
                    <a:gd name="connsiteY12" fmla="*/ 279 h 10000"/>
                    <a:gd name="connsiteX13" fmla="*/ 4463 w 10008"/>
                    <a:gd name="connsiteY13" fmla="*/ 112 h 10000"/>
                    <a:gd name="connsiteX14" fmla="*/ 4735 w 10008"/>
                    <a:gd name="connsiteY14" fmla="*/ 56 h 10000"/>
                    <a:gd name="connsiteX15" fmla="*/ 4809 w 10008"/>
                    <a:gd name="connsiteY15" fmla="*/ 70 h 10000"/>
                    <a:gd name="connsiteX16" fmla="*/ 4636 w 10008"/>
                    <a:gd name="connsiteY16" fmla="*/ 196 h 10000"/>
                    <a:gd name="connsiteX17" fmla="*/ 4747 w 10008"/>
                    <a:gd name="connsiteY17" fmla="*/ 209 h 10000"/>
                    <a:gd name="connsiteX18" fmla="*/ 4983 w 10008"/>
                    <a:gd name="connsiteY18" fmla="*/ 126 h 10000"/>
                    <a:gd name="connsiteX19" fmla="*/ 5057 w 10008"/>
                    <a:gd name="connsiteY19" fmla="*/ 0 h 10000"/>
                    <a:gd name="connsiteX20" fmla="*/ 5230 w 10008"/>
                    <a:gd name="connsiteY20" fmla="*/ 28 h 10000"/>
                    <a:gd name="connsiteX21" fmla="*/ 5738 w 10008"/>
                    <a:gd name="connsiteY21" fmla="*/ 42 h 10000"/>
                    <a:gd name="connsiteX22" fmla="*/ 5898 w 10008"/>
                    <a:gd name="connsiteY22" fmla="*/ 168 h 10000"/>
                    <a:gd name="connsiteX23" fmla="*/ 6047 w 10008"/>
                    <a:gd name="connsiteY23" fmla="*/ 237 h 10000"/>
                    <a:gd name="connsiteX24" fmla="*/ 6096 w 10008"/>
                    <a:gd name="connsiteY24" fmla="*/ 489 h 10000"/>
                    <a:gd name="connsiteX25" fmla="*/ 6171 w 10008"/>
                    <a:gd name="connsiteY25" fmla="*/ 964 h 10000"/>
                    <a:gd name="connsiteX26" fmla="*/ 6196 w 10008"/>
                    <a:gd name="connsiteY26" fmla="*/ 1187 h 10000"/>
                    <a:gd name="connsiteX27" fmla="*/ 6344 w 10008"/>
                    <a:gd name="connsiteY27" fmla="*/ 1341 h 10000"/>
                    <a:gd name="connsiteX28" fmla="*/ 6394 w 10008"/>
                    <a:gd name="connsiteY28" fmla="*/ 1620 h 10000"/>
                    <a:gd name="connsiteX29" fmla="*/ 6418 w 10008"/>
                    <a:gd name="connsiteY29" fmla="*/ 1927 h 10000"/>
                    <a:gd name="connsiteX30" fmla="*/ 6691 w 10008"/>
                    <a:gd name="connsiteY30" fmla="*/ 2556 h 10000"/>
                    <a:gd name="connsiteX31" fmla="*/ 7000 w 10008"/>
                    <a:gd name="connsiteY31" fmla="*/ 3101 h 10000"/>
                    <a:gd name="connsiteX32" fmla="*/ 7408 w 10008"/>
                    <a:gd name="connsiteY32" fmla="*/ 3534 h 10000"/>
                    <a:gd name="connsiteX33" fmla="*/ 7532 w 10008"/>
                    <a:gd name="connsiteY33" fmla="*/ 3631 h 10000"/>
                    <a:gd name="connsiteX34" fmla="*/ 7606 w 10008"/>
                    <a:gd name="connsiteY34" fmla="*/ 4036 h 10000"/>
                    <a:gd name="connsiteX35" fmla="*/ 7866 w 10008"/>
                    <a:gd name="connsiteY35" fmla="*/ 4330 h 10000"/>
                    <a:gd name="connsiteX36" fmla="*/ 8077 w 10008"/>
                    <a:gd name="connsiteY36" fmla="*/ 4972 h 10000"/>
                    <a:gd name="connsiteX37" fmla="*/ 8299 w 10008"/>
                    <a:gd name="connsiteY37" fmla="*/ 5363 h 10000"/>
                    <a:gd name="connsiteX38" fmla="*/ 8535 w 10008"/>
                    <a:gd name="connsiteY38" fmla="*/ 5810 h 10000"/>
                    <a:gd name="connsiteX39" fmla="*/ 8720 w 10008"/>
                    <a:gd name="connsiteY39" fmla="*/ 6075 h 10000"/>
                    <a:gd name="connsiteX40" fmla="*/ 8993 w 10008"/>
                    <a:gd name="connsiteY40" fmla="*/ 6606 h 10000"/>
                    <a:gd name="connsiteX41" fmla="*/ 9240 w 10008"/>
                    <a:gd name="connsiteY41" fmla="*/ 7025 h 10000"/>
                    <a:gd name="connsiteX42" fmla="*/ 9698 w 10008"/>
                    <a:gd name="connsiteY42" fmla="*/ 7514 h 10000"/>
                    <a:gd name="connsiteX43" fmla="*/ 9871 w 10008"/>
                    <a:gd name="connsiteY43" fmla="*/ 7682 h 10000"/>
                    <a:gd name="connsiteX44" fmla="*/ 9797 w 10008"/>
                    <a:gd name="connsiteY44" fmla="*/ 7709 h 10000"/>
                    <a:gd name="connsiteX45" fmla="*/ 9648 w 10008"/>
                    <a:gd name="connsiteY45" fmla="*/ 7723 h 10000"/>
                    <a:gd name="connsiteX46" fmla="*/ 9673 w 10008"/>
                    <a:gd name="connsiteY46" fmla="*/ 7905 h 10000"/>
                    <a:gd name="connsiteX47" fmla="*/ 9723 w 10008"/>
                    <a:gd name="connsiteY47" fmla="*/ 8226 h 10000"/>
                    <a:gd name="connsiteX48" fmla="*/ 9822 w 10008"/>
                    <a:gd name="connsiteY48" fmla="*/ 8547 h 10000"/>
                    <a:gd name="connsiteX49" fmla="*/ 9834 w 10008"/>
                    <a:gd name="connsiteY49" fmla="*/ 8561 h 10000"/>
                    <a:gd name="connsiteX50" fmla="*/ 9834 w 10008"/>
                    <a:gd name="connsiteY50" fmla="*/ 8561 h 10000"/>
                    <a:gd name="connsiteX51" fmla="*/ 9992 w 10008"/>
                    <a:gd name="connsiteY51" fmla="*/ 8746 h 10000"/>
                    <a:gd name="connsiteX52" fmla="*/ 9801 w 10008"/>
                    <a:gd name="connsiteY52" fmla="*/ 8813 h 10000"/>
                    <a:gd name="connsiteX53" fmla="*/ 9501 w 10008"/>
                    <a:gd name="connsiteY53" fmla="*/ 9303 h 10000"/>
                    <a:gd name="connsiteX54" fmla="*/ 8634 w 10008"/>
                    <a:gd name="connsiteY54" fmla="*/ 9763 h 10000"/>
                    <a:gd name="connsiteX55" fmla="*/ 7854 w 10008"/>
                    <a:gd name="connsiteY55" fmla="*/ 9791 h 10000"/>
                    <a:gd name="connsiteX56" fmla="*/ 7854 w 10008"/>
                    <a:gd name="connsiteY56" fmla="*/ 9791 h 10000"/>
                    <a:gd name="connsiteX57" fmla="*/ 7854 w 10008"/>
                    <a:gd name="connsiteY57" fmla="*/ 9791 h 10000"/>
                    <a:gd name="connsiteX58" fmla="*/ 6480 w 10008"/>
                    <a:gd name="connsiteY58" fmla="*/ 9846 h 10000"/>
                    <a:gd name="connsiteX59" fmla="*/ 6381 w 10008"/>
                    <a:gd name="connsiteY59" fmla="*/ 9665 h 10000"/>
                    <a:gd name="connsiteX60" fmla="*/ 6196 w 10008"/>
                    <a:gd name="connsiteY60" fmla="*/ 9846 h 10000"/>
                    <a:gd name="connsiteX61" fmla="*/ 688 w 10008"/>
                    <a:gd name="connsiteY61" fmla="*/ 10000 h 10000"/>
                    <a:gd name="connsiteX62" fmla="*/ 626 w 10008"/>
                    <a:gd name="connsiteY62" fmla="*/ 8575 h 10000"/>
                    <a:gd name="connsiteX63" fmla="*/ 626 w 10008"/>
                    <a:gd name="connsiteY63" fmla="*/ 8575 h 10000"/>
                    <a:gd name="connsiteX64" fmla="*/ 292 w 10008"/>
                    <a:gd name="connsiteY64" fmla="*/ 2556 h 10000"/>
                    <a:gd name="connsiteX65" fmla="*/ 119 w 10008"/>
                    <a:gd name="connsiteY65" fmla="*/ 1997 h 10000"/>
                    <a:gd name="connsiteX66" fmla="*/ 57 w 10008"/>
                    <a:gd name="connsiteY66" fmla="*/ 1397 h 10000"/>
                    <a:gd name="connsiteX67" fmla="*/ 181 w 10008"/>
                    <a:gd name="connsiteY67" fmla="*/ 880 h 10000"/>
                    <a:gd name="connsiteX68" fmla="*/ 45 w 10008"/>
                    <a:gd name="connsiteY68" fmla="*/ 363 h 10000"/>
                    <a:gd name="connsiteX69" fmla="*/ 181 w 10008"/>
                    <a:gd name="connsiteY69" fmla="*/ 154 h 10000"/>
                    <a:gd name="connsiteX70" fmla="*/ 193 w 10008"/>
                    <a:gd name="connsiteY70" fmla="*/ 140 h 10000"/>
                    <a:gd name="connsiteX71" fmla="*/ 292 w 10008"/>
                    <a:gd name="connsiteY71" fmla="*/ 182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</a:cxnLst>
                  <a:rect l="l" t="t" r="r" b="b"/>
                  <a:pathLst>
                    <a:path w="10008" h="10000">
                      <a:moveTo>
                        <a:pt x="292" y="182"/>
                      </a:moveTo>
                      <a:cubicBezTo>
                        <a:pt x="416" y="168"/>
                        <a:pt x="540" y="98"/>
                        <a:pt x="663" y="98"/>
                      </a:cubicBezTo>
                      <a:cubicBezTo>
                        <a:pt x="775" y="70"/>
                        <a:pt x="874" y="98"/>
                        <a:pt x="985" y="126"/>
                      </a:cubicBezTo>
                      <a:cubicBezTo>
                        <a:pt x="1121" y="154"/>
                        <a:pt x="1270" y="154"/>
                        <a:pt x="1418" y="168"/>
                      </a:cubicBezTo>
                      <a:cubicBezTo>
                        <a:pt x="1542" y="182"/>
                        <a:pt x="1678" y="209"/>
                        <a:pt x="1802" y="251"/>
                      </a:cubicBezTo>
                      <a:cubicBezTo>
                        <a:pt x="1901" y="279"/>
                        <a:pt x="2000" y="349"/>
                        <a:pt x="2087" y="405"/>
                      </a:cubicBezTo>
                      <a:cubicBezTo>
                        <a:pt x="2186" y="447"/>
                        <a:pt x="2285" y="433"/>
                        <a:pt x="2384" y="461"/>
                      </a:cubicBezTo>
                      <a:cubicBezTo>
                        <a:pt x="2470" y="475"/>
                        <a:pt x="2532" y="531"/>
                        <a:pt x="2594" y="573"/>
                      </a:cubicBezTo>
                      <a:cubicBezTo>
                        <a:pt x="2681" y="587"/>
                        <a:pt x="2780" y="559"/>
                        <a:pt x="2879" y="573"/>
                      </a:cubicBezTo>
                      <a:cubicBezTo>
                        <a:pt x="3052" y="628"/>
                        <a:pt x="3225" y="656"/>
                        <a:pt x="3386" y="754"/>
                      </a:cubicBezTo>
                      <a:cubicBezTo>
                        <a:pt x="3436" y="810"/>
                        <a:pt x="3497" y="754"/>
                        <a:pt x="3559" y="740"/>
                      </a:cubicBezTo>
                      <a:cubicBezTo>
                        <a:pt x="3683" y="726"/>
                        <a:pt x="3770" y="628"/>
                        <a:pt x="3881" y="573"/>
                      </a:cubicBezTo>
                      <a:cubicBezTo>
                        <a:pt x="3993" y="461"/>
                        <a:pt x="4104" y="363"/>
                        <a:pt x="4240" y="279"/>
                      </a:cubicBezTo>
                      <a:cubicBezTo>
                        <a:pt x="4327" y="237"/>
                        <a:pt x="4401" y="182"/>
                        <a:pt x="4463" y="112"/>
                      </a:cubicBezTo>
                      <a:cubicBezTo>
                        <a:pt x="4549" y="98"/>
                        <a:pt x="4648" y="98"/>
                        <a:pt x="4735" y="56"/>
                      </a:cubicBezTo>
                      <a:cubicBezTo>
                        <a:pt x="4772" y="14"/>
                        <a:pt x="4896" y="28"/>
                        <a:pt x="4809" y="70"/>
                      </a:cubicBezTo>
                      <a:cubicBezTo>
                        <a:pt x="4747" y="112"/>
                        <a:pt x="4661" y="112"/>
                        <a:pt x="4636" y="196"/>
                      </a:cubicBezTo>
                      <a:cubicBezTo>
                        <a:pt x="4599" y="265"/>
                        <a:pt x="4710" y="223"/>
                        <a:pt x="4747" y="209"/>
                      </a:cubicBezTo>
                      <a:cubicBezTo>
                        <a:pt x="4822" y="182"/>
                        <a:pt x="4921" y="196"/>
                        <a:pt x="4983" y="126"/>
                      </a:cubicBezTo>
                      <a:cubicBezTo>
                        <a:pt x="5007" y="70"/>
                        <a:pt x="5094" y="56"/>
                        <a:pt x="5057" y="0"/>
                      </a:cubicBezTo>
                      <a:cubicBezTo>
                        <a:pt x="5119" y="0"/>
                        <a:pt x="5181" y="14"/>
                        <a:pt x="5230" y="28"/>
                      </a:cubicBezTo>
                      <a:cubicBezTo>
                        <a:pt x="5403" y="42"/>
                        <a:pt x="5577" y="28"/>
                        <a:pt x="5738" y="42"/>
                      </a:cubicBezTo>
                      <a:cubicBezTo>
                        <a:pt x="5799" y="70"/>
                        <a:pt x="5837" y="154"/>
                        <a:pt x="5898" y="168"/>
                      </a:cubicBezTo>
                      <a:cubicBezTo>
                        <a:pt x="5948" y="196"/>
                        <a:pt x="6010" y="196"/>
                        <a:pt x="6047" y="237"/>
                      </a:cubicBezTo>
                      <a:cubicBezTo>
                        <a:pt x="6096" y="307"/>
                        <a:pt x="6084" y="405"/>
                        <a:pt x="6096" y="489"/>
                      </a:cubicBezTo>
                      <a:cubicBezTo>
                        <a:pt x="6121" y="656"/>
                        <a:pt x="6134" y="810"/>
                        <a:pt x="6171" y="964"/>
                      </a:cubicBezTo>
                      <a:cubicBezTo>
                        <a:pt x="6196" y="1034"/>
                        <a:pt x="6171" y="1117"/>
                        <a:pt x="6196" y="1187"/>
                      </a:cubicBezTo>
                      <a:cubicBezTo>
                        <a:pt x="6257" y="1229"/>
                        <a:pt x="6307" y="1285"/>
                        <a:pt x="6344" y="1341"/>
                      </a:cubicBezTo>
                      <a:cubicBezTo>
                        <a:pt x="6369" y="1439"/>
                        <a:pt x="6394" y="1522"/>
                        <a:pt x="6394" y="1620"/>
                      </a:cubicBezTo>
                      <a:cubicBezTo>
                        <a:pt x="6406" y="1718"/>
                        <a:pt x="6381" y="1830"/>
                        <a:pt x="6418" y="1927"/>
                      </a:cubicBezTo>
                      <a:cubicBezTo>
                        <a:pt x="6480" y="2151"/>
                        <a:pt x="6592" y="2346"/>
                        <a:pt x="6691" y="2556"/>
                      </a:cubicBezTo>
                      <a:cubicBezTo>
                        <a:pt x="6777" y="2751"/>
                        <a:pt x="6889" y="2933"/>
                        <a:pt x="7000" y="3101"/>
                      </a:cubicBezTo>
                      <a:cubicBezTo>
                        <a:pt x="7136" y="3254"/>
                        <a:pt x="7260" y="3394"/>
                        <a:pt x="7408" y="3534"/>
                      </a:cubicBezTo>
                      <a:cubicBezTo>
                        <a:pt x="7446" y="3589"/>
                        <a:pt x="7520" y="3575"/>
                        <a:pt x="7532" y="3631"/>
                      </a:cubicBezTo>
                      <a:cubicBezTo>
                        <a:pt x="7557" y="3771"/>
                        <a:pt x="7557" y="3911"/>
                        <a:pt x="7606" y="4036"/>
                      </a:cubicBezTo>
                      <a:cubicBezTo>
                        <a:pt x="7681" y="4148"/>
                        <a:pt x="7767" y="4246"/>
                        <a:pt x="7866" y="4330"/>
                      </a:cubicBezTo>
                      <a:cubicBezTo>
                        <a:pt x="7941" y="4553"/>
                        <a:pt x="8027" y="4749"/>
                        <a:pt x="8077" y="4972"/>
                      </a:cubicBezTo>
                      <a:cubicBezTo>
                        <a:pt x="8139" y="5112"/>
                        <a:pt x="8213" y="5251"/>
                        <a:pt x="8299" y="5363"/>
                      </a:cubicBezTo>
                      <a:cubicBezTo>
                        <a:pt x="8398" y="5503"/>
                        <a:pt x="8423" y="5684"/>
                        <a:pt x="8535" y="5810"/>
                      </a:cubicBezTo>
                      <a:cubicBezTo>
                        <a:pt x="8609" y="5880"/>
                        <a:pt x="8671" y="5978"/>
                        <a:pt x="8720" y="6075"/>
                      </a:cubicBezTo>
                      <a:cubicBezTo>
                        <a:pt x="8807" y="6257"/>
                        <a:pt x="8881" y="6453"/>
                        <a:pt x="8993" y="6606"/>
                      </a:cubicBezTo>
                      <a:cubicBezTo>
                        <a:pt x="9104" y="6732"/>
                        <a:pt x="9166" y="6885"/>
                        <a:pt x="9240" y="7025"/>
                      </a:cubicBezTo>
                      <a:cubicBezTo>
                        <a:pt x="9339" y="7235"/>
                        <a:pt x="9525" y="7374"/>
                        <a:pt x="9698" y="7514"/>
                      </a:cubicBezTo>
                      <a:cubicBezTo>
                        <a:pt x="9747" y="7570"/>
                        <a:pt x="9834" y="7612"/>
                        <a:pt x="9871" y="7682"/>
                      </a:cubicBezTo>
                      <a:cubicBezTo>
                        <a:pt x="9896" y="7793"/>
                        <a:pt x="9846" y="7723"/>
                        <a:pt x="9797" y="7709"/>
                      </a:cubicBezTo>
                      <a:cubicBezTo>
                        <a:pt x="9747" y="7709"/>
                        <a:pt x="9661" y="7640"/>
                        <a:pt x="9648" y="7723"/>
                      </a:cubicBezTo>
                      <a:cubicBezTo>
                        <a:pt x="9599" y="7779"/>
                        <a:pt x="9661" y="7835"/>
                        <a:pt x="9673" y="7905"/>
                      </a:cubicBezTo>
                      <a:cubicBezTo>
                        <a:pt x="9698" y="8003"/>
                        <a:pt x="9698" y="8128"/>
                        <a:pt x="9723" y="8226"/>
                      </a:cubicBezTo>
                      <a:cubicBezTo>
                        <a:pt x="9735" y="8352"/>
                        <a:pt x="9797" y="8436"/>
                        <a:pt x="9822" y="8547"/>
                      </a:cubicBezTo>
                      <a:cubicBezTo>
                        <a:pt x="9834" y="8547"/>
                        <a:pt x="9834" y="8547"/>
                        <a:pt x="9834" y="8561"/>
                      </a:cubicBezTo>
                      <a:lnTo>
                        <a:pt x="9834" y="8561"/>
                      </a:lnTo>
                      <a:cubicBezTo>
                        <a:pt x="9860" y="8592"/>
                        <a:pt x="10067" y="8648"/>
                        <a:pt x="9992" y="8746"/>
                      </a:cubicBezTo>
                      <a:lnTo>
                        <a:pt x="9801" y="8813"/>
                      </a:lnTo>
                      <a:cubicBezTo>
                        <a:pt x="9726" y="9008"/>
                        <a:pt x="9538" y="9205"/>
                        <a:pt x="9501" y="9303"/>
                      </a:cubicBezTo>
                      <a:cubicBezTo>
                        <a:pt x="9128" y="9382"/>
                        <a:pt x="9169" y="9732"/>
                        <a:pt x="8634" y="9763"/>
                      </a:cubicBezTo>
                      <a:cubicBezTo>
                        <a:pt x="8324" y="9777"/>
                        <a:pt x="8064" y="9791"/>
                        <a:pt x="7854" y="9791"/>
                      </a:cubicBezTo>
                      <a:lnTo>
                        <a:pt x="7854" y="9791"/>
                      </a:lnTo>
                      <a:lnTo>
                        <a:pt x="7854" y="9791"/>
                      </a:lnTo>
                      <a:cubicBezTo>
                        <a:pt x="7136" y="9832"/>
                        <a:pt x="7198" y="9818"/>
                        <a:pt x="6480" y="9846"/>
                      </a:cubicBezTo>
                      <a:cubicBezTo>
                        <a:pt x="6356" y="9902"/>
                        <a:pt x="6344" y="9777"/>
                        <a:pt x="6381" y="9665"/>
                      </a:cubicBezTo>
                      <a:cubicBezTo>
                        <a:pt x="6307" y="9497"/>
                        <a:pt x="6208" y="9763"/>
                        <a:pt x="6196" y="9846"/>
                      </a:cubicBezTo>
                      <a:cubicBezTo>
                        <a:pt x="4364" y="9916"/>
                        <a:pt x="2520" y="9958"/>
                        <a:pt x="688" y="10000"/>
                      </a:cubicBezTo>
                      <a:cubicBezTo>
                        <a:pt x="663" y="9525"/>
                        <a:pt x="651" y="9050"/>
                        <a:pt x="626" y="8575"/>
                      </a:cubicBezTo>
                      <a:lnTo>
                        <a:pt x="626" y="8575"/>
                      </a:lnTo>
                      <a:cubicBezTo>
                        <a:pt x="527" y="6564"/>
                        <a:pt x="416" y="4567"/>
                        <a:pt x="292" y="2556"/>
                      </a:cubicBezTo>
                      <a:cubicBezTo>
                        <a:pt x="218" y="2374"/>
                        <a:pt x="168" y="2193"/>
                        <a:pt x="119" y="1997"/>
                      </a:cubicBezTo>
                      <a:cubicBezTo>
                        <a:pt x="131" y="1788"/>
                        <a:pt x="-104" y="1592"/>
                        <a:pt x="57" y="1397"/>
                      </a:cubicBezTo>
                      <a:cubicBezTo>
                        <a:pt x="156" y="1243"/>
                        <a:pt x="205" y="1047"/>
                        <a:pt x="181" y="880"/>
                      </a:cubicBezTo>
                      <a:cubicBezTo>
                        <a:pt x="94" y="712"/>
                        <a:pt x="45" y="545"/>
                        <a:pt x="45" y="363"/>
                      </a:cubicBezTo>
                      <a:cubicBezTo>
                        <a:pt x="106" y="265"/>
                        <a:pt x="119" y="251"/>
                        <a:pt x="181" y="154"/>
                      </a:cubicBezTo>
                      <a:cubicBezTo>
                        <a:pt x="185" y="149"/>
                        <a:pt x="189" y="145"/>
                        <a:pt x="193" y="140"/>
                      </a:cubicBezTo>
                      <a:cubicBezTo>
                        <a:pt x="218" y="168"/>
                        <a:pt x="255" y="182"/>
                        <a:pt x="292" y="182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629" name="Ecuador"/>
              <p:cNvSpPr>
                <a:spLocks/>
              </p:cNvSpPr>
              <p:nvPr>
                <p:custDataLst>
                  <p:tags r:id="rId102"/>
                </p:custDataLst>
              </p:nvPr>
            </p:nvSpPr>
            <p:spPr bwMode="auto">
              <a:xfrm>
                <a:off x="2114687" y="4519360"/>
                <a:ext cx="150122" cy="217384"/>
              </a:xfrm>
              <a:custGeom>
                <a:avLst/>
                <a:gdLst/>
                <a:ahLst/>
                <a:cxnLst>
                  <a:cxn ang="0">
                    <a:pos x="2" y="30"/>
                  </a:cxn>
                  <a:cxn ang="0">
                    <a:pos x="2" y="34"/>
                  </a:cxn>
                  <a:cxn ang="0">
                    <a:pos x="8" y="39"/>
                  </a:cxn>
                  <a:cxn ang="0">
                    <a:pos x="13" y="30"/>
                  </a:cxn>
                  <a:cxn ang="0">
                    <a:pos x="21" y="25"/>
                  </a:cxn>
                  <a:cxn ang="0">
                    <a:pos x="25" y="18"/>
                  </a:cxn>
                  <a:cxn ang="0">
                    <a:pos x="27" y="16"/>
                  </a:cxn>
                  <a:cxn ang="0">
                    <a:pos x="25" y="9"/>
                  </a:cxn>
                  <a:cxn ang="0">
                    <a:pos x="27" y="9"/>
                  </a:cxn>
                  <a:cxn ang="0">
                    <a:pos x="25" y="7"/>
                  </a:cxn>
                  <a:cxn ang="0">
                    <a:pos x="17" y="9"/>
                  </a:cxn>
                  <a:cxn ang="0">
                    <a:pos x="10" y="0"/>
                  </a:cxn>
                  <a:cxn ang="0">
                    <a:pos x="4" y="7"/>
                  </a:cxn>
                  <a:cxn ang="0">
                    <a:pos x="4" y="9"/>
                  </a:cxn>
                  <a:cxn ang="0">
                    <a:pos x="2" y="9"/>
                  </a:cxn>
                  <a:cxn ang="0">
                    <a:pos x="2" y="14"/>
                  </a:cxn>
                  <a:cxn ang="0">
                    <a:pos x="0" y="16"/>
                  </a:cxn>
                  <a:cxn ang="0">
                    <a:pos x="0" y="23"/>
                  </a:cxn>
                  <a:cxn ang="0">
                    <a:pos x="4" y="30"/>
                  </a:cxn>
                  <a:cxn ang="0">
                    <a:pos x="2" y="30"/>
                  </a:cxn>
                </a:cxnLst>
                <a:rect l="0" t="0" r="r" b="b"/>
                <a:pathLst>
                  <a:path w="27" h="39">
                    <a:moveTo>
                      <a:pt x="2" y="30"/>
                    </a:moveTo>
                    <a:lnTo>
                      <a:pt x="2" y="34"/>
                    </a:lnTo>
                    <a:lnTo>
                      <a:pt x="8" y="39"/>
                    </a:lnTo>
                    <a:lnTo>
                      <a:pt x="13" y="30"/>
                    </a:lnTo>
                    <a:lnTo>
                      <a:pt x="21" y="25"/>
                    </a:lnTo>
                    <a:lnTo>
                      <a:pt x="25" y="18"/>
                    </a:lnTo>
                    <a:lnTo>
                      <a:pt x="27" y="16"/>
                    </a:lnTo>
                    <a:lnTo>
                      <a:pt x="25" y="9"/>
                    </a:lnTo>
                    <a:lnTo>
                      <a:pt x="27" y="9"/>
                    </a:lnTo>
                    <a:lnTo>
                      <a:pt x="25" y="7"/>
                    </a:lnTo>
                    <a:lnTo>
                      <a:pt x="17" y="9"/>
                    </a:lnTo>
                    <a:lnTo>
                      <a:pt x="10" y="0"/>
                    </a:lnTo>
                    <a:lnTo>
                      <a:pt x="4" y="7"/>
                    </a:lnTo>
                    <a:lnTo>
                      <a:pt x="4" y="9"/>
                    </a:lnTo>
                    <a:lnTo>
                      <a:pt x="2" y="9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4" y="30"/>
                    </a:lnTo>
                    <a:lnTo>
                      <a:pt x="2" y="30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30" name="Dominican Republic"/>
              <p:cNvSpPr>
                <a:spLocks/>
              </p:cNvSpPr>
              <p:nvPr>
                <p:custDataLst>
                  <p:tags r:id="rId103"/>
                </p:custDataLst>
              </p:nvPr>
            </p:nvSpPr>
            <p:spPr bwMode="auto">
              <a:xfrm>
                <a:off x="2380421" y="3932768"/>
                <a:ext cx="94905" cy="8453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0" y="2"/>
                  </a:cxn>
                  <a:cxn ang="0">
                    <a:pos x="13" y="2"/>
                  </a:cxn>
                  <a:cxn ang="0">
                    <a:pos x="10" y="6"/>
                  </a:cxn>
                  <a:cxn ang="0">
                    <a:pos x="17" y="6"/>
                  </a:cxn>
                  <a:cxn ang="0">
                    <a:pos x="17" y="9"/>
                  </a:cxn>
                  <a:cxn ang="0">
                    <a:pos x="17" y="11"/>
                  </a:cxn>
                  <a:cxn ang="0">
                    <a:pos x="13" y="9"/>
                  </a:cxn>
                  <a:cxn ang="0">
                    <a:pos x="4" y="9"/>
                  </a:cxn>
                  <a:cxn ang="0">
                    <a:pos x="8" y="9"/>
                  </a:cxn>
                  <a:cxn ang="0">
                    <a:pos x="4" y="9"/>
                  </a:cxn>
                  <a:cxn ang="0">
                    <a:pos x="2" y="15"/>
                  </a:cxn>
                  <a:cxn ang="0">
                    <a:pos x="0" y="11"/>
                  </a:cxn>
                  <a:cxn ang="0">
                    <a:pos x="0" y="6"/>
                  </a:cxn>
                  <a:cxn ang="0">
                    <a:pos x="2" y="0"/>
                  </a:cxn>
                </a:cxnLst>
                <a:rect l="0" t="0" r="r" b="b"/>
                <a:pathLst>
                  <a:path w="17" h="15">
                    <a:moveTo>
                      <a:pt x="2" y="0"/>
                    </a:moveTo>
                    <a:lnTo>
                      <a:pt x="10" y="2"/>
                    </a:lnTo>
                    <a:lnTo>
                      <a:pt x="13" y="2"/>
                    </a:lnTo>
                    <a:lnTo>
                      <a:pt x="10" y="6"/>
                    </a:lnTo>
                    <a:lnTo>
                      <a:pt x="17" y="6"/>
                    </a:lnTo>
                    <a:lnTo>
                      <a:pt x="17" y="9"/>
                    </a:lnTo>
                    <a:lnTo>
                      <a:pt x="17" y="11"/>
                    </a:lnTo>
                    <a:lnTo>
                      <a:pt x="13" y="9"/>
                    </a:lnTo>
                    <a:lnTo>
                      <a:pt x="4" y="9"/>
                    </a:lnTo>
                    <a:lnTo>
                      <a:pt x="8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31" name="Dominica"/>
              <p:cNvSpPr>
                <a:spLocks/>
              </p:cNvSpPr>
              <p:nvPr>
                <p:custDataLst>
                  <p:tags r:id="rId104"/>
                </p:custDataLst>
              </p:nvPr>
            </p:nvSpPr>
            <p:spPr bwMode="auto">
              <a:xfrm rot="5400000">
                <a:off x="3263042" y="4515046"/>
                <a:ext cx="43132" cy="10353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4" y="2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lnTo>
                      <a:pt x="4" y="2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32" name="Djibouti"/>
              <p:cNvSpPr>
                <a:spLocks/>
              </p:cNvSpPr>
              <p:nvPr/>
            </p:nvSpPr>
            <p:spPr bwMode="auto">
              <a:xfrm>
                <a:off x="5344913" y="4160504"/>
                <a:ext cx="39687" cy="48308"/>
              </a:xfrm>
              <a:custGeom>
                <a:avLst/>
                <a:gdLst>
                  <a:gd name="connsiteX0" fmla="*/ 3504 w 9060"/>
                  <a:gd name="connsiteY0" fmla="*/ 7778 h 10000"/>
                  <a:gd name="connsiteX1" fmla="*/ 9060 w 9060"/>
                  <a:gd name="connsiteY1" fmla="*/ 3333 h 10000"/>
                  <a:gd name="connsiteX2" fmla="*/ 3504 w 9060"/>
                  <a:gd name="connsiteY2" fmla="*/ 0 h 10000"/>
                  <a:gd name="connsiteX3" fmla="*/ 1282 w 9060"/>
                  <a:gd name="connsiteY3" fmla="*/ 3333 h 10000"/>
                  <a:gd name="connsiteX4" fmla="*/ 0 w 9060"/>
                  <a:gd name="connsiteY4" fmla="*/ 8752 h 10000"/>
                  <a:gd name="connsiteX5" fmla="*/ 3504 w 9060"/>
                  <a:gd name="connsiteY5" fmla="*/ 10000 h 10000"/>
                  <a:gd name="connsiteX6" fmla="*/ 3504 w 9060"/>
                  <a:gd name="connsiteY6" fmla="*/ 7778 h 10000"/>
                  <a:gd name="connsiteX0" fmla="*/ 8536 w 10000"/>
                  <a:gd name="connsiteY0" fmla="*/ 8760 h 10000"/>
                  <a:gd name="connsiteX1" fmla="*/ 10000 w 10000"/>
                  <a:gd name="connsiteY1" fmla="*/ 3333 h 10000"/>
                  <a:gd name="connsiteX2" fmla="*/ 3868 w 10000"/>
                  <a:gd name="connsiteY2" fmla="*/ 0 h 10000"/>
                  <a:gd name="connsiteX3" fmla="*/ 1415 w 10000"/>
                  <a:gd name="connsiteY3" fmla="*/ 3333 h 10000"/>
                  <a:gd name="connsiteX4" fmla="*/ 0 w 10000"/>
                  <a:gd name="connsiteY4" fmla="*/ 8752 h 10000"/>
                  <a:gd name="connsiteX5" fmla="*/ 3868 w 10000"/>
                  <a:gd name="connsiteY5" fmla="*/ 10000 h 10000"/>
                  <a:gd name="connsiteX6" fmla="*/ 8536 w 10000"/>
                  <a:gd name="connsiteY6" fmla="*/ 876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00" h="10000">
                    <a:moveTo>
                      <a:pt x="8536" y="8760"/>
                    </a:moveTo>
                    <a:lnTo>
                      <a:pt x="10000" y="3333"/>
                    </a:lnTo>
                    <a:lnTo>
                      <a:pt x="3868" y="0"/>
                    </a:lnTo>
                    <a:lnTo>
                      <a:pt x="1415" y="3333"/>
                    </a:lnTo>
                    <a:lnTo>
                      <a:pt x="0" y="8752"/>
                    </a:lnTo>
                    <a:lnTo>
                      <a:pt x="3868" y="10000"/>
                    </a:lnTo>
                    <a:lnTo>
                      <a:pt x="8536" y="876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633" name="Denmark"/>
              <p:cNvGrpSpPr/>
              <p:nvPr/>
            </p:nvGrpSpPr>
            <p:grpSpPr>
              <a:xfrm>
                <a:off x="4466750" y="2740807"/>
                <a:ext cx="88759" cy="105896"/>
                <a:chOff x="4466750" y="2721718"/>
                <a:chExt cx="88759" cy="105896"/>
              </a:xfrm>
              <a:solidFill>
                <a:schemeClr val="accent3"/>
              </a:solidFill>
            </p:grpSpPr>
            <p:sp>
              <p:nvSpPr>
                <p:cNvPr id="751" name="Denmark"/>
                <p:cNvSpPr>
                  <a:spLocks/>
                </p:cNvSpPr>
                <p:nvPr/>
              </p:nvSpPr>
              <p:spPr bwMode="auto">
                <a:xfrm>
                  <a:off x="4466750" y="2721718"/>
                  <a:ext cx="66570" cy="83601"/>
                </a:xfrm>
                <a:custGeom>
                  <a:avLst/>
                  <a:gdLst/>
                  <a:ahLst/>
                  <a:cxnLst>
                    <a:cxn ang="0">
                      <a:pos x="2" y="15"/>
                    </a:cxn>
                    <a:cxn ang="0">
                      <a:pos x="6" y="15"/>
                    </a:cxn>
                    <a:cxn ang="0">
                      <a:pos x="8" y="9"/>
                    </a:cxn>
                    <a:cxn ang="0">
                      <a:pos x="12" y="6"/>
                    </a:cxn>
                    <a:cxn ang="0">
                      <a:pos x="8" y="6"/>
                    </a:cxn>
                    <a:cxn ang="0">
                      <a:pos x="8" y="0"/>
                    </a:cxn>
                    <a:cxn ang="0">
                      <a:pos x="2" y="2"/>
                    </a:cxn>
                    <a:cxn ang="0">
                      <a:pos x="0" y="6"/>
                    </a:cxn>
                    <a:cxn ang="0">
                      <a:pos x="0" y="9"/>
                    </a:cxn>
                    <a:cxn ang="0">
                      <a:pos x="2" y="11"/>
                    </a:cxn>
                    <a:cxn ang="0">
                      <a:pos x="2" y="13"/>
                    </a:cxn>
                    <a:cxn ang="0">
                      <a:pos x="2" y="15"/>
                    </a:cxn>
                  </a:cxnLst>
                  <a:rect l="0" t="0" r="r" b="b"/>
                  <a:pathLst>
                    <a:path w="12" h="15">
                      <a:moveTo>
                        <a:pt x="2" y="15"/>
                      </a:moveTo>
                      <a:lnTo>
                        <a:pt x="6" y="15"/>
                      </a:lnTo>
                      <a:lnTo>
                        <a:pt x="8" y="9"/>
                      </a:lnTo>
                      <a:lnTo>
                        <a:pt x="12" y="6"/>
                      </a:lnTo>
                      <a:lnTo>
                        <a:pt x="8" y="6"/>
                      </a:lnTo>
                      <a:lnTo>
                        <a:pt x="8" y="0"/>
                      </a:lnTo>
                      <a:lnTo>
                        <a:pt x="2" y="2"/>
                      </a:lnTo>
                      <a:lnTo>
                        <a:pt x="0" y="6"/>
                      </a:lnTo>
                      <a:lnTo>
                        <a:pt x="0" y="9"/>
                      </a:lnTo>
                      <a:lnTo>
                        <a:pt x="2" y="11"/>
                      </a:lnTo>
                      <a:lnTo>
                        <a:pt x="2" y="13"/>
                      </a:lnTo>
                      <a:lnTo>
                        <a:pt x="2" y="1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52" name="Denmark"/>
                <p:cNvSpPr>
                  <a:spLocks noChangeShapeType="1"/>
                </p:cNvSpPr>
                <p:nvPr/>
              </p:nvSpPr>
              <p:spPr bwMode="auto">
                <a:xfrm flipV="1">
                  <a:off x="4511130" y="2783026"/>
                  <a:ext cx="5548" cy="11147"/>
                </a:xfrm>
                <a:prstGeom prst="line">
                  <a:avLst/>
                </a:pr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53" name="Denmark"/>
                <p:cNvSpPr>
                  <a:spLocks/>
                </p:cNvSpPr>
                <p:nvPr/>
              </p:nvSpPr>
              <p:spPr bwMode="auto">
                <a:xfrm>
                  <a:off x="4533319" y="2771879"/>
                  <a:ext cx="22190" cy="1114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4" y="2"/>
                    </a:cxn>
                    <a:cxn ang="0">
                      <a:pos x="2" y="2"/>
                    </a:cxn>
                    <a:cxn ang="0">
                      <a:pos x="4" y="0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2" y="2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54" name="Denmark"/>
                <p:cNvSpPr>
                  <a:spLocks noChangeShapeType="1"/>
                </p:cNvSpPr>
                <p:nvPr/>
              </p:nvSpPr>
              <p:spPr bwMode="auto">
                <a:xfrm>
                  <a:off x="4533319" y="2822040"/>
                  <a:ext cx="11095" cy="5574"/>
                </a:xfrm>
                <a:prstGeom prst="line">
                  <a:avLst/>
                </a:pr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634" name="Czech Republic"/>
              <p:cNvSpPr>
                <a:spLocks/>
              </p:cNvSpPr>
              <p:nvPr>
                <p:custDataLst>
                  <p:tags r:id="rId105"/>
                </p:custDataLst>
              </p:nvPr>
            </p:nvSpPr>
            <p:spPr bwMode="auto">
              <a:xfrm>
                <a:off x="4544258" y="2925209"/>
                <a:ext cx="150122" cy="87989"/>
              </a:xfrm>
              <a:custGeom>
                <a:avLst/>
                <a:gdLst/>
                <a:ahLst/>
                <a:cxnLst>
                  <a:cxn ang="0">
                    <a:pos x="11" y="3"/>
                  </a:cxn>
                  <a:cxn ang="0">
                    <a:pos x="11" y="0"/>
                  </a:cxn>
                  <a:cxn ang="0">
                    <a:pos x="0" y="7"/>
                  </a:cxn>
                  <a:cxn ang="0">
                    <a:pos x="2" y="9"/>
                  </a:cxn>
                  <a:cxn ang="0">
                    <a:pos x="9" y="16"/>
                  </a:cxn>
                  <a:cxn ang="0">
                    <a:pos x="11" y="16"/>
                  </a:cxn>
                  <a:cxn ang="0">
                    <a:pos x="15" y="12"/>
                  </a:cxn>
                  <a:cxn ang="0">
                    <a:pos x="19" y="16"/>
                  </a:cxn>
                  <a:cxn ang="0">
                    <a:pos x="27" y="9"/>
                  </a:cxn>
                  <a:cxn ang="0">
                    <a:pos x="23" y="7"/>
                  </a:cxn>
                  <a:cxn ang="0">
                    <a:pos x="19" y="7"/>
                  </a:cxn>
                  <a:cxn ang="0">
                    <a:pos x="17" y="3"/>
                  </a:cxn>
                  <a:cxn ang="0">
                    <a:pos x="13" y="3"/>
                  </a:cxn>
                  <a:cxn ang="0">
                    <a:pos x="11" y="3"/>
                  </a:cxn>
                </a:cxnLst>
                <a:rect l="0" t="0" r="r" b="b"/>
                <a:pathLst>
                  <a:path w="27" h="16">
                    <a:moveTo>
                      <a:pt x="11" y="3"/>
                    </a:moveTo>
                    <a:lnTo>
                      <a:pt x="11" y="0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9" y="16"/>
                    </a:lnTo>
                    <a:lnTo>
                      <a:pt x="11" y="16"/>
                    </a:lnTo>
                    <a:lnTo>
                      <a:pt x="15" y="12"/>
                    </a:lnTo>
                    <a:lnTo>
                      <a:pt x="19" y="16"/>
                    </a:lnTo>
                    <a:lnTo>
                      <a:pt x="27" y="9"/>
                    </a:lnTo>
                    <a:lnTo>
                      <a:pt x="23" y="7"/>
                    </a:lnTo>
                    <a:lnTo>
                      <a:pt x="19" y="7"/>
                    </a:lnTo>
                    <a:lnTo>
                      <a:pt x="17" y="3"/>
                    </a:lnTo>
                    <a:lnTo>
                      <a:pt x="13" y="3"/>
                    </a:lnTo>
                    <a:lnTo>
                      <a:pt x="11" y="3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35" name="Cyprus"/>
              <p:cNvSpPr>
                <a:spLocks/>
              </p:cNvSpPr>
              <p:nvPr>
                <p:custDataLst>
                  <p:tags r:id="rId106"/>
                </p:custDataLst>
              </p:nvPr>
            </p:nvSpPr>
            <p:spPr bwMode="auto">
              <a:xfrm>
                <a:off x="5042941" y="3415186"/>
                <a:ext cx="72473" cy="39682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4" y="7"/>
                  </a:cxn>
                  <a:cxn ang="0">
                    <a:pos x="6" y="7"/>
                  </a:cxn>
                  <a:cxn ang="0">
                    <a:pos x="8" y="7"/>
                  </a:cxn>
                  <a:cxn ang="0">
                    <a:pos x="8" y="5"/>
                  </a:cxn>
                  <a:cxn ang="0">
                    <a:pos x="13" y="0"/>
                  </a:cxn>
                  <a:cxn ang="0">
                    <a:pos x="6" y="5"/>
                  </a:cxn>
                  <a:cxn ang="0">
                    <a:pos x="0" y="7"/>
                  </a:cxn>
                </a:cxnLst>
                <a:rect l="0" t="0" r="r" b="b"/>
                <a:pathLst>
                  <a:path w="13" h="7">
                    <a:moveTo>
                      <a:pt x="0" y="7"/>
                    </a:moveTo>
                    <a:lnTo>
                      <a:pt x="4" y="7"/>
                    </a:lnTo>
                    <a:lnTo>
                      <a:pt x="6" y="7"/>
                    </a:lnTo>
                    <a:lnTo>
                      <a:pt x="8" y="7"/>
                    </a:lnTo>
                    <a:lnTo>
                      <a:pt x="8" y="5"/>
                    </a:lnTo>
                    <a:lnTo>
                      <a:pt x="13" y="0"/>
                    </a:lnTo>
                    <a:lnTo>
                      <a:pt x="6" y="5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319" name="Cuba"/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auto">
              <a:xfrm>
                <a:off x="2070229" y="3833202"/>
                <a:ext cx="266280" cy="100322"/>
              </a:xfrm>
              <a:custGeom>
                <a:avLst/>
                <a:gdLst>
                  <a:gd name="T0" fmla="*/ 0 w 48"/>
                  <a:gd name="T1" fmla="*/ 50161 h 18"/>
                  <a:gd name="T2" fmla="*/ 11095 w 48"/>
                  <a:gd name="T3" fmla="*/ 50161 h 18"/>
                  <a:gd name="T4" fmla="*/ 55475 w 48"/>
                  <a:gd name="T5" fmla="*/ 11147 h 18"/>
                  <a:gd name="T6" fmla="*/ 88760 w 48"/>
                  <a:gd name="T7" fmla="*/ 11147 h 18"/>
                  <a:gd name="T8" fmla="*/ 66570 w 48"/>
                  <a:gd name="T9" fmla="*/ 22294 h 18"/>
                  <a:gd name="T10" fmla="*/ 149782 w 48"/>
                  <a:gd name="T11" fmla="*/ 50161 h 18"/>
                  <a:gd name="T12" fmla="*/ 160877 w 48"/>
                  <a:gd name="T13" fmla="*/ 83602 h 18"/>
                  <a:gd name="T14" fmla="*/ 183068 w 48"/>
                  <a:gd name="T15" fmla="*/ 83602 h 18"/>
                  <a:gd name="T16" fmla="*/ 160877 w 48"/>
                  <a:gd name="T17" fmla="*/ 100322 h 18"/>
                  <a:gd name="T18" fmla="*/ 266280 w 48"/>
                  <a:gd name="T19" fmla="*/ 100322 h 18"/>
                  <a:gd name="T20" fmla="*/ 244090 w 48"/>
                  <a:gd name="T21" fmla="*/ 83602 h 18"/>
                  <a:gd name="T22" fmla="*/ 227448 w 48"/>
                  <a:gd name="T23" fmla="*/ 83602 h 18"/>
                  <a:gd name="T24" fmla="*/ 227448 w 48"/>
                  <a:gd name="T25" fmla="*/ 61308 h 18"/>
                  <a:gd name="T26" fmla="*/ 194163 w 48"/>
                  <a:gd name="T27" fmla="*/ 61308 h 18"/>
                  <a:gd name="T28" fmla="*/ 160877 w 48"/>
                  <a:gd name="T29" fmla="*/ 22294 h 18"/>
                  <a:gd name="T30" fmla="*/ 88760 w 48"/>
                  <a:gd name="T31" fmla="*/ 0 h 18"/>
                  <a:gd name="T32" fmla="*/ 22190 w 48"/>
                  <a:gd name="T33" fmla="*/ 11147 h 18"/>
                  <a:gd name="T34" fmla="*/ 11095 w 48"/>
                  <a:gd name="T35" fmla="*/ 33441 h 18"/>
                  <a:gd name="T36" fmla="*/ 0 w 48"/>
                  <a:gd name="T37" fmla="*/ 50161 h 1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8"/>
                  <a:gd name="T58" fmla="*/ 0 h 18"/>
                  <a:gd name="T59" fmla="*/ 48 w 48"/>
                  <a:gd name="T60" fmla="*/ 18 h 1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8" h="18">
                    <a:moveTo>
                      <a:pt x="0" y="9"/>
                    </a:moveTo>
                    <a:lnTo>
                      <a:pt x="2" y="9"/>
                    </a:lnTo>
                    <a:lnTo>
                      <a:pt x="10" y="2"/>
                    </a:lnTo>
                    <a:lnTo>
                      <a:pt x="16" y="2"/>
                    </a:lnTo>
                    <a:lnTo>
                      <a:pt x="12" y="4"/>
                    </a:lnTo>
                    <a:lnTo>
                      <a:pt x="27" y="9"/>
                    </a:lnTo>
                    <a:lnTo>
                      <a:pt x="29" y="15"/>
                    </a:lnTo>
                    <a:lnTo>
                      <a:pt x="33" y="15"/>
                    </a:lnTo>
                    <a:lnTo>
                      <a:pt x="29" y="18"/>
                    </a:lnTo>
                    <a:lnTo>
                      <a:pt x="48" y="18"/>
                    </a:lnTo>
                    <a:lnTo>
                      <a:pt x="44" y="15"/>
                    </a:lnTo>
                    <a:lnTo>
                      <a:pt x="41" y="15"/>
                    </a:lnTo>
                    <a:lnTo>
                      <a:pt x="41" y="11"/>
                    </a:lnTo>
                    <a:lnTo>
                      <a:pt x="35" y="11"/>
                    </a:lnTo>
                    <a:lnTo>
                      <a:pt x="29" y="4"/>
                    </a:lnTo>
                    <a:lnTo>
                      <a:pt x="16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EF7A04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37" name="Croatia"/>
              <p:cNvSpPr>
                <a:spLocks/>
              </p:cNvSpPr>
              <p:nvPr>
                <p:custDataLst>
                  <p:tags r:id="rId108"/>
                </p:custDataLst>
              </p:nvPr>
            </p:nvSpPr>
            <p:spPr bwMode="auto">
              <a:xfrm>
                <a:off x="4594299" y="3075308"/>
                <a:ext cx="127691" cy="127670"/>
              </a:xfrm>
              <a:custGeom>
                <a:avLst/>
                <a:gdLst/>
                <a:ahLst/>
                <a:cxnLst>
                  <a:cxn ang="0">
                    <a:pos x="18" y="3"/>
                  </a:cxn>
                  <a:cxn ang="0">
                    <a:pos x="16" y="3"/>
                  </a:cxn>
                  <a:cxn ang="0">
                    <a:pos x="10" y="0"/>
                  </a:cxn>
                  <a:cxn ang="0">
                    <a:pos x="6" y="3"/>
                  </a:cxn>
                  <a:cxn ang="0">
                    <a:pos x="6" y="7"/>
                  </a:cxn>
                  <a:cxn ang="0">
                    <a:pos x="2" y="3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2" y="7"/>
                  </a:cxn>
                  <a:cxn ang="0">
                    <a:pos x="6" y="9"/>
                  </a:cxn>
                  <a:cxn ang="0">
                    <a:pos x="6" y="16"/>
                  </a:cxn>
                  <a:cxn ang="0">
                    <a:pos x="18" y="23"/>
                  </a:cxn>
                  <a:cxn ang="0">
                    <a:pos x="10" y="12"/>
                  </a:cxn>
                  <a:cxn ang="0">
                    <a:pos x="8" y="9"/>
                  </a:cxn>
                  <a:cxn ang="0">
                    <a:pos x="10" y="7"/>
                  </a:cxn>
                  <a:cxn ang="0">
                    <a:pos x="18" y="9"/>
                  </a:cxn>
                  <a:cxn ang="0">
                    <a:pos x="23" y="9"/>
                  </a:cxn>
                  <a:cxn ang="0">
                    <a:pos x="23" y="7"/>
                  </a:cxn>
                  <a:cxn ang="0">
                    <a:pos x="20" y="5"/>
                  </a:cxn>
                  <a:cxn ang="0">
                    <a:pos x="18" y="3"/>
                  </a:cxn>
                </a:cxnLst>
                <a:rect l="0" t="0" r="r" b="b"/>
                <a:pathLst>
                  <a:path w="23" h="23">
                    <a:moveTo>
                      <a:pt x="18" y="3"/>
                    </a:moveTo>
                    <a:lnTo>
                      <a:pt x="16" y="3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6" y="7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2" y="7"/>
                    </a:lnTo>
                    <a:lnTo>
                      <a:pt x="6" y="9"/>
                    </a:lnTo>
                    <a:lnTo>
                      <a:pt x="6" y="16"/>
                    </a:lnTo>
                    <a:lnTo>
                      <a:pt x="18" y="23"/>
                    </a:lnTo>
                    <a:lnTo>
                      <a:pt x="10" y="12"/>
                    </a:lnTo>
                    <a:lnTo>
                      <a:pt x="8" y="9"/>
                    </a:lnTo>
                    <a:lnTo>
                      <a:pt x="10" y="7"/>
                    </a:lnTo>
                    <a:lnTo>
                      <a:pt x="18" y="9"/>
                    </a:lnTo>
                    <a:lnTo>
                      <a:pt x="23" y="9"/>
                    </a:lnTo>
                    <a:lnTo>
                      <a:pt x="23" y="7"/>
                    </a:lnTo>
                    <a:lnTo>
                      <a:pt x="20" y="5"/>
                    </a:lnTo>
                    <a:lnTo>
                      <a:pt x="18" y="3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321" name="Costa Rica"/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auto">
              <a:xfrm>
                <a:off x="1998112" y="4217768"/>
                <a:ext cx="83212" cy="89175"/>
              </a:xfrm>
              <a:custGeom>
                <a:avLst/>
                <a:gdLst>
                  <a:gd name="T0" fmla="*/ 83212 w 15"/>
                  <a:gd name="T1" fmla="*/ 50161 h 16"/>
                  <a:gd name="T2" fmla="*/ 72117 w 15"/>
                  <a:gd name="T3" fmla="*/ 39014 h 16"/>
                  <a:gd name="T4" fmla="*/ 49927 w 15"/>
                  <a:gd name="T5" fmla="*/ 0 h 16"/>
                  <a:gd name="T6" fmla="*/ 0 w 15"/>
                  <a:gd name="T7" fmla="*/ 0 h 16"/>
                  <a:gd name="T8" fmla="*/ 0 w 15"/>
                  <a:gd name="T9" fmla="*/ 39014 h 16"/>
                  <a:gd name="T10" fmla="*/ 11095 w 15"/>
                  <a:gd name="T11" fmla="*/ 50161 h 16"/>
                  <a:gd name="T12" fmla="*/ 11095 w 15"/>
                  <a:gd name="T13" fmla="*/ 39014 h 16"/>
                  <a:gd name="T14" fmla="*/ 49927 w 15"/>
                  <a:gd name="T15" fmla="*/ 66881 h 16"/>
                  <a:gd name="T16" fmla="*/ 49927 w 15"/>
                  <a:gd name="T17" fmla="*/ 89175 h 16"/>
                  <a:gd name="T18" fmla="*/ 72117 w 15"/>
                  <a:gd name="T19" fmla="*/ 89175 h 16"/>
                  <a:gd name="T20" fmla="*/ 72117 w 15"/>
                  <a:gd name="T21" fmla="*/ 78028 h 16"/>
                  <a:gd name="T22" fmla="*/ 83212 w 15"/>
                  <a:gd name="T23" fmla="*/ 50161 h 1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5"/>
                  <a:gd name="T37" fmla="*/ 0 h 16"/>
                  <a:gd name="T38" fmla="*/ 15 w 15"/>
                  <a:gd name="T39" fmla="*/ 16 h 1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5" h="16">
                    <a:moveTo>
                      <a:pt x="15" y="9"/>
                    </a:moveTo>
                    <a:lnTo>
                      <a:pt x="13" y="7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9" y="12"/>
                    </a:lnTo>
                    <a:lnTo>
                      <a:pt x="9" y="16"/>
                    </a:lnTo>
                    <a:lnTo>
                      <a:pt x="13" y="16"/>
                    </a:lnTo>
                    <a:lnTo>
                      <a:pt x="13" y="14"/>
                    </a:lnTo>
                    <a:lnTo>
                      <a:pt x="15" y="9"/>
                    </a:lnTo>
                    <a:close/>
                  </a:path>
                </a:pathLst>
              </a:custGeom>
              <a:solidFill>
                <a:srgbClr val="EF7A04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3334322" name="Congo"/>
              <p:cNvGrpSpPr>
                <a:grpSpLocks/>
              </p:cNvGrpSpPr>
              <p:nvPr/>
            </p:nvGrpSpPr>
            <p:grpSpPr bwMode="auto">
              <a:xfrm>
                <a:off x="4521181" y="4451968"/>
                <a:ext cx="208170" cy="311272"/>
                <a:chOff x="4521181" y="4432879"/>
                <a:chExt cx="208170" cy="311272"/>
              </a:xfrm>
            </p:grpSpPr>
            <p:sp>
              <p:nvSpPr>
                <p:cNvPr id="749" name="Congo"/>
                <p:cNvSpPr>
                  <a:spLocks/>
                </p:cNvSpPr>
                <p:nvPr/>
              </p:nvSpPr>
              <p:spPr bwMode="auto">
                <a:xfrm>
                  <a:off x="4545983" y="4693502"/>
                  <a:ext cx="31060" cy="50033"/>
                </a:xfrm>
                <a:custGeom>
                  <a:avLst/>
                  <a:gdLst>
                    <a:gd name="T0" fmla="*/ 0 w 85"/>
                    <a:gd name="T1" fmla="*/ 59 h 116"/>
                    <a:gd name="T2" fmla="*/ 14 w 85"/>
                    <a:gd name="T3" fmla="*/ 47 h 116"/>
                    <a:gd name="T4" fmla="*/ 30 w 85"/>
                    <a:gd name="T5" fmla="*/ 36 h 116"/>
                    <a:gd name="T6" fmla="*/ 57 w 85"/>
                    <a:gd name="T7" fmla="*/ 14 h 116"/>
                    <a:gd name="T8" fmla="*/ 84 w 85"/>
                    <a:gd name="T9" fmla="*/ 26 h 116"/>
                    <a:gd name="T10" fmla="*/ 85 w 85"/>
                    <a:gd name="T11" fmla="*/ 28 h 116"/>
                    <a:gd name="T12" fmla="*/ 56 w 85"/>
                    <a:gd name="T13" fmla="*/ 48 h 116"/>
                    <a:gd name="T14" fmla="*/ 38 w 85"/>
                    <a:gd name="T15" fmla="*/ 61 h 116"/>
                    <a:gd name="T16" fmla="*/ 42 w 85"/>
                    <a:gd name="T17" fmla="*/ 95 h 116"/>
                    <a:gd name="T18" fmla="*/ 29 w 85"/>
                    <a:gd name="T19" fmla="*/ 111 h 116"/>
                    <a:gd name="T20" fmla="*/ 17 w 85"/>
                    <a:gd name="T21" fmla="*/ 116 h 116"/>
                    <a:gd name="T22" fmla="*/ 17 w 85"/>
                    <a:gd name="T23" fmla="*/ 116 h 116"/>
                    <a:gd name="T24" fmla="*/ 13 w 85"/>
                    <a:gd name="T25" fmla="*/ 112 h 116"/>
                    <a:gd name="T26" fmla="*/ 10 w 85"/>
                    <a:gd name="T27" fmla="*/ 98 h 116"/>
                    <a:gd name="T28" fmla="*/ 9 w 85"/>
                    <a:gd name="T29" fmla="*/ 74 h 116"/>
                    <a:gd name="T30" fmla="*/ 1 w 85"/>
                    <a:gd name="T31" fmla="*/ 62 h 116"/>
                    <a:gd name="T32" fmla="*/ 0 w 85"/>
                    <a:gd name="T33" fmla="*/ 59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5" h="116">
                      <a:moveTo>
                        <a:pt x="0" y="59"/>
                      </a:moveTo>
                      <a:cubicBezTo>
                        <a:pt x="4" y="56"/>
                        <a:pt x="12" y="52"/>
                        <a:pt x="14" y="47"/>
                      </a:cubicBezTo>
                      <a:cubicBezTo>
                        <a:pt x="15" y="35"/>
                        <a:pt x="25" y="44"/>
                        <a:pt x="30" y="36"/>
                      </a:cubicBezTo>
                      <a:cubicBezTo>
                        <a:pt x="29" y="18"/>
                        <a:pt x="53" y="29"/>
                        <a:pt x="57" y="14"/>
                      </a:cubicBezTo>
                      <a:cubicBezTo>
                        <a:pt x="69" y="0"/>
                        <a:pt x="74" y="27"/>
                        <a:pt x="84" y="26"/>
                      </a:cubicBezTo>
                      <a:cubicBezTo>
                        <a:pt x="85" y="28"/>
                        <a:pt x="85" y="28"/>
                        <a:pt x="85" y="28"/>
                      </a:cubicBezTo>
                      <a:cubicBezTo>
                        <a:pt x="74" y="34"/>
                        <a:pt x="61" y="34"/>
                        <a:pt x="56" y="48"/>
                      </a:cubicBezTo>
                      <a:cubicBezTo>
                        <a:pt x="49" y="52"/>
                        <a:pt x="45" y="59"/>
                        <a:pt x="38" y="61"/>
                      </a:cubicBezTo>
                      <a:cubicBezTo>
                        <a:pt x="48" y="68"/>
                        <a:pt x="40" y="83"/>
                        <a:pt x="42" y="95"/>
                      </a:cubicBezTo>
                      <a:cubicBezTo>
                        <a:pt x="45" y="105"/>
                        <a:pt x="41" y="115"/>
                        <a:pt x="29" y="111"/>
                      </a:cubicBezTo>
                      <a:cubicBezTo>
                        <a:pt x="25" y="111"/>
                        <a:pt x="20" y="113"/>
                        <a:pt x="17" y="116"/>
                      </a:cubicBezTo>
                      <a:cubicBezTo>
                        <a:pt x="17" y="116"/>
                        <a:pt x="17" y="116"/>
                        <a:pt x="17" y="116"/>
                      </a:cubicBezTo>
                      <a:cubicBezTo>
                        <a:pt x="15" y="115"/>
                        <a:pt x="14" y="113"/>
                        <a:pt x="13" y="112"/>
                      </a:cubicBezTo>
                      <a:cubicBezTo>
                        <a:pt x="12" y="107"/>
                        <a:pt x="10" y="103"/>
                        <a:pt x="10" y="98"/>
                      </a:cubicBezTo>
                      <a:cubicBezTo>
                        <a:pt x="12" y="90"/>
                        <a:pt x="10" y="82"/>
                        <a:pt x="9" y="74"/>
                      </a:cubicBezTo>
                      <a:cubicBezTo>
                        <a:pt x="9" y="68"/>
                        <a:pt x="4" y="65"/>
                        <a:pt x="1" y="62"/>
                      </a:cubicBezTo>
                      <a:cubicBezTo>
                        <a:pt x="0" y="61"/>
                        <a:pt x="0" y="60"/>
                        <a:pt x="0" y="59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50" name="Congo"/>
                <p:cNvSpPr>
                  <a:spLocks/>
                </p:cNvSpPr>
                <p:nvPr/>
              </p:nvSpPr>
              <p:spPr bwMode="auto">
                <a:xfrm>
                  <a:off x="4521826" y="4432987"/>
                  <a:ext cx="207066" cy="286395"/>
                </a:xfrm>
                <a:custGeom>
                  <a:avLst/>
                  <a:gdLst>
                    <a:gd name="T0" fmla="*/ 287 w 574"/>
                    <a:gd name="T1" fmla="*/ 131 h 664"/>
                    <a:gd name="T2" fmla="*/ 302 w 574"/>
                    <a:gd name="T3" fmla="*/ 132 h 664"/>
                    <a:gd name="T4" fmla="*/ 369 w 574"/>
                    <a:gd name="T5" fmla="*/ 150 h 664"/>
                    <a:gd name="T6" fmla="*/ 384 w 574"/>
                    <a:gd name="T7" fmla="*/ 117 h 664"/>
                    <a:gd name="T8" fmla="*/ 399 w 574"/>
                    <a:gd name="T9" fmla="*/ 85 h 664"/>
                    <a:gd name="T10" fmla="*/ 423 w 574"/>
                    <a:gd name="T11" fmla="*/ 15 h 664"/>
                    <a:gd name="T12" fmla="*/ 493 w 574"/>
                    <a:gd name="T13" fmla="*/ 8 h 664"/>
                    <a:gd name="T14" fmla="*/ 541 w 574"/>
                    <a:gd name="T15" fmla="*/ 14 h 664"/>
                    <a:gd name="T16" fmla="*/ 566 w 574"/>
                    <a:gd name="T17" fmla="*/ 18 h 664"/>
                    <a:gd name="T18" fmla="*/ 555 w 574"/>
                    <a:gd name="T19" fmla="*/ 64 h 664"/>
                    <a:gd name="T20" fmla="*/ 526 w 574"/>
                    <a:gd name="T21" fmla="*/ 149 h 664"/>
                    <a:gd name="T22" fmla="*/ 512 w 574"/>
                    <a:gd name="T23" fmla="*/ 213 h 664"/>
                    <a:gd name="T24" fmla="*/ 502 w 574"/>
                    <a:gd name="T25" fmla="*/ 287 h 664"/>
                    <a:gd name="T26" fmla="*/ 463 w 574"/>
                    <a:gd name="T27" fmla="*/ 362 h 664"/>
                    <a:gd name="T28" fmla="*/ 391 w 574"/>
                    <a:gd name="T29" fmla="*/ 440 h 664"/>
                    <a:gd name="T30" fmla="*/ 384 w 574"/>
                    <a:gd name="T31" fmla="*/ 508 h 664"/>
                    <a:gd name="T32" fmla="*/ 363 w 574"/>
                    <a:gd name="T33" fmla="*/ 578 h 664"/>
                    <a:gd name="T34" fmla="*/ 318 w 574"/>
                    <a:gd name="T35" fmla="*/ 607 h 664"/>
                    <a:gd name="T36" fmla="*/ 257 w 574"/>
                    <a:gd name="T37" fmla="*/ 650 h 664"/>
                    <a:gd name="T38" fmla="*/ 250 w 574"/>
                    <a:gd name="T39" fmla="*/ 612 h 664"/>
                    <a:gd name="T40" fmla="*/ 205 w 574"/>
                    <a:gd name="T41" fmla="*/ 617 h 664"/>
                    <a:gd name="T42" fmla="*/ 173 w 574"/>
                    <a:gd name="T43" fmla="*/ 649 h 664"/>
                    <a:gd name="T44" fmla="*/ 150 w 574"/>
                    <a:gd name="T45" fmla="*/ 631 h 664"/>
                    <a:gd name="T46" fmla="*/ 96 w 574"/>
                    <a:gd name="T47" fmla="*/ 641 h 664"/>
                    <a:gd name="T48" fmla="*/ 66 w 574"/>
                    <a:gd name="T49" fmla="*/ 664 h 664"/>
                    <a:gd name="T50" fmla="*/ 53 w 574"/>
                    <a:gd name="T51" fmla="*/ 637 h 664"/>
                    <a:gd name="T52" fmla="*/ 16 w 574"/>
                    <a:gd name="T53" fmla="*/ 592 h 664"/>
                    <a:gd name="T54" fmla="*/ 4 w 574"/>
                    <a:gd name="T55" fmla="*/ 578 h 664"/>
                    <a:gd name="T56" fmla="*/ 60 w 574"/>
                    <a:gd name="T57" fmla="*/ 561 h 664"/>
                    <a:gd name="T58" fmla="*/ 60 w 574"/>
                    <a:gd name="T59" fmla="*/ 561 h 664"/>
                    <a:gd name="T60" fmla="*/ 46 w 574"/>
                    <a:gd name="T61" fmla="*/ 516 h 664"/>
                    <a:gd name="T62" fmla="*/ 34 w 574"/>
                    <a:gd name="T63" fmla="*/ 495 h 664"/>
                    <a:gd name="T64" fmla="*/ 52 w 574"/>
                    <a:gd name="T65" fmla="*/ 463 h 664"/>
                    <a:gd name="T66" fmla="*/ 106 w 574"/>
                    <a:gd name="T67" fmla="*/ 444 h 664"/>
                    <a:gd name="T68" fmla="*/ 132 w 574"/>
                    <a:gd name="T69" fmla="*/ 432 h 664"/>
                    <a:gd name="T70" fmla="*/ 167 w 574"/>
                    <a:gd name="T71" fmla="*/ 464 h 664"/>
                    <a:gd name="T72" fmla="*/ 209 w 574"/>
                    <a:gd name="T73" fmla="*/ 456 h 664"/>
                    <a:gd name="T74" fmla="*/ 237 w 574"/>
                    <a:gd name="T75" fmla="*/ 459 h 664"/>
                    <a:gd name="T76" fmla="*/ 251 w 574"/>
                    <a:gd name="T77" fmla="*/ 414 h 664"/>
                    <a:gd name="T78" fmla="*/ 255 w 574"/>
                    <a:gd name="T79" fmla="*/ 378 h 664"/>
                    <a:gd name="T80" fmla="*/ 242 w 574"/>
                    <a:gd name="T81" fmla="*/ 316 h 664"/>
                    <a:gd name="T82" fmla="*/ 214 w 574"/>
                    <a:gd name="T83" fmla="*/ 284 h 664"/>
                    <a:gd name="T84" fmla="*/ 240 w 574"/>
                    <a:gd name="T85" fmla="*/ 240 h 664"/>
                    <a:gd name="T86" fmla="*/ 238 w 574"/>
                    <a:gd name="T87" fmla="*/ 181 h 664"/>
                    <a:gd name="T88" fmla="*/ 164 w 574"/>
                    <a:gd name="T89" fmla="*/ 190 h 664"/>
                    <a:gd name="T90" fmla="*/ 156 w 574"/>
                    <a:gd name="T91" fmla="*/ 150 h 664"/>
                    <a:gd name="T92" fmla="*/ 210 w 574"/>
                    <a:gd name="T93" fmla="*/ 119 h 664"/>
                    <a:gd name="T94" fmla="*/ 280 w 574"/>
                    <a:gd name="T95" fmla="*/ 127 h 6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574" h="664">
                      <a:moveTo>
                        <a:pt x="287" y="131"/>
                      </a:moveTo>
                      <a:cubicBezTo>
                        <a:pt x="286" y="131"/>
                        <a:pt x="285" y="131"/>
                        <a:pt x="287" y="131"/>
                      </a:cubicBezTo>
                      <a:cubicBezTo>
                        <a:pt x="287" y="131"/>
                        <a:pt x="287" y="131"/>
                        <a:pt x="287" y="131"/>
                      </a:cubicBezTo>
                      <a:cubicBezTo>
                        <a:pt x="290" y="131"/>
                        <a:pt x="297" y="131"/>
                        <a:pt x="302" y="132"/>
                      </a:cubicBezTo>
                      <a:cubicBezTo>
                        <a:pt x="311" y="123"/>
                        <a:pt x="315" y="138"/>
                        <a:pt x="323" y="136"/>
                      </a:cubicBezTo>
                      <a:cubicBezTo>
                        <a:pt x="340" y="129"/>
                        <a:pt x="355" y="142"/>
                        <a:pt x="369" y="150"/>
                      </a:cubicBezTo>
                      <a:cubicBezTo>
                        <a:pt x="371" y="159"/>
                        <a:pt x="384" y="156"/>
                        <a:pt x="381" y="146"/>
                      </a:cubicBezTo>
                      <a:cubicBezTo>
                        <a:pt x="376" y="137"/>
                        <a:pt x="370" y="117"/>
                        <a:pt x="384" y="117"/>
                      </a:cubicBezTo>
                      <a:cubicBezTo>
                        <a:pt x="384" y="116"/>
                        <a:pt x="385" y="115"/>
                        <a:pt x="385" y="114"/>
                      </a:cubicBezTo>
                      <a:cubicBezTo>
                        <a:pt x="391" y="105"/>
                        <a:pt x="395" y="94"/>
                        <a:pt x="399" y="85"/>
                      </a:cubicBezTo>
                      <a:cubicBezTo>
                        <a:pt x="409" y="73"/>
                        <a:pt x="405" y="61"/>
                        <a:pt x="407" y="48"/>
                      </a:cubicBezTo>
                      <a:cubicBezTo>
                        <a:pt x="410" y="38"/>
                        <a:pt x="410" y="18"/>
                        <a:pt x="423" y="15"/>
                      </a:cubicBezTo>
                      <a:cubicBezTo>
                        <a:pt x="438" y="16"/>
                        <a:pt x="454" y="13"/>
                        <a:pt x="469" y="9"/>
                      </a:cubicBezTo>
                      <a:cubicBezTo>
                        <a:pt x="477" y="4"/>
                        <a:pt x="485" y="0"/>
                        <a:pt x="493" y="8"/>
                      </a:cubicBezTo>
                      <a:cubicBezTo>
                        <a:pt x="503" y="4"/>
                        <a:pt x="509" y="16"/>
                        <a:pt x="519" y="14"/>
                      </a:cubicBezTo>
                      <a:cubicBezTo>
                        <a:pt x="529" y="7"/>
                        <a:pt x="535" y="26"/>
                        <a:pt x="541" y="14"/>
                      </a:cubicBezTo>
                      <a:cubicBezTo>
                        <a:pt x="534" y="14"/>
                        <a:pt x="559" y="4"/>
                        <a:pt x="562" y="13"/>
                      </a:cubicBezTo>
                      <a:cubicBezTo>
                        <a:pt x="564" y="17"/>
                        <a:pt x="565" y="18"/>
                        <a:pt x="566" y="18"/>
                      </a:cubicBezTo>
                      <a:cubicBezTo>
                        <a:pt x="568" y="20"/>
                        <a:pt x="568" y="20"/>
                        <a:pt x="568" y="20"/>
                      </a:cubicBezTo>
                      <a:cubicBezTo>
                        <a:pt x="574" y="37"/>
                        <a:pt x="562" y="50"/>
                        <a:pt x="555" y="64"/>
                      </a:cubicBezTo>
                      <a:cubicBezTo>
                        <a:pt x="553" y="79"/>
                        <a:pt x="541" y="88"/>
                        <a:pt x="537" y="101"/>
                      </a:cubicBezTo>
                      <a:cubicBezTo>
                        <a:pt x="524" y="113"/>
                        <a:pt x="527" y="132"/>
                        <a:pt x="526" y="149"/>
                      </a:cubicBezTo>
                      <a:cubicBezTo>
                        <a:pt x="529" y="160"/>
                        <a:pt x="525" y="172"/>
                        <a:pt x="520" y="182"/>
                      </a:cubicBezTo>
                      <a:cubicBezTo>
                        <a:pt x="520" y="193"/>
                        <a:pt x="509" y="202"/>
                        <a:pt x="512" y="213"/>
                      </a:cubicBezTo>
                      <a:cubicBezTo>
                        <a:pt x="515" y="226"/>
                        <a:pt x="511" y="238"/>
                        <a:pt x="519" y="250"/>
                      </a:cubicBezTo>
                      <a:cubicBezTo>
                        <a:pt x="514" y="263"/>
                        <a:pt x="503" y="272"/>
                        <a:pt x="502" y="287"/>
                      </a:cubicBezTo>
                      <a:cubicBezTo>
                        <a:pt x="496" y="303"/>
                        <a:pt x="508" y="321"/>
                        <a:pt x="493" y="335"/>
                      </a:cubicBezTo>
                      <a:cubicBezTo>
                        <a:pt x="483" y="344"/>
                        <a:pt x="476" y="357"/>
                        <a:pt x="463" y="362"/>
                      </a:cubicBezTo>
                      <a:cubicBezTo>
                        <a:pt x="442" y="365"/>
                        <a:pt x="426" y="384"/>
                        <a:pt x="420" y="404"/>
                      </a:cubicBezTo>
                      <a:cubicBezTo>
                        <a:pt x="414" y="419"/>
                        <a:pt x="405" y="432"/>
                        <a:pt x="391" y="440"/>
                      </a:cubicBezTo>
                      <a:cubicBezTo>
                        <a:pt x="380" y="447"/>
                        <a:pt x="384" y="462"/>
                        <a:pt x="386" y="473"/>
                      </a:cubicBezTo>
                      <a:cubicBezTo>
                        <a:pt x="390" y="485"/>
                        <a:pt x="382" y="496"/>
                        <a:pt x="384" y="508"/>
                      </a:cubicBezTo>
                      <a:cubicBezTo>
                        <a:pt x="382" y="520"/>
                        <a:pt x="390" y="534"/>
                        <a:pt x="382" y="544"/>
                      </a:cubicBezTo>
                      <a:cubicBezTo>
                        <a:pt x="375" y="555"/>
                        <a:pt x="369" y="567"/>
                        <a:pt x="363" y="578"/>
                      </a:cubicBezTo>
                      <a:cubicBezTo>
                        <a:pt x="357" y="587"/>
                        <a:pt x="343" y="582"/>
                        <a:pt x="335" y="589"/>
                      </a:cubicBezTo>
                      <a:cubicBezTo>
                        <a:pt x="330" y="597"/>
                        <a:pt x="331" y="611"/>
                        <a:pt x="318" y="607"/>
                      </a:cubicBezTo>
                      <a:cubicBezTo>
                        <a:pt x="305" y="611"/>
                        <a:pt x="300" y="627"/>
                        <a:pt x="289" y="635"/>
                      </a:cubicBezTo>
                      <a:cubicBezTo>
                        <a:pt x="284" y="649"/>
                        <a:pt x="269" y="657"/>
                        <a:pt x="257" y="650"/>
                      </a:cubicBezTo>
                      <a:cubicBezTo>
                        <a:pt x="244" y="654"/>
                        <a:pt x="256" y="634"/>
                        <a:pt x="247" y="629"/>
                      </a:cubicBezTo>
                      <a:cubicBezTo>
                        <a:pt x="251" y="623"/>
                        <a:pt x="259" y="617"/>
                        <a:pt x="250" y="612"/>
                      </a:cubicBezTo>
                      <a:cubicBezTo>
                        <a:pt x="248" y="598"/>
                        <a:pt x="233" y="619"/>
                        <a:pt x="224" y="615"/>
                      </a:cubicBezTo>
                      <a:cubicBezTo>
                        <a:pt x="218" y="622"/>
                        <a:pt x="211" y="625"/>
                        <a:pt x="205" y="617"/>
                      </a:cubicBezTo>
                      <a:cubicBezTo>
                        <a:pt x="192" y="619"/>
                        <a:pt x="204" y="641"/>
                        <a:pt x="190" y="643"/>
                      </a:cubicBezTo>
                      <a:cubicBezTo>
                        <a:pt x="182" y="639"/>
                        <a:pt x="180" y="653"/>
                        <a:pt x="173" y="649"/>
                      </a:cubicBezTo>
                      <a:cubicBezTo>
                        <a:pt x="169" y="641"/>
                        <a:pt x="157" y="638"/>
                        <a:pt x="154" y="629"/>
                      </a:cubicBezTo>
                      <a:cubicBezTo>
                        <a:pt x="153" y="630"/>
                        <a:pt x="151" y="631"/>
                        <a:pt x="150" y="631"/>
                      </a:cubicBezTo>
                      <a:cubicBezTo>
                        <a:pt x="140" y="632"/>
                        <a:pt x="135" y="605"/>
                        <a:pt x="123" y="619"/>
                      </a:cubicBezTo>
                      <a:cubicBezTo>
                        <a:pt x="119" y="634"/>
                        <a:pt x="95" y="623"/>
                        <a:pt x="96" y="641"/>
                      </a:cubicBezTo>
                      <a:cubicBezTo>
                        <a:pt x="91" y="649"/>
                        <a:pt x="81" y="640"/>
                        <a:pt x="80" y="652"/>
                      </a:cubicBezTo>
                      <a:cubicBezTo>
                        <a:pt x="78" y="657"/>
                        <a:pt x="70" y="661"/>
                        <a:pt x="66" y="664"/>
                      </a:cubicBezTo>
                      <a:cubicBezTo>
                        <a:pt x="66" y="664"/>
                        <a:pt x="66" y="664"/>
                        <a:pt x="66" y="664"/>
                      </a:cubicBezTo>
                      <a:cubicBezTo>
                        <a:pt x="61" y="655"/>
                        <a:pt x="57" y="646"/>
                        <a:pt x="53" y="637"/>
                      </a:cubicBezTo>
                      <a:cubicBezTo>
                        <a:pt x="50" y="629"/>
                        <a:pt x="44" y="623"/>
                        <a:pt x="37" y="617"/>
                      </a:cubicBezTo>
                      <a:cubicBezTo>
                        <a:pt x="29" y="610"/>
                        <a:pt x="22" y="602"/>
                        <a:pt x="16" y="592"/>
                      </a:cubicBezTo>
                      <a:cubicBezTo>
                        <a:pt x="12" y="589"/>
                        <a:pt x="6" y="587"/>
                        <a:pt x="0" y="584"/>
                      </a:cubicBezTo>
                      <a:cubicBezTo>
                        <a:pt x="4" y="578"/>
                        <a:pt x="4" y="578"/>
                        <a:pt x="4" y="578"/>
                      </a:cubicBezTo>
                      <a:cubicBezTo>
                        <a:pt x="6" y="561"/>
                        <a:pt x="20" y="555"/>
                        <a:pt x="32" y="548"/>
                      </a:cubicBezTo>
                      <a:cubicBezTo>
                        <a:pt x="41" y="553"/>
                        <a:pt x="48" y="570"/>
                        <a:pt x="60" y="561"/>
                      </a:cubicBezTo>
                      <a:cubicBezTo>
                        <a:pt x="61" y="562"/>
                        <a:pt x="61" y="562"/>
                        <a:pt x="61" y="560"/>
                      </a:cubicBezTo>
                      <a:cubicBezTo>
                        <a:pt x="61" y="560"/>
                        <a:pt x="60" y="561"/>
                        <a:pt x="60" y="561"/>
                      </a:cubicBezTo>
                      <a:cubicBezTo>
                        <a:pt x="59" y="558"/>
                        <a:pt x="55" y="547"/>
                        <a:pt x="60" y="541"/>
                      </a:cubicBezTo>
                      <a:cubicBezTo>
                        <a:pt x="76" y="528"/>
                        <a:pt x="42" y="530"/>
                        <a:pt x="46" y="516"/>
                      </a:cubicBezTo>
                      <a:cubicBezTo>
                        <a:pt x="54" y="512"/>
                        <a:pt x="52" y="507"/>
                        <a:pt x="45" y="502"/>
                      </a:cubicBezTo>
                      <a:cubicBezTo>
                        <a:pt x="44" y="492"/>
                        <a:pt x="33" y="502"/>
                        <a:pt x="34" y="495"/>
                      </a:cubicBezTo>
                      <a:cubicBezTo>
                        <a:pt x="43" y="487"/>
                        <a:pt x="40" y="477"/>
                        <a:pt x="38" y="467"/>
                      </a:cubicBezTo>
                      <a:cubicBezTo>
                        <a:pt x="33" y="453"/>
                        <a:pt x="47" y="466"/>
                        <a:pt x="52" y="463"/>
                      </a:cubicBezTo>
                      <a:cubicBezTo>
                        <a:pt x="63" y="453"/>
                        <a:pt x="72" y="470"/>
                        <a:pt x="84" y="463"/>
                      </a:cubicBezTo>
                      <a:cubicBezTo>
                        <a:pt x="95" y="462"/>
                        <a:pt x="108" y="459"/>
                        <a:pt x="106" y="444"/>
                      </a:cubicBezTo>
                      <a:cubicBezTo>
                        <a:pt x="110" y="447"/>
                        <a:pt x="94" y="428"/>
                        <a:pt x="105" y="427"/>
                      </a:cubicBezTo>
                      <a:cubicBezTo>
                        <a:pt x="111" y="417"/>
                        <a:pt x="127" y="421"/>
                        <a:pt x="132" y="432"/>
                      </a:cubicBezTo>
                      <a:cubicBezTo>
                        <a:pt x="132" y="444"/>
                        <a:pt x="146" y="448"/>
                        <a:pt x="144" y="459"/>
                      </a:cubicBezTo>
                      <a:cubicBezTo>
                        <a:pt x="146" y="459"/>
                        <a:pt x="160" y="462"/>
                        <a:pt x="167" y="464"/>
                      </a:cubicBezTo>
                      <a:cubicBezTo>
                        <a:pt x="180" y="471"/>
                        <a:pt x="189" y="457"/>
                        <a:pt x="197" y="449"/>
                      </a:cubicBezTo>
                      <a:cubicBezTo>
                        <a:pt x="200" y="434"/>
                        <a:pt x="206" y="449"/>
                        <a:pt x="209" y="456"/>
                      </a:cubicBezTo>
                      <a:cubicBezTo>
                        <a:pt x="218" y="459"/>
                        <a:pt x="201" y="473"/>
                        <a:pt x="215" y="470"/>
                      </a:cubicBezTo>
                      <a:cubicBezTo>
                        <a:pt x="226" y="476"/>
                        <a:pt x="231" y="463"/>
                        <a:pt x="237" y="459"/>
                      </a:cubicBezTo>
                      <a:cubicBezTo>
                        <a:pt x="225" y="451"/>
                        <a:pt x="243" y="444"/>
                        <a:pt x="239" y="433"/>
                      </a:cubicBezTo>
                      <a:cubicBezTo>
                        <a:pt x="246" y="428"/>
                        <a:pt x="254" y="426"/>
                        <a:pt x="251" y="414"/>
                      </a:cubicBezTo>
                      <a:cubicBezTo>
                        <a:pt x="257" y="410"/>
                        <a:pt x="248" y="409"/>
                        <a:pt x="250" y="403"/>
                      </a:cubicBezTo>
                      <a:cubicBezTo>
                        <a:pt x="259" y="397"/>
                        <a:pt x="253" y="387"/>
                        <a:pt x="255" y="378"/>
                      </a:cubicBezTo>
                      <a:cubicBezTo>
                        <a:pt x="251" y="366"/>
                        <a:pt x="250" y="354"/>
                        <a:pt x="254" y="342"/>
                      </a:cubicBezTo>
                      <a:cubicBezTo>
                        <a:pt x="260" y="331"/>
                        <a:pt x="255" y="317"/>
                        <a:pt x="242" y="316"/>
                      </a:cubicBezTo>
                      <a:cubicBezTo>
                        <a:pt x="228" y="321"/>
                        <a:pt x="233" y="299"/>
                        <a:pt x="220" y="301"/>
                      </a:cubicBezTo>
                      <a:cubicBezTo>
                        <a:pt x="206" y="306"/>
                        <a:pt x="206" y="292"/>
                        <a:pt x="214" y="284"/>
                      </a:cubicBezTo>
                      <a:cubicBezTo>
                        <a:pt x="209" y="273"/>
                        <a:pt x="209" y="257"/>
                        <a:pt x="223" y="251"/>
                      </a:cubicBezTo>
                      <a:cubicBezTo>
                        <a:pt x="222" y="239"/>
                        <a:pt x="233" y="242"/>
                        <a:pt x="240" y="240"/>
                      </a:cubicBezTo>
                      <a:cubicBezTo>
                        <a:pt x="244" y="231"/>
                        <a:pt x="254" y="225"/>
                        <a:pt x="254" y="215"/>
                      </a:cubicBezTo>
                      <a:cubicBezTo>
                        <a:pt x="248" y="204"/>
                        <a:pt x="240" y="194"/>
                        <a:pt x="238" y="181"/>
                      </a:cubicBezTo>
                      <a:cubicBezTo>
                        <a:pt x="226" y="177"/>
                        <a:pt x="209" y="170"/>
                        <a:pt x="197" y="179"/>
                      </a:cubicBezTo>
                      <a:cubicBezTo>
                        <a:pt x="187" y="187"/>
                        <a:pt x="175" y="182"/>
                        <a:pt x="164" y="190"/>
                      </a:cubicBezTo>
                      <a:cubicBezTo>
                        <a:pt x="153" y="192"/>
                        <a:pt x="159" y="186"/>
                        <a:pt x="162" y="180"/>
                      </a:cubicBezTo>
                      <a:cubicBezTo>
                        <a:pt x="161" y="169"/>
                        <a:pt x="149" y="161"/>
                        <a:pt x="156" y="150"/>
                      </a:cubicBezTo>
                      <a:cubicBezTo>
                        <a:pt x="155" y="137"/>
                        <a:pt x="165" y="130"/>
                        <a:pt x="166" y="119"/>
                      </a:cubicBezTo>
                      <a:cubicBezTo>
                        <a:pt x="180" y="119"/>
                        <a:pt x="195" y="119"/>
                        <a:pt x="210" y="119"/>
                      </a:cubicBezTo>
                      <a:cubicBezTo>
                        <a:pt x="225" y="120"/>
                        <a:pt x="240" y="118"/>
                        <a:pt x="254" y="120"/>
                      </a:cubicBezTo>
                      <a:cubicBezTo>
                        <a:pt x="265" y="114"/>
                        <a:pt x="271" y="123"/>
                        <a:pt x="280" y="127"/>
                      </a:cubicBezTo>
                      <a:cubicBezTo>
                        <a:pt x="284" y="121"/>
                        <a:pt x="287" y="126"/>
                        <a:pt x="287" y="131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grpSp>
            <p:nvGrpSpPr>
              <p:cNvPr id="640" name="Congo, Democratic Republic of the Congo"/>
              <p:cNvGrpSpPr/>
              <p:nvPr/>
            </p:nvGrpSpPr>
            <p:grpSpPr>
              <a:xfrm>
                <a:off x="4551422" y="4397725"/>
                <a:ext cx="524644" cy="618371"/>
                <a:chOff x="4551422" y="4378636"/>
                <a:chExt cx="524644" cy="618371"/>
              </a:xfrm>
              <a:solidFill>
                <a:srgbClr val="5DD4F1"/>
              </a:solidFill>
            </p:grpSpPr>
            <p:sp>
              <p:nvSpPr>
                <p:cNvPr id="747" name="Democratic Republic of the Congo"/>
                <p:cNvSpPr>
                  <a:spLocks/>
                </p:cNvSpPr>
                <p:nvPr/>
              </p:nvSpPr>
              <p:spPr bwMode="auto">
                <a:xfrm>
                  <a:off x="4575334" y="4746655"/>
                  <a:ext cx="2110" cy="0"/>
                </a:xfrm>
                <a:custGeom>
                  <a:avLst/>
                  <a:gdLst>
                    <a:gd name="T0" fmla="*/ 0 w 5"/>
                    <a:gd name="T1" fmla="*/ 0 h 1"/>
                    <a:gd name="T2" fmla="*/ 5 w 5"/>
                    <a:gd name="T3" fmla="*/ 0 h 1"/>
                    <a:gd name="T4" fmla="*/ 0 w 5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5" h="1">
                      <a:moveTo>
                        <a:pt x="0" y="0"/>
                      </a:moveTo>
                      <a:cubicBezTo>
                        <a:pt x="2" y="0"/>
                        <a:pt x="4" y="0"/>
                        <a:pt x="5" y="0"/>
                      </a:cubicBezTo>
                      <a:cubicBezTo>
                        <a:pt x="4" y="1"/>
                        <a:pt x="2" y="1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48" name="Democratic Republic of the Congo"/>
                <p:cNvSpPr>
                  <a:spLocks noEditPoints="1"/>
                </p:cNvSpPr>
                <p:nvPr/>
              </p:nvSpPr>
              <p:spPr bwMode="auto">
                <a:xfrm>
                  <a:off x="4551422" y="4378636"/>
                  <a:ext cx="524644" cy="618371"/>
                </a:xfrm>
                <a:custGeom>
                  <a:avLst/>
                  <a:gdLst>
                    <a:gd name="T0" fmla="*/ 19 w 1444"/>
                    <a:gd name="T1" fmla="*/ 866 h 1435"/>
                    <a:gd name="T2" fmla="*/ 0 w 1444"/>
                    <a:gd name="T3" fmla="*/ 848 h 1435"/>
                    <a:gd name="T4" fmla="*/ 21 w 1444"/>
                    <a:gd name="T5" fmla="*/ 793 h 1435"/>
                    <a:gd name="T6" fmla="*/ 71 w 1444"/>
                    <a:gd name="T7" fmla="*/ 756 h 1435"/>
                    <a:gd name="T8" fmla="*/ 141 w 1444"/>
                    <a:gd name="T9" fmla="*/ 742 h 1435"/>
                    <a:gd name="T10" fmla="*/ 206 w 1444"/>
                    <a:gd name="T11" fmla="*/ 762 h 1435"/>
                    <a:gd name="T12" fmla="*/ 299 w 1444"/>
                    <a:gd name="T13" fmla="*/ 671 h 1435"/>
                    <a:gd name="T14" fmla="*/ 337 w 1444"/>
                    <a:gd name="T15" fmla="*/ 531 h 1435"/>
                    <a:gd name="T16" fmla="*/ 436 w 1444"/>
                    <a:gd name="T17" fmla="*/ 377 h 1435"/>
                    <a:gd name="T18" fmla="*/ 454 w 1444"/>
                    <a:gd name="T19" fmla="*/ 228 h 1435"/>
                    <a:gd name="T20" fmla="*/ 483 w 1444"/>
                    <a:gd name="T21" fmla="*/ 131 h 1435"/>
                    <a:gd name="T22" fmla="*/ 567 w 1444"/>
                    <a:gd name="T23" fmla="*/ 21 h 1435"/>
                    <a:gd name="T24" fmla="*/ 710 w 1444"/>
                    <a:gd name="T25" fmla="*/ 85 h 1435"/>
                    <a:gd name="T26" fmla="*/ 817 w 1444"/>
                    <a:gd name="T27" fmla="*/ 51 h 1435"/>
                    <a:gd name="T28" fmla="*/ 917 w 1444"/>
                    <a:gd name="T29" fmla="*/ 28 h 1435"/>
                    <a:gd name="T30" fmla="*/ 965 w 1444"/>
                    <a:gd name="T31" fmla="*/ 33 h 1435"/>
                    <a:gd name="T32" fmla="*/ 1046 w 1444"/>
                    <a:gd name="T33" fmla="*/ 13 h 1435"/>
                    <a:gd name="T34" fmla="*/ 1147 w 1444"/>
                    <a:gd name="T35" fmla="*/ 26 h 1435"/>
                    <a:gd name="T36" fmla="*/ 1199 w 1444"/>
                    <a:gd name="T37" fmla="*/ 73 h 1435"/>
                    <a:gd name="T38" fmla="*/ 1302 w 1444"/>
                    <a:gd name="T39" fmla="*/ 54 h 1435"/>
                    <a:gd name="T40" fmla="*/ 1392 w 1444"/>
                    <a:gd name="T41" fmla="*/ 132 h 1435"/>
                    <a:gd name="T42" fmla="*/ 1404 w 1444"/>
                    <a:gd name="T43" fmla="*/ 196 h 1435"/>
                    <a:gd name="T44" fmla="*/ 1426 w 1444"/>
                    <a:gd name="T45" fmla="*/ 265 h 1435"/>
                    <a:gd name="T46" fmla="*/ 1328 w 1444"/>
                    <a:gd name="T47" fmla="*/ 395 h 1435"/>
                    <a:gd name="T48" fmla="*/ 1312 w 1444"/>
                    <a:gd name="T49" fmla="*/ 514 h 1435"/>
                    <a:gd name="T50" fmla="*/ 1261 w 1444"/>
                    <a:gd name="T51" fmla="*/ 614 h 1435"/>
                    <a:gd name="T52" fmla="*/ 1282 w 1444"/>
                    <a:gd name="T53" fmla="*/ 666 h 1435"/>
                    <a:gd name="T54" fmla="*/ 1296 w 1444"/>
                    <a:gd name="T55" fmla="*/ 749 h 1435"/>
                    <a:gd name="T56" fmla="*/ 1308 w 1444"/>
                    <a:gd name="T57" fmla="*/ 898 h 1435"/>
                    <a:gd name="T58" fmla="*/ 1387 w 1444"/>
                    <a:gd name="T59" fmla="*/ 1034 h 1435"/>
                    <a:gd name="T60" fmla="*/ 1216 w 1444"/>
                    <a:gd name="T61" fmla="*/ 1119 h 1435"/>
                    <a:gd name="T62" fmla="*/ 1207 w 1444"/>
                    <a:gd name="T63" fmla="*/ 1274 h 1435"/>
                    <a:gd name="T64" fmla="*/ 1284 w 1444"/>
                    <a:gd name="T65" fmla="*/ 1341 h 1435"/>
                    <a:gd name="T66" fmla="*/ 1295 w 1444"/>
                    <a:gd name="T67" fmla="*/ 1419 h 1435"/>
                    <a:gd name="T68" fmla="*/ 1199 w 1444"/>
                    <a:gd name="T69" fmla="*/ 1355 h 1435"/>
                    <a:gd name="T70" fmla="*/ 1104 w 1444"/>
                    <a:gd name="T71" fmla="*/ 1301 h 1435"/>
                    <a:gd name="T72" fmla="*/ 982 w 1444"/>
                    <a:gd name="T73" fmla="*/ 1292 h 1435"/>
                    <a:gd name="T74" fmla="*/ 893 w 1444"/>
                    <a:gd name="T75" fmla="*/ 1245 h 1435"/>
                    <a:gd name="T76" fmla="*/ 798 w 1444"/>
                    <a:gd name="T77" fmla="*/ 1247 h 1435"/>
                    <a:gd name="T78" fmla="*/ 751 w 1444"/>
                    <a:gd name="T79" fmla="*/ 1256 h 1435"/>
                    <a:gd name="T80" fmla="*/ 721 w 1444"/>
                    <a:gd name="T81" fmla="*/ 1116 h 1435"/>
                    <a:gd name="T82" fmla="*/ 702 w 1444"/>
                    <a:gd name="T83" fmla="*/ 961 h 1435"/>
                    <a:gd name="T84" fmla="*/ 552 w 1444"/>
                    <a:gd name="T85" fmla="*/ 939 h 1435"/>
                    <a:gd name="T86" fmla="*/ 487 w 1444"/>
                    <a:gd name="T87" fmla="*/ 1009 h 1435"/>
                    <a:gd name="T88" fmla="*/ 375 w 1444"/>
                    <a:gd name="T89" fmla="*/ 978 h 1435"/>
                    <a:gd name="T90" fmla="*/ 332 w 1444"/>
                    <a:gd name="T91" fmla="*/ 867 h 1435"/>
                    <a:gd name="T92" fmla="*/ 131 w 1444"/>
                    <a:gd name="T93" fmla="*/ 851 h 1435"/>
                    <a:gd name="T94" fmla="*/ 72 w 1444"/>
                    <a:gd name="T95" fmla="*/ 853 h 1435"/>
                    <a:gd name="T96" fmla="*/ 49 w 1444"/>
                    <a:gd name="T97" fmla="*/ 851 h 1435"/>
                    <a:gd name="T98" fmla="*/ 20 w 1444"/>
                    <a:gd name="T99" fmla="*/ 866 h 14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444" h="1435">
                      <a:moveTo>
                        <a:pt x="905" y="35"/>
                      </a:moveTo>
                      <a:cubicBezTo>
                        <a:pt x="906" y="35"/>
                        <a:pt x="906" y="35"/>
                        <a:pt x="907" y="35"/>
                      </a:cubicBezTo>
                      <a:cubicBezTo>
                        <a:pt x="907" y="35"/>
                        <a:pt x="906" y="35"/>
                        <a:pt x="905" y="35"/>
                      </a:cubicBezTo>
                      <a:close/>
                      <a:moveTo>
                        <a:pt x="19" y="866"/>
                      </a:moveTo>
                      <a:cubicBezTo>
                        <a:pt x="14" y="866"/>
                        <a:pt x="21" y="865"/>
                        <a:pt x="20" y="862"/>
                      </a:cubicBezTo>
                      <a:cubicBezTo>
                        <a:pt x="20" y="860"/>
                        <a:pt x="14" y="859"/>
                        <a:pt x="15" y="863"/>
                      </a:cubicBezTo>
                      <a:cubicBezTo>
                        <a:pt x="14" y="862"/>
                        <a:pt x="12" y="859"/>
                        <a:pt x="11" y="858"/>
                      </a:cubicBezTo>
                      <a:cubicBezTo>
                        <a:pt x="7" y="855"/>
                        <a:pt x="3" y="852"/>
                        <a:pt x="0" y="848"/>
                      </a:cubicBezTo>
                      <a:cubicBezTo>
                        <a:pt x="0" y="848"/>
                        <a:pt x="0" y="848"/>
                        <a:pt x="0" y="848"/>
                      </a:cubicBezTo>
                      <a:cubicBezTo>
                        <a:pt x="3" y="845"/>
                        <a:pt x="8" y="843"/>
                        <a:pt x="12" y="843"/>
                      </a:cubicBezTo>
                      <a:cubicBezTo>
                        <a:pt x="24" y="847"/>
                        <a:pt x="28" y="837"/>
                        <a:pt x="25" y="827"/>
                      </a:cubicBezTo>
                      <a:cubicBezTo>
                        <a:pt x="23" y="815"/>
                        <a:pt x="31" y="800"/>
                        <a:pt x="21" y="793"/>
                      </a:cubicBezTo>
                      <a:cubicBezTo>
                        <a:pt x="28" y="791"/>
                        <a:pt x="32" y="784"/>
                        <a:pt x="39" y="780"/>
                      </a:cubicBezTo>
                      <a:cubicBezTo>
                        <a:pt x="44" y="766"/>
                        <a:pt x="57" y="766"/>
                        <a:pt x="68" y="760"/>
                      </a:cubicBezTo>
                      <a:cubicBezTo>
                        <a:pt x="67" y="758"/>
                        <a:pt x="67" y="758"/>
                        <a:pt x="67" y="758"/>
                      </a:cubicBezTo>
                      <a:cubicBezTo>
                        <a:pt x="68" y="758"/>
                        <a:pt x="70" y="757"/>
                        <a:pt x="71" y="756"/>
                      </a:cubicBezTo>
                      <a:cubicBezTo>
                        <a:pt x="74" y="765"/>
                        <a:pt x="86" y="768"/>
                        <a:pt x="90" y="776"/>
                      </a:cubicBezTo>
                      <a:cubicBezTo>
                        <a:pt x="97" y="780"/>
                        <a:pt x="99" y="766"/>
                        <a:pt x="107" y="770"/>
                      </a:cubicBezTo>
                      <a:cubicBezTo>
                        <a:pt x="121" y="768"/>
                        <a:pt x="109" y="746"/>
                        <a:pt x="122" y="744"/>
                      </a:cubicBezTo>
                      <a:cubicBezTo>
                        <a:pt x="128" y="752"/>
                        <a:pt x="135" y="749"/>
                        <a:pt x="141" y="742"/>
                      </a:cubicBezTo>
                      <a:cubicBezTo>
                        <a:pt x="150" y="746"/>
                        <a:pt x="165" y="725"/>
                        <a:pt x="167" y="739"/>
                      </a:cubicBezTo>
                      <a:cubicBezTo>
                        <a:pt x="176" y="744"/>
                        <a:pt x="168" y="750"/>
                        <a:pt x="164" y="756"/>
                      </a:cubicBezTo>
                      <a:cubicBezTo>
                        <a:pt x="173" y="761"/>
                        <a:pt x="161" y="781"/>
                        <a:pt x="174" y="777"/>
                      </a:cubicBezTo>
                      <a:cubicBezTo>
                        <a:pt x="186" y="784"/>
                        <a:pt x="201" y="776"/>
                        <a:pt x="206" y="762"/>
                      </a:cubicBezTo>
                      <a:cubicBezTo>
                        <a:pt x="217" y="754"/>
                        <a:pt x="222" y="738"/>
                        <a:pt x="235" y="734"/>
                      </a:cubicBezTo>
                      <a:cubicBezTo>
                        <a:pt x="248" y="738"/>
                        <a:pt x="247" y="724"/>
                        <a:pt x="252" y="716"/>
                      </a:cubicBezTo>
                      <a:cubicBezTo>
                        <a:pt x="260" y="709"/>
                        <a:pt x="274" y="714"/>
                        <a:pt x="280" y="705"/>
                      </a:cubicBezTo>
                      <a:cubicBezTo>
                        <a:pt x="286" y="694"/>
                        <a:pt x="292" y="682"/>
                        <a:pt x="299" y="671"/>
                      </a:cubicBezTo>
                      <a:cubicBezTo>
                        <a:pt x="307" y="661"/>
                        <a:pt x="299" y="647"/>
                        <a:pt x="301" y="635"/>
                      </a:cubicBezTo>
                      <a:cubicBezTo>
                        <a:pt x="299" y="623"/>
                        <a:pt x="307" y="612"/>
                        <a:pt x="303" y="600"/>
                      </a:cubicBezTo>
                      <a:cubicBezTo>
                        <a:pt x="301" y="589"/>
                        <a:pt x="297" y="574"/>
                        <a:pt x="308" y="567"/>
                      </a:cubicBezTo>
                      <a:cubicBezTo>
                        <a:pt x="322" y="559"/>
                        <a:pt x="331" y="546"/>
                        <a:pt x="337" y="531"/>
                      </a:cubicBezTo>
                      <a:cubicBezTo>
                        <a:pt x="343" y="511"/>
                        <a:pt x="359" y="492"/>
                        <a:pt x="380" y="489"/>
                      </a:cubicBezTo>
                      <a:cubicBezTo>
                        <a:pt x="393" y="484"/>
                        <a:pt x="400" y="471"/>
                        <a:pt x="410" y="462"/>
                      </a:cubicBezTo>
                      <a:cubicBezTo>
                        <a:pt x="425" y="448"/>
                        <a:pt x="413" y="430"/>
                        <a:pt x="419" y="414"/>
                      </a:cubicBezTo>
                      <a:cubicBezTo>
                        <a:pt x="420" y="399"/>
                        <a:pt x="431" y="390"/>
                        <a:pt x="436" y="377"/>
                      </a:cubicBezTo>
                      <a:cubicBezTo>
                        <a:pt x="428" y="365"/>
                        <a:pt x="432" y="353"/>
                        <a:pt x="429" y="340"/>
                      </a:cubicBezTo>
                      <a:cubicBezTo>
                        <a:pt x="426" y="329"/>
                        <a:pt x="437" y="320"/>
                        <a:pt x="437" y="309"/>
                      </a:cubicBezTo>
                      <a:cubicBezTo>
                        <a:pt x="442" y="299"/>
                        <a:pt x="446" y="287"/>
                        <a:pt x="443" y="276"/>
                      </a:cubicBezTo>
                      <a:cubicBezTo>
                        <a:pt x="444" y="259"/>
                        <a:pt x="441" y="240"/>
                        <a:pt x="454" y="228"/>
                      </a:cubicBezTo>
                      <a:cubicBezTo>
                        <a:pt x="458" y="215"/>
                        <a:pt x="470" y="206"/>
                        <a:pt x="472" y="191"/>
                      </a:cubicBezTo>
                      <a:cubicBezTo>
                        <a:pt x="479" y="177"/>
                        <a:pt x="491" y="164"/>
                        <a:pt x="485" y="147"/>
                      </a:cubicBezTo>
                      <a:cubicBezTo>
                        <a:pt x="483" y="145"/>
                        <a:pt x="483" y="145"/>
                        <a:pt x="483" y="145"/>
                      </a:cubicBezTo>
                      <a:cubicBezTo>
                        <a:pt x="485" y="145"/>
                        <a:pt x="484" y="135"/>
                        <a:pt x="483" y="131"/>
                      </a:cubicBezTo>
                      <a:cubicBezTo>
                        <a:pt x="481" y="117"/>
                        <a:pt x="492" y="101"/>
                        <a:pt x="481" y="89"/>
                      </a:cubicBezTo>
                      <a:cubicBezTo>
                        <a:pt x="473" y="78"/>
                        <a:pt x="488" y="81"/>
                        <a:pt x="493" y="78"/>
                      </a:cubicBezTo>
                      <a:cubicBezTo>
                        <a:pt x="501" y="64"/>
                        <a:pt x="512" y="51"/>
                        <a:pt x="521" y="37"/>
                      </a:cubicBezTo>
                      <a:cubicBezTo>
                        <a:pt x="536" y="29"/>
                        <a:pt x="549" y="16"/>
                        <a:pt x="567" y="21"/>
                      </a:cubicBezTo>
                      <a:cubicBezTo>
                        <a:pt x="578" y="30"/>
                        <a:pt x="592" y="35"/>
                        <a:pt x="603" y="44"/>
                      </a:cubicBezTo>
                      <a:cubicBezTo>
                        <a:pt x="617" y="48"/>
                        <a:pt x="621" y="62"/>
                        <a:pt x="627" y="72"/>
                      </a:cubicBezTo>
                      <a:cubicBezTo>
                        <a:pt x="642" y="81"/>
                        <a:pt x="663" y="65"/>
                        <a:pt x="675" y="83"/>
                      </a:cubicBezTo>
                      <a:cubicBezTo>
                        <a:pt x="686" y="81"/>
                        <a:pt x="699" y="93"/>
                        <a:pt x="710" y="85"/>
                      </a:cubicBezTo>
                      <a:cubicBezTo>
                        <a:pt x="725" y="86"/>
                        <a:pt x="741" y="88"/>
                        <a:pt x="755" y="96"/>
                      </a:cubicBezTo>
                      <a:cubicBezTo>
                        <a:pt x="771" y="104"/>
                        <a:pt x="785" y="87"/>
                        <a:pt x="784" y="72"/>
                      </a:cubicBezTo>
                      <a:cubicBezTo>
                        <a:pt x="795" y="72"/>
                        <a:pt x="790" y="52"/>
                        <a:pt x="803" y="52"/>
                      </a:cubicBezTo>
                      <a:cubicBezTo>
                        <a:pt x="804" y="44"/>
                        <a:pt x="814" y="41"/>
                        <a:pt x="817" y="51"/>
                      </a:cubicBezTo>
                      <a:cubicBezTo>
                        <a:pt x="827" y="50"/>
                        <a:pt x="832" y="58"/>
                        <a:pt x="841" y="62"/>
                      </a:cubicBezTo>
                      <a:cubicBezTo>
                        <a:pt x="852" y="55"/>
                        <a:pt x="863" y="47"/>
                        <a:pt x="877" y="45"/>
                      </a:cubicBezTo>
                      <a:cubicBezTo>
                        <a:pt x="887" y="43"/>
                        <a:pt x="896" y="36"/>
                        <a:pt x="905" y="35"/>
                      </a:cubicBezTo>
                      <a:cubicBezTo>
                        <a:pt x="901" y="35"/>
                        <a:pt x="915" y="32"/>
                        <a:pt x="917" y="28"/>
                      </a:cubicBezTo>
                      <a:cubicBezTo>
                        <a:pt x="921" y="30"/>
                        <a:pt x="931" y="26"/>
                        <a:pt x="935" y="30"/>
                      </a:cubicBezTo>
                      <a:cubicBezTo>
                        <a:pt x="940" y="44"/>
                        <a:pt x="954" y="32"/>
                        <a:pt x="964" y="32"/>
                      </a:cubicBezTo>
                      <a:cubicBezTo>
                        <a:pt x="964" y="32"/>
                        <a:pt x="964" y="32"/>
                        <a:pt x="964" y="32"/>
                      </a:cubicBezTo>
                      <a:cubicBezTo>
                        <a:pt x="965" y="33"/>
                        <a:pt x="965" y="33"/>
                        <a:pt x="965" y="33"/>
                      </a:cubicBezTo>
                      <a:cubicBezTo>
                        <a:pt x="959" y="35"/>
                        <a:pt x="993" y="31"/>
                        <a:pt x="988" y="17"/>
                      </a:cubicBezTo>
                      <a:cubicBezTo>
                        <a:pt x="989" y="0"/>
                        <a:pt x="1011" y="0"/>
                        <a:pt x="1018" y="11"/>
                      </a:cubicBezTo>
                      <a:cubicBezTo>
                        <a:pt x="1028" y="11"/>
                        <a:pt x="1020" y="13"/>
                        <a:pt x="1030" y="15"/>
                      </a:cubicBezTo>
                      <a:cubicBezTo>
                        <a:pt x="1024" y="17"/>
                        <a:pt x="1040" y="16"/>
                        <a:pt x="1046" y="13"/>
                      </a:cubicBezTo>
                      <a:cubicBezTo>
                        <a:pt x="1055" y="13"/>
                        <a:pt x="1066" y="20"/>
                        <a:pt x="1074" y="25"/>
                      </a:cubicBezTo>
                      <a:cubicBezTo>
                        <a:pt x="1085" y="26"/>
                        <a:pt x="1094" y="21"/>
                        <a:pt x="1104" y="26"/>
                      </a:cubicBezTo>
                      <a:cubicBezTo>
                        <a:pt x="1112" y="9"/>
                        <a:pt x="1130" y="16"/>
                        <a:pt x="1144" y="23"/>
                      </a:cubicBezTo>
                      <a:cubicBezTo>
                        <a:pt x="1145" y="26"/>
                        <a:pt x="1147" y="26"/>
                        <a:pt x="1147" y="26"/>
                      </a:cubicBezTo>
                      <a:cubicBezTo>
                        <a:pt x="1148" y="28"/>
                        <a:pt x="1148" y="28"/>
                        <a:pt x="1148" y="28"/>
                      </a:cubicBezTo>
                      <a:cubicBezTo>
                        <a:pt x="1154" y="37"/>
                        <a:pt x="1165" y="36"/>
                        <a:pt x="1169" y="46"/>
                      </a:cubicBezTo>
                      <a:cubicBezTo>
                        <a:pt x="1174" y="51"/>
                        <a:pt x="1174" y="68"/>
                        <a:pt x="1187" y="62"/>
                      </a:cubicBezTo>
                      <a:cubicBezTo>
                        <a:pt x="1195" y="62"/>
                        <a:pt x="1190" y="75"/>
                        <a:pt x="1199" y="73"/>
                      </a:cubicBezTo>
                      <a:cubicBezTo>
                        <a:pt x="1203" y="81"/>
                        <a:pt x="1225" y="89"/>
                        <a:pt x="1221" y="83"/>
                      </a:cubicBezTo>
                      <a:cubicBezTo>
                        <a:pt x="1230" y="78"/>
                        <a:pt x="1239" y="71"/>
                        <a:pt x="1246" y="63"/>
                      </a:cubicBezTo>
                      <a:cubicBezTo>
                        <a:pt x="1254" y="72"/>
                        <a:pt x="1270" y="65"/>
                        <a:pt x="1278" y="77"/>
                      </a:cubicBezTo>
                      <a:cubicBezTo>
                        <a:pt x="1291" y="80"/>
                        <a:pt x="1297" y="60"/>
                        <a:pt x="1302" y="54"/>
                      </a:cubicBezTo>
                      <a:cubicBezTo>
                        <a:pt x="1313" y="55"/>
                        <a:pt x="1329" y="60"/>
                        <a:pt x="1324" y="74"/>
                      </a:cubicBezTo>
                      <a:cubicBezTo>
                        <a:pt x="1328" y="81"/>
                        <a:pt x="1337" y="78"/>
                        <a:pt x="1339" y="88"/>
                      </a:cubicBezTo>
                      <a:cubicBezTo>
                        <a:pt x="1350" y="99"/>
                        <a:pt x="1358" y="112"/>
                        <a:pt x="1376" y="114"/>
                      </a:cubicBezTo>
                      <a:cubicBezTo>
                        <a:pt x="1389" y="115"/>
                        <a:pt x="1376" y="142"/>
                        <a:pt x="1392" y="132"/>
                      </a:cubicBezTo>
                      <a:cubicBezTo>
                        <a:pt x="1400" y="125"/>
                        <a:pt x="1402" y="141"/>
                        <a:pt x="1405" y="141"/>
                      </a:cubicBezTo>
                      <a:cubicBezTo>
                        <a:pt x="1405" y="143"/>
                        <a:pt x="1405" y="143"/>
                        <a:pt x="1405" y="143"/>
                      </a:cubicBezTo>
                      <a:cubicBezTo>
                        <a:pt x="1418" y="141"/>
                        <a:pt x="1402" y="160"/>
                        <a:pt x="1401" y="165"/>
                      </a:cubicBezTo>
                      <a:cubicBezTo>
                        <a:pt x="1390" y="177"/>
                        <a:pt x="1412" y="184"/>
                        <a:pt x="1404" y="196"/>
                      </a:cubicBezTo>
                      <a:cubicBezTo>
                        <a:pt x="1401" y="204"/>
                        <a:pt x="1389" y="221"/>
                        <a:pt x="1401" y="224"/>
                      </a:cubicBezTo>
                      <a:cubicBezTo>
                        <a:pt x="1404" y="238"/>
                        <a:pt x="1413" y="222"/>
                        <a:pt x="1418" y="229"/>
                      </a:cubicBezTo>
                      <a:cubicBezTo>
                        <a:pt x="1419" y="239"/>
                        <a:pt x="1431" y="230"/>
                        <a:pt x="1431" y="239"/>
                      </a:cubicBezTo>
                      <a:cubicBezTo>
                        <a:pt x="1444" y="246"/>
                        <a:pt x="1432" y="257"/>
                        <a:pt x="1426" y="265"/>
                      </a:cubicBezTo>
                      <a:cubicBezTo>
                        <a:pt x="1416" y="282"/>
                        <a:pt x="1395" y="289"/>
                        <a:pt x="1385" y="306"/>
                      </a:cubicBezTo>
                      <a:cubicBezTo>
                        <a:pt x="1381" y="320"/>
                        <a:pt x="1363" y="316"/>
                        <a:pt x="1358" y="326"/>
                      </a:cubicBezTo>
                      <a:cubicBezTo>
                        <a:pt x="1362" y="345"/>
                        <a:pt x="1333" y="339"/>
                        <a:pt x="1338" y="357"/>
                      </a:cubicBezTo>
                      <a:cubicBezTo>
                        <a:pt x="1342" y="372"/>
                        <a:pt x="1329" y="380"/>
                        <a:pt x="1328" y="395"/>
                      </a:cubicBezTo>
                      <a:cubicBezTo>
                        <a:pt x="1317" y="403"/>
                        <a:pt x="1321" y="420"/>
                        <a:pt x="1317" y="432"/>
                      </a:cubicBezTo>
                      <a:cubicBezTo>
                        <a:pt x="1316" y="446"/>
                        <a:pt x="1314" y="460"/>
                        <a:pt x="1314" y="474"/>
                      </a:cubicBezTo>
                      <a:cubicBezTo>
                        <a:pt x="1307" y="484"/>
                        <a:pt x="1310" y="498"/>
                        <a:pt x="1311" y="510"/>
                      </a:cubicBezTo>
                      <a:cubicBezTo>
                        <a:pt x="1311" y="512"/>
                        <a:pt x="1312" y="513"/>
                        <a:pt x="1312" y="514"/>
                      </a:cubicBezTo>
                      <a:cubicBezTo>
                        <a:pt x="1311" y="515"/>
                        <a:pt x="1311" y="515"/>
                        <a:pt x="1311" y="515"/>
                      </a:cubicBezTo>
                      <a:cubicBezTo>
                        <a:pt x="1297" y="523"/>
                        <a:pt x="1286" y="533"/>
                        <a:pt x="1278" y="547"/>
                      </a:cubicBezTo>
                      <a:cubicBezTo>
                        <a:pt x="1273" y="560"/>
                        <a:pt x="1286" y="582"/>
                        <a:pt x="1265" y="586"/>
                      </a:cubicBezTo>
                      <a:cubicBezTo>
                        <a:pt x="1253" y="589"/>
                        <a:pt x="1254" y="607"/>
                        <a:pt x="1261" y="614"/>
                      </a:cubicBezTo>
                      <a:cubicBezTo>
                        <a:pt x="1263" y="616"/>
                        <a:pt x="1265" y="617"/>
                        <a:pt x="1266" y="617"/>
                      </a:cubicBezTo>
                      <a:cubicBezTo>
                        <a:pt x="1267" y="619"/>
                        <a:pt x="1267" y="619"/>
                        <a:pt x="1267" y="619"/>
                      </a:cubicBezTo>
                      <a:cubicBezTo>
                        <a:pt x="1262" y="624"/>
                        <a:pt x="1272" y="628"/>
                        <a:pt x="1274" y="634"/>
                      </a:cubicBezTo>
                      <a:cubicBezTo>
                        <a:pt x="1288" y="640"/>
                        <a:pt x="1280" y="655"/>
                        <a:pt x="1282" y="666"/>
                      </a:cubicBezTo>
                      <a:cubicBezTo>
                        <a:pt x="1285" y="678"/>
                        <a:pt x="1283" y="690"/>
                        <a:pt x="1282" y="701"/>
                      </a:cubicBezTo>
                      <a:cubicBezTo>
                        <a:pt x="1284" y="715"/>
                        <a:pt x="1298" y="725"/>
                        <a:pt x="1294" y="740"/>
                      </a:cubicBezTo>
                      <a:cubicBezTo>
                        <a:pt x="1294" y="743"/>
                        <a:pt x="1296" y="746"/>
                        <a:pt x="1297" y="747"/>
                      </a:cubicBezTo>
                      <a:cubicBezTo>
                        <a:pt x="1296" y="749"/>
                        <a:pt x="1296" y="749"/>
                        <a:pt x="1296" y="749"/>
                      </a:cubicBezTo>
                      <a:cubicBezTo>
                        <a:pt x="1299" y="762"/>
                        <a:pt x="1285" y="773"/>
                        <a:pt x="1290" y="786"/>
                      </a:cubicBezTo>
                      <a:cubicBezTo>
                        <a:pt x="1291" y="797"/>
                        <a:pt x="1299" y="805"/>
                        <a:pt x="1300" y="816"/>
                      </a:cubicBezTo>
                      <a:cubicBezTo>
                        <a:pt x="1302" y="828"/>
                        <a:pt x="1314" y="840"/>
                        <a:pt x="1308" y="852"/>
                      </a:cubicBezTo>
                      <a:cubicBezTo>
                        <a:pt x="1294" y="864"/>
                        <a:pt x="1300" y="885"/>
                        <a:pt x="1308" y="898"/>
                      </a:cubicBezTo>
                      <a:cubicBezTo>
                        <a:pt x="1312" y="915"/>
                        <a:pt x="1326" y="924"/>
                        <a:pt x="1340" y="931"/>
                      </a:cubicBezTo>
                      <a:cubicBezTo>
                        <a:pt x="1356" y="945"/>
                        <a:pt x="1366" y="965"/>
                        <a:pt x="1367" y="985"/>
                      </a:cubicBezTo>
                      <a:cubicBezTo>
                        <a:pt x="1373" y="1002"/>
                        <a:pt x="1389" y="1015"/>
                        <a:pt x="1389" y="1033"/>
                      </a:cubicBezTo>
                      <a:cubicBezTo>
                        <a:pt x="1388" y="1033"/>
                        <a:pt x="1387" y="1033"/>
                        <a:pt x="1387" y="1034"/>
                      </a:cubicBezTo>
                      <a:cubicBezTo>
                        <a:pt x="1377" y="1038"/>
                        <a:pt x="1363" y="1037"/>
                        <a:pt x="1352" y="1040"/>
                      </a:cubicBezTo>
                      <a:cubicBezTo>
                        <a:pt x="1318" y="1045"/>
                        <a:pt x="1284" y="1050"/>
                        <a:pt x="1251" y="1055"/>
                      </a:cubicBezTo>
                      <a:cubicBezTo>
                        <a:pt x="1262" y="1072"/>
                        <a:pt x="1242" y="1087"/>
                        <a:pt x="1232" y="1098"/>
                      </a:cubicBezTo>
                      <a:cubicBezTo>
                        <a:pt x="1227" y="1105"/>
                        <a:pt x="1200" y="1112"/>
                        <a:pt x="1216" y="1119"/>
                      </a:cubicBezTo>
                      <a:cubicBezTo>
                        <a:pt x="1224" y="1129"/>
                        <a:pt x="1226" y="1142"/>
                        <a:pt x="1231" y="1154"/>
                      </a:cubicBezTo>
                      <a:cubicBezTo>
                        <a:pt x="1227" y="1169"/>
                        <a:pt x="1222" y="1184"/>
                        <a:pt x="1226" y="1199"/>
                      </a:cubicBezTo>
                      <a:cubicBezTo>
                        <a:pt x="1226" y="1211"/>
                        <a:pt x="1234" y="1223"/>
                        <a:pt x="1221" y="1230"/>
                      </a:cubicBezTo>
                      <a:cubicBezTo>
                        <a:pt x="1215" y="1245"/>
                        <a:pt x="1214" y="1260"/>
                        <a:pt x="1207" y="1274"/>
                      </a:cubicBezTo>
                      <a:cubicBezTo>
                        <a:pt x="1198" y="1286"/>
                        <a:pt x="1209" y="1302"/>
                        <a:pt x="1216" y="1313"/>
                      </a:cubicBezTo>
                      <a:cubicBezTo>
                        <a:pt x="1228" y="1320"/>
                        <a:pt x="1238" y="1329"/>
                        <a:pt x="1246" y="1341"/>
                      </a:cubicBezTo>
                      <a:cubicBezTo>
                        <a:pt x="1251" y="1358"/>
                        <a:pt x="1270" y="1346"/>
                        <a:pt x="1281" y="1357"/>
                      </a:cubicBezTo>
                      <a:cubicBezTo>
                        <a:pt x="1294" y="1356"/>
                        <a:pt x="1274" y="1347"/>
                        <a:pt x="1284" y="1341"/>
                      </a:cubicBezTo>
                      <a:cubicBezTo>
                        <a:pt x="1291" y="1336"/>
                        <a:pt x="1300" y="1338"/>
                        <a:pt x="1307" y="1336"/>
                      </a:cubicBezTo>
                      <a:cubicBezTo>
                        <a:pt x="1308" y="1353"/>
                        <a:pt x="1306" y="1371"/>
                        <a:pt x="1306" y="1389"/>
                      </a:cubicBezTo>
                      <a:cubicBezTo>
                        <a:pt x="1303" y="1403"/>
                        <a:pt x="1307" y="1423"/>
                        <a:pt x="1301" y="1433"/>
                      </a:cubicBezTo>
                      <a:cubicBezTo>
                        <a:pt x="1286" y="1429"/>
                        <a:pt x="1293" y="1425"/>
                        <a:pt x="1295" y="1419"/>
                      </a:cubicBezTo>
                      <a:cubicBezTo>
                        <a:pt x="1282" y="1408"/>
                        <a:pt x="1268" y="1435"/>
                        <a:pt x="1255" y="1427"/>
                      </a:cubicBezTo>
                      <a:cubicBezTo>
                        <a:pt x="1238" y="1431"/>
                        <a:pt x="1243" y="1411"/>
                        <a:pt x="1235" y="1402"/>
                      </a:cubicBezTo>
                      <a:cubicBezTo>
                        <a:pt x="1232" y="1394"/>
                        <a:pt x="1223" y="1381"/>
                        <a:pt x="1215" y="1388"/>
                      </a:cubicBezTo>
                      <a:cubicBezTo>
                        <a:pt x="1208" y="1377"/>
                        <a:pt x="1214" y="1362"/>
                        <a:pt x="1199" y="1355"/>
                      </a:cubicBezTo>
                      <a:cubicBezTo>
                        <a:pt x="1186" y="1353"/>
                        <a:pt x="1175" y="1349"/>
                        <a:pt x="1165" y="1341"/>
                      </a:cubicBezTo>
                      <a:cubicBezTo>
                        <a:pt x="1150" y="1350"/>
                        <a:pt x="1137" y="1333"/>
                        <a:pt x="1136" y="1318"/>
                      </a:cubicBezTo>
                      <a:cubicBezTo>
                        <a:pt x="1129" y="1310"/>
                        <a:pt x="1115" y="1305"/>
                        <a:pt x="1119" y="1292"/>
                      </a:cubicBezTo>
                      <a:cubicBezTo>
                        <a:pt x="1113" y="1282"/>
                        <a:pt x="1101" y="1292"/>
                        <a:pt x="1104" y="1301"/>
                      </a:cubicBezTo>
                      <a:cubicBezTo>
                        <a:pt x="1103" y="1317"/>
                        <a:pt x="1084" y="1322"/>
                        <a:pt x="1071" y="1318"/>
                      </a:cubicBezTo>
                      <a:cubicBezTo>
                        <a:pt x="1058" y="1312"/>
                        <a:pt x="1043" y="1314"/>
                        <a:pt x="1029" y="1312"/>
                      </a:cubicBezTo>
                      <a:cubicBezTo>
                        <a:pt x="1020" y="1303"/>
                        <a:pt x="1009" y="1305"/>
                        <a:pt x="999" y="1299"/>
                      </a:cubicBezTo>
                      <a:cubicBezTo>
                        <a:pt x="990" y="1307"/>
                        <a:pt x="991" y="1291"/>
                        <a:pt x="982" y="1292"/>
                      </a:cubicBezTo>
                      <a:cubicBezTo>
                        <a:pt x="974" y="1281"/>
                        <a:pt x="979" y="1269"/>
                        <a:pt x="980" y="1258"/>
                      </a:cubicBezTo>
                      <a:cubicBezTo>
                        <a:pt x="963" y="1266"/>
                        <a:pt x="943" y="1261"/>
                        <a:pt x="928" y="1272"/>
                      </a:cubicBezTo>
                      <a:cubicBezTo>
                        <a:pt x="921" y="1281"/>
                        <a:pt x="910" y="1277"/>
                        <a:pt x="904" y="1271"/>
                      </a:cubicBezTo>
                      <a:cubicBezTo>
                        <a:pt x="919" y="1265"/>
                        <a:pt x="909" y="1240"/>
                        <a:pt x="893" y="1245"/>
                      </a:cubicBezTo>
                      <a:cubicBezTo>
                        <a:pt x="895" y="1238"/>
                        <a:pt x="883" y="1229"/>
                        <a:pt x="882" y="1235"/>
                      </a:cubicBezTo>
                      <a:cubicBezTo>
                        <a:pt x="880" y="1234"/>
                        <a:pt x="880" y="1234"/>
                        <a:pt x="880" y="1234"/>
                      </a:cubicBezTo>
                      <a:cubicBezTo>
                        <a:pt x="873" y="1251"/>
                        <a:pt x="854" y="1240"/>
                        <a:pt x="841" y="1239"/>
                      </a:cubicBezTo>
                      <a:cubicBezTo>
                        <a:pt x="827" y="1244"/>
                        <a:pt x="813" y="1254"/>
                        <a:pt x="798" y="1247"/>
                      </a:cubicBezTo>
                      <a:cubicBezTo>
                        <a:pt x="792" y="1250"/>
                        <a:pt x="775" y="1248"/>
                        <a:pt x="772" y="1246"/>
                      </a:cubicBezTo>
                      <a:cubicBezTo>
                        <a:pt x="772" y="1246"/>
                        <a:pt x="772" y="1246"/>
                        <a:pt x="772" y="1246"/>
                      </a:cubicBezTo>
                      <a:cubicBezTo>
                        <a:pt x="770" y="1246"/>
                        <a:pt x="770" y="1246"/>
                        <a:pt x="772" y="1246"/>
                      </a:cubicBezTo>
                      <a:cubicBezTo>
                        <a:pt x="768" y="1251"/>
                        <a:pt x="756" y="1254"/>
                        <a:pt x="751" y="1256"/>
                      </a:cubicBezTo>
                      <a:cubicBezTo>
                        <a:pt x="753" y="1246"/>
                        <a:pt x="740" y="1235"/>
                        <a:pt x="749" y="1227"/>
                      </a:cubicBezTo>
                      <a:cubicBezTo>
                        <a:pt x="765" y="1221"/>
                        <a:pt x="750" y="1203"/>
                        <a:pt x="756" y="1192"/>
                      </a:cubicBezTo>
                      <a:cubicBezTo>
                        <a:pt x="747" y="1179"/>
                        <a:pt x="752" y="1159"/>
                        <a:pt x="735" y="1153"/>
                      </a:cubicBezTo>
                      <a:cubicBezTo>
                        <a:pt x="726" y="1142"/>
                        <a:pt x="717" y="1130"/>
                        <a:pt x="721" y="1116"/>
                      </a:cubicBezTo>
                      <a:cubicBezTo>
                        <a:pt x="725" y="1098"/>
                        <a:pt x="722" y="1079"/>
                        <a:pt x="729" y="1061"/>
                      </a:cubicBezTo>
                      <a:cubicBezTo>
                        <a:pt x="735" y="1043"/>
                        <a:pt x="721" y="1026"/>
                        <a:pt x="718" y="1009"/>
                      </a:cubicBezTo>
                      <a:cubicBezTo>
                        <a:pt x="718" y="996"/>
                        <a:pt x="727" y="985"/>
                        <a:pt x="725" y="972"/>
                      </a:cubicBezTo>
                      <a:cubicBezTo>
                        <a:pt x="726" y="959"/>
                        <a:pt x="711" y="960"/>
                        <a:pt x="702" y="961"/>
                      </a:cubicBezTo>
                      <a:cubicBezTo>
                        <a:pt x="677" y="960"/>
                        <a:pt x="652" y="961"/>
                        <a:pt x="627" y="961"/>
                      </a:cubicBezTo>
                      <a:cubicBezTo>
                        <a:pt x="622" y="950"/>
                        <a:pt x="644" y="928"/>
                        <a:pt x="621" y="933"/>
                      </a:cubicBezTo>
                      <a:cubicBezTo>
                        <a:pt x="611" y="929"/>
                        <a:pt x="609" y="944"/>
                        <a:pt x="598" y="939"/>
                      </a:cubicBezTo>
                      <a:cubicBezTo>
                        <a:pt x="583" y="939"/>
                        <a:pt x="568" y="939"/>
                        <a:pt x="552" y="939"/>
                      </a:cubicBezTo>
                      <a:cubicBezTo>
                        <a:pt x="551" y="950"/>
                        <a:pt x="545" y="961"/>
                        <a:pt x="551" y="973"/>
                      </a:cubicBezTo>
                      <a:cubicBezTo>
                        <a:pt x="552" y="983"/>
                        <a:pt x="534" y="981"/>
                        <a:pt x="541" y="992"/>
                      </a:cubicBezTo>
                      <a:cubicBezTo>
                        <a:pt x="537" y="1002"/>
                        <a:pt x="543" y="1020"/>
                        <a:pt x="526" y="1014"/>
                      </a:cubicBezTo>
                      <a:cubicBezTo>
                        <a:pt x="512" y="1014"/>
                        <a:pt x="498" y="1016"/>
                        <a:pt x="487" y="1009"/>
                      </a:cubicBezTo>
                      <a:cubicBezTo>
                        <a:pt x="475" y="1011"/>
                        <a:pt x="465" y="1018"/>
                        <a:pt x="452" y="1014"/>
                      </a:cubicBezTo>
                      <a:cubicBezTo>
                        <a:pt x="444" y="1015"/>
                        <a:pt x="442" y="1029"/>
                        <a:pt x="433" y="1019"/>
                      </a:cubicBezTo>
                      <a:cubicBezTo>
                        <a:pt x="423" y="1014"/>
                        <a:pt x="404" y="1029"/>
                        <a:pt x="399" y="1014"/>
                      </a:cubicBezTo>
                      <a:cubicBezTo>
                        <a:pt x="390" y="1003"/>
                        <a:pt x="384" y="989"/>
                        <a:pt x="375" y="978"/>
                      </a:cubicBezTo>
                      <a:cubicBezTo>
                        <a:pt x="372" y="972"/>
                        <a:pt x="375" y="971"/>
                        <a:pt x="368" y="968"/>
                      </a:cubicBezTo>
                      <a:cubicBezTo>
                        <a:pt x="364" y="962"/>
                        <a:pt x="351" y="951"/>
                        <a:pt x="359" y="943"/>
                      </a:cubicBezTo>
                      <a:cubicBezTo>
                        <a:pt x="358" y="929"/>
                        <a:pt x="344" y="918"/>
                        <a:pt x="342" y="903"/>
                      </a:cubicBezTo>
                      <a:cubicBezTo>
                        <a:pt x="336" y="891"/>
                        <a:pt x="346" y="876"/>
                        <a:pt x="332" y="867"/>
                      </a:cubicBezTo>
                      <a:cubicBezTo>
                        <a:pt x="333" y="848"/>
                        <a:pt x="308" y="853"/>
                        <a:pt x="295" y="852"/>
                      </a:cubicBezTo>
                      <a:cubicBezTo>
                        <a:pt x="270" y="853"/>
                        <a:pt x="246" y="852"/>
                        <a:pt x="222" y="853"/>
                      </a:cubicBezTo>
                      <a:cubicBezTo>
                        <a:pt x="208" y="853"/>
                        <a:pt x="193" y="853"/>
                        <a:pt x="180" y="856"/>
                      </a:cubicBezTo>
                      <a:cubicBezTo>
                        <a:pt x="164" y="855"/>
                        <a:pt x="146" y="854"/>
                        <a:pt x="131" y="851"/>
                      </a:cubicBezTo>
                      <a:cubicBezTo>
                        <a:pt x="119" y="853"/>
                        <a:pt x="107" y="853"/>
                        <a:pt x="95" y="852"/>
                      </a:cubicBezTo>
                      <a:cubicBezTo>
                        <a:pt x="88" y="854"/>
                        <a:pt x="81" y="854"/>
                        <a:pt x="74" y="853"/>
                      </a:cubicBezTo>
                      <a:cubicBezTo>
                        <a:pt x="74" y="853"/>
                        <a:pt x="74" y="853"/>
                        <a:pt x="73" y="853"/>
                      </a:cubicBezTo>
                      <a:cubicBezTo>
                        <a:pt x="73" y="853"/>
                        <a:pt x="73" y="853"/>
                        <a:pt x="72" y="853"/>
                      </a:cubicBezTo>
                      <a:cubicBezTo>
                        <a:pt x="71" y="853"/>
                        <a:pt x="69" y="853"/>
                        <a:pt x="67" y="853"/>
                      </a:cubicBezTo>
                      <a:cubicBezTo>
                        <a:pt x="66" y="853"/>
                        <a:pt x="66" y="852"/>
                        <a:pt x="65" y="852"/>
                      </a:cubicBezTo>
                      <a:cubicBezTo>
                        <a:pt x="62" y="853"/>
                        <a:pt x="60" y="850"/>
                        <a:pt x="56" y="850"/>
                      </a:cubicBezTo>
                      <a:cubicBezTo>
                        <a:pt x="54" y="848"/>
                        <a:pt x="51" y="851"/>
                        <a:pt x="49" y="851"/>
                      </a:cubicBezTo>
                      <a:cubicBezTo>
                        <a:pt x="47" y="852"/>
                        <a:pt x="43" y="852"/>
                        <a:pt x="42" y="854"/>
                      </a:cubicBezTo>
                      <a:cubicBezTo>
                        <a:pt x="40" y="856"/>
                        <a:pt x="41" y="859"/>
                        <a:pt x="39" y="861"/>
                      </a:cubicBezTo>
                      <a:cubicBezTo>
                        <a:pt x="35" y="864"/>
                        <a:pt x="30" y="860"/>
                        <a:pt x="27" y="863"/>
                      </a:cubicBezTo>
                      <a:cubicBezTo>
                        <a:pt x="25" y="864"/>
                        <a:pt x="23" y="866"/>
                        <a:pt x="20" y="866"/>
                      </a:cubicBezTo>
                      <a:cubicBezTo>
                        <a:pt x="20" y="866"/>
                        <a:pt x="20" y="866"/>
                        <a:pt x="19" y="866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641" name="Comoros"/>
              <p:cNvSpPr>
                <a:spLocks/>
              </p:cNvSpPr>
              <p:nvPr>
                <p:custDataLst>
                  <p:tags r:id="rId110"/>
                </p:custDataLst>
              </p:nvPr>
            </p:nvSpPr>
            <p:spPr bwMode="auto">
              <a:xfrm>
                <a:off x="5415660" y="4881668"/>
                <a:ext cx="55218" cy="6728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5"/>
                  </a:cxn>
                  <a:cxn ang="0">
                    <a:pos x="4" y="7"/>
                  </a:cxn>
                  <a:cxn ang="0">
                    <a:pos x="10" y="12"/>
                  </a:cxn>
                  <a:cxn ang="0">
                    <a:pos x="10" y="7"/>
                  </a:cxn>
                  <a:cxn ang="0">
                    <a:pos x="6" y="5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10" h="12">
                    <a:moveTo>
                      <a:pt x="0" y="0"/>
                    </a:moveTo>
                    <a:lnTo>
                      <a:pt x="4" y="5"/>
                    </a:lnTo>
                    <a:lnTo>
                      <a:pt x="4" y="7"/>
                    </a:lnTo>
                    <a:lnTo>
                      <a:pt x="10" y="12"/>
                    </a:lnTo>
                    <a:lnTo>
                      <a:pt x="10" y="7"/>
                    </a:lnTo>
                    <a:lnTo>
                      <a:pt x="6" y="5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42" name="Colombia"/>
              <p:cNvSpPr>
                <a:spLocks/>
              </p:cNvSpPr>
              <p:nvPr>
                <p:custDataLst>
                  <p:tags r:id="rId111"/>
                </p:custDataLst>
              </p:nvPr>
            </p:nvSpPr>
            <p:spPr bwMode="auto">
              <a:xfrm>
                <a:off x="2169904" y="4167405"/>
                <a:ext cx="315775" cy="540011"/>
              </a:xfrm>
              <a:custGeom>
                <a:avLst/>
                <a:gdLst/>
                <a:ahLst/>
                <a:cxnLst>
                  <a:cxn ang="0">
                    <a:pos x="0" y="63"/>
                  </a:cxn>
                  <a:cxn ang="0">
                    <a:pos x="3" y="59"/>
                  </a:cxn>
                  <a:cxn ang="0">
                    <a:pos x="7" y="59"/>
                  </a:cxn>
                  <a:cxn ang="0">
                    <a:pos x="9" y="52"/>
                  </a:cxn>
                  <a:cxn ang="0">
                    <a:pos x="7" y="50"/>
                  </a:cxn>
                  <a:cxn ang="0">
                    <a:pos x="7" y="34"/>
                  </a:cxn>
                  <a:cxn ang="0">
                    <a:pos x="7" y="30"/>
                  </a:cxn>
                  <a:cxn ang="0">
                    <a:pos x="9" y="27"/>
                  </a:cxn>
                  <a:cxn ang="0">
                    <a:pos x="9" y="25"/>
                  </a:cxn>
                  <a:cxn ang="0">
                    <a:pos x="11" y="27"/>
                  </a:cxn>
                  <a:cxn ang="0">
                    <a:pos x="11" y="25"/>
                  </a:cxn>
                  <a:cxn ang="0">
                    <a:pos x="17" y="18"/>
                  </a:cxn>
                  <a:cxn ang="0">
                    <a:pos x="17" y="9"/>
                  </a:cxn>
                  <a:cxn ang="0">
                    <a:pos x="23" y="9"/>
                  </a:cxn>
                  <a:cxn ang="0">
                    <a:pos x="26" y="9"/>
                  </a:cxn>
                  <a:cxn ang="0">
                    <a:pos x="38" y="0"/>
                  </a:cxn>
                  <a:cxn ang="0">
                    <a:pos x="38" y="3"/>
                  </a:cxn>
                  <a:cxn ang="0">
                    <a:pos x="34" y="7"/>
                  </a:cxn>
                  <a:cxn ang="0">
                    <a:pos x="32" y="9"/>
                  </a:cxn>
                  <a:cxn ang="0">
                    <a:pos x="30" y="18"/>
                  </a:cxn>
                  <a:cxn ang="0">
                    <a:pos x="32" y="27"/>
                  </a:cxn>
                  <a:cxn ang="0">
                    <a:pos x="32" y="30"/>
                  </a:cxn>
                  <a:cxn ang="0">
                    <a:pos x="34" y="30"/>
                  </a:cxn>
                  <a:cxn ang="0">
                    <a:pos x="42" y="34"/>
                  </a:cxn>
                  <a:cxn ang="0">
                    <a:pos x="46" y="36"/>
                  </a:cxn>
                  <a:cxn ang="0">
                    <a:pos x="55" y="36"/>
                  </a:cxn>
                  <a:cxn ang="0">
                    <a:pos x="51" y="45"/>
                  </a:cxn>
                  <a:cxn ang="0">
                    <a:pos x="55" y="54"/>
                  </a:cxn>
                  <a:cxn ang="0">
                    <a:pos x="51" y="54"/>
                  </a:cxn>
                  <a:cxn ang="0">
                    <a:pos x="57" y="63"/>
                  </a:cxn>
                  <a:cxn ang="0">
                    <a:pos x="55" y="61"/>
                  </a:cxn>
                  <a:cxn ang="0">
                    <a:pos x="42" y="63"/>
                  </a:cxn>
                  <a:cxn ang="0">
                    <a:pos x="42" y="68"/>
                  </a:cxn>
                  <a:cxn ang="0">
                    <a:pos x="46" y="70"/>
                  </a:cxn>
                  <a:cxn ang="0">
                    <a:pos x="40" y="70"/>
                  </a:cxn>
                  <a:cxn ang="0">
                    <a:pos x="42" y="79"/>
                  </a:cxn>
                  <a:cxn ang="0">
                    <a:pos x="42" y="97"/>
                  </a:cxn>
                  <a:cxn ang="0">
                    <a:pos x="40" y="95"/>
                  </a:cxn>
                  <a:cxn ang="0">
                    <a:pos x="40" y="88"/>
                  </a:cxn>
                  <a:cxn ang="0">
                    <a:pos x="38" y="86"/>
                  </a:cxn>
                  <a:cxn ang="0">
                    <a:pos x="26" y="88"/>
                  </a:cxn>
                  <a:cxn ang="0">
                    <a:pos x="23" y="79"/>
                  </a:cxn>
                  <a:cxn ang="0">
                    <a:pos x="17" y="72"/>
                  </a:cxn>
                  <a:cxn ang="0">
                    <a:pos x="15" y="70"/>
                  </a:cxn>
                  <a:cxn ang="0">
                    <a:pos x="7" y="72"/>
                  </a:cxn>
                  <a:cxn ang="0">
                    <a:pos x="3" y="68"/>
                  </a:cxn>
                  <a:cxn ang="0">
                    <a:pos x="0" y="63"/>
                  </a:cxn>
                </a:cxnLst>
                <a:rect l="0" t="0" r="r" b="b"/>
                <a:pathLst>
                  <a:path w="57" h="97">
                    <a:moveTo>
                      <a:pt x="0" y="63"/>
                    </a:moveTo>
                    <a:lnTo>
                      <a:pt x="3" y="59"/>
                    </a:lnTo>
                    <a:lnTo>
                      <a:pt x="7" y="59"/>
                    </a:lnTo>
                    <a:lnTo>
                      <a:pt x="9" y="52"/>
                    </a:lnTo>
                    <a:lnTo>
                      <a:pt x="7" y="50"/>
                    </a:lnTo>
                    <a:lnTo>
                      <a:pt x="7" y="34"/>
                    </a:lnTo>
                    <a:lnTo>
                      <a:pt x="7" y="30"/>
                    </a:lnTo>
                    <a:lnTo>
                      <a:pt x="9" y="27"/>
                    </a:lnTo>
                    <a:lnTo>
                      <a:pt x="9" y="25"/>
                    </a:lnTo>
                    <a:lnTo>
                      <a:pt x="11" y="27"/>
                    </a:lnTo>
                    <a:lnTo>
                      <a:pt x="11" y="25"/>
                    </a:lnTo>
                    <a:lnTo>
                      <a:pt x="17" y="18"/>
                    </a:lnTo>
                    <a:lnTo>
                      <a:pt x="17" y="9"/>
                    </a:lnTo>
                    <a:lnTo>
                      <a:pt x="23" y="9"/>
                    </a:lnTo>
                    <a:lnTo>
                      <a:pt x="26" y="9"/>
                    </a:lnTo>
                    <a:lnTo>
                      <a:pt x="38" y="0"/>
                    </a:lnTo>
                    <a:lnTo>
                      <a:pt x="38" y="3"/>
                    </a:lnTo>
                    <a:lnTo>
                      <a:pt x="34" y="7"/>
                    </a:lnTo>
                    <a:lnTo>
                      <a:pt x="32" y="9"/>
                    </a:lnTo>
                    <a:lnTo>
                      <a:pt x="30" y="18"/>
                    </a:lnTo>
                    <a:lnTo>
                      <a:pt x="32" y="27"/>
                    </a:lnTo>
                    <a:lnTo>
                      <a:pt x="32" y="30"/>
                    </a:lnTo>
                    <a:lnTo>
                      <a:pt x="34" y="30"/>
                    </a:lnTo>
                    <a:lnTo>
                      <a:pt x="42" y="34"/>
                    </a:lnTo>
                    <a:lnTo>
                      <a:pt x="46" y="36"/>
                    </a:lnTo>
                    <a:lnTo>
                      <a:pt x="55" y="36"/>
                    </a:lnTo>
                    <a:lnTo>
                      <a:pt x="51" y="45"/>
                    </a:lnTo>
                    <a:lnTo>
                      <a:pt x="55" y="54"/>
                    </a:lnTo>
                    <a:lnTo>
                      <a:pt x="51" y="54"/>
                    </a:lnTo>
                    <a:lnTo>
                      <a:pt x="57" y="63"/>
                    </a:lnTo>
                    <a:lnTo>
                      <a:pt x="55" y="61"/>
                    </a:lnTo>
                    <a:lnTo>
                      <a:pt x="42" y="63"/>
                    </a:lnTo>
                    <a:lnTo>
                      <a:pt x="42" y="68"/>
                    </a:lnTo>
                    <a:lnTo>
                      <a:pt x="46" y="70"/>
                    </a:lnTo>
                    <a:lnTo>
                      <a:pt x="40" y="70"/>
                    </a:lnTo>
                    <a:lnTo>
                      <a:pt x="42" y="79"/>
                    </a:lnTo>
                    <a:lnTo>
                      <a:pt x="42" y="97"/>
                    </a:lnTo>
                    <a:lnTo>
                      <a:pt x="40" y="95"/>
                    </a:lnTo>
                    <a:lnTo>
                      <a:pt x="40" y="88"/>
                    </a:lnTo>
                    <a:lnTo>
                      <a:pt x="38" y="86"/>
                    </a:lnTo>
                    <a:lnTo>
                      <a:pt x="26" y="88"/>
                    </a:lnTo>
                    <a:lnTo>
                      <a:pt x="23" y="79"/>
                    </a:lnTo>
                    <a:lnTo>
                      <a:pt x="17" y="72"/>
                    </a:lnTo>
                    <a:lnTo>
                      <a:pt x="15" y="70"/>
                    </a:lnTo>
                    <a:lnTo>
                      <a:pt x="7" y="72"/>
                    </a:lnTo>
                    <a:lnTo>
                      <a:pt x="3" y="68"/>
                    </a:lnTo>
                    <a:lnTo>
                      <a:pt x="0" y="63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643" name="China"/>
              <p:cNvGrpSpPr/>
              <p:nvPr/>
            </p:nvGrpSpPr>
            <p:grpSpPr>
              <a:xfrm>
                <a:off x="6053334" y="2852276"/>
                <a:ext cx="1353590" cy="1131408"/>
                <a:chOff x="6053334" y="2833187"/>
                <a:chExt cx="1353590" cy="1131408"/>
              </a:xfrm>
              <a:solidFill>
                <a:srgbClr val="EE8B8B"/>
              </a:solidFill>
            </p:grpSpPr>
            <p:sp>
              <p:nvSpPr>
                <p:cNvPr id="745" name="China"/>
                <p:cNvSpPr>
                  <a:spLocks/>
                </p:cNvSpPr>
                <p:nvPr/>
              </p:nvSpPr>
              <p:spPr bwMode="auto">
                <a:xfrm>
                  <a:off x="7046337" y="3914434"/>
                  <a:ext cx="55475" cy="50161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2" y="9"/>
                    </a:cxn>
                    <a:cxn ang="0">
                      <a:pos x="4" y="9"/>
                    </a:cxn>
                    <a:cxn ang="0">
                      <a:pos x="10" y="6"/>
                    </a:cxn>
                    <a:cxn ang="0">
                      <a:pos x="10" y="0"/>
                    </a:cxn>
                    <a:cxn ang="0">
                      <a:pos x="4" y="0"/>
                    </a:cxn>
                    <a:cxn ang="0">
                      <a:pos x="2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10" h="9">
                      <a:moveTo>
                        <a:pt x="0" y="2"/>
                      </a:moveTo>
                      <a:lnTo>
                        <a:pt x="2" y="9"/>
                      </a:lnTo>
                      <a:lnTo>
                        <a:pt x="4" y="9"/>
                      </a:lnTo>
                      <a:lnTo>
                        <a:pt x="10" y="6"/>
                      </a:lnTo>
                      <a:lnTo>
                        <a:pt x="10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46" name="China"/>
                <p:cNvSpPr>
                  <a:spLocks/>
                </p:cNvSpPr>
                <p:nvPr/>
              </p:nvSpPr>
              <p:spPr bwMode="auto">
                <a:xfrm>
                  <a:off x="6053334" y="2833187"/>
                  <a:ext cx="1353590" cy="1064527"/>
                </a:xfrm>
                <a:custGeom>
                  <a:avLst/>
                  <a:gdLst/>
                  <a:ahLst/>
                  <a:cxnLst>
                    <a:cxn ang="0">
                      <a:pos x="48" y="31"/>
                    </a:cxn>
                    <a:cxn ang="0">
                      <a:pos x="62" y="47"/>
                    </a:cxn>
                    <a:cxn ang="0">
                      <a:pos x="110" y="63"/>
                    </a:cxn>
                    <a:cxn ang="0">
                      <a:pos x="150" y="63"/>
                    </a:cxn>
                    <a:cxn ang="0">
                      <a:pos x="156" y="49"/>
                    </a:cxn>
                    <a:cxn ang="0">
                      <a:pos x="167" y="43"/>
                    </a:cxn>
                    <a:cxn ang="0">
                      <a:pos x="175" y="34"/>
                    </a:cxn>
                    <a:cxn ang="0">
                      <a:pos x="160" y="34"/>
                    </a:cxn>
                    <a:cxn ang="0">
                      <a:pos x="164" y="22"/>
                    </a:cxn>
                    <a:cxn ang="0">
                      <a:pos x="169" y="11"/>
                    </a:cxn>
                    <a:cxn ang="0">
                      <a:pos x="175" y="0"/>
                    </a:cxn>
                    <a:cxn ang="0">
                      <a:pos x="204" y="22"/>
                    </a:cxn>
                    <a:cxn ang="0">
                      <a:pos x="227" y="34"/>
                    </a:cxn>
                    <a:cxn ang="0">
                      <a:pos x="240" y="34"/>
                    </a:cxn>
                    <a:cxn ang="0">
                      <a:pos x="237" y="47"/>
                    </a:cxn>
                    <a:cxn ang="0">
                      <a:pos x="240" y="63"/>
                    </a:cxn>
                    <a:cxn ang="0">
                      <a:pos x="231" y="67"/>
                    </a:cxn>
                    <a:cxn ang="0">
                      <a:pos x="219" y="81"/>
                    </a:cxn>
                    <a:cxn ang="0">
                      <a:pos x="208" y="83"/>
                    </a:cxn>
                    <a:cxn ang="0">
                      <a:pos x="206" y="74"/>
                    </a:cxn>
                    <a:cxn ang="0">
                      <a:pos x="198" y="81"/>
                    </a:cxn>
                    <a:cxn ang="0">
                      <a:pos x="192" y="85"/>
                    </a:cxn>
                    <a:cxn ang="0">
                      <a:pos x="208" y="90"/>
                    </a:cxn>
                    <a:cxn ang="0">
                      <a:pos x="215" y="94"/>
                    </a:cxn>
                    <a:cxn ang="0">
                      <a:pos x="215" y="110"/>
                    </a:cxn>
                    <a:cxn ang="0">
                      <a:pos x="223" y="126"/>
                    </a:cxn>
                    <a:cxn ang="0">
                      <a:pos x="229" y="135"/>
                    </a:cxn>
                    <a:cxn ang="0">
                      <a:pos x="223" y="153"/>
                    </a:cxn>
                    <a:cxn ang="0">
                      <a:pos x="219" y="167"/>
                    </a:cxn>
                    <a:cxn ang="0">
                      <a:pos x="204" y="178"/>
                    </a:cxn>
                    <a:cxn ang="0">
                      <a:pos x="200" y="180"/>
                    </a:cxn>
                    <a:cxn ang="0">
                      <a:pos x="187" y="187"/>
                    </a:cxn>
                    <a:cxn ang="0">
                      <a:pos x="183" y="185"/>
                    </a:cxn>
                    <a:cxn ang="0">
                      <a:pos x="167" y="178"/>
                    </a:cxn>
                    <a:cxn ang="0">
                      <a:pos x="148" y="178"/>
                    </a:cxn>
                    <a:cxn ang="0">
                      <a:pos x="139" y="185"/>
                    </a:cxn>
                    <a:cxn ang="0">
                      <a:pos x="129" y="176"/>
                    </a:cxn>
                    <a:cxn ang="0">
                      <a:pos x="127" y="153"/>
                    </a:cxn>
                    <a:cxn ang="0">
                      <a:pos x="110" y="137"/>
                    </a:cxn>
                    <a:cxn ang="0">
                      <a:pos x="93" y="149"/>
                    </a:cxn>
                    <a:cxn ang="0">
                      <a:pos x="79" y="149"/>
                    </a:cxn>
                    <a:cxn ang="0">
                      <a:pos x="56" y="137"/>
                    </a:cxn>
                    <a:cxn ang="0">
                      <a:pos x="41" y="135"/>
                    </a:cxn>
                    <a:cxn ang="0">
                      <a:pos x="29" y="119"/>
                    </a:cxn>
                    <a:cxn ang="0">
                      <a:pos x="33" y="108"/>
                    </a:cxn>
                    <a:cxn ang="0">
                      <a:pos x="23" y="106"/>
                    </a:cxn>
                    <a:cxn ang="0">
                      <a:pos x="6" y="94"/>
                    </a:cxn>
                    <a:cxn ang="0">
                      <a:pos x="2" y="85"/>
                    </a:cxn>
                    <a:cxn ang="0">
                      <a:pos x="0" y="76"/>
                    </a:cxn>
                    <a:cxn ang="0">
                      <a:pos x="12" y="72"/>
                    </a:cxn>
                    <a:cxn ang="0">
                      <a:pos x="23" y="65"/>
                    </a:cxn>
                    <a:cxn ang="0">
                      <a:pos x="25" y="47"/>
                    </a:cxn>
                    <a:cxn ang="0">
                      <a:pos x="37" y="38"/>
                    </a:cxn>
                  </a:cxnLst>
                  <a:rect l="0" t="0" r="r" b="b"/>
                  <a:pathLst>
                    <a:path w="244" h="191">
                      <a:moveTo>
                        <a:pt x="39" y="29"/>
                      </a:moveTo>
                      <a:lnTo>
                        <a:pt x="41" y="25"/>
                      </a:lnTo>
                      <a:lnTo>
                        <a:pt x="48" y="31"/>
                      </a:lnTo>
                      <a:lnTo>
                        <a:pt x="54" y="34"/>
                      </a:lnTo>
                      <a:lnTo>
                        <a:pt x="60" y="38"/>
                      </a:lnTo>
                      <a:lnTo>
                        <a:pt x="62" y="47"/>
                      </a:lnTo>
                      <a:lnTo>
                        <a:pt x="81" y="52"/>
                      </a:lnTo>
                      <a:lnTo>
                        <a:pt x="93" y="63"/>
                      </a:lnTo>
                      <a:lnTo>
                        <a:pt x="110" y="63"/>
                      </a:lnTo>
                      <a:lnTo>
                        <a:pt x="129" y="67"/>
                      </a:lnTo>
                      <a:lnTo>
                        <a:pt x="141" y="65"/>
                      </a:lnTo>
                      <a:lnTo>
                        <a:pt x="150" y="63"/>
                      </a:lnTo>
                      <a:lnTo>
                        <a:pt x="156" y="56"/>
                      </a:lnTo>
                      <a:lnTo>
                        <a:pt x="152" y="52"/>
                      </a:lnTo>
                      <a:lnTo>
                        <a:pt x="156" y="49"/>
                      </a:lnTo>
                      <a:lnTo>
                        <a:pt x="160" y="49"/>
                      </a:lnTo>
                      <a:lnTo>
                        <a:pt x="164" y="47"/>
                      </a:lnTo>
                      <a:lnTo>
                        <a:pt x="167" y="43"/>
                      </a:lnTo>
                      <a:lnTo>
                        <a:pt x="169" y="40"/>
                      </a:lnTo>
                      <a:lnTo>
                        <a:pt x="179" y="40"/>
                      </a:lnTo>
                      <a:lnTo>
                        <a:pt x="175" y="34"/>
                      </a:lnTo>
                      <a:lnTo>
                        <a:pt x="173" y="31"/>
                      </a:lnTo>
                      <a:lnTo>
                        <a:pt x="167" y="34"/>
                      </a:lnTo>
                      <a:lnTo>
                        <a:pt x="160" y="34"/>
                      </a:lnTo>
                      <a:lnTo>
                        <a:pt x="156" y="25"/>
                      </a:lnTo>
                      <a:lnTo>
                        <a:pt x="158" y="22"/>
                      </a:lnTo>
                      <a:lnTo>
                        <a:pt x="164" y="22"/>
                      </a:lnTo>
                      <a:lnTo>
                        <a:pt x="169" y="20"/>
                      </a:lnTo>
                      <a:lnTo>
                        <a:pt x="167" y="13"/>
                      </a:lnTo>
                      <a:lnTo>
                        <a:pt x="169" y="11"/>
                      </a:lnTo>
                      <a:lnTo>
                        <a:pt x="164" y="7"/>
                      </a:lnTo>
                      <a:lnTo>
                        <a:pt x="167" y="4"/>
                      </a:lnTo>
                      <a:lnTo>
                        <a:pt x="175" y="0"/>
                      </a:lnTo>
                      <a:lnTo>
                        <a:pt x="187" y="4"/>
                      </a:lnTo>
                      <a:lnTo>
                        <a:pt x="198" y="16"/>
                      </a:lnTo>
                      <a:lnTo>
                        <a:pt x="204" y="22"/>
                      </a:lnTo>
                      <a:lnTo>
                        <a:pt x="212" y="25"/>
                      </a:lnTo>
                      <a:lnTo>
                        <a:pt x="221" y="29"/>
                      </a:lnTo>
                      <a:lnTo>
                        <a:pt x="227" y="34"/>
                      </a:lnTo>
                      <a:lnTo>
                        <a:pt x="229" y="34"/>
                      </a:lnTo>
                      <a:lnTo>
                        <a:pt x="237" y="29"/>
                      </a:lnTo>
                      <a:lnTo>
                        <a:pt x="240" y="34"/>
                      </a:lnTo>
                      <a:lnTo>
                        <a:pt x="240" y="38"/>
                      </a:lnTo>
                      <a:lnTo>
                        <a:pt x="244" y="49"/>
                      </a:lnTo>
                      <a:lnTo>
                        <a:pt x="237" y="47"/>
                      </a:lnTo>
                      <a:lnTo>
                        <a:pt x="235" y="49"/>
                      </a:lnTo>
                      <a:lnTo>
                        <a:pt x="240" y="58"/>
                      </a:lnTo>
                      <a:lnTo>
                        <a:pt x="240" y="63"/>
                      </a:lnTo>
                      <a:lnTo>
                        <a:pt x="235" y="63"/>
                      </a:lnTo>
                      <a:lnTo>
                        <a:pt x="235" y="65"/>
                      </a:lnTo>
                      <a:lnTo>
                        <a:pt x="231" y="67"/>
                      </a:lnTo>
                      <a:lnTo>
                        <a:pt x="231" y="72"/>
                      </a:lnTo>
                      <a:lnTo>
                        <a:pt x="227" y="67"/>
                      </a:lnTo>
                      <a:lnTo>
                        <a:pt x="219" y="81"/>
                      </a:lnTo>
                      <a:lnTo>
                        <a:pt x="215" y="81"/>
                      </a:lnTo>
                      <a:lnTo>
                        <a:pt x="208" y="85"/>
                      </a:lnTo>
                      <a:lnTo>
                        <a:pt x="208" y="83"/>
                      </a:lnTo>
                      <a:lnTo>
                        <a:pt x="206" y="81"/>
                      </a:lnTo>
                      <a:lnTo>
                        <a:pt x="208" y="74"/>
                      </a:lnTo>
                      <a:lnTo>
                        <a:pt x="206" y="74"/>
                      </a:lnTo>
                      <a:lnTo>
                        <a:pt x="204" y="72"/>
                      </a:lnTo>
                      <a:lnTo>
                        <a:pt x="200" y="76"/>
                      </a:lnTo>
                      <a:lnTo>
                        <a:pt x="198" y="81"/>
                      </a:lnTo>
                      <a:lnTo>
                        <a:pt x="198" y="83"/>
                      </a:lnTo>
                      <a:lnTo>
                        <a:pt x="192" y="83"/>
                      </a:lnTo>
                      <a:lnTo>
                        <a:pt x="192" y="85"/>
                      </a:lnTo>
                      <a:lnTo>
                        <a:pt x="204" y="94"/>
                      </a:lnTo>
                      <a:lnTo>
                        <a:pt x="206" y="94"/>
                      </a:lnTo>
                      <a:lnTo>
                        <a:pt x="208" y="90"/>
                      </a:lnTo>
                      <a:lnTo>
                        <a:pt x="219" y="92"/>
                      </a:lnTo>
                      <a:lnTo>
                        <a:pt x="219" y="94"/>
                      </a:lnTo>
                      <a:lnTo>
                        <a:pt x="215" y="94"/>
                      </a:lnTo>
                      <a:lnTo>
                        <a:pt x="212" y="99"/>
                      </a:lnTo>
                      <a:lnTo>
                        <a:pt x="206" y="108"/>
                      </a:lnTo>
                      <a:lnTo>
                        <a:pt x="215" y="110"/>
                      </a:lnTo>
                      <a:lnTo>
                        <a:pt x="221" y="119"/>
                      </a:lnTo>
                      <a:lnTo>
                        <a:pt x="227" y="126"/>
                      </a:lnTo>
                      <a:lnTo>
                        <a:pt x="223" y="126"/>
                      </a:lnTo>
                      <a:lnTo>
                        <a:pt x="227" y="128"/>
                      </a:lnTo>
                      <a:lnTo>
                        <a:pt x="221" y="133"/>
                      </a:lnTo>
                      <a:lnTo>
                        <a:pt x="229" y="135"/>
                      </a:lnTo>
                      <a:lnTo>
                        <a:pt x="229" y="144"/>
                      </a:lnTo>
                      <a:lnTo>
                        <a:pt x="227" y="149"/>
                      </a:lnTo>
                      <a:lnTo>
                        <a:pt x="223" y="153"/>
                      </a:lnTo>
                      <a:lnTo>
                        <a:pt x="223" y="160"/>
                      </a:lnTo>
                      <a:lnTo>
                        <a:pt x="221" y="167"/>
                      </a:lnTo>
                      <a:lnTo>
                        <a:pt x="219" y="167"/>
                      </a:lnTo>
                      <a:lnTo>
                        <a:pt x="219" y="169"/>
                      </a:lnTo>
                      <a:lnTo>
                        <a:pt x="212" y="176"/>
                      </a:lnTo>
                      <a:lnTo>
                        <a:pt x="204" y="178"/>
                      </a:lnTo>
                      <a:lnTo>
                        <a:pt x="204" y="180"/>
                      </a:lnTo>
                      <a:lnTo>
                        <a:pt x="200" y="178"/>
                      </a:lnTo>
                      <a:lnTo>
                        <a:pt x="200" y="180"/>
                      </a:lnTo>
                      <a:lnTo>
                        <a:pt x="198" y="178"/>
                      </a:lnTo>
                      <a:lnTo>
                        <a:pt x="198" y="180"/>
                      </a:lnTo>
                      <a:lnTo>
                        <a:pt x="187" y="187"/>
                      </a:lnTo>
                      <a:lnTo>
                        <a:pt x="187" y="191"/>
                      </a:lnTo>
                      <a:lnTo>
                        <a:pt x="183" y="191"/>
                      </a:lnTo>
                      <a:lnTo>
                        <a:pt x="183" y="185"/>
                      </a:lnTo>
                      <a:lnTo>
                        <a:pt x="175" y="185"/>
                      </a:lnTo>
                      <a:lnTo>
                        <a:pt x="169" y="180"/>
                      </a:lnTo>
                      <a:lnTo>
                        <a:pt x="167" y="178"/>
                      </a:lnTo>
                      <a:lnTo>
                        <a:pt x="160" y="176"/>
                      </a:lnTo>
                      <a:lnTo>
                        <a:pt x="150" y="178"/>
                      </a:lnTo>
                      <a:lnTo>
                        <a:pt x="148" y="178"/>
                      </a:lnTo>
                      <a:lnTo>
                        <a:pt x="144" y="178"/>
                      </a:lnTo>
                      <a:lnTo>
                        <a:pt x="144" y="185"/>
                      </a:lnTo>
                      <a:lnTo>
                        <a:pt x="139" y="185"/>
                      </a:lnTo>
                      <a:lnTo>
                        <a:pt x="133" y="180"/>
                      </a:lnTo>
                      <a:lnTo>
                        <a:pt x="133" y="176"/>
                      </a:lnTo>
                      <a:lnTo>
                        <a:pt x="129" y="176"/>
                      </a:lnTo>
                      <a:lnTo>
                        <a:pt x="129" y="169"/>
                      </a:lnTo>
                      <a:lnTo>
                        <a:pt x="125" y="171"/>
                      </a:lnTo>
                      <a:lnTo>
                        <a:pt x="127" y="153"/>
                      </a:lnTo>
                      <a:lnTo>
                        <a:pt x="125" y="149"/>
                      </a:lnTo>
                      <a:lnTo>
                        <a:pt x="119" y="149"/>
                      </a:lnTo>
                      <a:lnTo>
                        <a:pt x="110" y="137"/>
                      </a:lnTo>
                      <a:lnTo>
                        <a:pt x="104" y="137"/>
                      </a:lnTo>
                      <a:lnTo>
                        <a:pt x="100" y="144"/>
                      </a:lnTo>
                      <a:lnTo>
                        <a:pt x="93" y="149"/>
                      </a:lnTo>
                      <a:lnTo>
                        <a:pt x="85" y="144"/>
                      </a:lnTo>
                      <a:lnTo>
                        <a:pt x="81" y="151"/>
                      </a:lnTo>
                      <a:lnTo>
                        <a:pt x="79" y="149"/>
                      </a:lnTo>
                      <a:lnTo>
                        <a:pt x="77" y="149"/>
                      </a:lnTo>
                      <a:lnTo>
                        <a:pt x="68" y="149"/>
                      </a:lnTo>
                      <a:lnTo>
                        <a:pt x="56" y="137"/>
                      </a:lnTo>
                      <a:lnTo>
                        <a:pt x="54" y="142"/>
                      </a:lnTo>
                      <a:lnTo>
                        <a:pt x="48" y="135"/>
                      </a:lnTo>
                      <a:lnTo>
                        <a:pt x="41" y="135"/>
                      </a:lnTo>
                      <a:lnTo>
                        <a:pt x="33" y="128"/>
                      </a:lnTo>
                      <a:lnTo>
                        <a:pt x="29" y="124"/>
                      </a:lnTo>
                      <a:lnTo>
                        <a:pt x="29" y="119"/>
                      </a:lnTo>
                      <a:lnTo>
                        <a:pt x="33" y="119"/>
                      </a:lnTo>
                      <a:lnTo>
                        <a:pt x="31" y="115"/>
                      </a:lnTo>
                      <a:lnTo>
                        <a:pt x="33" y="108"/>
                      </a:lnTo>
                      <a:lnTo>
                        <a:pt x="33" y="106"/>
                      </a:lnTo>
                      <a:lnTo>
                        <a:pt x="29" y="101"/>
                      </a:lnTo>
                      <a:lnTo>
                        <a:pt x="23" y="106"/>
                      </a:lnTo>
                      <a:lnTo>
                        <a:pt x="14" y="101"/>
                      </a:lnTo>
                      <a:lnTo>
                        <a:pt x="12" y="94"/>
                      </a:lnTo>
                      <a:lnTo>
                        <a:pt x="6" y="94"/>
                      </a:lnTo>
                      <a:lnTo>
                        <a:pt x="6" y="92"/>
                      </a:lnTo>
                      <a:lnTo>
                        <a:pt x="6" y="85"/>
                      </a:lnTo>
                      <a:lnTo>
                        <a:pt x="2" y="85"/>
                      </a:lnTo>
                      <a:lnTo>
                        <a:pt x="0" y="83"/>
                      </a:lnTo>
                      <a:lnTo>
                        <a:pt x="0" y="81"/>
                      </a:lnTo>
                      <a:lnTo>
                        <a:pt x="0" y="76"/>
                      </a:lnTo>
                      <a:lnTo>
                        <a:pt x="2" y="74"/>
                      </a:lnTo>
                      <a:lnTo>
                        <a:pt x="12" y="74"/>
                      </a:lnTo>
                      <a:lnTo>
                        <a:pt x="12" y="72"/>
                      </a:lnTo>
                      <a:lnTo>
                        <a:pt x="16" y="72"/>
                      </a:lnTo>
                      <a:lnTo>
                        <a:pt x="23" y="67"/>
                      </a:lnTo>
                      <a:lnTo>
                        <a:pt x="23" y="65"/>
                      </a:lnTo>
                      <a:lnTo>
                        <a:pt x="23" y="58"/>
                      </a:lnTo>
                      <a:lnTo>
                        <a:pt x="20" y="49"/>
                      </a:lnTo>
                      <a:lnTo>
                        <a:pt x="25" y="47"/>
                      </a:lnTo>
                      <a:lnTo>
                        <a:pt x="25" y="38"/>
                      </a:lnTo>
                      <a:lnTo>
                        <a:pt x="33" y="38"/>
                      </a:lnTo>
                      <a:lnTo>
                        <a:pt x="37" y="38"/>
                      </a:lnTo>
                      <a:lnTo>
                        <a:pt x="37" y="31"/>
                      </a:lnTo>
                      <a:lnTo>
                        <a:pt x="39" y="2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grpSp>
            <p:nvGrpSpPr>
              <p:cNvPr id="644" name="Chile"/>
              <p:cNvGrpSpPr/>
              <p:nvPr/>
            </p:nvGrpSpPr>
            <p:grpSpPr>
              <a:xfrm>
                <a:off x="2403080" y="5137385"/>
                <a:ext cx="327302" cy="1153702"/>
                <a:chOff x="2403080" y="5118296"/>
                <a:chExt cx="327302" cy="1153702"/>
              </a:xfrm>
              <a:solidFill>
                <a:srgbClr val="778025"/>
              </a:solidFill>
            </p:grpSpPr>
            <p:sp>
              <p:nvSpPr>
                <p:cNvPr id="743" name="Chile"/>
                <p:cNvSpPr>
                  <a:spLocks/>
                </p:cNvSpPr>
                <p:nvPr/>
              </p:nvSpPr>
              <p:spPr bwMode="auto">
                <a:xfrm>
                  <a:off x="2486292" y="5909725"/>
                  <a:ext cx="33285" cy="5016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9"/>
                    </a:cxn>
                    <a:cxn ang="0">
                      <a:pos x="6" y="9"/>
                    </a:cxn>
                    <a:cxn ang="0">
                      <a:pos x="6" y="2"/>
                    </a:cxn>
                    <a:cxn ang="0">
                      <a:pos x="2" y="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6" h="9">
                      <a:moveTo>
                        <a:pt x="0" y="0"/>
                      </a:moveTo>
                      <a:lnTo>
                        <a:pt x="4" y="9"/>
                      </a:lnTo>
                      <a:lnTo>
                        <a:pt x="6" y="9"/>
                      </a:lnTo>
                      <a:lnTo>
                        <a:pt x="6" y="2"/>
                      </a:lnTo>
                      <a:lnTo>
                        <a:pt x="2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44" name="Chile"/>
                <p:cNvSpPr>
                  <a:spLocks/>
                </p:cNvSpPr>
                <p:nvPr/>
              </p:nvSpPr>
              <p:spPr bwMode="auto">
                <a:xfrm>
                  <a:off x="2403080" y="5118296"/>
                  <a:ext cx="327302" cy="1153702"/>
                </a:xfrm>
                <a:custGeom>
                  <a:avLst/>
                  <a:gdLst/>
                  <a:ahLst/>
                  <a:cxnLst>
                    <a:cxn ang="0">
                      <a:pos x="6" y="0"/>
                    </a:cxn>
                    <a:cxn ang="0">
                      <a:pos x="13" y="16"/>
                    </a:cxn>
                    <a:cxn ang="0">
                      <a:pos x="21" y="31"/>
                    </a:cxn>
                    <a:cxn ang="0">
                      <a:pos x="15" y="40"/>
                    </a:cxn>
                    <a:cxn ang="0">
                      <a:pos x="15" y="61"/>
                    </a:cxn>
                    <a:cxn ang="0">
                      <a:pos x="21" y="94"/>
                    </a:cxn>
                    <a:cxn ang="0">
                      <a:pos x="21" y="108"/>
                    </a:cxn>
                    <a:cxn ang="0">
                      <a:pos x="23" y="121"/>
                    </a:cxn>
                    <a:cxn ang="0">
                      <a:pos x="27" y="142"/>
                    </a:cxn>
                    <a:cxn ang="0">
                      <a:pos x="29" y="155"/>
                    </a:cxn>
                    <a:cxn ang="0">
                      <a:pos x="32" y="155"/>
                    </a:cxn>
                    <a:cxn ang="0">
                      <a:pos x="36" y="187"/>
                    </a:cxn>
                    <a:cxn ang="0">
                      <a:pos x="40" y="189"/>
                    </a:cxn>
                    <a:cxn ang="0">
                      <a:pos x="59" y="198"/>
                    </a:cxn>
                    <a:cxn ang="0">
                      <a:pos x="54" y="202"/>
                    </a:cxn>
                    <a:cxn ang="0">
                      <a:pos x="38" y="198"/>
                    </a:cxn>
                    <a:cxn ang="0">
                      <a:pos x="36" y="198"/>
                    </a:cxn>
                    <a:cxn ang="0">
                      <a:pos x="38" y="196"/>
                    </a:cxn>
                    <a:cxn ang="0">
                      <a:pos x="36" y="196"/>
                    </a:cxn>
                    <a:cxn ang="0">
                      <a:pos x="32" y="189"/>
                    </a:cxn>
                    <a:cxn ang="0">
                      <a:pos x="29" y="189"/>
                    </a:cxn>
                    <a:cxn ang="0">
                      <a:pos x="27" y="187"/>
                    </a:cxn>
                    <a:cxn ang="0">
                      <a:pos x="23" y="173"/>
                    </a:cxn>
                    <a:cxn ang="0">
                      <a:pos x="27" y="169"/>
                    </a:cxn>
                    <a:cxn ang="0">
                      <a:pos x="21" y="164"/>
                    </a:cxn>
                    <a:cxn ang="0">
                      <a:pos x="19" y="153"/>
                    </a:cxn>
                    <a:cxn ang="0">
                      <a:pos x="21" y="142"/>
                    </a:cxn>
                    <a:cxn ang="0">
                      <a:pos x="19" y="142"/>
                    </a:cxn>
                    <a:cxn ang="0">
                      <a:pos x="15" y="128"/>
                    </a:cxn>
                    <a:cxn ang="0">
                      <a:pos x="9" y="112"/>
                    </a:cxn>
                    <a:cxn ang="0">
                      <a:pos x="13" y="94"/>
                    </a:cxn>
                    <a:cxn ang="0">
                      <a:pos x="6" y="76"/>
                    </a:cxn>
                    <a:cxn ang="0">
                      <a:pos x="6" y="67"/>
                    </a:cxn>
                    <a:cxn ang="0">
                      <a:pos x="6" y="31"/>
                    </a:cxn>
                    <a:cxn ang="0">
                      <a:pos x="2" y="16"/>
                    </a:cxn>
                  </a:cxnLst>
                  <a:rect l="0" t="0" r="r" b="b"/>
                  <a:pathLst>
                    <a:path w="59" h="207">
                      <a:moveTo>
                        <a:pt x="0" y="4"/>
                      </a:moveTo>
                      <a:lnTo>
                        <a:pt x="6" y="0"/>
                      </a:lnTo>
                      <a:lnTo>
                        <a:pt x="13" y="9"/>
                      </a:lnTo>
                      <a:lnTo>
                        <a:pt x="13" y="16"/>
                      </a:lnTo>
                      <a:lnTo>
                        <a:pt x="19" y="31"/>
                      </a:lnTo>
                      <a:lnTo>
                        <a:pt x="21" y="31"/>
                      </a:lnTo>
                      <a:lnTo>
                        <a:pt x="21" y="36"/>
                      </a:lnTo>
                      <a:lnTo>
                        <a:pt x="15" y="40"/>
                      </a:lnTo>
                      <a:lnTo>
                        <a:pt x="19" y="52"/>
                      </a:lnTo>
                      <a:lnTo>
                        <a:pt x="15" y="61"/>
                      </a:lnTo>
                      <a:lnTo>
                        <a:pt x="15" y="79"/>
                      </a:lnTo>
                      <a:lnTo>
                        <a:pt x="21" y="94"/>
                      </a:lnTo>
                      <a:lnTo>
                        <a:pt x="19" y="103"/>
                      </a:lnTo>
                      <a:lnTo>
                        <a:pt x="21" y="108"/>
                      </a:lnTo>
                      <a:lnTo>
                        <a:pt x="19" y="112"/>
                      </a:lnTo>
                      <a:lnTo>
                        <a:pt x="23" y="121"/>
                      </a:lnTo>
                      <a:lnTo>
                        <a:pt x="23" y="137"/>
                      </a:lnTo>
                      <a:lnTo>
                        <a:pt x="27" y="142"/>
                      </a:lnTo>
                      <a:lnTo>
                        <a:pt x="27" y="146"/>
                      </a:lnTo>
                      <a:lnTo>
                        <a:pt x="29" y="155"/>
                      </a:lnTo>
                      <a:lnTo>
                        <a:pt x="32" y="160"/>
                      </a:lnTo>
                      <a:lnTo>
                        <a:pt x="32" y="155"/>
                      </a:lnTo>
                      <a:lnTo>
                        <a:pt x="36" y="169"/>
                      </a:lnTo>
                      <a:lnTo>
                        <a:pt x="36" y="187"/>
                      </a:lnTo>
                      <a:lnTo>
                        <a:pt x="38" y="189"/>
                      </a:lnTo>
                      <a:lnTo>
                        <a:pt x="40" y="189"/>
                      </a:lnTo>
                      <a:lnTo>
                        <a:pt x="46" y="198"/>
                      </a:lnTo>
                      <a:lnTo>
                        <a:pt x="59" y="198"/>
                      </a:lnTo>
                      <a:lnTo>
                        <a:pt x="59" y="202"/>
                      </a:lnTo>
                      <a:lnTo>
                        <a:pt x="54" y="202"/>
                      </a:lnTo>
                      <a:lnTo>
                        <a:pt x="54" y="207"/>
                      </a:lnTo>
                      <a:lnTo>
                        <a:pt x="38" y="198"/>
                      </a:lnTo>
                      <a:lnTo>
                        <a:pt x="38" y="202"/>
                      </a:lnTo>
                      <a:lnTo>
                        <a:pt x="36" y="198"/>
                      </a:lnTo>
                      <a:lnTo>
                        <a:pt x="36" y="196"/>
                      </a:lnTo>
                      <a:lnTo>
                        <a:pt x="38" y="196"/>
                      </a:lnTo>
                      <a:lnTo>
                        <a:pt x="36" y="193"/>
                      </a:lnTo>
                      <a:lnTo>
                        <a:pt x="36" y="196"/>
                      </a:lnTo>
                      <a:lnTo>
                        <a:pt x="32" y="196"/>
                      </a:lnTo>
                      <a:lnTo>
                        <a:pt x="32" y="189"/>
                      </a:lnTo>
                      <a:lnTo>
                        <a:pt x="32" y="187"/>
                      </a:lnTo>
                      <a:lnTo>
                        <a:pt x="29" y="189"/>
                      </a:lnTo>
                      <a:lnTo>
                        <a:pt x="29" y="187"/>
                      </a:lnTo>
                      <a:lnTo>
                        <a:pt x="27" y="187"/>
                      </a:lnTo>
                      <a:lnTo>
                        <a:pt x="23" y="178"/>
                      </a:lnTo>
                      <a:lnTo>
                        <a:pt x="23" y="173"/>
                      </a:lnTo>
                      <a:lnTo>
                        <a:pt x="27" y="178"/>
                      </a:lnTo>
                      <a:lnTo>
                        <a:pt x="27" y="169"/>
                      </a:lnTo>
                      <a:lnTo>
                        <a:pt x="19" y="169"/>
                      </a:lnTo>
                      <a:lnTo>
                        <a:pt x="21" y="164"/>
                      </a:lnTo>
                      <a:lnTo>
                        <a:pt x="21" y="162"/>
                      </a:lnTo>
                      <a:lnTo>
                        <a:pt x="19" y="153"/>
                      </a:lnTo>
                      <a:lnTo>
                        <a:pt x="23" y="153"/>
                      </a:lnTo>
                      <a:lnTo>
                        <a:pt x="21" y="142"/>
                      </a:lnTo>
                      <a:lnTo>
                        <a:pt x="19" y="137"/>
                      </a:lnTo>
                      <a:lnTo>
                        <a:pt x="19" y="142"/>
                      </a:lnTo>
                      <a:lnTo>
                        <a:pt x="15" y="135"/>
                      </a:lnTo>
                      <a:lnTo>
                        <a:pt x="15" y="128"/>
                      </a:lnTo>
                      <a:lnTo>
                        <a:pt x="9" y="117"/>
                      </a:lnTo>
                      <a:lnTo>
                        <a:pt x="9" y="112"/>
                      </a:lnTo>
                      <a:lnTo>
                        <a:pt x="13" y="112"/>
                      </a:lnTo>
                      <a:lnTo>
                        <a:pt x="13" y="94"/>
                      </a:lnTo>
                      <a:lnTo>
                        <a:pt x="13" y="85"/>
                      </a:lnTo>
                      <a:lnTo>
                        <a:pt x="6" y="76"/>
                      </a:lnTo>
                      <a:lnTo>
                        <a:pt x="9" y="74"/>
                      </a:lnTo>
                      <a:lnTo>
                        <a:pt x="6" y="67"/>
                      </a:lnTo>
                      <a:lnTo>
                        <a:pt x="9" y="52"/>
                      </a:lnTo>
                      <a:lnTo>
                        <a:pt x="6" y="31"/>
                      </a:lnTo>
                      <a:lnTo>
                        <a:pt x="6" y="25"/>
                      </a:lnTo>
                      <a:lnTo>
                        <a:pt x="2" y="16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34328" name="Chad"/>
              <p:cNvSpPr>
                <a:spLocks/>
              </p:cNvSpPr>
              <p:nvPr/>
            </p:nvSpPr>
            <p:spPr bwMode="auto">
              <a:xfrm>
                <a:off x="4584476" y="3814403"/>
                <a:ext cx="283421" cy="516561"/>
              </a:xfrm>
              <a:custGeom>
                <a:avLst/>
                <a:gdLst>
                  <a:gd name="T0" fmla="*/ 102983940 w 780"/>
                  <a:gd name="T1" fmla="*/ 106152190 h 1197"/>
                  <a:gd name="T2" fmla="*/ 93609589 w 780"/>
                  <a:gd name="T3" fmla="*/ 108200740 h 1197"/>
                  <a:gd name="T4" fmla="*/ 90441089 w 780"/>
                  <a:gd name="T5" fmla="*/ 119188796 h 1197"/>
                  <a:gd name="T6" fmla="*/ 88460413 w 780"/>
                  <a:gd name="T7" fmla="*/ 125148017 h 1197"/>
                  <a:gd name="T8" fmla="*/ 86084037 w 780"/>
                  <a:gd name="T9" fmla="*/ 132038515 h 1197"/>
                  <a:gd name="T10" fmla="*/ 83971462 w 780"/>
                  <a:gd name="T11" fmla="*/ 143771393 h 1197"/>
                  <a:gd name="T12" fmla="*/ 88856475 w 780"/>
                  <a:gd name="T13" fmla="*/ 150661891 h 1197"/>
                  <a:gd name="T14" fmla="*/ 90308826 w 780"/>
                  <a:gd name="T15" fmla="*/ 161091068 h 1197"/>
                  <a:gd name="T16" fmla="*/ 93873752 w 780"/>
                  <a:gd name="T17" fmla="*/ 171706241 h 1197"/>
                  <a:gd name="T18" fmla="*/ 90572989 w 780"/>
                  <a:gd name="T19" fmla="*/ 173195939 h 1197"/>
                  <a:gd name="T20" fmla="*/ 83311236 w 780"/>
                  <a:gd name="T21" fmla="*/ 177479466 h 1197"/>
                  <a:gd name="T22" fmla="*/ 78426222 w 780"/>
                  <a:gd name="T23" fmla="*/ 187349791 h 1197"/>
                  <a:gd name="T24" fmla="*/ 72088858 w 780"/>
                  <a:gd name="T25" fmla="*/ 196102410 h 1197"/>
                  <a:gd name="T26" fmla="*/ 64695206 w 780"/>
                  <a:gd name="T27" fmla="*/ 200385938 h 1197"/>
                  <a:gd name="T28" fmla="*/ 55056715 w 780"/>
                  <a:gd name="T29" fmla="*/ 204296610 h 1197"/>
                  <a:gd name="T30" fmla="*/ 51624052 w 780"/>
                  <a:gd name="T31" fmla="*/ 214353362 h 1197"/>
                  <a:gd name="T32" fmla="*/ 41325687 w 780"/>
                  <a:gd name="T33" fmla="*/ 216215484 h 1197"/>
                  <a:gd name="T34" fmla="*/ 33271810 w 780"/>
                  <a:gd name="T35" fmla="*/ 220871436 h 1197"/>
                  <a:gd name="T36" fmla="*/ 28914758 w 780"/>
                  <a:gd name="T37" fmla="*/ 220126587 h 1197"/>
                  <a:gd name="T38" fmla="*/ 21125038 w 780"/>
                  <a:gd name="T39" fmla="*/ 221802712 h 1197"/>
                  <a:gd name="T40" fmla="*/ 20200649 w 780"/>
                  <a:gd name="T41" fmla="*/ 216587908 h 1197"/>
                  <a:gd name="T42" fmla="*/ 14127448 w 780"/>
                  <a:gd name="T43" fmla="*/ 203924185 h 1197"/>
                  <a:gd name="T44" fmla="*/ 6865693 w 780"/>
                  <a:gd name="T45" fmla="*/ 193867864 h 1197"/>
                  <a:gd name="T46" fmla="*/ 10562519 w 780"/>
                  <a:gd name="T47" fmla="*/ 187349791 h 1197"/>
                  <a:gd name="T48" fmla="*/ 21256937 w 780"/>
                  <a:gd name="T49" fmla="*/ 187908211 h 1197"/>
                  <a:gd name="T50" fmla="*/ 17560111 w 780"/>
                  <a:gd name="T51" fmla="*/ 180272865 h 1197"/>
                  <a:gd name="T52" fmla="*/ 16503823 w 780"/>
                  <a:gd name="T53" fmla="*/ 167795138 h 1197"/>
                  <a:gd name="T54" fmla="*/ 16371924 w 780"/>
                  <a:gd name="T55" fmla="*/ 158297238 h 1197"/>
                  <a:gd name="T56" fmla="*/ 13203060 w 780"/>
                  <a:gd name="T57" fmla="*/ 149358190 h 1197"/>
                  <a:gd name="T58" fmla="*/ 6865693 w 780"/>
                  <a:gd name="T59" fmla="*/ 144143818 h 1197"/>
                  <a:gd name="T60" fmla="*/ 1056288 w 780"/>
                  <a:gd name="T61" fmla="*/ 126451719 h 1197"/>
                  <a:gd name="T62" fmla="*/ 4621216 w 780"/>
                  <a:gd name="T63" fmla="*/ 117140246 h 1197"/>
                  <a:gd name="T64" fmla="*/ 20596712 w 780"/>
                  <a:gd name="T65" fmla="*/ 90695069 h 1197"/>
                  <a:gd name="T66" fmla="*/ 22577388 w 780"/>
                  <a:gd name="T67" fmla="*/ 54380012 h 1197"/>
                  <a:gd name="T68" fmla="*/ 23105350 w 780"/>
                  <a:gd name="T69" fmla="*/ 39294883 h 1197"/>
                  <a:gd name="T70" fmla="*/ 17824274 w 780"/>
                  <a:gd name="T71" fmla="*/ 26817582 h 1197"/>
                  <a:gd name="T72" fmla="*/ 15843598 w 780"/>
                  <a:gd name="T73" fmla="*/ 6332079 h 1197"/>
                  <a:gd name="T74" fmla="*/ 101663490 w 780"/>
                  <a:gd name="T75" fmla="*/ 53821160 h 119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780"/>
                  <a:gd name="T115" fmla="*/ 0 h 1197"/>
                  <a:gd name="T116" fmla="*/ 780 w 780"/>
                  <a:gd name="T117" fmla="*/ 1197 h 1197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780" h="1197">
                    <a:moveTo>
                      <a:pt x="770" y="289"/>
                    </a:moveTo>
                    <a:cubicBezTo>
                      <a:pt x="773" y="364"/>
                      <a:pt x="778" y="496"/>
                      <a:pt x="780" y="570"/>
                    </a:cubicBezTo>
                    <a:cubicBezTo>
                      <a:pt x="774" y="577"/>
                      <a:pt x="759" y="565"/>
                      <a:pt x="748" y="571"/>
                    </a:cubicBezTo>
                    <a:cubicBezTo>
                      <a:pt x="736" y="581"/>
                      <a:pt x="719" y="567"/>
                      <a:pt x="709" y="581"/>
                    </a:cubicBezTo>
                    <a:cubicBezTo>
                      <a:pt x="696" y="586"/>
                      <a:pt x="708" y="595"/>
                      <a:pt x="708" y="603"/>
                    </a:cubicBezTo>
                    <a:cubicBezTo>
                      <a:pt x="709" y="620"/>
                      <a:pt x="689" y="625"/>
                      <a:pt x="685" y="640"/>
                    </a:cubicBezTo>
                    <a:cubicBezTo>
                      <a:pt x="689" y="649"/>
                      <a:pt x="683" y="654"/>
                      <a:pt x="674" y="654"/>
                    </a:cubicBezTo>
                    <a:cubicBezTo>
                      <a:pt x="661" y="656"/>
                      <a:pt x="666" y="665"/>
                      <a:pt x="670" y="672"/>
                    </a:cubicBezTo>
                    <a:cubicBezTo>
                      <a:pt x="667" y="680"/>
                      <a:pt x="672" y="685"/>
                      <a:pt x="678" y="687"/>
                    </a:cubicBezTo>
                    <a:cubicBezTo>
                      <a:pt x="677" y="700"/>
                      <a:pt x="659" y="699"/>
                      <a:pt x="652" y="709"/>
                    </a:cubicBezTo>
                    <a:cubicBezTo>
                      <a:pt x="638" y="718"/>
                      <a:pt x="652" y="730"/>
                      <a:pt x="655" y="741"/>
                    </a:cubicBezTo>
                    <a:cubicBezTo>
                      <a:pt x="667" y="755"/>
                      <a:pt x="646" y="765"/>
                      <a:pt x="636" y="772"/>
                    </a:cubicBezTo>
                    <a:cubicBezTo>
                      <a:pt x="625" y="783"/>
                      <a:pt x="624" y="810"/>
                      <a:pt x="646" y="805"/>
                    </a:cubicBezTo>
                    <a:cubicBezTo>
                      <a:pt x="654" y="796"/>
                      <a:pt x="667" y="800"/>
                      <a:pt x="673" y="809"/>
                    </a:cubicBezTo>
                    <a:cubicBezTo>
                      <a:pt x="664" y="822"/>
                      <a:pt x="680" y="837"/>
                      <a:pt x="677" y="849"/>
                    </a:cubicBezTo>
                    <a:cubicBezTo>
                      <a:pt x="692" y="842"/>
                      <a:pt x="684" y="857"/>
                      <a:pt x="684" y="865"/>
                    </a:cubicBezTo>
                    <a:cubicBezTo>
                      <a:pt x="678" y="880"/>
                      <a:pt x="688" y="890"/>
                      <a:pt x="700" y="896"/>
                    </a:cubicBezTo>
                    <a:cubicBezTo>
                      <a:pt x="714" y="895"/>
                      <a:pt x="716" y="911"/>
                      <a:pt x="711" y="922"/>
                    </a:cubicBezTo>
                    <a:cubicBezTo>
                      <a:pt x="711" y="931"/>
                      <a:pt x="707" y="933"/>
                      <a:pt x="702" y="933"/>
                    </a:cubicBezTo>
                    <a:cubicBezTo>
                      <a:pt x="697" y="933"/>
                      <a:pt x="691" y="931"/>
                      <a:pt x="686" y="930"/>
                    </a:cubicBezTo>
                    <a:cubicBezTo>
                      <a:pt x="675" y="927"/>
                      <a:pt x="662" y="933"/>
                      <a:pt x="655" y="941"/>
                    </a:cubicBezTo>
                    <a:cubicBezTo>
                      <a:pt x="643" y="938"/>
                      <a:pt x="642" y="951"/>
                      <a:pt x="631" y="953"/>
                    </a:cubicBezTo>
                    <a:cubicBezTo>
                      <a:pt x="609" y="954"/>
                      <a:pt x="633" y="980"/>
                      <a:pt x="615" y="988"/>
                    </a:cubicBezTo>
                    <a:cubicBezTo>
                      <a:pt x="601" y="985"/>
                      <a:pt x="604" y="1005"/>
                      <a:pt x="594" y="1006"/>
                    </a:cubicBezTo>
                    <a:cubicBezTo>
                      <a:pt x="581" y="1007"/>
                      <a:pt x="576" y="1022"/>
                      <a:pt x="569" y="1029"/>
                    </a:cubicBezTo>
                    <a:cubicBezTo>
                      <a:pt x="564" y="1038"/>
                      <a:pt x="556" y="1049"/>
                      <a:pt x="546" y="1053"/>
                    </a:cubicBezTo>
                    <a:cubicBezTo>
                      <a:pt x="543" y="1060"/>
                      <a:pt x="530" y="1053"/>
                      <a:pt x="531" y="1065"/>
                    </a:cubicBezTo>
                    <a:cubicBezTo>
                      <a:pt x="522" y="1080"/>
                      <a:pt x="502" y="1063"/>
                      <a:pt x="490" y="1076"/>
                    </a:cubicBezTo>
                    <a:cubicBezTo>
                      <a:pt x="474" y="1078"/>
                      <a:pt x="458" y="1081"/>
                      <a:pt x="442" y="1080"/>
                    </a:cubicBezTo>
                    <a:cubicBezTo>
                      <a:pt x="433" y="1076"/>
                      <a:pt x="401" y="1086"/>
                      <a:pt x="417" y="1097"/>
                    </a:cubicBezTo>
                    <a:cubicBezTo>
                      <a:pt x="433" y="1100"/>
                      <a:pt x="426" y="1114"/>
                      <a:pt x="417" y="1121"/>
                    </a:cubicBezTo>
                    <a:cubicBezTo>
                      <a:pt x="413" y="1136"/>
                      <a:pt x="394" y="1136"/>
                      <a:pt x="391" y="1151"/>
                    </a:cubicBezTo>
                    <a:cubicBezTo>
                      <a:pt x="380" y="1156"/>
                      <a:pt x="364" y="1153"/>
                      <a:pt x="351" y="1155"/>
                    </a:cubicBezTo>
                    <a:cubicBezTo>
                      <a:pt x="339" y="1162"/>
                      <a:pt x="325" y="1153"/>
                      <a:pt x="313" y="1161"/>
                    </a:cubicBezTo>
                    <a:cubicBezTo>
                      <a:pt x="297" y="1164"/>
                      <a:pt x="286" y="1175"/>
                      <a:pt x="273" y="1181"/>
                    </a:cubicBezTo>
                    <a:cubicBezTo>
                      <a:pt x="263" y="1178"/>
                      <a:pt x="260" y="1197"/>
                      <a:pt x="252" y="1186"/>
                    </a:cubicBezTo>
                    <a:cubicBezTo>
                      <a:pt x="242" y="1183"/>
                      <a:pt x="242" y="1168"/>
                      <a:pt x="234" y="1167"/>
                    </a:cubicBezTo>
                    <a:cubicBezTo>
                      <a:pt x="225" y="1171"/>
                      <a:pt x="228" y="1180"/>
                      <a:pt x="219" y="1182"/>
                    </a:cubicBezTo>
                    <a:cubicBezTo>
                      <a:pt x="203" y="1184"/>
                      <a:pt x="193" y="1197"/>
                      <a:pt x="177" y="1197"/>
                    </a:cubicBezTo>
                    <a:cubicBezTo>
                      <a:pt x="175" y="1189"/>
                      <a:pt x="161" y="1196"/>
                      <a:pt x="160" y="1191"/>
                    </a:cubicBezTo>
                    <a:cubicBezTo>
                      <a:pt x="160" y="1190"/>
                      <a:pt x="160" y="1190"/>
                      <a:pt x="160" y="1189"/>
                    </a:cubicBezTo>
                    <a:cubicBezTo>
                      <a:pt x="171" y="1177"/>
                      <a:pt x="156" y="1174"/>
                      <a:pt x="153" y="1163"/>
                    </a:cubicBezTo>
                    <a:cubicBezTo>
                      <a:pt x="150" y="1151"/>
                      <a:pt x="144" y="1140"/>
                      <a:pt x="139" y="1129"/>
                    </a:cubicBezTo>
                    <a:cubicBezTo>
                      <a:pt x="133" y="1114"/>
                      <a:pt x="120" y="1102"/>
                      <a:pt x="107" y="1095"/>
                    </a:cubicBezTo>
                    <a:cubicBezTo>
                      <a:pt x="98" y="1088"/>
                      <a:pt x="88" y="1081"/>
                      <a:pt x="79" y="1073"/>
                    </a:cubicBezTo>
                    <a:cubicBezTo>
                      <a:pt x="70" y="1063"/>
                      <a:pt x="62" y="1051"/>
                      <a:pt x="52" y="1041"/>
                    </a:cubicBezTo>
                    <a:cubicBezTo>
                      <a:pt x="43" y="1036"/>
                      <a:pt x="42" y="1024"/>
                      <a:pt x="53" y="1020"/>
                    </a:cubicBezTo>
                    <a:cubicBezTo>
                      <a:pt x="57" y="1007"/>
                      <a:pt x="68" y="1005"/>
                      <a:pt x="80" y="1006"/>
                    </a:cubicBezTo>
                    <a:cubicBezTo>
                      <a:pt x="94" y="1009"/>
                      <a:pt x="107" y="1011"/>
                      <a:pt x="121" y="1009"/>
                    </a:cubicBezTo>
                    <a:cubicBezTo>
                      <a:pt x="135" y="1003"/>
                      <a:pt x="147" y="1013"/>
                      <a:pt x="161" y="1009"/>
                    </a:cubicBezTo>
                    <a:cubicBezTo>
                      <a:pt x="174" y="1009"/>
                      <a:pt x="165" y="1002"/>
                      <a:pt x="159" y="998"/>
                    </a:cubicBezTo>
                    <a:cubicBezTo>
                      <a:pt x="148" y="990"/>
                      <a:pt x="142" y="977"/>
                      <a:pt x="133" y="968"/>
                    </a:cubicBezTo>
                    <a:cubicBezTo>
                      <a:pt x="130" y="957"/>
                      <a:pt x="125" y="946"/>
                      <a:pt x="124" y="934"/>
                    </a:cubicBezTo>
                    <a:cubicBezTo>
                      <a:pt x="120" y="923"/>
                      <a:pt x="122" y="912"/>
                      <a:pt x="125" y="901"/>
                    </a:cubicBezTo>
                    <a:cubicBezTo>
                      <a:pt x="134" y="891"/>
                      <a:pt x="122" y="883"/>
                      <a:pt x="127" y="871"/>
                    </a:cubicBezTo>
                    <a:cubicBezTo>
                      <a:pt x="122" y="865"/>
                      <a:pt x="126" y="858"/>
                      <a:pt x="124" y="850"/>
                    </a:cubicBezTo>
                    <a:cubicBezTo>
                      <a:pt x="108" y="848"/>
                      <a:pt x="116" y="830"/>
                      <a:pt x="110" y="818"/>
                    </a:cubicBezTo>
                    <a:cubicBezTo>
                      <a:pt x="112" y="809"/>
                      <a:pt x="100" y="808"/>
                      <a:pt x="100" y="802"/>
                    </a:cubicBezTo>
                    <a:cubicBezTo>
                      <a:pt x="90" y="801"/>
                      <a:pt x="84" y="794"/>
                      <a:pt x="84" y="783"/>
                    </a:cubicBezTo>
                    <a:cubicBezTo>
                      <a:pt x="81" y="768"/>
                      <a:pt x="63" y="776"/>
                      <a:pt x="52" y="774"/>
                    </a:cubicBezTo>
                    <a:cubicBezTo>
                      <a:pt x="41" y="758"/>
                      <a:pt x="30" y="742"/>
                      <a:pt x="19" y="726"/>
                    </a:cubicBezTo>
                    <a:cubicBezTo>
                      <a:pt x="15" y="710"/>
                      <a:pt x="12" y="695"/>
                      <a:pt x="8" y="679"/>
                    </a:cubicBezTo>
                    <a:cubicBezTo>
                      <a:pt x="0" y="664"/>
                      <a:pt x="28" y="670"/>
                      <a:pt x="23" y="656"/>
                    </a:cubicBezTo>
                    <a:cubicBezTo>
                      <a:pt x="35" y="651"/>
                      <a:pt x="27" y="637"/>
                      <a:pt x="35" y="629"/>
                    </a:cubicBezTo>
                    <a:cubicBezTo>
                      <a:pt x="48" y="613"/>
                      <a:pt x="60" y="596"/>
                      <a:pt x="71" y="579"/>
                    </a:cubicBezTo>
                    <a:cubicBezTo>
                      <a:pt x="98" y="547"/>
                      <a:pt x="128" y="518"/>
                      <a:pt x="156" y="487"/>
                    </a:cubicBezTo>
                    <a:cubicBezTo>
                      <a:pt x="158" y="458"/>
                      <a:pt x="160" y="428"/>
                      <a:pt x="161" y="399"/>
                    </a:cubicBezTo>
                    <a:cubicBezTo>
                      <a:pt x="163" y="363"/>
                      <a:pt x="166" y="327"/>
                      <a:pt x="171" y="292"/>
                    </a:cubicBezTo>
                    <a:cubicBezTo>
                      <a:pt x="173" y="275"/>
                      <a:pt x="174" y="258"/>
                      <a:pt x="184" y="244"/>
                    </a:cubicBezTo>
                    <a:cubicBezTo>
                      <a:pt x="199" y="231"/>
                      <a:pt x="183" y="220"/>
                      <a:pt x="175" y="211"/>
                    </a:cubicBezTo>
                    <a:cubicBezTo>
                      <a:pt x="167" y="205"/>
                      <a:pt x="152" y="193"/>
                      <a:pt x="165" y="185"/>
                    </a:cubicBezTo>
                    <a:cubicBezTo>
                      <a:pt x="155" y="171"/>
                      <a:pt x="147" y="156"/>
                      <a:pt x="135" y="144"/>
                    </a:cubicBezTo>
                    <a:cubicBezTo>
                      <a:pt x="133" y="127"/>
                      <a:pt x="136" y="109"/>
                      <a:pt x="131" y="93"/>
                    </a:cubicBezTo>
                    <a:cubicBezTo>
                      <a:pt x="128" y="73"/>
                      <a:pt x="124" y="53"/>
                      <a:pt x="120" y="34"/>
                    </a:cubicBezTo>
                    <a:cubicBezTo>
                      <a:pt x="144" y="22"/>
                      <a:pt x="167" y="11"/>
                      <a:pt x="191" y="0"/>
                    </a:cubicBezTo>
                    <a:cubicBezTo>
                      <a:pt x="386" y="93"/>
                      <a:pt x="579" y="189"/>
                      <a:pt x="770" y="289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34329" name="Central African Republic"/>
              <p:cNvSpPr>
                <a:spLocks/>
              </p:cNvSpPr>
              <p:nvPr/>
            </p:nvSpPr>
            <p:spPr bwMode="auto">
              <a:xfrm>
                <a:off x="4609091" y="4214133"/>
                <a:ext cx="360078" cy="287071"/>
              </a:xfrm>
              <a:custGeom>
                <a:avLst/>
                <a:gdLst>
                  <a:gd name="T0" fmla="*/ 18917190 w 990"/>
                  <a:gd name="T1" fmla="*/ 123924458 h 665"/>
                  <a:gd name="T2" fmla="*/ 18652769 w 990"/>
                  <a:gd name="T3" fmla="*/ 123551914 h 665"/>
                  <a:gd name="T4" fmla="*/ 15213116 w 990"/>
                  <a:gd name="T5" fmla="*/ 111438790 h 665"/>
                  <a:gd name="T6" fmla="*/ 7408151 w 990"/>
                  <a:gd name="T7" fmla="*/ 99139637 h 665"/>
                  <a:gd name="T8" fmla="*/ 4630094 w 990"/>
                  <a:gd name="T9" fmla="*/ 90940201 h 665"/>
                  <a:gd name="T10" fmla="*/ 3042478 w 990"/>
                  <a:gd name="T11" fmla="*/ 78081584 h 665"/>
                  <a:gd name="T12" fmla="*/ 3704076 w 990"/>
                  <a:gd name="T13" fmla="*/ 67646017 h 665"/>
                  <a:gd name="T14" fmla="*/ 8598591 w 990"/>
                  <a:gd name="T15" fmla="*/ 56091940 h 665"/>
                  <a:gd name="T16" fmla="*/ 12170639 w 990"/>
                  <a:gd name="T17" fmla="*/ 49197058 h 665"/>
                  <a:gd name="T18" fmla="*/ 19975601 w 990"/>
                  <a:gd name="T19" fmla="*/ 47519959 h 665"/>
                  <a:gd name="T20" fmla="*/ 24341278 w 990"/>
                  <a:gd name="T21" fmla="*/ 48265480 h 665"/>
                  <a:gd name="T22" fmla="*/ 32410661 w 990"/>
                  <a:gd name="T23" fmla="*/ 43606298 h 665"/>
                  <a:gd name="T24" fmla="*/ 42729257 w 990"/>
                  <a:gd name="T25" fmla="*/ 41743143 h 665"/>
                  <a:gd name="T26" fmla="*/ 46168910 w 990"/>
                  <a:gd name="T27" fmla="*/ 31680121 h 665"/>
                  <a:gd name="T28" fmla="*/ 55825920 w 990"/>
                  <a:gd name="T29" fmla="*/ 27766453 h 665"/>
                  <a:gd name="T30" fmla="*/ 63234069 w 990"/>
                  <a:gd name="T31" fmla="*/ 23480247 h 665"/>
                  <a:gd name="T32" fmla="*/ 69583806 w 990"/>
                  <a:gd name="T33" fmla="*/ 14721779 h 665"/>
                  <a:gd name="T34" fmla="*/ 74478683 w 990"/>
                  <a:gd name="T35" fmla="*/ 4845240 h 665"/>
                  <a:gd name="T36" fmla="*/ 81754439 w 990"/>
                  <a:gd name="T37" fmla="*/ 559033 h 665"/>
                  <a:gd name="T38" fmla="*/ 84532495 w 990"/>
                  <a:gd name="T39" fmla="*/ 1304554 h 665"/>
                  <a:gd name="T40" fmla="*/ 92469849 w 990"/>
                  <a:gd name="T41" fmla="*/ 16212821 h 665"/>
                  <a:gd name="T42" fmla="*/ 90882233 w 990"/>
                  <a:gd name="T43" fmla="*/ 28884526 h 665"/>
                  <a:gd name="T44" fmla="*/ 97232357 w 990"/>
                  <a:gd name="T45" fmla="*/ 32611699 h 665"/>
                  <a:gd name="T46" fmla="*/ 101862449 w 990"/>
                  <a:gd name="T47" fmla="*/ 39506581 h 665"/>
                  <a:gd name="T48" fmla="*/ 109005813 w 990"/>
                  <a:gd name="T49" fmla="*/ 46401894 h 665"/>
                  <a:gd name="T50" fmla="*/ 114165111 w 990"/>
                  <a:gd name="T51" fmla="*/ 54414841 h 665"/>
                  <a:gd name="T52" fmla="*/ 119456802 w 990"/>
                  <a:gd name="T53" fmla="*/ 62987266 h 665"/>
                  <a:gd name="T54" fmla="*/ 121441231 w 990"/>
                  <a:gd name="T55" fmla="*/ 69323115 h 665"/>
                  <a:gd name="T56" fmla="*/ 128584595 w 990"/>
                  <a:gd name="T57" fmla="*/ 75845452 h 665"/>
                  <a:gd name="T58" fmla="*/ 130701417 w 990"/>
                  <a:gd name="T59" fmla="*/ 83858831 h 665"/>
                  <a:gd name="T60" fmla="*/ 125012913 w 990"/>
                  <a:gd name="T61" fmla="*/ 83858831 h 665"/>
                  <a:gd name="T62" fmla="*/ 117339980 w 990"/>
                  <a:gd name="T63" fmla="*/ 81436212 h 665"/>
                  <a:gd name="T64" fmla="*/ 113635906 w 990"/>
                  <a:gd name="T65" fmla="*/ 81063236 h 665"/>
                  <a:gd name="T66" fmla="*/ 106624571 w 990"/>
                  <a:gd name="T67" fmla="*/ 85162953 h 665"/>
                  <a:gd name="T68" fmla="*/ 106492542 w 990"/>
                  <a:gd name="T69" fmla="*/ 84976897 h 665"/>
                  <a:gd name="T70" fmla="*/ 100274833 w 990"/>
                  <a:gd name="T71" fmla="*/ 84231376 h 665"/>
                  <a:gd name="T72" fmla="*/ 100274833 w 990"/>
                  <a:gd name="T73" fmla="*/ 84231376 h 665"/>
                  <a:gd name="T74" fmla="*/ 94983484 w 990"/>
                  <a:gd name="T75" fmla="*/ 87399516 h 665"/>
                  <a:gd name="T76" fmla="*/ 87046130 w 990"/>
                  <a:gd name="T77" fmla="*/ 88517582 h 665"/>
                  <a:gd name="T78" fmla="*/ 82680458 w 990"/>
                  <a:gd name="T79" fmla="*/ 92430811 h 665"/>
                  <a:gd name="T80" fmla="*/ 72891067 w 990"/>
                  <a:gd name="T81" fmla="*/ 94853431 h 665"/>
                  <a:gd name="T82" fmla="*/ 61911237 w 990"/>
                  <a:gd name="T83" fmla="*/ 92430811 h 665"/>
                  <a:gd name="T84" fmla="*/ 53973883 w 990"/>
                  <a:gd name="T85" fmla="*/ 82926822 h 665"/>
                  <a:gd name="T86" fmla="*/ 44184481 w 990"/>
                  <a:gd name="T87" fmla="*/ 93548877 h 665"/>
                  <a:gd name="T88" fmla="*/ 42861649 w 990"/>
                  <a:gd name="T89" fmla="*/ 103425843 h 665"/>
                  <a:gd name="T90" fmla="*/ 42332444 w 990"/>
                  <a:gd name="T91" fmla="*/ 105102941 h 665"/>
                  <a:gd name="T92" fmla="*/ 36643940 w 990"/>
                  <a:gd name="T93" fmla="*/ 105288997 h 665"/>
                  <a:gd name="T94" fmla="*/ 30029418 w 990"/>
                  <a:gd name="T95" fmla="*/ 104357420 h 665"/>
                  <a:gd name="T96" fmla="*/ 21827638 w 990"/>
                  <a:gd name="T97" fmla="*/ 111625278 h 66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990"/>
                  <a:gd name="T148" fmla="*/ 0 h 665"/>
                  <a:gd name="T149" fmla="*/ 990 w 990"/>
                  <a:gd name="T150" fmla="*/ 665 h 665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990" h="665">
                    <a:moveTo>
                      <a:pt x="157" y="636"/>
                    </a:moveTo>
                    <a:cubicBezTo>
                      <a:pt x="153" y="645"/>
                      <a:pt x="149" y="656"/>
                      <a:pt x="143" y="665"/>
                    </a:cubicBezTo>
                    <a:cubicBezTo>
                      <a:pt x="142" y="665"/>
                      <a:pt x="142" y="665"/>
                      <a:pt x="142" y="665"/>
                    </a:cubicBezTo>
                    <a:cubicBezTo>
                      <a:pt x="141" y="663"/>
                      <a:pt x="141" y="663"/>
                      <a:pt x="141" y="663"/>
                    </a:cubicBezTo>
                    <a:cubicBezTo>
                      <a:pt x="134" y="649"/>
                      <a:pt x="133" y="631"/>
                      <a:pt x="136" y="616"/>
                    </a:cubicBezTo>
                    <a:cubicBezTo>
                      <a:pt x="130" y="609"/>
                      <a:pt x="126" y="598"/>
                      <a:pt x="115" y="598"/>
                    </a:cubicBezTo>
                    <a:cubicBezTo>
                      <a:pt x="103" y="591"/>
                      <a:pt x="94" y="576"/>
                      <a:pt x="82" y="566"/>
                    </a:cubicBezTo>
                    <a:cubicBezTo>
                      <a:pt x="72" y="556"/>
                      <a:pt x="61" y="545"/>
                      <a:pt x="56" y="532"/>
                    </a:cubicBezTo>
                    <a:cubicBezTo>
                      <a:pt x="58" y="526"/>
                      <a:pt x="70" y="534"/>
                      <a:pt x="61" y="522"/>
                    </a:cubicBezTo>
                    <a:cubicBezTo>
                      <a:pt x="62" y="505"/>
                      <a:pt x="48" y="496"/>
                      <a:pt x="35" y="488"/>
                    </a:cubicBezTo>
                    <a:cubicBezTo>
                      <a:pt x="27" y="474"/>
                      <a:pt x="32" y="455"/>
                      <a:pt x="26" y="440"/>
                    </a:cubicBezTo>
                    <a:cubicBezTo>
                      <a:pt x="13" y="437"/>
                      <a:pt x="21" y="428"/>
                      <a:pt x="23" y="419"/>
                    </a:cubicBezTo>
                    <a:cubicBezTo>
                      <a:pt x="20" y="410"/>
                      <a:pt x="30" y="391"/>
                      <a:pt x="20" y="387"/>
                    </a:cubicBezTo>
                    <a:cubicBezTo>
                      <a:pt x="0" y="384"/>
                      <a:pt x="14" y="363"/>
                      <a:pt x="28" y="363"/>
                    </a:cubicBezTo>
                    <a:cubicBezTo>
                      <a:pt x="40" y="358"/>
                      <a:pt x="39" y="343"/>
                      <a:pt x="46" y="333"/>
                    </a:cubicBezTo>
                    <a:cubicBezTo>
                      <a:pt x="52" y="323"/>
                      <a:pt x="62" y="315"/>
                      <a:pt x="65" y="301"/>
                    </a:cubicBezTo>
                    <a:cubicBezTo>
                      <a:pt x="66" y="284"/>
                      <a:pt x="85" y="280"/>
                      <a:pt x="90" y="265"/>
                    </a:cubicBezTo>
                    <a:cubicBezTo>
                      <a:pt x="92" y="264"/>
                      <a:pt x="92" y="264"/>
                      <a:pt x="92" y="264"/>
                    </a:cubicBezTo>
                    <a:cubicBezTo>
                      <a:pt x="93" y="269"/>
                      <a:pt x="107" y="262"/>
                      <a:pt x="109" y="270"/>
                    </a:cubicBezTo>
                    <a:cubicBezTo>
                      <a:pt x="125" y="270"/>
                      <a:pt x="135" y="257"/>
                      <a:pt x="151" y="255"/>
                    </a:cubicBezTo>
                    <a:cubicBezTo>
                      <a:pt x="160" y="253"/>
                      <a:pt x="157" y="244"/>
                      <a:pt x="166" y="240"/>
                    </a:cubicBezTo>
                    <a:cubicBezTo>
                      <a:pt x="174" y="241"/>
                      <a:pt x="174" y="256"/>
                      <a:pt x="184" y="259"/>
                    </a:cubicBezTo>
                    <a:cubicBezTo>
                      <a:pt x="192" y="270"/>
                      <a:pt x="195" y="251"/>
                      <a:pt x="205" y="254"/>
                    </a:cubicBezTo>
                    <a:cubicBezTo>
                      <a:pt x="218" y="248"/>
                      <a:pt x="229" y="237"/>
                      <a:pt x="245" y="234"/>
                    </a:cubicBezTo>
                    <a:cubicBezTo>
                      <a:pt x="257" y="226"/>
                      <a:pt x="271" y="235"/>
                      <a:pt x="283" y="228"/>
                    </a:cubicBezTo>
                    <a:cubicBezTo>
                      <a:pt x="296" y="226"/>
                      <a:pt x="312" y="229"/>
                      <a:pt x="323" y="224"/>
                    </a:cubicBezTo>
                    <a:cubicBezTo>
                      <a:pt x="326" y="209"/>
                      <a:pt x="345" y="209"/>
                      <a:pt x="349" y="194"/>
                    </a:cubicBezTo>
                    <a:cubicBezTo>
                      <a:pt x="358" y="187"/>
                      <a:pt x="365" y="173"/>
                      <a:pt x="349" y="170"/>
                    </a:cubicBezTo>
                    <a:cubicBezTo>
                      <a:pt x="333" y="159"/>
                      <a:pt x="365" y="149"/>
                      <a:pt x="374" y="153"/>
                    </a:cubicBezTo>
                    <a:cubicBezTo>
                      <a:pt x="390" y="154"/>
                      <a:pt x="406" y="151"/>
                      <a:pt x="422" y="149"/>
                    </a:cubicBezTo>
                    <a:cubicBezTo>
                      <a:pt x="434" y="136"/>
                      <a:pt x="454" y="153"/>
                      <a:pt x="463" y="138"/>
                    </a:cubicBezTo>
                    <a:cubicBezTo>
                      <a:pt x="462" y="126"/>
                      <a:pt x="475" y="133"/>
                      <a:pt x="478" y="126"/>
                    </a:cubicBezTo>
                    <a:cubicBezTo>
                      <a:pt x="488" y="122"/>
                      <a:pt x="496" y="111"/>
                      <a:pt x="501" y="102"/>
                    </a:cubicBezTo>
                    <a:cubicBezTo>
                      <a:pt x="508" y="95"/>
                      <a:pt x="513" y="80"/>
                      <a:pt x="526" y="79"/>
                    </a:cubicBezTo>
                    <a:cubicBezTo>
                      <a:pt x="536" y="78"/>
                      <a:pt x="533" y="58"/>
                      <a:pt x="547" y="61"/>
                    </a:cubicBezTo>
                    <a:cubicBezTo>
                      <a:pt x="565" y="53"/>
                      <a:pt x="541" y="27"/>
                      <a:pt x="563" y="26"/>
                    </a:cubicBezTo>
                    <a:cubicBezTo>
                      <a:pt x="574" y="24"/>
                      <a:pt x="575" y="11"/>
                      <a:pt x="587" y="14"/>
                    </a:cubicBezTo>
                    <a:cubicBezTo>
                      <a:pt x="594" y="6"/>
                      <a:pt x="607" y="0"/>
                      <a:pt x="618" y="3"/>
                    </a:cubicBezTo>
                    <a:cubicBezTo>
                      <a:pt x="623" y="4"/>
                      <a:pt x="629" y="6"/>
                      <a:pt x="634" y="6"/>
                    </a:cubicBezTo>
                    <a:cubicBezTo>
                      <a:pt x="639" y="7"/>
                      <a:pt x="639" y="7"/>
                      <a:pt x="639" y="7"/>
                    </a:cubicBezTo>
                    <a:cubicBezTo>
                      <a:pt x="645" y="23"/>
                      <a:pt x="661" y="31"/>
                      <a:pt x="672" y="43"/>
                    </a:cubicBezTo>
                    <a:cubicBezTo>
                      <a:pt x="682" y="57"/>
                      <a:pt x="690" y="72"/>
                      <a:pt x="699" y="87"/>
                    </a:cubicBezTo>
                    <a:cubicBezTo>
                      <a:pt x="705" y="99"/>
                      <a:pt x="695" y="109"/>
                      <a:pt x="699" y="121"/>
                    </a:cubicBezTo>
                    <a:cubicBezTo>
                      <a:pt x="705" y="137"/>
                      <a:pt x="676" y="140"/>
                      <a:pt x="687" y="155"/>
                    </a:cubicBezTo>
                    <a:cubicBezTo>
                      <a:pt x="704" y="150"/>
                      <a:pt x="684" y="175"/>
                      <a:pt x="689" y="171"/>
                    </a:cubicBezTo>
                    <a:cubicBezTo>
                      <a:pt x="701" y="175"/>
                      <a:pt x="720" y="172"/>
                      <a:pt x="735" y="175"/>
                    </a:cubicBezTo>
                    <a:cubicBezTo>
                      <a:pt x="750" y="172"/>
                      <a:pt x="743" y="189"/>
                      <a:pt x="737" y="195"/>
                    </a:cubicBezTo>
                    <a:cubicBezTo>
                      <a:pt x="738" y="213"/>
                      <a:pt x="760" y="204"/>
                      <a:pt x="770" y="212"/>
                    </a:cubicBezTo>
                    <a:cubicBezTo>
                      <a:pt x="784" y="208"/>
                      <a:pt x="797" y="217"/>
                      <a:pt x="802" y="230"/>
                    </a:cubicBezTo>
                    <a:cubicBezTo>
                      <a:pt x="809" y="237"/>
                      <a:pt x="825" y="234"/>
                      <a:pt x="824" y="249"/>
                    </a:cubicBezTo>
                    <a:cubicBezTo>
                      <a:pt x="824" y="256"/>
                      <a:pt x="808" y="262"/>
                      <a:pt x="823" y="267"/>
                    </a:cubicBezTo>
                    <a:cubicBezTo>
                      <a:pt x="832" y="281"/>
                      <a:pt x="849" y="285"/>
                      <a:pt x="863" y="292"/>
                    </a:cubicBezTo>
                    <a:cubicBezTo>
                      <a:pt x="875" y="299"/>
                      <a:pt x="883" y="307"/>
                      <a:pt x="890" y="318"/>
                    </a:cubicBezTo>
                    <a:cubicBezTo>
                      <a:pt x="896" y="325"/>
                      <a:pt x="915" y="326"/>
                      <a:pt x="903" y="338"/>
                    </a:cubicBezTo>
                    <a:cubicBezTo>
                      <a:pt x="894" y="351"/>
                      <a:pt x="915" y="354"/>
                      <a:pt x="918" y="364"/>
                    </a:cubicBezTo>
                    <a:cubicBezTo>
                      <a:pt x="914" y="368"/>
                      <a:pt x="909" y="372"/>
                      <a:pt x="918" y="372"/>
                    </a:cubicBezTo>
                    <a:cubicBezTo>
                      <a:pt x="924" y="381"/>
                      <a:pt x="939" y="373"/>
                      <a:pt x="944" y="386"/>
                    </a:cubicBezTo>
                    <a:cubicBezTo>
                      <a:pt x="954" y="390"/>
                      <a:pt x="969" y="394"/>
                      <a:pt x="972" y="407"/>
                    </a:cubicBezTo>
                    <a:cubicBezTo>
                      <a:pt x="977" y="415"/>
                      <a:pt x="968" y="432"/>
                      <a:pt x="981" y="440"/>
                    </a:cubicBezTo>
                    <a:cubicBezTo>
                      <a:pt x="986" y="441"/>
                      <a:pt x="990" y="450"/>
                      <a:pt x="988" y="450"/>
                    </a:cubicBezTo>
                    <a:cubicBezTo>
                      <a:pt x="988" y="450"/>
                      <a:pt x="986" y="450"/>
                      <a:pt x="985" y="447"/>
                    </a:cubicBezTo>
                    <a:cubicBezTo>
                      <a:pt x="971" y="440"/>
                      <a:pt x="953" y="433"/>
                      <a:pt x="945" y="450"/>
                    </a:cubicBezTo>
                    <a:cubicBezTo>
                      <a:pt x="935" y="445"/>
                      <a:pt x="926" y="450"/>
                      <a:pt x="915" y="449"/>
                    </a:cubicBezTo>
                    <a:cubicBezTo>
                      <a:pt x="907" y="444"/>
                      <a:pt x="896" y="437"/>
                      <a:pt x="887" y="437"/>
                    </a:cubicBezTo>
                    <a:cubicBezTo>
                      <a:pt x="881" y="440"/>
                      <a:pt x="865" y="441"/>
                      <a:pt x="871" y="439"/>
                    </a:cubicBezTo>
                    <a:cubicBezTo>
                      <a:pt x="861" y="437"/>
                      <a:pt x="869" y="435"/>
                      <a:pt x="859" y="435"/>
                    </a:cubicBezTo>
                    <a:cubicBezTo>
                      <a:pt x="852" y="424"/>
                      <a:pt x="830" y="424"/>
                      <a:pt x="829" y="441"/>
                    </a:cubicBezTo>
                    <a:cubicBezTo>
                      <a:pt x="834" y="455"/>
                      <a:pt x="800" y="459"/>
                      <a:pt x="806" y="457"/>
                    </a:cubicBezTo>
                    <a:cubicBezTo>
                      <a:pt x="805" y="456"/>
                      <a:pt x="805" y="456"/>
                      <a:pt x="805" y="456"/>
                    </a:cubicBezTo>
                    <a:cubicBezTo>
                      <a:pt x="805" y="456"/>
                      <a:pt x="805" y="456"/>
                      <a:pt x="805" y="456"/>
                    </a:cubicBezTo>
                    <a:cubicBezTo>
                      <a:pt x="795" y="456"/>
                      <a:pt x="781" y="468"/>
                      <a:pt x="776" y="454"/>
                    </a:cubicBezTo>
                    <a:cubicBezTo>
                      <a:pt x="772" y="450"/>
                      <a:pt x="762" y="454"/>
                      <a:pt x="758" y="452"/>
                    </a:cubicBezTo>
                    <a:cubicBezTo>
                      <a:pt x="759" y="451"/>
                      <a:pt x="758" y="451"/>
                      <a:pt x="757" y="450"/>
                    </a:cubicBezTo>
                    <a:cubicBezTo>
                      <a:pt x="757" y="451"/>
                      <a:pt x="757" y="452"/>
                      <a:pt x="758" y="452"/>
                    </a:cubicBezTo>
                    <a:cubicBezTo>
                      <a:pt x="756" y="456"/>
                      <a:pt x="742" y="459"/>
                      <a:pt x="746" y="459"/>
                    </a:cubicBezTo>
                    <a:cubicBezTo>
                      <a:pt x="737" y="460"/>
                      <a:pt x="728" y="467"/>
                      <a:pt x="718" y="469"/>
                    </a:cubicBezTo>
                    <a:cubicBezTo>
                      <a:pt x="704" y="471"/>
                      <a:pt x="693" y="479"/>
                      <a:pt x="682" y="486"/>
                    </a:cubicBezTo>
                    <a:cubicBezTo>
                      <a:pt x="673" y="482"/>
                      <a:pt x="668" y="474"/>
                      <a:pt x="658" y="475"/>
                    </a:cubicBezTo>
                    <a:cubicBezTo>
                      <a:pt x="655" y="465"/>
                      <a:pt x="645" y="468"/>
                      <a:pt x="644" y="476"/>
                    </a:cubicBezTo>
                    <a:cubicBezTo>
                      <a:pt x="631" y="476"/>
                      <a:pt x="636" y="496"/>
                      <a:pt x="625" y="496"/>
                    </a:cubicBezTo>
                    <a:cubicBezTo>
                      <a:pt x="626" y="511"/>
                      <a:pt x="612" y="528"/>
                      <a:pt x="596" y="520"/>
                    </a:cubicBezTo>
                    <a:cubicBezTo>
                      <a:pt x="582" y="512"/>
                      <a:pt x="566" y="510"/>
                      <a:pt x="551" y="509"/>
                    </a:cubicBezTo>
                    <a:cubicBezTo>
                      <a:pt x="540" y="517"/>
                      <a:pt x="527" y="505"/>
                      <a:pt x="516" y="507"/>
                    </a:cubicBezTo>
                    <a:cubicBezTo>
                      <a:pt x="504" y="489"/>
                      <a:pt x="483" y="505"/>
                      <a:pt x="468" y="496"/>
                    </a:cubicBezTo>
                    <a:cubicBezTo>
                      <a:pt x="462" y="486"/>
                      <a:pt x="458" y="472"/>
                      <a:pt x="444" y="468"/>
                    </a:cubicBezTo>
                    <a:cubicBezTo>
                      <a:pt x="433" y="459"/>
                      <a:pt x="419" y="454"/>
                      <a:pt x="408" y="445"/>
                    </a:cubicBezTo>
                    <a:cubicBezTo>
                      <a:pt x="390" y="440"/>
                      <a:pt x="377" y="453"/>
                      <a:pt x="362" y="461"/>
                    </a:cubicBezTo>
                    <a:cubicBezTo>
                      <a:pt x="353" y="475"/>
                      <a:pt x="342" y="488"/>
                      <a:pt x="334" y="502"/>
                    </a:cubicBezTo>
                    <a:cubicBezTo>
                      <a:pt x="329" y="505"/>
                      <a:pt x="314" y="502"/>
                      <a:pt x="322" y="513"/>
                    </a:cubicBezTo>
                    <a:cubicBezTo>
                      <a:pt x="333" y="525"/>
                      <a:pt x="322" y="541"/>
                      <a:pt x="324" y="555"/>
                    </a:cubicBezTo>
                    <a:cubicBezTo>
                      <a:pt x="325" y="559"/>
                      <a:pt x="326" y="569"/>
                      <a:pt x="324" y="569"/>
                    </a:cubicBezTo>
                    <a:cubicBezTo>
                      <a:pt x="323" y="569"/>
                      <a:pt x="322" y="568"/>
                      <a:pt x="320" y="564"/>
                    </a:cubicBezTo>
                    <a:cubicBezTo>
                      <a:pt x="317" y="555"/>
                      <a:pt x="292" y="565"/>
                      <a:pt x="299" y="565"/>
                    </a:cubicBezTo>
                    <a:cubicBezTo>
                      <a:pt x="293" y="577"/>
                      <a:pt x="287" y="558"/>
                      <a:pt x="277" y="565"/>
                    </a:cubicBezTo>
                    <a:cubicBezTo>
                      <a:pt x="267" y="567"/>
                      <a:pt x="261" y="555"/>
                      <a:pt x="251" y="559"/>
                    </a:cubicBezTo>
                    <a:cubicBezTo>
                      <a:pt x="243" y="551"/>
                      <a:pt x="235" y="555"/>
                      <a:pt x="227" y="560"/>
                    </a:cubicBezTo>
                    <a:cubicBezTo>
                      <a:pt x="212" y="564"/>
                      <a:pt x="196" y="567"/>
                      <a:pt x="181" y="566"/>
                    </a:cubicBezTo>
                    <a:cubicBezTo>
                      <a:pt x="168" y="569"/>
                      <a:pt x="168" y="589"/>
                      <a:pt x="165" y="599"/>
                    </a:cubicBezTo>
                    <a:cubicBezTo>
                      <a:pt x="163" y="612"/>
                      <a:pt x="167" y="624"/>
                      <a:pt x="157" y="636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47" name="Cape Verde"/>
              <p:cNvSpPr>
                <a:spLocks/>
              </p:cNvSpPr>
              <p:nvPr>
                <p:custDataLst>
                  <p:tags r:id="rId112"/>
                </p:custDataLst>
              </p:nvPr>
            </p:nvSpPr>
            <p:spPr bwMode="auto">
              <a:xfrm>
                <a:off x="3671131" y="4015581"/>
                <a:ext cx="44864" cy="6038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1"/>
                  </a:cxn>
                  <a:cxn ang="0">
                    <a:pos x="8" y="11"/>
                  </a:cxn>
                  <a:cxn ang="0">
                    <a:pos x="8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11">
                    <a:moveTo>
                      <a:pt x="0" y="0"/>
                    </a:moveTo>
                    <a:lnTo>
                      <a:pt x="2" y="11"/>
                    </a:lnTo>
                    <a:lnTo>
                      <a:pt x="8" y="11"/>
                    </a:lnTo>
                    <a:lnTo>
                      <a:pt x="8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648" name="Canada"/>
              <p:cNvGrpSpPr/>
              <p:nvPr/>
            </p:nvGrpSpPr>
            <p:grpSpPr>
              <a:xfrm>
                <a:off x="1326865" y="2071995"/>
                <a:ext cx="2074764" cy="1153701"/>
                <a:chOff x="1326865" y="2052906"/>
                <a:chExt cx="2074764" cy="1153701"/>
              </a:xfrm>
              <a:solidFill>
                <a:srgbClr val="EF7A04"/>
              </a:solidFill>
            </p:grpSpPr>
            <p:sp>
              <p:nvSpPr>
                <p:cNvPr id="711" name="Canada"/>
                <p:cNvSpPr>
                  <a:spLocks/>
                </p:cNvSpPr>
                <p:nvPr/>
              </p:nvSpPr>
              <p:spPr bwMode="auto">
                <a:xfrm>
                  <a:off x="1326865" y="2822040"/>
                  <a:ext cx="49927" cy="72455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2"/>
                    </a:cxn>
                    <a:cxn ang="0">
                      <a:pos x="0" y="9"/>
                    </a:cxn>
                    <a:cxn ang="0">
                      <a:pos x="2" y="13"/>
                    </a:cxn>
                    <a:cxn ang="0">
                      <a:pos x="2" y="9"/>
                    </a:cxn>
                    <a:cxn ang="0">
                      <a:pos x="9" y="0"/>
                    </a:cxn>
                    <a:cxn ang="0">
                      <a:pos x="4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" h="13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0" y="9"/>
                      </a:lnTo>
                      <a:lnTo>
                        <a:pt x="2" y="13"/>
                      </a:lnTo>
                      <a:lnTo>
                        <a:pt x="2" y="9"/>
                      </a:ln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12" name="Canada"/>
                <p:cNvSpPr>
                  <a:spLocks/>
                </p:cNvSpPr>
                <p:nvPr/>
              </p:nvSpPr>
              <p:spPr bwMode="auto">
                <a:xfrm>
                  <a:off x="1376792" y="2922363"/>
                  <a:ext cx="55475" cy="8360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2" y="6"/>
                    </a:cxn>
                    <a:cxn ang="0">
                      <a:pos x="2" y="9"/>
                    </a:cxn>
                    <a:cxn ang="0">
                      <a:pos x="6" y="9"/>
                    </a:cxn>
                    <a:cxn ang="0">
                      <a:pos x="6" y="13"/>
                    </a:cxn>
                    <a:cxn ang="0">
                      <a:pos x="8" y="15"/>
                    </a:cxn>
                    <a:cxn ang="0">
                      <a:pos x="10" y="13"/>
                    </a:cxn>
                    <a:cxn ang="0">
                      <a:pos x="8" y="4"/>
                    </a:cxn>
                    <a:cxn ang="0">
                      <a:pos x="4" y="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" h="15">
                      <a:moveTo>
                        <a:pt x="0" y="0"/>
                      </a:moveTo>
                      <a:lnTo>
                        <a:pt x="0" y="4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6" y="9"/>
                      </a:lnTo>
                      <a:lnTo>
                        <a:pt x="6" y="13"/>
                      </a:lnTo>
                      <a:lnTo>
                        <a:pt x="8" y="15"/>
                      </a:lnTo>
                      <a:lnTo>
                        <a:pt x="10" y="13"/>
                      </a:lnTo>
                      <a:lnTo>
                        <a:pt x="8" y="4"/>
                      </a:lnTo>
                      <a:lnTo>
                        <a:pt x="4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13" name="Canada"/>
                <p:cNvSpPr>
                  <a:spLocks/>
                </p:cNvSpPr>
                <p:nvPr/>
              </p:nvSpPr>
              <p:spPr bwMode="auto">
                <a:xfrm>
                  <a:off x="2580599" y="2571235"/>
                  <a:ext cx="44380" cy="11147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8" y="0"/>
                    </a:cxn>
                    <a:cxn ang="0">
                      <a:pos x="4" y="0"/>
                    </a:cxn>
                    <a:cxn ang="0">
                      <a:pos x="2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8" h="2">
                      <a:moveTo>
                        <a:pt x="0" y="2"/>
                      </a:move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14" name="Canada"/>
                <p:cNvSpPr>
                  <a:spLocks/>
                </p:cNvSpPr>
                <p:nvPr/>
              </p:nvSpPr>
              <p:spPr bwMode="auto">
                <a:xfrm>
                  <a:off x="2647169" y="2582383"/>
                  <a:ext cx="22190" cy="1114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2"/>
                    </a:cxn>
                    <a:cxn ang="0">
                      <a:pos x="4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4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15" name="Canada"/>
                <p:cNvSpPr>
                  <a:spLocks/>
                </p:cNvSpPr>
                <p:nvPr/>
              </p:nvSpPr>
              <p:spPr bwMode="auto">
                <a:xfrm>
                  <a:off x="2530672" y="2470914"/>
                  <a:ext cx="160877" cy="72455"/>
                </a:xfrm>
                <a:custGeom>
                  <a:avLst/>
                  <a:gdLst/>
                  <a:ahLst/>
                  <a:cxnLst>
                    <a:cxn ang="0">
                      <a:pos x="0" y="11"/>
                    </a:cxn>
                    <a:cxn ang="0">
                      <a:pos x="6" y="11"/>
                    </a:cxn>
                    <a:cxn ang="0">
                      <a:pos x="6" y="13"/>
                    </a:cxn>
                    <a:cxn ang="0">
                      <a:pos x="15" y="11"/>
                    </a:cxn>
                    <a:cxn ang="0">
                      <a:pos x="17" y="11"/>
                    </a:cxn>
                    <a:cxn ang="0">
                      <a:pos x="23" y="13"/>
                    </a:cxn>
                    <a:cxn ang="0">
                      <a:pos x="29" y="11"/>
                    </a:cxn>
                    <a:cxn ang="0">
                      <a:pos x="17" y="2"/>
                    </a:cxn>
                    <a:cxn ang="0">
                      <a:pos x="17" y="0"/>
                    </a:cxn>
                    <a:cxn ang="0">
                      <a:pos x="13" y="4"/>
                    </a:cxn>
                    <a:cxn ang="0">
                      <a:pos x="6" y="11"/>
                    </a:cxn>
                    <a:cxn ang="0">
                      <a:pos x="2" y="11"/>
                    </a:cxn>
                    <a:cxn ang="0">
                      <a:pos x="0" y="11"/>
                    </a:cxn>
                  </a:cxnLst>
                  <a:rect l="0" t="0" r="r" b="b"/>
                  <a:pathLst>
                    <a:path w="29" h="13">
                      <a:moveTo>
                        <a:pt x="0" y="11"/>
                      </a:moveTo>
                      <a:lnTo>
                        <a:pt x="6" y="11"/>
                      </a:lnTo>
                      <a:lnTo>
                        <a:pt x="6" y="13"/>
                      </a:lnTo>
                      <a:lnTo>
                        <a:pt x="15" y="11"/>
                      </a:lnTo>
                      <a:lnTo>
                        <a:pt x="17" y="11"/>
                      </a:lnTo>
                      <a:lnTo>
                        <a:pt x="23" y="13"/>
                      </a:lnTo>
                      <a:lnTo>
                        <a:pt x="29" y="11"/>
                      </a:lnTo>
                      <a:lnTo>
                        <a:pt x="17" y="2"/>
                      </a:lnTo>
                      <a:lnTo>
                        <a:pt x="17" y="0"/>
                      </a:lnTo>
                      <a:lnTo>
                        <a:pt x="13" y="4"/>
                      </a:lnTo>
                      <a:lnTo>
                        <a:pt x="6" y="11"/>
                      </a:lnTo>
                      <a:lnTo>
                        <a:pt x="2" y="11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16" name="Canada"/>
                <p:cNvSpPr>
                  <a:spLocks/>
                </p:cNvSpPr>
                <p:nvPr/>
              </p:nvSpPr>
              <p:spPr bwMode="auto">
                <a:xfrm>
                  <a:off x="2658265" y="2253550"/>
                  <a:ext cx="438252" cy="328833"/>
                </a:xfrm>
                <a:custGeom>
                  <a:avLst/>
                  <a:gdLst/>
                  <a:ahLst/>
                  <a:cxnLst>
                    <a:cxn ang="0">
                      <a:pos x="0" y="9"/>
                    </a:cxn>
                    <a:cxn ang="0">
                      <a:pos x="2" y="16"/>
                    </a:cxn>
                    <a:cxn ang="0">
                      <a:pos x="8" y="18"/>
                    </a:cxn>
                    <a:cxn ang="0">
                      <a:pos x="23" y="18"/>
                    </a:cxn>
                    <a:cxn ang="0">
                      <a:pos x="25" y="23"/>
                    </a:cxn>
                    <a:cxn ang="0">
                      <a:pos x="34" y="18"/>
                    </a:cxn>
                    <a:cxn ang="0">
                      <a:pos x="40" y="23"/>
                    </a:cxn>
                    <a:cxn ang="0">
                      <a:pos x="34" y="25"/>
                    </a:cxn>
                    <a:cxn ang="0">
                      <a:pos x="40" y="25"/>
                    </a:cxn>
                    <a:cxn ang="0">
                      <a:pos x="42" y="25"/>
                    </a:cxn>
                    <a:cxn ang="0">
                      <a:pos x="46" y="30"/>
                    </a:cxn>
                    <a:cxn ang="0">
                      <a:pos x="46" y="34"/>
                    </a:cxn>
                    <a:cxn ang="0">
                      <a:pos x="31" y="39"/>
                    </a:cxn>
                    <a:cxn ang="0">
                      <a:pos x="34" y="41"/>
                    </a:cxn>
                    <a:cxn ang="0">
                      <a:pos x="29" y="43"/>
                    </a:cxn>
                    <a:cxn ang="0">
                      <a:pos x="21" y="41"/>
                    </a:cxn>
                    <a:cxn ang="0">
                      <a:pos x="15" y="48"/>
                    </a:cxn>
                    <a:cxn ang="0">
                      <a:pos x="23" y="48"/>
                    </a:cxn>
                    <a:cxn ang="0">
                      <a:pos x="31" y="50"/>
                    </a:cxn>
                    <a:cxn ang="0">
                      <a:pos x="34" y="50"/>
                    </a:cxn>
                    <a:cxn ang="0">
                      <a:pos x="34" y="57"/>
                    </a:cxn>
                    <a:cxn ang="0">
                      <a:pos x="42" y="59"/>
                    </a:cxn>
                    <a:cxn ang="0">
                      <a:pos x="52" y="59"/>
                    </a:cxn>
                    <a:cxn ang="0">
                      <a:pos x="46" y="52"/>
                    </a:cxn>
                    <a:cxn ang="0">
                      <a:pos x="46" y="50"/>
                    </a:cxn>
                    <a:cxn ang="0">
                      <a:pos x="54" y="57"/>
                    </a:cxn>
                    <a:cxn ang="0">
                      <a:pos x="61" y="57"/>
                    </a:cxn>
                    <a:cxn ang="0">
                      <a:pos x="63" y="52"/>
                    </a:cxn>
                    <a:cxn ang="0">
                      <a:pos x="61" y="50"/>
                    </a:cxn>
                    <a:cxn ang="0">
                      <a:pos x="63" y="48"/>
                    </a:cxn>
                    <a:cxn ang="0">
                      <a:pos x="56" y="41"/>
                    </a:cxn>
                    <a:cxn ang="0">
                      <a:pos x="61" y="39"/>
                    </a:cxn>
                    <a:cxn ang="0">
                      <a:pos x="65" y="41"/>
                    </a:cxn>
                    <a:cxn ang="0">
                      <a:pos x="65" y="43"/>
                    </a:cxn>
                    <a:cxn ang="0">
                      <a:pos x="69" y="43"/>
                    </a:cxn>
                    <a:cxn ang="0">
                      <a:pos x="79" y="34"/>
                    </a:cxn>
                    <a:cxn ang="0">
                      <a:pos x="71" y="30"/>
                    </a:cxn>
                    <a:cxn ang="0">
                      <a:pos x="65" y="30"/>
                    </a:cxn>
                    <a:cxn ang="0">
                      <a:pos x="63" y="25"/>
                    </a:cxn>
                    <a:cxn ang="0">
                      <a:pos x="65" y="25"/>
                    </a:cxn>
                    <a:cxn ang="0">
                      <a:pos x="71" y="23"/>
                    </a:cxn>
                    <a:cxn ang="0">
                      <a:pos x="71" y="18"/>
                    </a:cxn>
                    <a:cxn ang="0">
                      <a:pos x="63" y="14"/>
                    </a:cxn>
                    <a:cxn ang="0">
                      <a:pos x="54" y="9"/>
                    </a:cxn>
                    <a:cxn ang="0">
                      <a:pos x="56" y="7"/>
                    </a:cxn>
                    <a:cxn ang="0">
                      <a:pos x="46" y="7"/>
                    </a:cxn>
                    <a:cxn ang="0">
                      <a:pos x="31" y="9"/>
                    </a:cxn>
                    <a:cxn ang="0">
                      <a:pos x="38" y="5"/>
                    </a:cxn>
                    <a:cxn ang="0">
                      <a:pos x="31" y="0"/>
                    </a:cxn>
                    <a:cxn ang="0">
                      <a:pos x="29" y="0"/>
                    </a:cxn>
                    <a:cxn ang="0">
                      <a:pos x="21" y="0"/>
                    </a:cxn>
                    <a:cxn ang="0">
                      <a:pos x="8" y="5"/>
                    </a:cxn>
                    <a:cxn ang="0">
                      <a:pos x="4" y="7"/>
                    </a:cxn>
                    <a:cxn ang="0">
                      <a:pos x="0" y="7"/>
                    </a:cxn>
                    <a:cxn ang="0">
                      <a:pos x="0" y="9"/>
                    </a:cxn>
                  </a:cxnLst>
                  <a:rect l="0" t="0" r="r" b="b"/>
                  <a:pathLst>
                    <a:path w="79" h="59">
                      <a:moveTo>
                        <a:pt x="0" y="9"/>
                      </a:moveTo>
                      <a:lnTo>
                        <a:pt x="2" y="16"/>
                      </a:lnTo>
                      <a:lnTo>
                        <a:pt x="8" y="18"/>
                      </a:lnTo>
                      <a:lnTo>
                        <a:pt x="23" y="18"/>
                      </a:lnTo>
                      <a:lnTo>
                        <a:pt x="25" y="23"/>
                      </a:lnTo>
                      <a:lnTo>
                        <a:pt x="34" y="18"/>
                      </a:lnTo>
                      <a:lnTo>
                        <a:pt x="40" y="23"/>
                      </a:lnTo>
                      <a:lnTo>
                        <a:pt x="34" y="25"/>
                      </a:lnTo>
                      <a:lnTo>
                        <a:pt x="40" y="25"/>
                      </a:lnTo>
                      <a:lnTo>
                        <a:pt x="42" y="25"/>
                      </a:lnTo>
                      <a:lnTo>
                        <a:pt x="46" y="30"/>
                      </a:lnTo>
                      <a:lnTo>
                        <a:pt x="46" y="34"/>
                      </a:lnTo>
                      <a:lnTo>
                        <a:pt x="31" y="39"/>
                      </a:lnTo>
                      <a:lnTo>
                        <a:pt x="34" y="41"/>
                      </a:lnTo>
                      <a:lnTo>
                        <a:pt x="29" y="43"/>
                      </a:lnTo>
                      <a:lnTo>
                        <a:pt x="21" y="41"/>
                      </a:lnTo>
                      <a:lnTo>
                        <a:pt x="15" y="48"/>
                      </a:lnTo>
                      <a:lnTo>
                        <a:pt x="23" y="48"/>
                      </a:lnTo>
                      <a:lnTo>
                        <a:pt x="31" y="50"/>
                      </a:lnTo>
                      <a:lnTo>
                        <a:pt x="34" y="50"/>
                      </a:lnTo>
                      <a:lnTo>
                        <a:pt x="34" y="57"/>
                      </a:lnTo>
                      <a:lnTo>
                        <a:pt x="42" y="59"/>
                      </a:lnTo>
                      <a:lnTo>
                        <a:pt x="52" y="59"/>
                      </a:lnTo>
                      <a:lnTo>
                        <a:pt x="46" y="52"/>
                      </a:lnTo>
                      <a:lnTo>
                        <a:pt x="46" y="50"/>
                      </a:lnTo>
                      <a:lnTo>
                        <a:pt x="54" y="57"/>
                      </a:lnTo>
                      <a:lnTo>
                        <a:pt x="61" y="57"/>
                      </a:lnTo>
                      <a:lnTo>
                        <a:pt x="63" y="52"/>
                      </a:lnTo>
                      <a:lnTo>
                        <a:pt x="61" y="50"/>
                      </a:lnTo>
                      <a:lnTo>
                        <a:pt x="63" y="48"/>
                      </a:lnTo>
                      <a:lnTo>
                        <a:pt x="56" y="41"/>
                      </a:lnTo>
                      <a:lnTo>
                        <a:pt x="61" y="39"/>
                      </a:lnTo>
                      <a:lnTo>
                        <a:pt x="65" y="41"/>
                      </a:lnTo>
                      <a:lnTo>
                        <a:pt x="65" y="43"/>
                      </a:lnTo>
                      <a:lnTo>
                        <a:pt x="69" y="43"/>
                      </a:lnTo>
                      <a:lnTo>
                        <a:pt x="79" y="34"/>
                      </a:lnTo>
                      <a:lnTo>
                        <a:pt x="71" y="30"/>
                      </a:lnTo>
                      <a:lnTo>
                        <a:pt x="65" y="30"/>
                      </a:lnTo>
                      <a:lnTo>
                        <a:pt x="63" y="25"/>
                      </a:lnTo>
                      <a:lnTo>
                        <a:pt x="65" y="25"/>
                      </a:lnTo>
                      <a:lnTo>
                        <a:pt x="71" y="23"/>
                      </a:lnTo>
                      <a:lnTo>
                        <a:pt x="71" y="18"/>
                      </a:lnTo>
                      <a:lnTo>
                        <a:pt x="63" y="14"/>
                      </a:lnTo>
                      <a:lnTo>
                        <a:pt x="54" y="9"/>
                      </a:lnTo>
                      <a:lnTo>
                        <a:pt x="56" y="7"/>
                      </a:lnTo>
                      <a:lnTo>
                        <a:pt x="46" y="7"/>
                      </a:lnTo>
                      <a:lnTo>
                        <a:pt x="31" y="9"/>
                      </a:lnTo>
                      <a:lnTo>
                        <a:pt x="38" y="5"/>
                      </a:lnTo>
                      <a:lnTo>
                        <a:pt x="31" y="0"/>
                      </a:lnTo>
                      <a:lnTo>
                        <a:pt x="29" y="0"/>
                      </a:lnTo>
                      <a:lnTo>
                        <a:pt x="21" y="0"/>
                      </a:lnTo>
                      <a:lnTo>
                        <a:pt x="8" y="5"/>
                      </a:lnTo>
                      <a:lnTo>
                        <a:pt x="4" y="7"/>
                      </a:lnTo>
                      <a:lnTo>
                        <a:pt x="0" y="7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17" name="Canada"/>
                <p:cNvSpPr>
                  <a:spLocks/>
                </p:cNvSpPr>
                <p:nvPr/>
              </p:nvSpPr>
              <p:spPr bwMode="auto">
                <a:xfrm>
                  <a:off x="2869069" y="2253550"/>
                  <a:ext cx="77665" cy="3901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5"/>
                    </a:cxn>
                    <a:cxn ang="0">
                      <a:pos x="2" y="7"/>
                    </a:cxn>
                    <a:cxn ang="0">
                      <a:pos x="10" y="7"/>
                    </a:cxn>
                    <a:cxn ang="0">
                      <a:pos x="14" y="5"/>
                    </a:cxn>
                    <a:cxn ang="0">
                      <a:pos x="8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4" h="7">
                      <a:moveTo>
                        <a:pt x="2" y="0"/>
                      </a:moveTo>
                      <a:lnTo>
                        <a:pt x="0" y="5"/>
                      </a:lnTo>
                      <a:lnTo>
                        <a:pt x="2" y="7"/>
                      </a:lnTo>
                      <a:lnTo>
                        <a:pt x="10" y="7"/>
                      </a:lnTo>
                      <a:lnTo>
                        <a:pt x="14" y="5"/>
                      </a:lnTo>
                      <a:lnTo>
                        <a:pt x="8" y="3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18" name="Canada"/>
                <p:cNvSpPr>
                  <a:spLocks/>
                </p:cNvSpPr>
                <p:nvPr/>
              </p:nvSpPr>
              <p:spPr bwMode="auto">
                <a:xfrm>
                  <a:off x="2624980" y="2231256"/>
                  <a:ext cx="44380" cy="1114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6" y="2"/>
                    </a:cxn>
                    <a:cxn ang="0">
                      <a:pos x="8" y="0"/>
                    </a:cxn>
                    <a:cxn ang="0">
                      <a:pos x="6" y="0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8" h="2">
                      <a:moveTo>
                        <a:pt x="0" y="0"/>
                      </a:moveTo>
                      <a:lnTo>
                        <a:pt x="6" y="2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19" name="Canada"/>
                <p:cNvSpPr>
                  <a:spLocks/>
                </p:cNvSpPr>
                <p:nvPr/>
              </p:nvSpPr>
              <p:spPr bwMode="auto">
                <a:xfrm>
                  <a:off x="2669360" y="2192242"/>
                  <a:ext cx="255185" cy="5016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4" y="2"/>
                    </a:cxn>
                    <a:cxn ang="0">
                      <a:pos x="13" y="2"/>
                    </a:cxn>
                    <a:cxn ang="0">
                      <a:pos x="6" y="9"/>
                    </a:cxn>
                    <a:cxn ang="0">
                      <a:pos x="11" y="9"/>
                    </a:cxn>
                    <a:cxn ang="0">
                      <a:pos x="27" y="9"/>
                    </a:cxn>
                    <a:cxn ang="0">
                      <a:pos x="32" y="9"/>
                    </a:cxn>
                    <a:cxn ang="0">
                      <a:pos x="36" y="9"/>
                    </a:cxn>
                    <a:cxn ang="0">
                      <a:pos x="40" y="9"/>
                    </a:cxn>
                    <a:cxn ang="0">
                      <a:pos x="46" y="7"/>
                    </a:cxn>
                    <a:cxn ang="0">
                      <a:pos x="21" y="2"/>
                    </a:cxn>
                    <a:cxn ang="0">
                      <a:pos x="19" y="2"/>
                    </a:cxn>
                    <a:cxn ang="0">
                      <a:pos x="19" y="0"/>
                    </a:cxn>
                    <a:cxn ang="0">
                      <a:pos x="11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6" h="9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13" y="2"/>
                      </a:lnTo>
                      <a:lnTo>
                        <a:pt x="6" y="9"/>
                      </a:lnTo>
                      <a:lnTo>
                        <a:pt x="11" y="9"/>
                      </a:lnTo>
                      <a:lnTo>
                        <a:pt x="27" y="9"/>
                      </a:lnTo>
                      <a:lnTo>
                        <a:pt x="32" y="9"/>
                      </a:lnTo>
                      <a:lnTo>
                        <a:pt x="36" y="9"/>
                      </a:lnTo>
                      <a:lnTo>
                        <a:pt x="40" y="9"/>
                      </a:lnTo>
                      <a:lnTo>
                        <a:pt x="46" y="7"/>
                      </a:lnTo>
                      <a:lnTo>
                        <a:pt x="21" y="2"/>
                      </a:lnTo>
                      <a:lnTo>
                        <a:pt x="19" y="2"/>
                      </a:lnTo>
                      <a:lnTo>
                        <a:pt x="19" y="0"/>
                      </a:lnTo>
                      <a:lnTo>
                        <a:pt x="11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20" name="Canada"/>
                <p:cNvSpPr>
                  <a:spLocks/>
                </p:cNvSpPr>
                <p:nvPr/>
              </p:nvSpPr>
              <p:spPr bwMode="auto">
                <a:xfrm>
                  <a:off x="2785857" y="2091920"/>
                  <a:ext cx="138687" cy="61307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" y="5"/>
                    </a:cxn>
                    <a:cxn ang="0">
                      <a:pos x="0" y="9"/>
                    </a:cxn>
                    <a:cxn ang="0">
                      <a:pos x="0" y="11"/>
                    </a:cxn>
                    <a:cxn ang="0">
                      <a:pos x="8" y="11"/>
                    </a:cxn>
                    <a:cxn ang="0">
                      <a:pos x="23" y="5"/>
                    </a:cxn>
                    <a:cxn ang="0">
                      <a:pos x="25" y="2"/>
                    </a:cxn>
                    <a:cxn ang="0">
                      <a:pos x="19" y="2"/>
                    </a:cxn>
                    <a:cxn ang="0">
                      <a:pos x="17" y="0"/>
                    </a:cxn>
                    <a:cxn ang="0">
                      <a:pos x="11" y="0"/>
                    </a:cxn>
                    <a:cxn ang="0">
                      <a:pos x="6" y="2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25" h="11">
                      <a:moveTo>
                        <a:pt x="2" y="2"/>
                      </a:moveTo>
                      <a:lnTo>
                        <a:pt x="2" y="5"/>
                      </a:lnTo>
                      <a:lnTo>
                        <a:pt x="0" y="9"/>
                      </a:lnTo>
                      <a:lnTo>
                        <a:pt x="0" y="11"/>
                      </a:lnTo>
                      <a:lnTo>
                        <a:pt x="8" y="11"/>
                      </a:lnTo>
                      <a:lnTo>
                        <a:pt x="23" y="5"/>
                      </a:lnTo>
                      <a:lnTo>
                        <a:pt x="25" y="2"/>
                      </a:lnTo>
                      <a:lnTo>
                        <a:pt x="19" y="2"/>
                      </a:lnTo>
                      <a:lnTo>
                        <a:pt x="17" y="0"/>
                      </a:lnTo>
                      <a:lnTo>
                        <a:pt x="11" y="0"/>
                      </a:lnTo>
                      <a:lnTo>
                        <a:pt x="6" y="2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21" name="Canada"/>
                <p:cNvSpPr>
                  <a:spLocks/>
                </p:cNvSpPr>
                <p:nvPr/>
              </p:nvSpPr>
              <p:spPr bwMode="auto">
                <a:xfrm>
                  <a:off x="2785857" y="2052906"/>
                  <a:ext cx="615772" cy="150483"/>
                </a:xfrm>
                <a:custGeom>
                  <a:avLst/>
                  <a:gdLst/>
                  <a:ahLst/>
                  <a:cxnLst>
                    <a:cxn ang="0">
                      <a:pos x="23" y="7"/>
                    </a:cxn>
                    <a:cxn ang="0">
                      <a:pos x="25" y="9"/>
                    </a:cxn>
                    <a:cxn ang="0">
                      <a:pos x="31" y="9"/>
                    </a:cxn>
                    <a:cxn ang="0">
                      <a:pos x="25" y="12"/>
                    </a:cxn>
                    <a:cxn ang="0">
                      <a:pos x="29" y="12"/>
                    </a:cxn>
                    <a:cxn ang="0">
                      <a:pos x="29" y="16"/>
                    </a:cxn>
                    <a:cxn ang="0">
                      <a:pos x="11" y="18"/>
                    </a:cxn>
                    <a:cxn ang="0">
                      <a:pos x="2" y="25"/>
                    </a:cxn>
                    <a:cxn ang="0">
                      <a:pos x="0" y="25"/>
                    </a:cxn>
                    <a:cxn ang="0">
                      <a:pos x="25" y="25"/>
                    </a:cxn>
                    <a:cxn ang="0">
                      <a:pos x="25" y="27"/>
                    </a:cxn>
                    <a:cxn ang="0">
                      <a:pos x="40" y="25"/>
                    </a:cxn>
                    <a:cxn ang="0">
                      <a:pos x="38" y="23"/>
                    </a:cxn>
                    <a:cxn ang="0">
                      <a:pos x="42" y="23"/>
                    </a:cxn>
                    <a:cxn ang="0">
                      <a:pos x="42" y="18"/>
                    </a:cxn>
                    <a:cxn ang="0">
                      <a:pos x="50" y="18"/>
                    </a:cxn>
                    <a:cxn ang="0">
                      <a:pos x="63" y="12"/>
                    </a:cxn>
                    <a:cxn ang="0">
                      <a:pos x="111" y="3"/>
                    </a:cxn>
                    <a:cxn ang="0">
                      <a:pos x="88" y="0"/>
                    </a:cxn>
                    <a:cxn ang="0">
                      <a:pos x="67" y="0"/>
                    </a:cxn>
                    <a:cxn ang="0">
                      <a:pos x="44" y="5"/>
                    </a:cxn>
                    <a:cxn ang="0">
                      <a:pos x="23" y="7"/>
                    </a:cxn>
                  </a:cxnLst>
                  <a:rect l="0" t="0" r="r" b="b"/>
                  <a:pathLst>
                    <a:path w="111" h="27">
                      <a:moveTo>
                        <a:pt x="23" y="7"/>
                      </a:moveTo>
                      <a:lnTo>
                        <a:pt x="25" y="9"/>
                      </a:lnTo>
                      <a:lnTo>
                        <a:pt x="31" y="9"/>
                      </a:lnTo>
                      <a:lnTo>
                        <a:pt x="25" y="12"/>
                      </a:lnTo>
                      <a:lnTo>
                        <a:pt x="29" y="12"/>
                      </a:lnTo>
                      <a:lnTo>
                        <a:pt x="29" y="16"/>
                      </a:lnTo>
                      <a:lnTo>
                        <a:pt x="11" y="18"/>
                      </a:lnTo>
                      <a:lnTo>
                        <a:pt x="2" y="25"/>
                      </a:lnTo>
                      <a:lnTo>
                        <a:pt x="0" y="25"/>
                      </a:lnTo>
                      <a:lnTo>
                        <a:pt x="25" y="25"/>
                      </a:lnTo>
                      <a:lnTo>
                        <a:pt x="25" y="27"/>
                      </a:lnTo>
                      <a:lnTo>
                        <a:pt x="40" y="25"/>
                      </a:lnTo>
                      <a:lnTo>
                        <a:pt x="38" y="23"/>
                      </a:lnTo>
                      <a:lnTo>
                        <a:pt x="42" y="23"/>
                      </a:lnTo>
                      <a:lnTo>
                        <a:pt x="42" y="18"/>
                      </a:lnTo>
                      <a:lnTo>
                        <a:pt x="50" y="18"/>
                      </a:lnTo>
                      <a:lnTo>
                        <a:pt x="63" y="12"/>
                      </a:lnTo>
                      <a:lnTo>
                        <a:pt x="111" y="3"/>
                      </a:lnTo>
                      <a:lnTo>
                        <a:pt x="88" y="0"/>
                      </a:lnTo>
                      <a:lnTo>
                        <a:pt x="67" y="0"/>
                      </a:lnTo>
                      <a:lnTo>
                        <a:pt x="44" y="5"/>
                      </a:lnTo>
                      <a:lnTo>
                        <a:pt x="23" y="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22" name="Canada"/>
                <p:cNvSpPr>
                  <a:spLocks/>
                </p:cNvSpPr>
                <p:nvPr/>
              </p:nvSpPr>
              <p:spPr bwMode="auto">
                <a:xfrm>
                  <a:off x="2730382" y="2103066"/>
                  <a:ext cx="11095" cy="16720"/>
                </a:xfrm>
                <a:custGeom>
                  <a:avLst/>
                  <a:gdLst/>
                  <a:ahLst/>
                  <a:cxnLst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0" y="3"/>
                    </a:cxn>
                  </a:cxnLst>
                  <a:rect l="0" t="0" r="r" b="b"/>
                  <a:pathLst>
                    <a:path w="2" h="3">
                      <a:moveTo>
                        <a:pt x="0" y="3"/>
                      </a:move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23" name="Canada"/>
                <p:cNvSpPr>
                  <a:spLocks/>
                </p:cNvSpPr>
                <p:nvPr/>
              </p:nvSpPr>
              <p:spPr bwMode="auto">
                <a:xfrm>
                  <a:off x="2580599" y="2142081"/>
                  <a:ext cx="160877" cy="3901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6" y="0"/>
                    </a:cxn>
                    <a:cxn ang="0">
                      <a:pos x="0" y="0"/>
                    </a:cxn>
                    <a:cxn ang="0">
                      <a:pos x="4" y="2"/>
                    </a:cxn>
                    <a:cxn ang="0">
                      <a:pos x="12" y="2"/>
                    </a:cxn>
                    <a:cxn ang="0">
                      <a:pos x="12" y="7"/>
                    </a:cxn>
                    <a:cxn ang="0">
                      <a:pos x="29" y="2"/>
                    </a:cxn>
                    <a:cxn ang="0">
                      <a:pos x="22" y="0"/>
                    </a:cxn>
                    <a:cxn ang="0">
                      <a:pos x="16" y="2"/>
                    </a:cxn>
                    <a:cxn ang="0">
                      <a:pos x="14" y="2"/>
                    </a:cxn>
                    <a:cxn ang="0">
                      <a:pos x="16" y="0"/>
                    </a:cxn>
                    <a:cxn ang="0">
                      <a:pos x="14" y="0"/>
                    </a:cxn>
                    <a:cxn ang="0">
                      <a:pos x="6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9" h="7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12" y="2"/>
                      </a:lnTo>
                      <a:lnTo>
                        <a:pt x="12" y="7"/>
                      </a:lnTo>
                      <a:lnTo>
                        <a:pt x="29" y="2"/>
                      </a:lnTo>
                      <a:lnTo>
                        <a:pt x="22" y="0"/>
                      </a:lnTo>
                      <a:lnTo>
                        <a:pt x="16" y="2"/>
                      </a:lnTo>
                      <a:lnTo>
                        <a:pt x="14" y="2"/>
                      </a:lnTo>
                      <a:lnTo>
                        <a:pt x="16" y="0"/>
                      </a:lnTo>
                      <a:lnTo>
                        <a:pt x="14" y="0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24" name="Canada"/>
                <p:cNvSpPr>
                  <a:spLocks/>
                </p:cNvSpPr>
                <p:nvPr/>
              </p:nvSpPr>
              <p:spPr bwMode="auto">
                <a:xfrm>
                  <a:off x="2691549" y="2153227"/>
                  <a:ext cx="83212" cy="27867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11" y="5"/>
                    </a:cxn>
                    <a:cxn ang="0">
                      <a:pos x="15" y="0"/>
                    </a:cxn>
                    <a:cxn ang="0">
                      <a:pos x="7" y="3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15" h="5">
                      <a:moveTo>
                        <a:pt x="0" y="5"/>
                      </a:moveTo>
                      <a:lnTo>
                        <a:pt x="11" y="5"/>
                      </a:lnTo>
                      <a:lnTo>
                        <a:pt x="15" y="0"/>
                      </a:lnTo>
                      <a:lnTo>
                        <a:pt x="7" y="3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25" name="Canada"/>
                <p:cNvSpPr>
                  <a:spLocks/>
                </p:cNvSpPr>
                <p:nvPr/>
              </p:nvSpPr>
              <p:spPr bwMode="auto">
                <a:xfrm>
                  <a:off x="2530672" y="2181095"/>
                  <a:ext cx="33285" cy="5574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6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26" name="Canada"/>
                <p:cNvSpPr>
                  <a:spLocks/>
                </p:cNvSpPr>
                <p:nvPr/>
              </p:nvSpPr>
              <p:spPr bwMode="auto">
                <a:xfrm>
                  <a:off x="2519578" y="2192242"/>
                  <a:ext cx="127592" cy="3901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7"/>
                    </a:cxn>
                    <a:cxn ang="0">
                      <a:pos x="6" y="7"/>
                    </a:cxn>
                    <a:cxn ang="0">
                      <a:pos x="15" y="7"/>
                    </a:cxn>
                    <a:cxn ang="0">
                      <a:pos x="23" y="0"/>
                    </a:cxn>
                    <a:cxn ang="0">
                      <a:pos x="15" y="0"/>
                    </a:cxn>
                    <a:cxn ang="0">
                      <a:pos x="8" y="2"/>
                    </a:cxn>
                    <a:cxn ang="0">
                      <a:pos x="6" y="0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3" h="7">
                      <a:moveTo>
                        <a:pt x="0" y="0"/>
                      </a:moveTo>
                      <a:lnTo>
                        <a:pt x="0" y="7"/>
                      </a:lnTo>
                      <a:lnTo>
                        <a:pt x="6" y="7"/>
                      </a:lnTo>
                      <a:lnTo>
                        <a:pt x="15" y="7"/>
                      </a:lnTo>
                      <a:lnTo>
                        <a:pt x="23" y="0"/>
                      </a:lnTo>
                      <a:lnTo>
                        <a:pt x="15" y="0"/>
                      </a:lnTo>
                      <a:lnTo>
                        <a:pt x="8" y="2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27" name="Canada"/>
                <p:cNvSpPr>
                  <a:spLocks noChangeShapeType="1"/>
                </p:cNvSpPr>
                <p:nvPr/>
              </p:nvSpPr>
              <p:spPr bwMode="auto">
                <a:xfrm>
                  <a:off x="2486293" y="2242402"/>
                  <a:ext cx="22190" cy="5574"/>
                </a:xfrm>
                <a:prstGeom prst="line">
                  <a:avLst/>
                </a:pr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28" name="Canada"/>
                <p:cNvSpPr>
                  <a:spLocks/>
                </p:cNvSpPr>
                <p:nvPr/>
              </p:nvSpPr>
              <p:spPr bwMode="auto">
                <a:xfrm>
                  <a:off x="2453007" y="2253550"/>
                  <a:ext cx="127592" cy="78028"/>
                </a:xfrm>
                <a:custGeom>
                  <a:avLst/>
                  <a:gdLst/>
                  <a:ahLst/>
                  <a:cxnLst>
                    <a:cxn ang="0">
                      <a:pos x="0" y="7"/>
                    </a:cxn>
                    <a:cxn ang="0">
                      <a:pos x="0" y="9"/>
                    </a:cxn>
                    <a:cxn ang="0">
                      <a:pos x="4" y="9"/>
                    </a:cxn>
                    <a:cxn ang="0">
                      <a:pos x="6" y="14"/>
                    </a:cxn>
                    <a:cxn ang="0">
                      <a:pos x="18" y="9"/>
                    </a:cxn>
                    <a:cxn ang="0">
                      <a:pos x="20" y="5"/>
                    </a:cxn>
                    <a:cxn ang="0">
                      <a:pos x="23" y="0"/>
                    </a:cxn>
                    <a:cxn ang="0">
                      <a:pos x="10" y="0"/>
                    </a:cxn>
                    <a:cxn ang="0">
                      <a:pos x="10" y="5"/>
                    </a:cxn>
                    <a:cxn ang="0">
                      <a:pos x="4" y="7"/>
                    </a:cxn>
                    <a:cxn ang="0">
                      <a:pos x="0" y="7"/>
                    </a:cxn>
                  </a:cxnLst>
                  <a:rect l="0" t="0" r="r" b="b"/>
                  <a:pathLst>
                    <a:path w="23" h="14">
                      <a:moveTo>
                        <a:pt x="0" y="7"/>
                      </a:moveTo>
                      <a:lnTo>
                        <a:pt x="0" y="9"/>
                      </a:lnTo>
                      <a:lnTo>
                        <a:pt x="4" y="9"/>
                      </a:lnTo>
                      <a:lnTo>
                        <a:pt x="6" y="14"/>
                      </a:lnTo>
                      <a:lnTo>
                        <a:pt x="18" y="9"/>
                      </a:lnTo>
                      <a:lnTo>
                        <a:pt x="20" y="5"/>
                      </a:lnTo>
                      <a:lnTo>
                        <a:pt x="23" y="0"/>
                      </a:lnTo>
                      <a:lnTo>
                        <a:pt x="10" y="0"/>
                      </a:lnTo>
                      <a:lnTo>
                        <a:pt x="10" y="5"/>
                      </a:lnTo>
                      <a:lnTo>
                        <a:pt x="4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29" name="Canada"/>
                <p:cNvSpPr>
                  <a:spLocks noChangeShapeType="1"/>
                </p:cNvSpPr>
                <p:nvPr/>
              </p:nvSpPr>
              <p:spPr bwMode="auto">
                <a:xfrm>
                  <a:off x="2425270" y="2169949"/>
                  <a:ext cx="94308" cy="5574"/>
                </a:xfrm>
                <a:prstGeom prst="line">
                  <a:avLst/>
                </a:pr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30" name="Canada"/>
                <p:cNvSpPr>
                  <a:spLocks/>
                </p:cNvSpPr>
                <p:nvPr/>
              </p:nvSpPr>
              <p:spPr bwMode="auto">
                <a:xfrm>
                  <a:off x="2391985" y="2153227"/>
                  <a:ext cx="11095" cy="2786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" y="5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" h="5">
                      <a:moveTo>
                        <a:pt x="0" y="0"/>
                      </a:moveTo>
                      <a:lnTo>
                        <a:pt x="2" y="5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31" name="Canada"/>
                <p:cNvSpPr>
                  <a:spLocks/>
                </p:cNvSpPr>
                <p:nvPr/>
              </p:nvSpPr>
              <p:spPr bwMode="auto">
                <a:xfrm>
                  <a:off x="2403080" y="2153227"/>
                  <a:ext cx="83212" cy="27867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4" y="5"/>
                    </a:cxn>
                    <a:cxn ang="0">
                      <a:pos x="15" y="0"/>
                    </a:cxn>
                    <a:cxn ang="0">
                      <a:pos x="6" y="3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15" h="5">
                      <a:moveTo>
                        <a:pt x="0" y="5"/>
                      </a:moveTo>
                      <a:lnTo>
                        <a:pt x="4" y="5"/>
                      </a:lnTo>
                      <a:lnTo>
                        <a:pt x="15" y="0"/>
                      </a:lnTo>
                      <a:lnTo>
                        <a:pt x="6" y="3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32" name="Canada"/>
                <p:cNvSpPr>
                  <a:spLocks/>
                </p:cNvSpPr>
                <p:nvPr/>
              </p:nvSpPr>
              <p:spPr bwMode="auto">
                <a:xfrm>
                  <a:off x="2231108" y="2203389"/>
                  <a:ext cx="55475" cy="27867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4" y="3"/>
                    </a:cxn>
                    <a:cxn ang="0">
                      <a:pos x="0" y="3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10" h="5">
                      <a:moveTo>
                        <a:pt x="0" y="5"/>
                      </a:moveTo>
                      <a:lnTo>
                        <a:pt x="4" y="5"/>
                      </a:lnTo>
                      <a:lnTo>
                        <a:pt x="10" y="0"/>
                      </a:lnTo>
                      <a:lnTo>
                        <a:pt x="4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33" name="Canada"/>
                <p:cNvSpPr>
                  <a:spLocks/>
                </p:cNvSpPr>
                <p:nvPr/>
              </p:nvSpPr>
              <p:spPr bwMode="auto">
                <a:xfrm>
                  <a:off x="2186727" y="2181095"/>
                  <a:ext cx="171973" cy="22294"/>
                </a:xfrm>
                <a:custGeom>
                  <a:avLst/>
                  <a:gdLst/>
                  <a:ahLst/>
                  <a:cxnLst>
                    <a:cxn ang="0">
                      <a:pos x="0" y="4"/>
                    </a:cxn>
                    <a:cxn ang="0">
                      <a:pos x="8" y="4"/>
                    </a:cxn>
                    <a:cxn ang="0">
                      <a:pos x="18" y="2"/>
                    </a:cxn>
                    <a:cxn ang="0">
                      <a:pos x="20" y="4"/>
                    </a:cxn>
                    <a:cxn ang="0">
                      <a:pos x="31" y="0"/>
                    </a:cxn>
                    <a:cxn ang="0">
                      <a:pos x="20" y="0"/>
                    </a:cxn>
                    <a:cxn ang="0">
                      <a:pos x="10" y="2"/>
                    </a:cxn>
                    <a:cxn ang="0">
                      <a:pos x="2" y="2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31" h="4">
                      <a:moveTo>
                        <a:pt x="0" y="4"/>
                      </a:moveTo>
                      <a:lnTo>
                        <a:pt x="8" y="4"/>
                      </a:lnTo>
                      <a:lnTo>
                        <a:pt x="18" y="2"/>
                      </a:lnTo>
                      <a:lnTo>
                        <a:pt x="20" y="4"/>
                      </a:lnTo>
                      <a:lnTo>
                        <a:pt x="31" y="0"/>
                      </a:lnTo>
                      <a:lnTo>
                        <a:pt x="20" y="0"/>
                      </a:lnTo>
                      <a:lnTo>
                        <a:pt x="10" y="2"/>
                      </a:lnTo>
                      <a:lnTo>
                        <a:pt x="2" y="2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34" name="Canada"/>
                <p:cNvSpPr>
                  <a:spLocks/>
                </p:cNvSpPr>
                <p:nvPr/>
              </p:nvSpPr>
              <p:spPr bwMode="auto">
                <a:xfrm>
                  <a:off x="2253297" y="2192242"/>
                  <a:ext cx="232995" cy="50161"/>
                </a:xfrm>
                <a:custGeom>
                  <a:avLst/>
                  <a:gdLst/>
                  <a:ahLst/>
                  <a:cxnLst>
                    <a:cxn ang="0">
                      <a:pos x="0" y="7"/>
                    </a:cxn>
                    <a:cxn ang="0">
                      <a:pos x="8" y="7"/>
                    </a:cxn>
                    <a:cxn ang="0">
                      <a:pos x="11" y="7"/>
                    </a:cxn>
                    <a:cxn ang="0">
                      <a:pos x="15" y="9"/>
                    </a:cxn>
                    <a:cxn ang="0">
                      <a:pos x="36" y="7"/>
                    </a:cxn>
                    <a:cxn ang="0">
                      <a:pos x="42" y="2"/>
                    </a:cxn>
                    <a:cxn ang="0">
                      <a:pos x="36" y="2"/>
                    </a:cxn>
                    <a:cxn ang="0">
                      <a:pos x="36" y="0"/>
                    </a:cxn>
                    <a:cxn ang="0">
                      <a:pos x="27" y="2"/>
                    </a:cxn>
                    <a:cxn ang="0">
                      <a:pos x="31" y="2"/>
                    </a:cxn>
                    <a:cxn ang="0">
                      <a:pos x="27" y="2"/>
                    </a:cxn>
                    <a:cxn ang="0">
                      <a:pos x="27" y="7"/>
                    </a:cxn>
                    <a:cxn ang="0">
                      <a:pos x="23" y="7"/>
                    </a:cxn>
                    <a:cxn ang="0">
                      <a:pos x="23" y="2"/>
                    </a:cxn>
                    <a:cxn ang="0">
                      <a:pos x="15" y="0"/>
                    </a:cxn>
                    <a:cxn ang="0">
                      <a:pos x="6" y="5"/>
                    </a:cxn>
                    <a:cxn ang="0">
                      <a:pos x="0" y="7"/>
                    </a:cxn>
                  </a:cxnLst>
                  <a:rect l="0" t="0" r="r" b="b"/>
                  <a:pathLst>
                    <a:path w="42" h="9">
                      <a:moveTo>
                        <a:pt x="0" y="7"/>
                      </a:moveTo>
                      <a:lnTo>
                        <a:pt x="8" y="7"/>
                      </a:lnTo>
                      <a:lnTo>
                        <a:pt x="11" y="7"/>
                      </a:lnTo>
                      <a:lnTo>
                        <a:pt x="15" y="9"/>
                      </a:lnTo>
                      <a:lnTo>
                        <a:pt x="36" y="7"/>
                      </a:lnTo>
                      <a:lnTo>
                        <a:pt x="42" y="2"/>
                      </a:lnTo>
                      <a:lnTo>
                        <a:pt x="36" y="2"/>
                      </a:lnTo>
                      <a:lnTo>
                        <a:pt x="36" y="0"/>
                      </a:lnTo>
                      <a:lnTo>
                        <a:pt x="27" y="2"/>
                      </a:lnTo>
                      <a:lnTo>
                        <a:pt x="31" y="2"/>
                      </a:lnTo>
                      <a:lnTo>
                        <a:pt x="27" y="2"/>
                      </a:lnTo>
                      <a:lnTo>
                        <a:pt x="27" y="7"/>
                      </a:lnTo>
                      <a:lnTo>
                        <a:pt x="23" y="7"/>
                      </a:lnTo>
                      <a:lnTo>
                        <a:pt x="23" y="2"/>
                      </a:lnTo>
                      <a:lnTo>
                        <a:pt x="15" y="0"/>
                      </a:lnTo>
                      <a:lnTo>
                        <a:pt x="6" y="5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35" name="Canada"/>
                <p:cNvSpPr>
                  <a:spLocks/>
                </p:cNvSpPr>
                <p:nvPr/>
              </p:nvSpPr>
              <p:spPr bwMode="auto">
                <a:xfrm>
                  <a:off x="2114610" y="2253550"/>
                  <a:ext cx="321755" cy="139336"/>
                </a:xfrm>
                <a:custGeom>
                  <a:avLst/>
                  <a:gdLst/>
                  <a:ahLst/>
                  <a:cxnLst>
                    <a:cxn ang="0">
                      <a:pos x="2" y="14"/>
                    </a:cxn>
                    <a:cxn ang="0">
                      <a:pos x="2" y="16"/>
                    </a:cxn>
                    <a:cxn ang="0">
                      <a:pos x="17" y="16"/>
                    </a:cxn>
                    <a:cxn ang="0">
                      <a:pos x="2" y="18"/>
                    </a:cxn>
                    <a:cxn ang="0">
                      <a:pos x="0" y="23"/>
                    </a:cxn>
                    <a:cxn ang="0">
                      <a:pos x="8" y="23"/>
                    </a:cxn>
                    <a:cxn ang="0">
                      <a:pos x="4" y="25"/>
                    </a:cxn>
                    <a:cxn ang="0">
                      <a:pos x="33" y="23"/>
                    </a:cxn>
                    <a:cxn ang="0">
                      <a:pos x="40" y="25"/>
                    </a:cxn>
                    <a:cxn ang="0">
                      <a:pos x="44" y="25"/>
                    </a:cxn>
                    <a:cxn ang="0">
                      <a:pos x="56" y="18"/>
                    </a:cxn>
                    <a:cxn ang="0">
                      <a:pos x="48" y="16"/>
                    </a:cxn>
                    <a:cxn ang="0">
                      <a:pos x="48" y="14"/>
                    </a:cxn>
                    <a:cxn ang="0">
                      <a:pos x="50" y="14"/>
                    </a:cxn>
                    <a:cxn ang="0">
                      <a:pos x="50" y="7"/>
                    </a:cxn>
                    <a:cxn ang="0">
                      <a:pos x="58" y="5"/>
                    </a:cxn>
                    <a:cxn ang="0">
                      <a:pos x="52" y="0"/>
                    </a:cxn>
                    <a:cxn ang="0">
                      <a:pos x="44" y="7"/>
                    </a:cxn>
                    <a:cxn ang="0">
                      <a:pos x="33" y="5"/>
                    </a:cxn>
                    <a:cxn ang="0">
                      <a:pos x="27" y="7"/>
                    </a:cxn>
                    <a:cxn ang="0">
                      <a:pos x="27" y="5"/>
                    </a:cxn>
                    <a:cxn ang="0">
                      <a:pos x="25" y="5"/>
                    </a:cxn>
                    <a:cxn ang="0">
                      <a:pos x="10" y="7"/>
                    </a:cxn>
                    <a:cxn ang="0">
                      <a:pos x="6" y="12"/>
                    </a:cxn>
                    <a:cxn ang="0">
                      <a:pos x="2" y="12"/>
                    </a:cxn>
                    <a:cxn ang="0">
                      <a:pos x="2" y="14"/>
                    </a:cxn>
                  </a:cxnLst>
                  <a:rect l="0" t="0" r="r" b="b"/>
                  <a:pathLst>
                    <a:path w="58" h="25">
                      <a:moveTo>
                        <a:pt x="2" y="14"/>
                      </a:moveTo>
                      <a:lnTo>
                        <a:pt x="2" y="16"/>
                      </a:lnTo>
                      <a:lnTo>
                        <a:pt x="17" y="16"/>
                      </a:lnTo>
                      <a:lnTo>
                        <a:pt x="2" y="18"/>
                      </a:lnTo>
                      <a:lnTo>
                        <a:pt x="0" y="23"/>
                      </a:lnTo>
                      <a:lnTo>
                        <a:pt x="8" y="23"/>
                      </a:lnTo>
                      <a:lnTo>
                        <a:pt x="4" y="25"/>
                      </a:lnTo>
                      <a:lnTo>
                        <a:pt x="33" y="23"/>
                      </a:lnTo>
                      <a:lnTo>
                        <a:pt x="40" y="25"/>
                      </a:lnTo>
                      <a:lnTo>
                        <a:pt x="44" y="25"/>
                      </a:lnTo>
                      <a:lnTo>
                        <a:pt x="56" y="18"/>
                      </a:lnTo>
                      <a:lnTo>
                        <a:pt x="48" y="16"/>
                      </a:lnTo>
                      <a:lnTo>
                        <a:pt x="48" y="14"/>
                      </a:lnTo>
                      <a:lnTo>
                        <a:pt x="50" y="14"/>
                      </a:lnTo>
                      <a:lnTo>
                        <a:pt x="50" y="7"/>
                      </a:lnTo>
                      <a:lnTo>
                        <a:pt x="58" y="5"/>
                      </a:lnTo>
                      <a:lnTo>
                        <a:pt x="52" y="0"/>
                      </a:lnTo>
                      <a:lnTo>
                        <a:pt x="44" y="7"/>
                      </a:lnTo>
                      <a:lnTo>
                        <a:pt x="33" y="5"/>
                      </a:lnTo>
                      <a:lnTo>
                        <a:pt x="27" y="7"/>
                      </a:lnTo>
                      <a:lnTo>
                        <a:pt x="27" y="5"/>
                      </a:lnTo>
                      <a:lnTo>
                        <a:pt x="25" y="5"/>
                      </a:lnTo>
                      <a:lnTo>
                        <a:pt x="10" y="7"/>
                      </a:lnTo>
                      <a:lnTo>
                        <a:pt x="6" y="12"/>
                      </a:lnTo>
                      <a:lnTo>
                        <a:pt x="2" y="12"/>
                      </a:lnTo>
                      <a:lnTo>
                        <a:pt x="2" y="1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36" name="Canada"/>
                <p:cNvSpPr>
                  <a:spLocks/>
                </p:cNvSpPr>
                <p:nvPr/>
              </p:nvSpPr>
              <p:spPr bwMode="auto">
                <a:xfrm>
                  <a:off x="2009208" y="2242402"/>
                  <a:ext cx="244090" cy="89175"/>
                </a:xfrm>
                <a:custGeom>
                  <a:avLst/>
                  <a:gdLst/>
                  <a:ahLst/>
                  <a:cxnLst>
                    <a:cxn ang="0">
                      <a:pos x="0" y="11"/>
                    </a:cxn>
                    <a:cxn ang="0">
                      <a:pos x="4" y="11"/>
                    </a:cxn>
                    <a:cxn ang="0">
                      <a:pos x="4" y="16"/>
                    </a:cxn>
                    <a:cxn ang="0">
                      <a:pos x="13" y="16"/>
                    </a:cxn>
                    <a:cxn ang="0">
                      <a:pos x="23" y="9"/>
                    </a:cxn>
                    <a:cxn ang="0">
                      <a:pos x="44" y="7"/>
                    </a:cxn>
                    <a:cxn ang="0">
                      <a:pos x="40" y="2"/>
                    </a:cxn>
                    <a:cxn ang="0">
                      <a:pos x="29" y="0"/>
                    </a:cxn>
                    <a:cxn ang="0">
                      <a:pos x="15" y="2"/>
                    </a:cxn>
                    <a:cxn ang="0">
                      <a:pos x="15" y="7"/>
                    </a:cxn>
                    <a:cxn ang="0">
                      <a:pos x="7" y="9"/>
                    </a:cxn>
                    <a:cxn ang="0">
                      <a:pos x="0" y="11"/>
                    </a:cxn>
                  </a:cxnLst>
                  <a:rect l="0" t="0" r="r" b="b"/>
                  <a:pathLst>
                    <a:path w="44" h="16">
                      <a:moveTo>
                        <a:pt x="0" y="11"/>
                      </a:moveTo>
                      <a:lnTo>
                        <a:pt x="4" y="11"/>
                      </a:lnTo>
                      <a:lnTo>
                        <a:pt x="4" y="16"/>
                      </a:lnTo>
                      <a:lnTo>
                        <a:pt x="13" y="16"/>
                      </a:lnTo>
                      <a:lnTo>
                        <a:pt x="23" y="9"/>
                      </a:lnTo>
                      <a:lnTo>
                        <a:pt x="44" y="7"/>
                      </a:lnTo>
                      <a:lnTo>
                        <a:pt x="40" y="2"/>
                      </a:lnTo>
                      <a:lnTo>
                        <a:pt x="29" y="0"/>
                      </a:lnTo>
                      <a:lnTo>
                        <a:pt x="15" y="2"/>
                      </a:lnTo>
                      <a:lnTo>
                        <a:pt x="15" y="7"/>
                      </a:lnTo>
                      <a:lnTo>
                        <a:pt x="7" y="9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37" name="Canada"/>
                <p:cNvSpPr>
                  <a:spLocks/>
                </p:cNvSpPr>
                <p:nvPr/>
              </p:nvSpPr>
              <p:spPr bwMode="auto">
                <a:xfrm>
                  <a:off x="2796952" y="2955803"/>
                  <a:ext cx="72117" cy="1672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6" y="3"/>
                    </a:cxn>
                    <a:cxn ang="0">
                      <a:pos x="13" y="3"/>
                    </a:cxn>
                    <a:cxn ang="0">
                      <a:pos x="6" y="0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" h="3">
                      <a:moveTo>
                        <a:pt x="0" y="0"/>
                      </a:moveTo>
                      <a:lnTo>
                        <a:pt x="6" y="3"/>
                      </a:lnTo>
                      <a:lnTo>
                        <a:pt x="13" y="3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38" name="Canada"/>
                <p:cNvSpPr>
                  <a:spLocks/>
                </p:cNvSpPr>
                <p:nvPr/>
              </p:nvSpPr>
              <p:spPr bwMode="auto">
                <a:xfrm>
                  <a:off x="2774762" y="3044978"/>
                  <a:ext cx="44380" cy="27867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4" y="5"/>
                    </a:cxn>
                    <a:cxn ang="0">
                      <a:pos x="8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8" h="5">
                      <a:moveTo>
                        <a:pt x="0" y="2"/>
                      </a:moveTo>
                      <a:lnTo>
                        <a:pt x="4" y="5"/>
                      </a:lnTo>
                      <a:lnTo>
                        <a:pt x="8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39" name="Canada"/>
                <p:cNvSpPr>
                  <a:spLocks/>
                </p:cNvSpPr>
                <p:nvPr/>
              </p:nvSpPr>
              <p:spPr bwMode="auto">
                <a:xfrm>
                  <a:off x="2891259" y="2905642"/>
                  <a:ext cx="160877" cy="150483"/>
                </a:xfrm>
                <a:custGeom>
                  <a:avLst/>
                  <a:gdLst/>
                  <a:ahLst/>
                  <a:cxnLst>
                    <a:cxn ang="0">
                      <a:pos x="0" y="18"/>
                    </a:cxn>
                    <a:cxn ang="0">
                      <a:pos x="0" y="21"/>
                    </a:cxn>
                    <a:cxn ang="0">
                      <a:pos x="19" y="21"/>
                    </a:cxn>
                    <a:cxn ang="0">
                      <a:pos x="14" y="25"/>
                    </a:cxn>
                    <a:cxn ang="0">
                      <a:pos x="19" y="25"/>
                    </a:cxn>
                    <a:cxn ang="0">
                      <a:pos x="21" y="21"/>
                    </a:cxn>
                    <a:cxn ang="0">
                      <a:pos x="23" y="21"/>
                    </a:cxn>
                    <a:cxn ang="0">
                      <a:pos x="21" y="25"/>
                    </a:cxn>
                    <a:cxn ang="0">
                      <a:pos x="23" y="25"/>
                    </a:cxn>
                    <a:cxn ang="0">
                      <a:pos x="23" y="27"/>
                    </a:cxn>
                    <a:cxn ang="0">
                      <a:pos x="27" y="27"/>
                    </a:cxn>
                    <a:cxn ang="0">
                      <a:pos x="29" y="21"/>
                    </a:cxn>
                    <a:cxn ang="0">
                      <a:pos x="27" y="21"/>
                    </a:cxn>
                    <a:cxn ang="0">
                      <a:pos x="29" y="18"/>
                    </a:cxn>
                    <a:cxn ang="0">
                      <a:pos x="23" y="21"/>
                    </a:cxn>
                    <a:cxn ang="0">
                      <a:pos x="29" y="16"/>
                    </a:cxn>
                    <a:cxn ang="0">
                      <a:pos x="27" y="16"/>
                    </a:cxn>
                    <a:cxn ang="0">
                      <a:pos x="29" y="12"/>
                    </a:cxn>
                    <a:cxn ang="0">
                      <a:pos x="21" y="12"/>
                    </a:cxn>
                    <a:cxn ang="0">
                      <a:pos x="21" y="9"/>
                    </a:cxn>
                    <a:cxn ang="0">
                      <a:pos x="21" y="7"/>
                    </a:cxn>
                    <a:cxn ang="0">
                      <a:pos x="14" y="9"/>
                    </a:cxn>
                    <a:cxn ang="0">
                      <a:pos x="23" y="0"/>
                    </a:cxn>
                    <a:cxn ang="0">
                      <a:pos x="21" y="0"/>
                    </a:cxn>
                    <a:cxn ang="0">
                      <a:pos x="6" y="16"/>
                    </a:cxn>
                    <a:cxn ang="0">
                      <a:pos x="2" y="18"/>
                    </a:cxn>
                    <a:cxn ang="0">
                      <a:pos x="0" y="18"/>
                    </a:cxn>
                  </a:cxnLst>
                  <a:rect l="0" t="0" r="r" b="b"/>
                  <a:pathLst>
                    <a:path w="29" h="27">
                      <a:moveTo>
                        <a:pt x="0" y="18"/>
                      </a:moveTo>
                      <a:lnTo>
                        <a:pt x="0" y="21"/>
                      </a:lnTo>
                      <a:lnTo>
                        <a:pt x="19" y="21"/>
                      </a:lnTo>
                      <a:lnTo>
                        <a:pt x="14" y="25"/>
                      </a:lnTo>
                      <a:lnTo>
                        <a:pt x="19" y="25"/>
                      </a:lnTo>
                      <a:lnTo>
                        <a:pt x="21" y="21"/>
                      </a:lnTo>
                      <a:lnTo>
                        <a:pt x="23" y="21"/>
                      </a:lnTo>
                      <a:lnTo>
                        <a:pt x="21" y="25"/>
                      </a:lnTo>
                      <a:lnTo>
                        <a:pt x="23" y="25"/>
                      </a:lnTo>
                      <a:lnTo>
                        <a:pt x="23" y="27"/>
                      </a:lnTo>
                      <a:lnTo>
                        <a:pt x="27" y="27"/>
                      </a:lnTo>
                      <a:lnTo>
                        <a:pt x="29" y="21"/>
                      </a:lnTo>
                      <a:lnTo>
                        <a:pt x="27" y="21"/>
                      </a:lnTo>
                      <a:lnTo>
                        <a:pt x="29" y="18"/>
                      </a:lnTo>
                      <a:lnTo>
                        <a:pt x="23" y="21"/>
                      </a:lnTo>
                      <a:lnTo>
                        <a:pt x="29" y="16"/>
                      </a:lnTo>
                      <a:lnTo>
                        <a:pt x="27" y="16"/>
                      </a:lnTo>
                      <a:lnTo>
                        <a:pt x="29" y="12"/>
                      </a:lnTo>
                      <a:lnTo>
                        <a:pt x="21" y="12"/>
                      </a:lnTo>
                      <a:lnTo>
                        <a:pt x="21" y="9"/>
                      </a:lnTo>
                      <a:lnTo>
                        <a:pt x="21" y="7"/>
                      </a:lnTo>
                      <a:lnTo>
                        <a:pt x="14" y="9"/>
                      </a:lnTo>
                      <a:lnTo>
                        <a:pt x="23" y="0"/>
                      </a:lnTo>
                      <a:lnTo>
                        <a:pt x="21" y="0"/>
                      </a:lnTo>
                      <a:lnTo>
                        <a:pt x="6" y="16"/>
                      </a:lnTo>
                      <a:lnTo>
                        <a:pt x="2" y="18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40" name="Canada"/>
                <p:cNvSpPr>
                  <a:spLocks/>
                </p:cNvSpPr>
                <p:nvPr/>
              </p:nvSpPr>
              <p:spPr bwMode="auto">
                <a:xfrm>
                  <a:off x="2563957" y="2755159"/>
                  <a:ext cx="16642" cy="1672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" h="3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41" name="Canada"/>
                <p:cNvSpPr>
                  <a:spLocks/>
                </p:cNvSpPr>
                <p:nvPr/>
              </p:nvSpPr>
              <p:spPr bwMode="auto">
                <a:xfrm>
                  <a:off x="2453007" y="2855480"/>
                  <a:ext cx="22190" cy="1672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" h="3">
                      <a:moveTo>
                        <a:pt x="0" y="0"/>
                      </a:move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42" name="Canada"/>
                <p:cNvSpPr>
                  <a:spLocks/>
                </p:cNvSpPr>
                <p:nvPr/>
              </p:nvSpPr>
              <p:spPr bwMode="auto">
                <a:xfrm>
                  <a:off x="1349054" y="2253550"/>
                  <a:ext cx="1691987" cy="953057"/>
                </a:xfrm>
                <a:custGeom>
                  <a:avLst/>
                  <a:gdLst/>
                  <a:ahLst/>
                  <a:cxnLst>
                    <a:cxn ang="0">
                      <a:pos x="251" y="151"/>
                    </a:cxn>
                    <a:cxn ang="0">
                      <a:pos x="244" y="162"/>
                    </a:cxn>
                    <a:cxn ang="0">
                      <a:pos x="274" y="147"/>
                    </a:cxn>
                    <a:cxn ang="0">
                      <a:pos x="267" y="147"/>
                    </a:cxn>
                    <a:cxn ang="0">
                      <a:pos x="257" y="138"/>
                    </a:cxn>
                    <a:cxn ang="0">
                      <a:pos x="261" y="133"/>
                    </a:cxn>
                    <a:cxn ang="0">
                      <a:pos x="228" y="142"/>
                    </a:cxn>
                    <a:cxn ang="0">
                      <a:pos x="251" y="129"/>
                    </a:cxn>
                    <a:cxn ang="0">
                      <a:pos x="282" y="124"/>
                    </a:cxn>
                    <a:cxn ang="0">
                      <a:pos x="305" y="104"/>
                    </a:cxn>
                    <a:cxn ang="0">
                      <a:pos x="297" y="102"/>
                    </a:cxn>
                    <a:cxn ang="0">
                      <a:pos x="297" y="95"/>
                    </a:cxn>
                    <a:cxn ang="0">
                      <a:pos x="288" y="90"/>
                    </a:cxn>
                    <a:cxn ang="0">
                      <a:pos x="282" y="72"/>
                    </a:cxn>
                    <a:cxn ang="0">
                      <a:pos x="267" y="75"/>
                    </a:cxn>
                    <a:cxn ang="0">
                      <a:pos x="265" y="61"/>
                    </a:cxn>
                    <a:cxn ang="0">
                      <a:pos x="242" y="59"/>
                    </a:cxn>
                    <a:cxn ang="0">
                      <a:pos x="230" y="77"/>
                    </a:cxn>
                    <a:cxn ang="0">
                      <a:pos x="213" y="99"/>
                    </a:cxn>
                    <a:cxn ang="0">
                      <a:pos x="196" y="108"/>
                    </a:cxn>
                    <a:cxn ang="0">
                      <a:pos x="178" y="86"/>
                    </a:cxn>
                    <a:cxn ang="0">
                      <a:pos x="169" y="77"/>
                    </a:cxn>
                    <a:cxn ang="0">
                      <a:pos x="188" y="59"/>
                    </a:cxn>
                    <a:cxn ang="0">
                      <a:pos x="205" y="50"/>
                    </a:cxn>
                    <a:cxn ang="0">
                      <a:pos x="228" y="39"/>
                    </a:cxn>
                    <a:cxn ang="0">
                      <a:pos x="249" y="34"/>
                    </a:cxn>
                    <a:cxn ang="0">
                      <a:pos x="257" y="23"/>
                    </a:cxn>
                    <a:cxn ang="0">
                      <a:pos x="238" y="30"/>
                    </a:cxn>
                    <a:cxn ang="0">
                      <a:pos x="230" y="25"/>
                    </a:cxn>
                    <a:cxn ang="0">
                      <a:pos x="222" y="23"/>
                    </a:cxn>
                    <a:cxn ang="0">
                      <a:pos x="222" y="9"/>
                    </a:cxn>
                    <a:cxn ang="0">
                      <a:pos x="234" y="7"/>
                    </a:cxn>
                    <a:cxn ang="0">
                      <a:pos x="228" y="5"/>
                    </a:cxn>
                    <a:cxn ang="0">
                      <a:pos x="209" y="18"/>
                    </a:cxn>
                    <a:cxn ang="0">
                      <a:pos x="199" y="32"/>
                    </a:cxn>
                    <a:cxn ang="0">
                      <a:pos x="205" y="25"/>
                    </a:cxn>
                    <a:cxn ang="0">
                      <a:pos x="190" y="25"/>
                    </a:cxn>
                    <a:cxn ang="0">
                      <a:pos x="180" y="32"/>
                    </a:cxn>
                    <a:cxn ang="0">
                      <a:pos x="157" y="30"/>
                    </a:cxn>
                    <a:cxn ang="0">
                      <a:pos x="151" y="30"/>
                    </a:cxn>
                    <a:cxn ang="0">
                      <a:pos x="140" y="30"/>
                    </a:cxn>
                    <a:cxn ang="0">
                      <a:pos x="123" y="18"/>
                    </a:cxn>
                    <a:cxn ang="0">
                      <a:pos x="103" y="23"/>
                    </a:cxn>
                    <a:cxn ang="0">
                      <a:pos x="94" y="18"/>
                    </a:cxn>
                    <a:cxn ang="0">
                      <a:pos x="67" y="25"/>
                    </a:cxn>
                    <a:cxn ang="0">
                      <a:pos x="7" y="68"/>
                    </a:cxn>
                    <a:cxn ang="0">
                      <a:pos x="19" y="72"/>
                    </a:cxn>
                    <a:cxn ang="0">
                      <a:pos x="19" y="93"/>
                    </a:cxn>
                    <a:cxn ang="0">
                      <a:pos x="7" y="111"/>
                    </a:cxn>
                    <a:cxn ang="0">
                      <a:pos x="13" y="124"/>
                    </a:cxn>
                    <a:cxn ang="0">
                      <a:pos x="134" y="129"/>
                    </a:cxn>
                    <a:cxn ang="0">
                      <a:pos x="151" y="135"/>
                    </a:cxn>
                    <a:cxn ang="0">
                      <a:pos x="169" y="135"/>
                    </a:cxn>
                    <a:cxn ang="0">
                      <a:pos x="186" y="147"/>
                    </a:cxn>
                    <a:cxn ang="0">
                      <a:pos x="180" y="151"/>
                    </a:cxn>
                    <a:cxn ang="0">
                      <a:pos x="165" y="171"/>
                    </a:cxn>
                    <a:cxn ang="0">
                      <a:pos x="186" y="162"/>
                    </a:cxn>
                    <a:cxn ang="0">
                      <a:pos x="196" y="160"/>
                    </a:cxn>
                    <a:cxn ang="0">
                      <a:pos x="222" y="153"/>
                    </a:cxn>
                    <a:cxn ang="0">
                      <a:pos x="242" y="142"/>
                    </a:cxn>
                    <a:cxn ang="0">
                      <a:pos x="242" y="151"/>
                    </a:cxn>
                  </a:cxnLst>
                  <a:rect l="0" t="0" r="r" b="b"/>
                  <a:pathLst>
                    <a:path w="305" h="171">
                      <a:moveTo>
                        <a:pt x="242" y="151"/>
                      </a:moveTo>
                      <a:lnTo>
                        <a:pt x="253" y="151"/>
                      </a:lnTo>
                      <a:lnTo>
                        <a:pt x="251" y="151"/>
                      </a:lnTo>
                      <a:lnTo>
                        <a:pt x="253" y="151"/>
                      </a:lnTo>
                      <a:lnTo>
                        <a:pt x="244" y="156"/>
                      </a:lnTo>
                      <a:lnTo>
                        <a:pt x="244" y="162"/>
                      </a:lnTo>
                      <a:lnTo>
                        <a:pt x="253" y="156"/>
                      </a:lnTo>
                      <a:lnTo>
                        <a:pt x="267" y="151"/>
                      </a:lnTo>
                      <a:lnTo>
                        <a:pt x="274" y="147"/>
                      </a:lnTo>
                      <a:lnTo>
                        <a:pt x="274" y="144"/>
                      </a:lnTo>
                      <a:lnTo>
                        <a:pt x="274" y="142"/>
                      </a:lnTo>
                      <a:lnTo>
                        <a:pt x="267" y="147"/>
                      </a:lnTo>
                      <a:lnTo>
                        <a:pt x="259" y="147"/>
                      </a:lnTo>
                      <a:lnTo>
                        <a:pt x="253" y="144"/>
                      </a:lnTo>
                      <a:lnTo>
                        <a:pt x="257" y="138"/>
                      </a:lnTo>
                      <a:lnTo>
                        <a:pt x="253" y="138"/>
                      </a:lnTo>
                      <a:lnTo>
                        <a:pt x="251" y="135"/>
                      </a:lnTo>
                      <a:lnTo>
                        <a:pt x="261" y="133"/>
                      </a:lnTo>
                      <a:lnTo>
                        <a:pt x="259" y="129"/>
                      </a:lnTo>
                      <a:lnTo>
                        <a:pt x="242" y="133"/>
                      </a:lnTo>
                      <a:lnTo>
                        <a:pt x="228" y="142"/>
                      </a:lnTo>
                      <a:lnTo>
                        <a:pt x="238" y="133"/>
                      </a:lnTo>
                      <a:lnTo>
                        <a:pt x="249" y="129"/>
                      </a:lnTo>
                      <a:lnTo>
                        <a:pt x="251" y="129"/>
                      </a:lnTo>
                      <a:lnTo>
                        <a:pt x="253" y="124"/>
                      </a:lnTo>
                      <a:lnTo>
                        <a:pt x="265" y="124"/>
                      </a:lnTo>
                      <a:lnTo>
                        <a:pt x="282" y="124"/>
                      </a:lnTo>
                      <a:lnTo>
                        <a:pt x="290" y="117"/>
                      </a:lnTo>
                      <a:lnTo>
                        <a:pt x="305" y="115"/>
                      </a:lnTo>
                      <a:lnTo>
                        <a:pt x="305" y="104"/>
                      </a:lnTo>
                      <a:lnTo>
                        <a:pt x="301" y="104"/>
                      </a:lnTo>
                      <a:lnTo>
                        <a:pt x="301" y="102"/>
                      </a:lnTo>
                      <a:lnTo>
                        <a:pt x="297" y="102"/>
                      </a:lnTo>
                      <a:lnTo>
                        <a:pt x="301" y="99"/>
                      </a:lnTo>
                      <a:lnTo>
                        <a:pt x="297" y="99"/>
                      </a:lnTo>
                      <a:lnTo>
                        <a:pt x="297" y="95"/>
                      </a:lnTo>
                      <a:lnTo>
                        <a:pt x="290" y="95"/>
                      </a:lnTo>
                      <a:lnTo>
                        <a:pt x="292" y="93"/>
                      </a:lnTo>
                      <a:lnTo>
                        <a:pt x="288" y="90"/>
                      </a:lnTo>
                      <a:lnTo>
                        <a:pt x="292" y="86"/>
                      </a:lnTo>
                      <a:lnTo>
                        <a:pt x="288" y="68"/>
                      </a:lnTo>
                      <a:lnTo>
                        <a:pt x="282" y="72"/>
                      </a:lnTo>
                      <a:lnTo>
                        <a:pt x="282" y="75"/>
                      </a:lnTo>
                      <a:lnTo>
                        <a:pt x="270" y="81"/>
                      </a:lnTo>
                      <a:lnTo>
                        <a:pt x="267" y="75"/>
                      </a:lnTo>
                      <a:lnTo>
                        <a:pt x="270" y="66"/>
                      </a:lnTo>
                      <a:lnTo>
                        <a:pt x="265" y="66"/>
                      </a:lnTo>
                      <a:lnTo>
                        <a:pt x="265" y="61"/>
                      </a:lnTo>
                      <a:lnTo>
                        <a:pt x="259" y="59"/>
                      </a:lnTo>
                      <a:lnTo>
                        <a:pt x="249" y="57"/>
                      </a:lnTo>
                      <a:lnTo>
                        <a:pt x="242" y="59"/>
                      </a:lnTo>
                      <a:lnTo>
                        <a:pt x="238" y="66"/>
                      </a:lnTo>
                      <a:lnTo>
                        <a:pt x="236" y="72"/>
                      </a:lnTo>
                      <a:lnTo>
                        <a:pt x="230" y="77"/>
                      </a:lnTo>
                      <a:lnTo>
                        <a:pt x="234" y="81"/>
                      </a:lnTo>
                      <a:lnTo>
                        <a:pt x="228" y="93"/>
                      </a:lnTo>
                      <a:lnTo>
                        <a:pt x="213" y="99"/>
                      </a:lnTo>
                      <a:lnTo>
                        <a:pt x="211" y="115"/>
                      </a:lnTo>
                      <a:lnTo>
                        <a:pt x="203" y="117"/>
                      </a:lnTo>
                      <a:lnTo>
                        <a:pt x="196" y="108"/>
                      </a:lnTo>
                      <a:lnTo>
                        <a:pt x="205" y="99"/>
                      </a:lnTo>
                      <a:lnTo>
                        <a:pt x="194" y="95"/>
                      </a:lnTo>
                      <a:lnTo>
                        <a:pt x="178" y="86"/>
                      </a:lnTo>
                      <a:lnTo>
                        <a:pt x="171" y="86"/>
                      </a:lnTo>
                      <a:lnTo>
                        <a:pt x="174" y="77"/>
                      </a:lnTo>
                      <a:lnTo>
                        <a:pt x="169" y="77"/>
                      </a:lnTo>
                      <a:lnTo>
                        <a:pt x="169" y="75"/>
                      </a:lnTo>
                      <a:lnTo>
                        <a:pt x="180" y="66"/>
                      </a:lnTo>
                      <a:lnTo>
                        <a:pt x="188" y="59"/>
                      </a:lnTo>
                      <a:lnTo>
                        <a:pt x="190" y="57"/>
                      </a:lnTo>
                      <a:lnTo>
                        <a:pt x="199" y="57"/>
                      </a:lnTo>
                      <a:lnTo>
                        <a:pt x="205" y="50"/>
                      </a:lnTo>
                      <a:lnTo>
                        <a:pt x="211" y="50"/>
                      </a:lnTo>
                      <a:lnTo>
                        <a:pt x="219" y="43"/>
                      </a:lnTo>
                      <a:lnTo>
                        <a:pt x="228" y="39"/>
                      </a:lnTo>
                      <a:lnTo>
                        <a:pt x="230" y="39"/>
                      </a:lnTo>
                      <a:lnTo>
                        <a:pt x="236" y="39"/>
                      </a:lnTo>
                      <a:lnTo>
                        <a:pt x="249" y="34"/>
                      </a:lnTo>
                      <a:lnTo>
                        <a:pt x="251" y="32"/>
                      </a:lnTo>
                      <a:lnTo>
                        <a:pt x="249" y="32"/>
                      </a:lnTo>
                      <a:lnTo>
                        <a:pt x="257" y="23"/>
                      </a:lnTo>
                      <a:lnTo>
                        <a:pt x="253" y="23"/>
                      </a:lnTo>
                      <a:lnTo>
                        <a:pt x="244" y="18"/>
                      </a:lnTo>
                      <a:lnTo>
                        <a:pt x="238" y="30"/>
                      </a:lnTo>
                      <a:lnTo>
                        <a:pt x="228" y="34"/>
                      </a:lnTo>
                      <a:lnTo>
                        <a:pt x="228" y="32"/>
                      </a:lnTo>
                      <a:lnTo>
                        <a:pt x="230" y="25"/>
                      </a:lnTo>
                      <a:lnTo>
                        <a:pt x="230" y="23"/>
                      </a:lnTo>
                      <a:lnTo>
                        <a:pt x="226" y="25"/>
                      </a:lnTo>
                      <a:lnTo>
                        <a:pt x="222" y="23"/>
                      </a:lnTo>
                      <a:lnTo>
                        <a:pt x="219" y="18"/>
                      </a:lnTo>
                      <a:lnTo>
                        <a:pt x="226" y="18"/>
                      </a:lnTo>
                      <a:lnTo>
                        <a:pt x="222" y="9"/>
                      </a:lnTo>
                      <a:lnTo>
                        <a:pt x="228" y="9"/>
                      </a:lnTo>
                      <a:lnTo>
                        <a:pt x="228" y="7"/>
                      </a:lnTo>
                      <a:lnTo>
                        <a:pt x="234" y="7"/>
                      </a:lnTo>
                      <a:lnTo>
                        <a:pt x="244" y="0"/>
                      </a:lnTo>
                      <a:lnTo>
                        <a:pt x="236" y="0"/>
                      </a:lnTo>
                      <a:lnTo>
                        <a:pt x="228" y="5"/>
                      </a:lnTo>
                      <a:lnTo>
                        <a:pt x="219" y="9"/>
                      </a:lnTo>
                      <a:lnTo>
                        <a:pt x="209" y="16"/>
                      </a:lnTo>
                      <a:lnTo>
                        <a:pt x="209" y="18"/>
                      </a:lnTo>
                      <a:lnTo>
                        <a:pt x="213" y="23"/>
                      </a:lnTo>
                      <a:lnTo>
                        <a:pt x="209" y="25"/>
                      </a:lnTo>
                      <a:lnTo>
                        <a:pt x="199" y="32"/>
                      </a:lnTo>
                      <a:lnTo>
                        <a:pt x="196" y="32"/>
                      </a:lnTo>
                      <a:lnTo>
                        <a:pt x="199" y="30"/>
                      </a:lnTo>
                      <a:lnTo>
                        <a:pt x="205" y="25"/>
                      </a:lnTo>
                      <a:lnTo>
                        <a:pt x="205" y="23"/>
                      </a:lnTo>
                      <a:lnTo>
                        <a:pt x="203" y="18"/>
                      </a:lnTo>
                      <a:lnTo>
                        <a:pt x="190" y="25"/>
                      </a:lnTo>
                      <a:lnTo>
                        <a:pt x="196" y="25"/>
                      </a:lnTo>
                      <a:lnTo>
                        <a:pt x="188" y="32"/>
                      </a:lnTo>
                      <a:lnTo>
                        <a:pt x="180" y="32"/>
                      </a:lnTo>
                      <a:lnTo>
                        <a:pt x="171" y="30"/>
                      </a:lnTo>
                      <a:lnTo>
                        <a:pt x="171" y="25"/>
                      </a:lnTo>
                      <a:lnTo>
                        <a:pt x="157" y="30"/>
                      </a:lnTo>
                      <a:lnTo>
                        <a:pt x="159" y="30"/>
                      </a:lnTo>
                      <a:lnTo>
                        <a:pt x="157" y="32"/>
                      </a:lnTo>
                      <a:lnTo>
                        <a:pt x="151" y="30"/>
                      </a:lnTo>
                      <a:lnTo>
                        <a:pt x="140" y="32"/>
                      </a:lnTo>
                      <a:lnTo>
                        <a:pt x="132" y="32"/>
                      </a:lnTo>
                      <a:lnTo>
                        <a:pt x="140" y="30"/>
                      </a:lnTo>
                      <a:lnTo>
                        <a:pt x="140" y="25"/>
                      </a:lnTo>
                      <a:lnTo>
                        <a:pt x="126" y="23"/>
                      </a:lnTo>
                      <a:lnTo>
                        <a:pt x="123" y="18"/>
                      </a:lnTo>
                      <a:lnTo>
                        <a:pt x="117" y="18"/>
                      </a:lnTo>
                      <a:lnTo>
                        <a:pt x="111" y="23"/>
                      </a:lnTo>
                      <a:lnTo>
                        <a:pt x="103" y="23"/>
                      </a:lnTo>
                      <a:lnTo>
                        <a:pt x="107" y="18"/>
                      </a:lnTo>
                      <a:lnTo>
                        <a:pt x="103" y="16"/>
                      </a:lnTo>
                      <a:lnTo>
                        <a:pt x="94" y="18"/>
                      </a:lnTo>
                      <a:lnTo>
                        <a:pt x="78" y="23"/>
                      </a:lnTo>
                      <a:lnTo>
                        <a:pt x="71" y="23"/>
                      </a:lnTo>
                      <a:lnTo>
                        <a:pt x="67" y="25"/>
                      </a:lnTo>
                      <a:lnTo>
                        <a:pt x="55" y="23"/>
                      </a:lnTo>
                      <a:lnTo>
                        <a:pt x="0" y="68"/>
                      </a:lnTo>
                      <a:lnTo>
                        <a:pt x="7" y="68"/>
                      </a:lnTo>
                      <a:lnTo>
                        <a:pt x="5" y="72"/>
                      </a:lnTo>
                      <a:lnTo>
                        <a:pt x="7" y="75"/>
                      </a:lnTo>
                      <a:lnTo>
                        <a:pt x="19" y="72"/>
                      </a:lnTo>
                      <a:lnTo>
                        <a:pt x="19" y="77"/>
                      </a:lnTo>
                      <a:lnTo>
                        <a:pt x="15" y="90"/>
                      </a:lnTo>
                      <a:lnTo>
                        <a:pt x="19" y="93"/>
                      </a:lnTo>
                      <a:lnTo>
                        <a:pt x="15" y="99"/>
                      </a:lnTo>
                      <a:lnTo>
                        <a:pt x="7" y="102"/>
                      </a:lnTo>
                      <a:lnTo>
                        <a:pt x="7" y="111"/>
                      </a:lnTo>
                      <a:lnTo>
                        <a:pt x="11" y="111"/>
                      </a:lnTo>
                      <a:lnTo>
                        <a:pt x="7" y="117"/>
                      </a:lnTo>
                      <a:lnTo>
                        <a:pt x="13" y="124"/>
                      </a:lnTo>
                      <a:lnTo>
                        <a:pt x="19" y="129"/>
                      </a:lnTo>
                      <a:lnTo>
                        <a:pt x="132" y="129"/>
                      </a:lnTo>
                      <a:lnTo>
                        <a:pt x="134" y="129"/>
                      </a:lnTo>
                      <a:lnTo>
                        <a:pt x="138" y="133"/>
                      </a:lnTo>
                      <a:lnTo>
                        <a:pt x="155" y="135"/>
                      </a:lnTo>
                      <a:lnTo>
                        <a:pt x="151" y="135"/>
                      </a:lnTo>
                      <a:lnTo>
                        <a:pt x="163" y="129"/>
                      </a:lnTo>
                      <a:lnTo>
                        <a:pt x="169" y="133"/>
                      </a:lnTo>
                      <a:lnTo>
                        <a:pt x="169" y="135"/>
                      </a:lnTo>
                      <a:lnTo>
                        <a:pt x="174" y="135"/>
                      </a:lnTo>
                      <a:lnTo>
                        <a:pt x="171" y="144"/>
                      </a:lnTo>
                      <a:lnTo>
                        <a:pt x="186" y="147"/>
                      </a:lnTo>
                      <a:lnTo>
                        <a:pt x="188" y="153"/>
                      </a:lnTo>
                      <a:lnTo>
                        <a:pt x="186" y="156"/>
                      </a:lnTo>
                      <a:lnTo>
                        <a:pt x="180" y="151"/>
                      </a:lnTo>
                      <a:lnTo>
                        <a:pt x="174" y="162"/>
                      </a:lnTo>
                      <a:lnTo>
                        <a:pt x="171" y="162"/>
                      </a:lnTo>
                      <a:lnTo>
                        <a:pt x="165" y="171"/>
                      </a:lnTo>
                      <a:lnTo>
                        <a:pt x="174" y="167"/>
                      </a:lnTo>
                      <a:lnTo>
                        <a:pt x="188" y="167"/>
                      </a:lnTo>
                      <a:lnTo>
                        <a:pt x="186" y="162"/>
                      </a:lnTo>
                      <a:lnTo>
                        <a:pt x="182" y="162"/>
                      </a:lnTo>
                      <a:lnTo>
                        <a:pt x="186" y="160"/>
                      </a:lnTo>
                      <a:lnTo>
                        <a:pt x="196" y="160"/>
                      </a:lnTo>
                      <a:lnTo>
                        <a:pt x="203" y="156"/>
                      </a:lnTo>
                      <a:lnTo>
                        <a:pt x="209" y="153"/>
                      </a:lnTo>
                      <a:lnTo>
                        <a:pt x="222" y="153"/>
                      </a:lnTo>
                      <a:lnTo>
                        <a:pt x="228" y="151"/>
                      </a:lnTo>
                      <a:lnTo>
                        <a:pt x="236" y="138"/>
                      </a:lnTo>
                      <a:lnTo>
                        <a:pt x="242" y="142"/>
                      </a:lnTo>
                      <a:lnTo>
                        <a:pt x="238" y="151"/>
                      </a:lnTo>
                      <a:lnTo>
                        <a:pt x="240" y="151"/>
                      </a:lnTo>
                      <a:lnTo>
                        <a:pt x="242" y="15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34332" name="Cameroon"/>
              <p:cNvSpPr>
                <a:spLocks/>
              </p:cNvSpPr>
              <p:nvPr/>
            </p:nvSpPr>
            <p:spPr bwMode="auto">
              <a:xfrm>
                <a:off x="4448040" y="4145703"/>
                <a:ext cx="213093" cy="374694"/>
              </a:xfrm>
              <a:custGeom>
                <a:avLst/>
                <a:gdLst>
                  <a:gd name="T0" fmla="*/ 2380387 w 586"/>
                  <a:gd name="T1" fmla="*/ 120658818 h 869"/>
                  <a:gd name="T2" fmla="*/ 264366 w 586"/>
                  <a:gd name="T3" fmla="*/ 118985415 h 869"/>
                  <a:gd name="T4" fmla="*/ 3041485 w 586"/>
                  <a:gd name="T5" fmla="*/ 113593962 h 869"/>
                  <a:gd name="T6" fmla="*/ 4628045 w 586"/>
                  <a:gd name="T7" fmla="*/ 102438923 h 869"/>
                  <a:gd name="T8" fmla="*/ 11768841 w 586"/>
                  <a:gd name="T9" fmla="*/ 93143151 h 869"/>
                  <a:gd name="T10" fmla="*/ 17983811 w 586"/>
                  <a:gd name="T11" fmla="*/ 87565861 h 869"/>
                  <a:gd name="T12" fmla="*/ 24331149 w 586"/>
                  <a:gd name="T13" fmla="*/ 87194185 h 869"/>
                  <a:gd name="T14" fmla="*/ 29488288 w 586"/>
                  <a:gd name="T15" fmla="*/ 93701096 h 869"/>
                  <a:gd name="T16" fmla="*/ 34380698 w 586"/>
                  <a:gd name="T17" fmla="*/ 84033649 h 869"/>
                  <a:gd name="T18" fmla="*/ 37554546 w 586"/>
                  <a:gd name="T19" fmla="*/ 73250312 h 869"/>
                  <a:gd name="T20" fmla="*/ 39802567 w 586"/>
                  <a:gd name="T21" fmla="*/ 65256267 h 869"/>
                  <a:gd name="T22" fmla="*/ 44959707 w 586"/>
                  <a:gd name="T23" fmla="*/ 54101241 h 869"/>
                  <a:gd name="T24" fmla="*/ 48133202 w 586"/>
                  <a:gd name="T25" fmla="*/ 44991307 h 869"/>
                  <a:gd name="T26" fmla="*/ 52364515 w 586"/>
                  <a:gd name="T27" fmla="*/ 32907106 h 869"/>
                  <a:gd name="T28" fmla="*/ 61356599 w 586"/>
                  <a:gd name="T29" fmla="*/ 23425058 h 869"/>
                  <a:gd name="T30" fmla="*/ 61224234 w 586"/>
                  <a:gd name="T31" fmla="*/ 13013825 h 869"/>
                  <a:gd name="T32" fmla="*/ 56463826 w 586"/>
                  <a:gd name="T33" fmla="*/ 1115459 h 869"/>
                  <a:gd name="T34" fmla="*/ 62811158 w 586"/>
                  <a:gd name="T35" fmla="*/ 6321075 h 869"/>
                  <a:gd name="T36" fmla="*/ 65984643 w 586"/>
                  <a:gd name="T37" fmla="*/ 15245176 h 869"/>
                  <a:gd name="T38" fmla="*/ 66117008 w 586"/>
                  <a:gd name="T39" fmla="*/ 24726786 h 869"/>
                  <a:gd name="T40" fmla="*/ 67174836 w 586"/>
                  <a:gd name="T41" fmla="*/ 37183101 h 869"/>
                  <a:gd name="T42" fmla="*/ 70877416 w 586"/>
                  <a:gd name="T43" fmla="*/ 44805470 h 869"/>
                  <a:gd name="T44" fmla="*/ 60166406 w 586"/>
                  <a:gd name="T45" fmla="*/ 44247525 h 869"/>
                  <a:gd name="T46" fmla="*/ 56463826 w 586"/>
                  <a:gd name="T47" fmla="*/ 50754867 h 869"/>
                  <a:gd name="T48" fmla="*/ 63736622 w 586"/>
                  <a:gd name="T49" fmla="*/ 60794004 h 869"/>
                  <a:gd name="T50" fmla="*/ 69819588 w 586"/>
                  <a:gd name="T51" fmla="*/ 73436150 h 869"/>
                  <a:gd name="T52" fmla="*/ 70745051 w 586"/>
                  <a:gd name="T53" fmla="*/ 78641765 h 869"/>
                  <a:gd name="T54" fmla="*/ 67174836 w 586"/>
                  <a:gd name="T55" fmla="*/ 85520782 h 869"/>
                  <a:gd name="T56" fmla="*/ 62282062 w 586"/>
                  <a:gd name="T57" fmla="*/ 97047470 h 869"/>
                  <a:gd name="T58" fmla="*/ 61620965 w 586"/>
                  <a:gd name="T59" fmla="*/ 107458700 h 869"/>
                  <a:gd name="T60" fmla="*/ 63207889 w 586"/>
                  <a:gd name="T61" fmla="*/ 120286711 h 869"/>
                  <a:gd name="T62" fmla="*/ 65984643 w 586"/>
                  <a:gd name="T63" fmla="*/ 128467025 h 869"/>
                  <a:gd name="T64" fmla="*/ 73786534 w 586"/>
                  <a:gd name="T65" fmla="*/ 140737495 h 869"/>
                  <a:gd name="T66" fmla="*/ 77224748 w 586"/>
                  <a:gd name="T67" fmla="*/ 152822128 h 869"/>
                  <a:gd name="T68" fmla="*/ 77489114 w 586"/>
                  <a:gd name="T69" fmla="*/ 153193804 h 869"/>
                  <a:gd name="T70" fmla="*/ 76960019 w 586"/>
                  <a:gd name="T71" fmla="*/ 159143201 h 869"/>
                  <a:gd name="T72" fmla="*/ 69290492 w 586"/>
                  <a:gd name="T73" fmla="*/ 157283961 h 869"/>
                  <a:gd name="T74" fmla="*/ 64530084 w 586"/>
                  <a:gd name="T75" fmla="*/ 156354340 h 869"/>
                  <a:gd name="T76" fmla="*/ 60166406 w 586"/>
                  <a:gd name="T77" fmla="*/ 154309262 h 869"/>
                  <a:gd name="T78" fmla="*/ 48529933 w 586"/>
                  <a:gd name="T79" fmla="*/ 154123424 h 869"/>
                  <a:gd name="T80" fmla="*/ 37686547 w 586"/>
                  <a:gd name="T81" fmla="*/ 152450021 h 869"/>
                  <a:gd name="T82" fmla="*/ 28694826 w 586"/>
                  <a:gd name="T83" fmla="*/ 153937586 h 869"/>
                  <a:gd name="T84" fmla="*/ 21818756 w 586"/>
                  <a:gd name="T85" fmla="*/ 154123424 h 869"/>
                  <a:gd name="T86" fmla="*/ 12826672 w 586"/>
                  <a:gd name="T87" fmla="*/ 150404943 h 869"/>
                  <a:gd name="T88" fmla="*/ 13884500 w 586"/>
                  <a:gd name="T89" fmla="*/ 142410898 h 869"/>
                  <a:gd name="T90" fmla="*/ 12959037 w 586"/>
                  <a:gd name="T91" fmla="*/ 136461501 h 869"/>
                  <a:gd name="T92" fmla="*/ 11636476 w 586"/>
                  <a:gd name="T93" fmla="*/ 131627561 h 869"/>
                  <a:gd name="T94" fmla="*/ 10446646 w 586"/>
                  <a:gd name="T95" fmla="*/ 127909511 h 869"/>
                  <a:gd name="T96" fmla="*/ 5553872 w 586"/>
                  <a:gd name="T97" fmla="*/ 126979891 h 869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86"/>
                  <a:gd name="T148" fmla="*/ 0 h 869"/>
                  <a:gd name="T149" fmla="*/ 586 w 586"/>
                  <a:gd name="T150" fmla="*/ 869 h 869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86" h="869">
                    <a:moveTo>
                      <a:pt x="29" y="653"/>
                    </a:moveTo>
                    <a:cubicBezTo>
                      <a:pt x="29" y="647"/>
                      <a:pt x="22" y="650"/>
                      <a:pt x="18" y="649"/>
                    </a:cubicBezTo>
                    <a:cubicBezTo>
                      <a:pt x="14" y="648"/>
                      <a:pt x="9" y="654"/>
                      <a:pt x="5" y="650"/>
                    </a:cubicBezTo>
                    <a:cubicBezTo>
                      <a:pt x="0" y="649"/>
                      <a:pt x="1" y="644"/>
                      <a:pt x="2" y="640"/>
                    </a:cubicBezTo>
                    <a:cubicBezTo>
                      <a:pt x="2" y="640"/>
                      <a:pt x="2" y="640"/>
                      <a:pt x="2" y="640"/>
                    </a:cubicBezTo>
                    <a:cubicBezTo>
                      <a:pt x="7" y="631"/>
                      <a:pt x="17" y="621"/>
                      <a:pt x="23" y="611"/>
                    </a:cubicBezTo>
                    <a:cubicBezTo>
                      <a:pt x="34" y="599"/>
                      <a:pt x="31" y="582"/>
                      <a:pt x="37" y="568"/>
                    </a:cubicBezTo>
                    <a:cubicBezTo>
                      <a:pt x="31" y="564"/>
                      <a:pt x="35" y="558"/>
                      <a:pt x="35" y="551"/>
                    </a:cubicBezTo>
                    <a:cubicBezTo>
                      <a:pt x="44" y="546"/>
                      <a:pt x="50" y="536"/>
                      <a:pt x="59" y="529"/>
                    </a:cubicBezTo>
                    <a:cubicBezTo>
                      <a:pt x="69" y="519"/>
                      <a:pt x="78" y="510"/>
                      <a:pt x="89" y="501"/>
                    </a:cubicBezTo>
                    <a:cubicBezTo>
                      <a:pt x="102" y="501"/>
                      <a:pt x="99" y="483"/>
                      <a:pt x="106" y="480"/>
                    </a:cubicBezTo>
                    <a:cubicBezTo>
                      <a:pt x="119" y="481"/>
                      <a:pt x="130" y="452"/>
                      <a:pt x="136" y="471"/>
                    </a:cubicBezTo>
                    <a:cubicBezTo>
                      <a:pt x="148" y="477"/>
                      <a:pt x="164" y="472"/>
                      <a:pt x="164" y="456"/>
                    </a:cubicBezTo>
                    <a:cubicBezTo>
                      <a:pt x="165" y="457"/>
                      <a:pt x="179" y="465"/>
                      <a:pt x="184" y="469"/>
                    </a:cubicBezTo>
                    <a:cubicBezTo>
                      <a:pt x="183" y="482"/>
                      <a:pt x="201" y="478"/>
                      <a:pt x="201" y="489"/>
                    </a:cubicBezTo>
                    <a:cubicBezTo>
                      <a:pt x="196" y="504"/>
                      <a:pt x="211" y="511"/>
                      <a:pt x="223" y="504"/>
                    </a:cubicBezTo>
                    <a:cubicBezTo>
                      <a:pt x="226" y="495"/>
                      <a:pt x="236" y="493"/>
                      <a:pt x="239" y="484"/>
                    </a:cubicBezTo>
                    <a:cubicBezTo>
                      <a:pt x="230" y="466"/>
                      <a:pt x="260" y="465"/>
                      <a:pt x="260" y="452"/>
                    </a:cubicBezTo>
                    <a:cubicBezTo>
                      <a:pt x="252" y="446"/>
                      <a:pt x="252" y="441"/>
                      <a:pt x="259" y="434"/>
                    </a:cubicBezTo>
                    <a:cubicBezTo>
                      <a:pt x="276" y="425"/>
                      <a:pt x="269" y="405"/>
                      <a:pt x="284" y="394"/>
                    </a:cubicBezTo>
                    <a:cubicBezTo>
                      <a:pt x="286" y="386"/>
                      <a:pt x="287" y="377"/>
                      <a:pt x="289" y="368"/>
                    </a:cubicBezTo>
                    <a:cubicBezTo>
                      <a:pt x="284" y="357"/>
                      <a:pt x="296" y="357"/>
                      <a:pt x="301" y="351"/>
                    </a:cubicBezTo>
                    <a:cubicBezTo>
                      <a:pt x="296" y="334"/>
                      <a:pt x="321" y="348"/>
                      <a:pt x="323" y="335"/>
                    </a:cubicBezTo>
                    <a:cubicBezTo>
                      <a:pt x="339" y="326"/>
                      <a:pt x="330" y="304"/>
                      <a:pt x="340" y="291"/>
                    </a:cubicBezTo>
                    <a:cubicBezTo>
                      <a:pt x="331" y="285"/>
                      <a:pt x="344" y="280"/>
                      <a:pt x="349" y="275"/>
                    </a:cubicBezTo>
                    <a:cubicBezTo>
                      <a:pt x="368" y="277"/>
                      <a:pt x="366" y="254"/>
                      <a:pt x="364" y="242"/>
                    </a:cubicBezTo>
                    <a:cubicBezTo>
                      <a:pt x="360" y="227"/>
                      <a:pt x="378" y="233"/>
                      <a:pt x="380" y="223"/>
                    </a:cubicBezTo>
                    <a:cubicBezTo>
                      <a:pt x="384" y="207"/>
                      <a:pt x="384" y="189"/>
                      <a:pt x="396" y="177"/>
                    </a:cubicBezTo>
                    <a:cubicBezTo>
                      <a:pt x="405" y="165"/>
                      <a:pt x="408" y="150"/>
                      <a:pt x="421" y="142"/>
                    </a:cubicBezTo>
                    <a:cubicBezTo>
                      <a:pt x="438" y="150"/>
                      <a:pt x="449" y="131"/>
                      <a:pt x="464" y="126"/>
                    </a:cubicBezTo>
                    <a:cubicBezTo>
                      <a:pt x="477" y="119"/>
                      <a:pt x="458" y="109"/>
                      <a:pt x="467" y="100"/>
                    </a:cubicBezTo>
                    <a:cubicBezTo>
                      <a:pt x="466" y="90"/>
                      <a:pt x="476" y="75"/>
                      <a:pt x="463" y="70"/>
                    </a:cubicBezTo>
                    <a:cubicBezTo>
                      <a:pt x="460" y="54"/>
                      <a:pt x="441" y="66"/>
                      <a:pt x="435" y="57"/>
                    </a:cubicBezTo>
                    <a:cubicBezTo>
                      <a:pt x="437" y="40"/>
                      <a:pt x="429" y="23"/>
                      <a:pt x="427" y="6"/>
                    </a:cubicBezTo>
                    <a:cubicBezTo>
                      <a:pt x="438" y="8"/>
                      <a:pt x="456" y="0"/>
                      <a:pt x="459" y="15"/>
                    </a:cubicBezTo>
                    <a:cubicBezTo>
                      <a:pt x="459" y="26"/>
                      <a:pt x="465" y="33"/>
                      <a:pt x="475" y="34"/>
                    </a:cubicBezTo>
                    <a:cubicBezTo>
                      <a:pt x="475" y="40"/>
                      <a:pt x="487" y="41"/>
                      <a:pt x="485" y="50"/>
                    </a:cubicBezTo>
                    <a:cubicBezTo>
                      <a:pt x="491" y="62"/>
                      <a:pt x="483" y="80"/>
                      <a:pt x="499" y="82"/>
                    </a:cubicBezTo>
                    <a:cubicBezTo>
                      <a:pt x="501" y="90"/>
                      <a:pt x="497" y="97"/>
                      <a:pt x="502" y="103"/>
                    </a:cubicBezTo>
                    <a:cubicBezTo>
                      <a:pt x="497" y="115"/>
                      <a:pt x="509" y="123"/>
                      <a:pt x="500" y="133"/>
                    </a:cubicBezTo>
                    <a:cubicBezTo>
                      <a:pt x="497" y="144"/>
                      <a:pt x="495" y="155"/>
                      <a:pt x="499" y="166"/>
                    </a:cubicBezTo>
                    <a:cubicBezTo>
                      <a:pt x="500" y="178"/>
                      <a:pt x="505" y="189"/>
                      <a:pt x="508" y="200"/>
                    </a:cubicBezTo>
                    <a:cubicBezTo>
                      <a:pt x="517" y="209"/>
                      <a:pt x="523" y="222"/>
                      <a:pt x="534" y="230"/>
                    </a:cubicBezTo>
                    <a:cubicBezTo>
                      <a:pt x="540" y="234"/>
                      <a:pt x="549" y="241"/>
                      <a:pt x="536" y="241"/>
                    </a:cubicBezTo>
                    <a:cubicBezTo>
                      <a:pt x="522" y="245"/>
                      <a:pt x="510" y="235"/>
                      <a:pt x="496" y="241"/>
                    </a:cubicBezTo>
                    <a:cubicBezTo>
                      <a:pt x="482" y="243"/>
                      <a:pt x="469" y="241"/>
                      <a:pt x="455" y="238"/>
                    </a:cubicBezTo>
                    <a:cubicBezTo>
                      <a:pt x="443" y="237"/>
                      <a:pt x="432" y="239"/>
                      <a:pt x="428" y="252"/>
                    </a:cubicBezTo>
                    <a:cubicBezTo>
                      <a:pt x="417" y="256"/>
                      <a:pt x="418" y="268"/>
                      <a:pt x="427" y="273"/>
                    </a:cubicBezTo>
                    <a:cubicBezTo>
                      <a:pt x="437" y="283"/>
                      <a:pt x="445" y="295"/>
                      <a:pt x="454" y="305"/>
                    </a:cubicBezTo>
                    <a:cubicBezTo>
                      <a:pt x="463" y="313"/>
                      <a:pt x="473" y="320"/>
                      <a:pt x="482" y="327"/>
                    </a:cubicBezTo>
                    <a:cubicBezTo>
                      <a:pt x="495" y="334"/>
                      <a:pt x="508" y="346"/>
                      <a:pt x="514" y="361"/>
                    </a:cubicBezTo>
                    <a:cubicBezTo>
                      <a:pt x="519" y="372"/>
                      <a:pt x="525" y="383"/>
                      <a:pt x="528" y="395"/>
                    </a:cubicBezTo>
                    <a:cubicBezTo>
                      <a:pt x="531" y="406"/>
                      <a:pt x="546" y="409"/>
                      <a:pt x="535" y="421"/>
                    </a:cubicBezTo>
                    <a:cubicBezTo>
                      <a:pt x="535" y="422"/>
                      <a:pt x="535" y="422"/>
                      <a:pt x="535" y="423"/>
                    </a:cubicBezTo>
                    <a:cubicBezTo>
                      <a:pt x="533" y="424"/>
                      <a:pt x="533" y="424"/>
                      <a:pt x="533" y="424"/>
                    </a:cubicBezTo>
                    <a:cubicBezTo>
                      <a:pt x="528" y="439"/>
                      <a:pt x="509" y="443"/>
                      <a:pt x="508" y="460"/>
                    </a:cubicBezTo>
                    <a:cubicBezTo>
                      <a:pt x="505" y="474"/>
                      <a:pt x="495" y="482"/>
                      <a:pt x="489" y="492"/>
                    </a:cubicBezTo>
                    <a:cubicBezTo>
                      <a:pt x="482" y="502"/>
                      <a:pt x="483" y="517"/>
                      <a:pt x="471" y="522"/>
                    </a:cubicBezTo>
                    <a:cubicBezTo>
                      <a:pt x="457" y="522"/>
                      <a:pt x="443" y="543"/>
                      <a:pt x="463" y="546"/>
                    </a:cubicBezTo>
                    <a:cubicBezTo>
                      <a:pt x="473" y="550"/>
                      <a:pt x="463" y="569"/>
                      <a:pt x="466" y="578"/>
                    </a:cubicBezTo>
                    <a:cubicBezTo>
                      <a:pt x="464" y="587"/>
                      <a:pt x="456" y="596"/>
                      <a:pt x="469" y="599"/>
                    </a:cubicBezTo>
                    <a:cubicBezTo>
                      <a:pt x="475" y="614"/>
                      <a:pt x="470" y="633"/>
                      <a:pt x="478" y="647"/>
                    </a:cubicBezTo>
                    <a:cubicBezTo>
                      <a:pt x="491" y="655"/>
                      <a:pt x="505" y="664"/>
                      <a:pt x="504" y="681"/>
                    </a:cubicBezTo>
                    <a:cubicBezTo>
                      <a:pt x="513" y="693"/>
                      <a:pt x="501" y="685"/>
                      <a:pt x="499" y="691"/>
                    </a:cubicBezTo>
                    <a:cubicBezTo>
                      <a:pt x="504" y="704"/>
                      <a:pt x="515" y="715"/>
                      <a:pt x="525" y="725"/>
                    </a:cubicBezTo>
                    <a:cubicBezTo>
                      <a:pt x="537" y="735"/>
                      <a:pt x="546" y="750"/>
                      <a:pt x="558" y="757"/>
                    </a:cubicBezTo>
                    <a:cubicBezTo>
                      <a:pt x="569" y="757"/>
                      <a:pt x="573" y="768"/>
                      <a:pt x="579" y="775"/>
                    </a:cubicBezTo>
                    <a:cubicBezTo>
                      <a:pt x="576" y="790"/>
                      <a:pt x="577" y="808"/>
                      <a:pt x="584" y="822"/>
                    </a:cubicBezTo>
                    <a:cubicBezTo>
                      <a:pt x="585" y="824"/>
                      <a:pt x="585" y="824"/>
                      <a:pt x="585" y="824"/>
                    </a:cubicBezTo>
                    <a:cubicBezTo>
                      <a:pt x="586" y="824"/>
                      <a:pt x="586" y="824"/>
                      <a:pt x="586" y="824"/>
                    </a:cubicBezTo>
                    <a:cubicBezTo>
                      <a:pt x="586" y="825"/>
                      <a:pt x="585" y="826"/>
                      <a:pt x="585" y="827"/>
                    </a:cubicBezTo>
                    <a:cubicBezTo>
                      <a:pt x="571" y="827"/>
                      <a:pt x="577" y="847"/>
                      <a:pt x="582" y="856"/>
                    </a:cubicBezTo>
                    <a:cubicBezTo>
                      <a:pt x="585" y="866"/>
                      <a:pt x="572" y="869"/>
                      <a:pt x="570" y="860"/>
                    </a:cubicBezTo>
                    <a:cubicBezTo>
                      <a:pt x="556" y="852"/>
                      <a:pt x="541" y="839"/>
                      <a:pt x="524" y="846"/>
                    </a:cubicBezTo>
                    <a:cubicBezTo>
                      <a:pt x="516" y="848"/>
                      <a:pt x="512" y="833"/>
                      <a:pt x="503" y="842"/>
                    </a:cubicBezTo>
                    <a:cubicBezTo>
                      <a:pt x="498" y="841"/>
                      <a:pt x="491" y="841"/>
                      <a:pt x="488" y="841"/>
                    </a:cubicBezTo>
                    <a:cubicBezTo>
                      <a:pt x="488" y="836"/>
                      <a:pt x="485" y="831"/>
                      <a:pt x="481" y="837"/>
                    </a:cubicBezTo>
                    <a:cubicBezTo>
                      <a:pt x="472" y="833"/>
                      <a:pt x="466" y="824"/>
                      <a:pt x="455" y="830"/>
                    </a:cubicBezTo>
                    <a:cubicBezTo>
                      <a:pt x="441" y="828"/>
                      <a:pt x="426" y="830"/>
                      <a:pt x="411" y="829"/>
                    </a:cubicBezTo>
                    <a:cubicBezTo>
                      <a:pt x="396" y="829"/>
                      <a:pt x="381" y="829"/>
                      <a:pt x="367" y="829"/>
                    </a:cubicBezTo>
                    <a:cubicBezTo>
                      <a:pt x="364" y="812"/>
                      <a:pt x="343" y="826"/>
                      <a:pt x="331" y="823"/>
                    </a:cubicBezTo>
                    <a:cubicBezTo>
                      <a:pt x="316" y="825"/>
                      <a:pt x="301" y="815"/>
                      <a:pt x="285" y="820"/>
                    </a:cubicBezTo>
                    <a:cubicBezTo>
                      <a:pt x="273" y="819"/>
                      <a:pt x="260" y="821"/>
                      <a:pt x="247" y="819"/>
                    </a:cubicBezTo>
                    <a:cubicBezTo>
                      <a:pt x="237" y="817"/>
                      <a:pt x="221" y="815"/>
                      <a:pt x="217" y="828"/>
                    </a:cubicBezTo>
                    <a:cubicBezTo>
                      <a:pt x="217" y="828"/>
                      <a:pt x="217" y="829"/>
                      <a:pt x="217" y="829"/>
                    </a:cubicBezTo>
                    <a:cubicBezTo>
                      <a:pt x="200" y="829"/>
                      <a:pt x="182" y="828"/>
                      <a:pt x="165" y="829"/>
                    </a:cubicBezTo>
                    <a:cubicBezTo>
                      <a:pt x="147" y="827"/>
                      <a:pt x="125" y="832"/>
                      <a:pt x="108" y="826"/>
                    </a:cubicBezTo>
                    <a:cubicBezTo>
                      <a:pt x="102" y="824"/>
                      <a:pt x="99" y="813"/>
                      <a:pt x="97" y="809"/>
                    </a:cubicBezTo>
                    <a:cubicBezTo>
                      <a:pt x="96" y="809"/>
                      <a:pt x="96" y="809"/>
                      <a:pt x="96" y="809"/>
                    </a:cubicBezTo>
                    <a:cubicBezTo>
                      <a:pt x="97" y="794"/>
                      <a:pt x="100" y="780"/>
                      <a:pt x="105" y="766"/>
                    </a:cubicBezTo>
                    <a:cubicBezTo>
                      <a:pt x="107" y="760"/>
                      <a:pt x="105" y="753"/>
                      <a:pt x="110" y="748"/>
                    </a:cubicBezTo>
                    <a:cubicBezTo>
                      <a:pt x="106" y="743"/>
                      <a:pt x="103" y="738"/>
                      <a:pt x="98" y="734"/>
                    </a:cubicBezTo>
                    <a:cubicBezTo>
                      <a:pt x="93" y="730"/>
                      <a:pt x="91" y="723"/>
                      <a:pt x="86" y="718"/>
                    </a:cubicBezTo>
                    <a:cubicBezTo>
                      <a:pt x="83" y="715"/>
                      <a:pt x="82" y="708"/>
                      <a:pt x="88" y="708"/>
                    </a:cubicBezTo>
                    <a:cubicBezTo>
                      <a:pt x="93" y="704"/>
                      <a:pt x="91" y="696"/>
                      <a:pt x="91" y="690"/>
                    </a:cubicBezTo>
                    <a:cubicBezTo>
                      <a:pt x="88" y="686"/>
                      <a:pt x="83" y="687"/>
                      <a:pt x="79" y="688"/>
                    </a:cubicBezTo>
                    <a:cubicBezTo>
                      <a:pt x="76" y="690"/>
                      <a:pt x="76" y="695"/>
                      <a:pt x="70" y="694"/>
                    </a:cubicBezTo>
                    <a:cubicBezTo>
                      <a:pt x="60" y="692"/>
                      <a:pt x="51" y="688"/>
                      <a:pt x="42" y="683"/>
                    </a:cubicBezTo>
                    <a:cubicBezTo>
                      <a:pt x="36" y="674"/>
                      <a:pt x="33" y="663"/>
                      <a:pt x="29" y="653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34333" name="Cambodia"/>
              <p:cNvSpPr>
                <a:spLocks/>
              </p:cNvSpPr>
              <p:nvPr>
                <p:custDataLst>
                  <p:tags r:id="rId113"/>
                </p:custDataLst>
              </p:nvPr>
            </p:nvSpPr>
            <p:spPr bwMode="auto">
              <a:xfrm>
                <a:off x="6896555" y="4095152"/>
                <a:ext cx="149783" cy="139336"/>
              </a:xfrm>
              <a:custGeom>
                <a:avLst/>
                <a:gdLst>
                  <a:gd name="T0" fmla="*/ 0 w 27"/>
                  <a:gd name="T1" fmla="*/ 61308 h 25"/>
                  <a:gd name="T2" fmla="*/ 22190 w 27"/>
                  <a:gd name="T3" fmla="*/ 22294 h 25"/>
                  <a:gd name="T4" fmla="*/ 83213 w 27"/>
                  <a:gd name="T5" fmla="*/ 22294 h 25"/>
                  <a:gd name="T6" fmla="*/ 94308 w 27"/>
                  <a:gd name="T7" fmla="*/ 22294 h 25"/>
                  <a:gd name="T8" fmla="*/ 116498 w 27"/>
                  <a:gd name="T9" fmla="*/ 22294 h 25"/>
                  <a:gd name="T10" fmla="*/ 149783 w 27"/>
                  <a:gd name="T11" fmla="*/ 0 h 25"/>
                  <a:gd name="T12" fmla="*/ 149783 w 27"/>
                  <a:gd name="T13" fmla="*/ 72455 h 25"/>
                  <a:gd name="T14" fmla="*/ 116498 w 27"/>
                  <a:gd name="T15" fmla="*/ 111469 h 25"/>
                  <a:gd name="T16" fmla="*/ 94308 w 27"/>
                  <a:gd name="T17" fmla="*/ 122616 h 25"/>
                  <a:gd name="T18" fmla="*/ 66570 w 27"/>
                  <a:gd name="T19" fmla="*/ 139336 h 25"/>
                  <a:gd name="T20" fmla="*/ 33285 w 27"/>
                  <a:gd name="T21" fmla="*/ 122616 h 25"/>
                  <a:gd name="T22" fmla="*/ 22190 w 27"/>
                  <a:gd name="T23" fmla="*/ 89175 h 25"/>
                  <a:gd name="T24" fmla="*/ 11095 w 27"/>
                  <a:gd name="T25" fmla="*/ 72455 h 25"/>
                  <a:gd name="T26" fmla="*/ 0 w 27"/>
                  <a:gd name="T27" fmla="*/ 61308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7"/>
                  <a:gd name="T43" fmla="*/ 0 h 25"/>
                  <a:gd name="T44" fmla="*/ 27 w 27"/>
                  <a:gd name="T45" fmla="*/ 25 h 2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7" h="25">
                    <a:moveTo>
                      <a:pt x="0" y="11"/>
                    </a:moveTo>
                    <a:lnTo>
                      <a:pt x="4" y="4"/>
                    </a:lnTo>
                    <a:lnTo>
                      <a:pt x="15" y="4"/>
                    </a:lnTo>
                    <a:lnTo>
                      <a:pt x="17" y="4"/>
                    </a:lnTo>
                    <a:lnTo>
                      <a:pt x="21" y="4"/>
                    </a:lnTo>
                    <a:lnTo>
                      <a:pt x="27" y="0"/>
                    </a:lnTo>
                    <a:lnTo>
                      <a:pt x="27" y="13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2" y="25"/>
                    </a:lnTo>
                    <a:lnTo>
                      <a:pt x="6" y="22"/>
                    </a:lnTo>
                    <a:lnTo>
                      <a:pt x="4" y="16"/>
                    </a:lnTo>
                    <a:lnTo>
                      <a:pt x="2" y="1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EE8B8B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51" name="Burkina Faso"/>
              <p:cNvSpPr>
                <a:spLocks/>
              </p:cNvSpPr>
              <p:nvPr/>
            </p:nvSpPr>
            <p:spPr bwMode="auto">
              <a:xfrm>
                <a:off x="4074909" y="4077691"/>
                <a:ext cx="213968" cy="191506"/>
              </a:xfrm>
              <a:custGeom>
                <a:avLst/>
                <a:gdLst>
                  <a:gd name="T0" fmla="*/ 203 w 587"/>
                  <a:gd name="T1" fmla="*/ 425 h 440"/>
                  <a:gd name="T2" fmla="*/ 166 w 587"/>
                  <a:gd name="T3" fmla="*/ 393 h 440"/>
                  <a:gd name="T4" fmla="*/ 166 w 587"/>
                  <a:gd name="T5" fmla="*/ 393 h 440"/>
                  <a:gd name="T6" fmla="*/ 108 w 587"/>
                  <a:gd name="T7" fmla="*/ 398 h 440"/>
                  <a:gd name="T8" fmla="*/ 74 w 587"/>
                  <a:gd name="T9" fmla="*/ 410 h 440"/>
                  <a:gd name="T10" fmla="*/ 52 w 587"/>
                  <a:gd name="T11" fmla="*/ 402 h 440"/>
                  <a:gd name="T12" fmla="*/ 38 w 587"/>
                  <a:gd name="T13" fmla="*/ 383 h 440"/>
                  <a:gd name="T14" fmla="*/ 14 w 587"/>
                  <a:gd name="T15" fmla="*/ 359 h 440"/>
                  <a:gd name="T16" fmla="*/ 3 w 587"/>
                  <a:gd name="T17" fmla="*/ 334 h 440"/>
                  <a:gd name="T18" fmla="*/ 21 w 587"/>
                  <a:gd name="T19" fmla="*/ 287 h 440"/>
                  <a:gd name="T20" fmla="*/ 19 w 587"/>
                  <a:gd name="T21" fmla="*/ 242 h 440"/>
                  <a:gd name="T22" fmla="*/ 77 w 587"/>
                  <a:gd name="T23" fmla="*/ 215 h 440"/>
                  <a:gd name="T24" fmla="*/ 88 w 587"/>
                  <a:gd name="T25" fmla="*/ 206 h 440"/>
                  <a:gd name="T26" fmla="*/ 85 w 587"/>
                  <a:gd name="T27" fmla="*/ 180 h 440"/>
                  <a:gd name="T28" fmla="*/ 105 w 587"/>
                  <a:gd name="T29" fmla="*/ 140 h 440"/>
                  <a:gd name="T30" fmla="*/ 130 w 587"/>
                  <a:gd name="T31" fmla="*/ 127 h 440"/>
                  <a:gd name="T32" fmla="*/ 177 w 587"/>
                  <a:gd name="T33" fmla="*/ 126 h 440"/>
                  <a:gd name="T34" fmla="*/ 204 w 587"/>
                  <a:gd name="T35" fmla="*/ 104 h 440"/>
                  <a:gd name="T36" fmla="*/ 266 w 587"/>
                  <a:gd name="T37" fmla="*/ 70 h 440"/>
                  <a:gd name="T38" fmla="*/ 322 w 587"/>
                  <a:gd name="T39" fmla="*/ 29 h 440"/>
                  <a:gd name="T40" fmla="*/ 395 w 587"/>
                  <a:gd name="T41" fmla="*/ 7 h 440"/>
                  <a:gd name="T42" fmla="*/ 437 w 587"/>
                  <a:gd name="T43" fmla="*/ 16 h 440"/>
                  <a:gd name="T44" fmla="*/ 444 w 587"/>
                  <a:gd name="T45" fmla="*/ 75 h 440"/>
                  <a:gd name="T46" fmla="*/ 473 w 587"/>
                  <a:gd name="T47" fmla="*/ 112 h 440"/>
                  <a:gd name="T48" fmla="*/ 496 w 587"/>
                  <a:gd name="T49" fmla="*/ 137 h 440"/>
                  <a:gd name="T50" fmla="*/ 509 w 587"/>
                  <a:gd name="T51" fmla="*/ 173 h 440"/>
                  <a:gd name="T52" fmla="*/ 576 w 587"/>
                  <a:gd name="T53" fmla="*/ 198 h 440"/>
                  <a:gd name="T54" fmla="*/ 585 w 587"/>
                  <a:gd name="T55" fmla="*/ 244 h 440"/>
                  <a:gd name="T56" fmla="*/ 587 w 587"/>
                  <a:gd name="T57" fmla="*/ 247 h 440"/>
                  <a:gd name="T58" fmla="*/ 524 w 587"/>
                  <a:gd name="T59" fmla="*/ 282 h 440"/>
                  <a:gd name="T60" fmla="*/ 495 w 587"/>
                  <a:gd name="T61" fmla="*/ 293 h 440"/>
                  <a:gd name="T62" fmla="*/ 479 w 587"/>
                  <a:gd name="T63" fmla="*/ 308 h 440"/>
                  <a:gd name="T64" fmla="*/ 448 w 587"/>
                  <a:gd name="T65" fmla="*/ 316 h 440"/>
                  <a:gd name="T66" fmla="*/ 396 w 587"/>
                  <a:gd name="T67" fmla="*/ 301 h 440"/>
                  <a:gd name="T68" fmla="*/ 363 w 587"/>
                  <a:gd name="T69" fmla="*/ 315 h 440"/>
                  <a:gd name="T70" fmla="*/ 311 w 587"/>
                  <a:gd name="T71" fmla="*/ 311 h 440"/>
                  <a:gd name="T72" fmla="*/ 207 w 587"/>
                  <a:gd name="T73" fmla="*/ 310 h 440"/>
                  <a:gd name="T74" fmla="*/ 200 w 587"/>
                  <a:gd name="T75" fmla="*/ 355 h 440"/>
                  <a:gd name="T76" fmla="*/ 197 w 587"/>
                  <a:gd name="T77" fmla="*/ 407 h 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87" h="440">
                    <a:moveTo>
                      <a:pt x="205" y="426"/>
                    </a:moveTo>
                    <a:cubicBezTo>
                      <a:pt x="204" y="426"/>
                      <a:pt x="204" y="426"/>
                      <a:pt x="203" y="425"/>
                    </a:cubicBezTo>
                    <a:cubicBezTo>
                      <a:pt x="195" y="440"/>
                      <a:pt x="187" y="417"/>
                      <a:pt x="184" y="409"/>
                    </a:cubicBezTo>
                    <a:cubicBezTo>
                      <a:pt x="178" y="407"/>
                      <a:pt x="168" y="396"/>
                      <a:pt x="166" y="393"/>
                    </a:cubicBezTo>
                    <a:cubicBezTo>
                      <a:pt x="166" y="393"/>
                      <a:pt x="167" y="393"/>
                      <a:pt x="167" y="393"/>
                    </a:cubicBezTo>
                    <a:cubicBezTo>
                      <a:pt x="166" y="392"/>
                      <a:pt x="166" y="392"/>
                      <a:pt x="166" y="393"/>
                    </a:cubicBezTo>
                    <a:cubicBezTo>
                      <a:pt x="159" y="399"/>
                      <a:pt x="151" y="386"/>
                      <a:pt x="141" y="390"/>
                    </a:cubicBezTo>
                    <a:cubicBezTo>
                      <a:pt x="130" y="387"/>
                      <a:pt x="118" y="392"/>
                      <a:pt x="108" y="398"/>
                    </a:cubicBezTo>
                    <a:cubicBezTo>
                      <a:pt x="98" y="397"/>
                      <a:pt x="87" y="403"/>
                      <a:pt x="84" y="413"/>
                    </a:cubicBezTo>
                    <a:cubicBezTo>
                      <a:pt x="78" y="415"/>
                      <a:pt x="81" y="414"/>
                      <a:pt x="74" y="410"/>
                    </a:cubicBezTo>
                    <a:cubicBezTo>
                      <a:pt x="68" y="410"/>
                      <a:pt x="72" y="399"/>
                      <a:pt x="65" y="406"/>
                    </a:cubicBezTo>
                    <a:cubicBezTo>
                      <a:pt x="57" y="407"/>
                      <a:pt x="59" y="410"/>
                      <a:pt x="52" y="402"/>
                    </a:cubicBezTo>
                    <a:cubicBezTo>
                      <a:pt x="52" y="402"/>
                      <a:pt x="51" y="401"/>
                      <a:pt x="51" y="401"/>
                    </a:cubicBezTo>
                    <a:cubicBezTo>
                      <a:pt x="51" y="391"/>
                      <a:pt x="33" y="395"/>
                      <a:pt x="38" y="383"/>
                    </a:cubicBezTo>
                    <a:cubicBezTo>
                      <a:pt x="32" y="371"/>
                      <a:pt x="35" y="380"/>
                      <a:pt x="30" y="370"/>
                    </a:cubicBezTo>
                    <a:cubicBezTo>
                      <a:pt x="29" y="365"/>
                      <a:pt x="24" y="355"/>
                      <a:pt x="14" y="359"/>
                    </a:cubicBezTo>
                    <a:cubicBezTo>
                      <a:pt x="4" y="361"/>
                      <a:pt x="1" y="356"/>
                      <a:pt x="0" y="349"/>
                    </a:cubicBezTo>
                    <a:cubicBezTo>
                      <a:pt x="0" y="344"/>
                      <a:pt x="1" y="338"/>
                      <a:pt x="3" y="334"/>
                    </a:cubicBezTo>
                    <a:cubicBezTo>
                      <a:pt x="6" y="324"/>
                      <a:pt x="9" y="314"/>
                      <a:pt x="3" y="303"/>
                    </a:cubicBezTo>
                    <a:cubicBezTo>
                      <a:pt x="7" y="296"/>
                      <a:pt x="21" y="299"/>
                      <a:pt x="21" y="287"/>
                    </a:cubicBezTo>
                    <a:cubicBezTo>
                      <a:pt x="23" y="276"/>
                      <a:pt x="30" y="266"/>
                      <a:pt x="21" y="256"/>
                    </a:cubicBezTo>
                    <a:cubicBezTo>
                      <a:pt x="23" y="253"/>
                      <a:pt x="21" y="246"/>
                      <a:pt x="19" y="242"/>
                    </a:cubicBezTo>
                    <a:cubicBezTo>
                      <a:pt x="28" y="240"/>
                      <a:pt x="34" y="229"/>
                      <a:pt x="45" y="231"/>
                    </a:cubicBezTo>
                    <a:cubicBezTo>
                      <a:pt x="57" y="231"/>
                      <a:pt x="74" y="227"/>
                      <a:pt x="77" y="215"/>
                    </a:cubicBezTo>
                    <a:cubicBezTo>
                      <a:pt x="78" y="213"/>
                      <a:pt x="85" y="206"/>
                      <a:pt x="88" y="205"/>
                    </a:cubicBezTo>
                    <a:cubicBezTo>
                      <a:pt x="88" y="205"/>
                      <a:pt x="88" y="206"/>
                      <a:pt x="88" y="206"/>
                    </a:cubicBezTo>
                    <a:cubicBezTo>
                      <a:pt x="89" y="204"/>
                      <a:pt x="89" y="204"/>
                      <a:pt x="88" y="205"/>
                    </a:cubicBezTo>
                    <a:cubicBezTo>
                      <a:pt x="85" y="195"/>
                      <a:pt x="95" y="188"/>
                      <a:pt x="85" y="180"/>
                    </a:cubicBezTo>
                    <a:cubicBezTo>
                      <a:pt x="86" y="169"/>
                      <a:pt x="108" y="182"/>
                      <a:pt x="105" y="167"/>
                    </a:cubicBezTo>
                    <a:cubicBezTo>
                      <a:pt x="107" y="156"/>
                      <a:pt x="88" y="143"/>
                      <a:pt x="105" y="140"/>
                    </a:cubicBezTo>
                    <a:cubicBezTo>
                      <a:pt x="108" y="133"/>
                      <a:pt x="119" y="123"/>
                      <a:pt x="125" y="118"/>
                    </a:cubicBezTo>
                    <a:cubicBezTo>
                      <a:pt x="133" y="121"/>
                      <a:pt x="120" y="127"/>
                      <a:pt x="130" y="127"/>
                    </a:cubicBezTo>
                    <a:cubicBezTo>
                      <a:pt x="142" y="126"/>
                      <a:pt x="153" y="151"/>
                      <a:pt x="163" y="139"/>
                    </a:cubicBezTo>
                    <a:cubicBezTo>
                      <a:pt x="163" y="130"/>
                      <a:pt x="181" y="141"/>
                      <a:pt x="177" y="126"/>
                    </a:cubicBezTo>
                    <a:cubicBezTo>
                      <a:pt x="175" y="120"/>
                      <a:pt x="183" y="104"/>
                      <a:pt x="180" y="104"/>
                    </a:cubicBezTo>
                    <a:cubicBezTo>
                      <a:pt x="189" y="104"/>
                      <a:pt x="199" y="115"/>
                      <a:pt x="204" y="104"/>
                    </a:cubicBezTo>
                    <a:cubicBezTo>
                      <a:pt x="201" y="90"/>
                      <a:pt x="210" y="75"/>
                      <a:pt x="224" y="70"/>
                    </a:cubicBezTo>
                    <a:cubicBezTo>
                      <a:pt x="235" y="52"/>
                      <a:pt x="253" y="67"/>
                      <a:pt x="266" y="70"/>
                    </a:cubicBezTo>
                    <a:cubicBezTo>
                      <a:pt x="278" y="65"/>
                      <a:pt x="266" y="41"/>
                      <a:pt x="285" y="46"/>
                    </a:cubicBezTo>
                    <a:cubicBezTo>
                      <a:pt x="299" y="48"/>
                      <a:pt x="309" y="35"/>
                      <a:pt x="322" y="29"/>
                    </a:cubicBezTo>
                    <a:cubicBezTo>
                      <a:pt x="339" y="27"/>
                      <a:pt x="353" y="16"/>
                      <a:pt x="366" y="4"/>
                    </a:cubicBezTo>
                    <a:cubicBezTo>
                      <a:pt x="375" y="0"/>
                      <a:pt x="387" y="3"/>
                      <a:pt x="395" y="7"/>
                    </a:cubicBezTo>
                    <a:cubicBezTo>
                      <a:pt x="404" y="0"/>
                      <a:pt x="411" y="7"/>
                      <a:pt x="420" y="10"/>
                    </a:cubicBezTo>
                    <a:cubicBezTo>
                      <a:pt x="426" y="12"/>
                      <a:pt x="431" y="14"/>
                      <a:pt x="437" y="16"/>
                    </a:cubicBezTo>
                    <a:cubicBezTo>
                      <a:pt x="435" y="21"/>
                      <a:pt x="436" y="30"/>
                      <a:pt x="435" y="35"/>
                    </a:cubicBezTo>
                    <a:cubicBezTo>
                      <a:pt x="420" y="52"/>
                      <a:pt x="456" y="59"/>
                      <a:pt x="444" y="75"/>
                    </a:cubicBezTo>
                    <a:cubicBezTo>
                      <a:pt x="446" y="85"/>
                      <a:pt x="452" y="95"/>
                      <a:pt x="459" y="102"/>
                    </a:cubicBezTo>
                    <a:cubicBezTo>
                      <a:pt x="457" y="111"/>
                      <a:pt x="469" y="108"/>
                      <a:pt x="473" y="112"/>
                    </a:cubicBezTo>
                    <a:cubicBezTo>
                      <a:pt x="488" y="112"/>
                      <a:pt x="488" y="130"/>
                      <a:pt x="501" y="131"/>
                    </a:cubicBezTo>
                    <a:cubicBezTo>
                      <a:pt x="513" y="135"/>
                      <a:pt x="502" y="137"/>
                      <a:pt x="496" y="137"/>
                    </a:cubicBezTo>
                    <a:cubicBezTo>
                      <a:pt x="484" y="127"/>
                      <a:pt x="487" y="148"/>
                      <a:pt x="486" y="155"/>
                    </a:cubicBezTo>
                    <a:cubicBezTo>
                      <a:pt x="492" y="163"/>
                      <a:pt x="503" y="164"/>
                      <a:pt x="509" y="173"/>
                    </a:cubicBezTo>
                    <a:cubicBezTo>
                      <a:pt x="520" y="184"/>
                      <a:pt x="534" y="196"/>
                      <a:pt x="549" y="191"/>
                    </a:cubicBezTo>
                    <a:cubicBezTo>
                      <a:pt x="557" y="178"/>
                      <a:pt x="575" y="185"/>
                      <a:pt x="576" y="198"/>
                    </a:cubicBezTo>
                    <a:cubicBezTo>
                      <a:pt x="586" y="211"/>
                      <a:pt x="559" y="203"/>
                      <a:pt x="565" y="215"/>
                    </a:cubicBezTo>
                    <a:cubicBezTo>
                      <a:pt x="572" y="224"/>
                      <a:pt x="578" y="235"/>
                      <a:pt x="585" y="244"/>
                    </a:cubicBezTo>
                    <a:cubicBezTo>
                      <a:pt x="585" y="245"/>
                      <a:pt x="586" y="245"/>
                      <a:pt x="586" y="245"/>
                    </a:cubicBezTo>
                    <a:cubicBezTo>
                      <a:pt x="587" y="247"/>
                      <a:pt x="587" y="247"/>
                      <a:pt x="587" y="247"/>
                    </a:cubicBezTo>
                    <a:cubicBezTo>
                      <a:pt x="583" y="263"/>
                      <a:pt x="568" y="271"/>
                      <a:pt x="557" y="281"/>
                    </a:cubicBezTo>
                    <a:cubicBezTo>
                      <a:pt x="546" y="280"/>
                      <a:pt x="535" y="284"/>
                      <a:pt x="524" y="282"/>
                    </a:cubicBezTo>
                    <a:cubicBezTo>
                      <a:pt x="517" y="272"/>
                      <a:pt x="504" y="297"/>
                      <a:pt x="505" y="291"/>
                    </a:cubicBezTo>
                    <a:cubicBezTo>
                      <a:pt x="500" y="288"/>
                      <a:pt x="502" y="299"/>
                      <a:pt x="495" y="293"/>
                    </a:cubicBezTo>
                    <a:cubicBezTo>
                      <a:pt x="489" y="294"/>
                      <a:pt x="495" y="302"/>
                      <a:pt x="486" y="303"/>
                    </a:cubicBezTo>
                    <a:cubicBezTo>
                      <a:pt x="491" y="316"/>
                      <a:pt x="484" y="307"/>
                      <a:pt x="479" y="308"/>
                    </a:cubicBezTo>
                    <a:cubicBezTo>
                      <a:pt x="478" y="311"/>
                      <a:pt x="476" y="312"/>
                      <a:pt x="475" y="313"/>
                    </a:cubicBezTo>
                    <a:cubicBezTo>
                      <a:pt x="468" y="316"/>
                      <a:pt x="455" y="310"/>
                      <a:pt x="448" y="316"/>
                    </a:cubicBezTo>
                    <a:cubicBezTo>
                      <a:pt x="436" y="308"/>
                      <a:pt x="419" y="308"/>
                      <a:pt x="405" y="303"/>
                    </a:cubicBezTo>
                    <a:cubicBezTo>
                      <a:pt x="402" y="303"/>
                      <a:pt x="399" y="302"/>
                      <a:pt x="396" y="301"/>
                    </a:cubicBezTo>
                    <a:cubicBezTo>
                      <a:pt x="391" y="300"/>
                      <a:pt x="386" y="298"/>
                      <a:pt x="384" y="305"/>
                    </a:cubicBezTo>
                    <a:cubicBezTo>
                      <a:pt x="375" y="302"/>
                      <a:pt x="372" y="314"/>
                      <a:pt x="363" y="315"/>
                    </a:cubicBezTo>
                    <a:cubicBezTo>
                      <a:pt x="359" y="322"/>
                      <a:pt x="355" y="305"/>
                      <a:pt x="346" y="312"/>
                    </a:cubicBezTo>
                    <a:cubicBezTo>
                      <a:pt x="335" y="309"/>
                      <a:pt x="323" y="311"/>
                      <a:pt x="311" y="311"/>
                    </a:cubicBezTo>
                    <a:cubicBezTo>
                      <a:pt x="295" y="306"/>
                      <a:pt x="280" y="312"/>
                      <a:pt x="263" y="310"/>
                    </a:cubicBezTo>
                    <a:cubicBezTo>
                      <a:pt x="245" y="310"/>
                      <a:pt x="226" y="309"/>
                      <a:pt x="207" y="310"/>
                    </a:cubicBezTo>
                    <a:cubicBezTo>
                      <a:pt x="195" y="306"/>
                      <a:pt x="198" y="322"/>
                      <a:pt x="192" y="329"/>
                    </a:cubicBezTo>
                    <a:cubicBezTo>
                      <a:pt x="187" y="338"/>
                      <a:pt x="193" y="349"/>
                      <a:pt x="200" y="355"/>
                    </a:cubicBezTo>
                    <a:cubicBezTo>
                      <a:pt x="189" y="361"/>
                      <a:pt x="206" y="367"/>
                      <a:pt x="198" y="375"/>
                    </a:cubicBezTo>
                    <a:cubicBezTo>
                      <a:pt x="199" y="386"/>
                      <a:pt x="203" y="397"/>
                      <a:pt x="197" y="407"/>
                    </a:cubicBezTo>
                    <a:cubicBezTo>
                      <a:pt x="200" y="412"/>
                      <a:pt x="206" y="426"/>
                      <a:pt x="205" y="426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335" name="Brunai"/>
              <p:cNvSpPr>
                <a:spLocks/>
              </p:cNvSpPr>
              <p:nvPr>
                <p:custDataLst>
                  <p:tags r:id="rId114"/>
                </p:custDataLst>
              </p:nvPr>
            </p:nvSpPr>
            <p:spPr bwMode="auto">
              <a:xfrm>
                <a:off x="7229404" y="4418412"/>
                <a:ext cx="38833" cy="27867"/>
              </a:xfrm>
              <a:custGeom>
                <a:avLst/>
                <a:gdLst>
                  <a:gd name="T0" fmla="*/ 38833 w 7"/>
                  <a:gd name="T1" fmla="*/ 0 h 5"/>
                  <a:gd name="T2" fmla="*/ 38833 w 7"/>
                  <a:gd name="T3" fmla="*/ 27867 h 5"/>
                  <a:gd name="T4" fmla="*/ 16643 w 7"/>
                  <a:gd name="T5" fmla="*/ 27867 h 5"/>
                  <a:gd name="T6" fmla="*/ 0 w 7"/>
                  <a:gd name="T7" fmla="*/ 0 h 5"/>
                  <a:gd name="T8" fmla="*/ 16643 w 7"/>
                  <a:gd name="T9" fmla="*/ 0 h 5"/>
                  <a:gd name="T10" fmla="*/ 38833 w 7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5"/>
                  <a:gd name="T20" fmla="*/ 7 w 7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5">
                    <a:moveTo>
                      <a:pt x="7" y="0"/>
                    </a:moveTo>
                    <a:lnTo>
                      <a:pt x="7" y="5"/>
                    </a:lnTo>
                    <a:lnTo>
                      <a:pt x="3" y="5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bg2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 lIns="71120" tIns="71120" rIns="71120" bIns="71120"/>
              <a:lstStyle/>
              <a:p>
                <a:endParaRPr lang="it-IT"/>
              </a:p>
            </p:txBody>
          </p:sp>
          <p:sp>
            <p:nvSpPr>
              <p:cNvPr id="653" name="Burundi"/>
              <p:cNvSpPr>
                <a:spLocks/>
              </p:cNvSpPr>
              <p:nvPr/>
            </p:nvSpPr>
            <p:spPr bwMode="auto">
              <a:xfrm>
                <a:off x="5010156" y="4648756"/>
                <a:ext cx="53491" cy="72461"/>
              </a:xfrm>
              <a:custGeom>
                <a:avLst/>
                <a:gdLst>
                  <a:gd name="T0" fmla="*/ 4 w 149"/>
                  <a:gd name="T1" fmla="*/ 34 h 168"/>
                  <a:gd name="T2" fmla="*/ 9 w 149"/>
                  <a:gd name="T3" fmla="*/ 25 h 168"/>
                  <a:gd name="T4" fmla="*/ 32 w 149"/>
                  <a:gd name="T5" fmla="*/ 41 h 168"/>
                  <a:gd name="T6" fmla="*/ 73 w 149"/>
                  <a:gd name="T7" fmla="*/ 30 h 168"/>
                  <a:gd name="T8" fmla="*/ 77 w 149"/>
                  <a:gd name="T9" fmla="*/ 4 h 168"/>
                  <a:gd name="T10" fmla="*/ 97 w 149"/>
                  <a:gd name="T11" fmla="*/ 6 h 168"/>
                  <a:gd name="T12" fmla="*/ 118 w 149"/>
                  <a:gd name="T13" fmla="*/ 9 h 168"/>
                  <a:gd name="T14" fmla="*/ 122 w 149"/>
                  <a:gd name="T15" fmla="*/ 9 h 168"/>
                  <a:gd name="T16" fmla="*/ 122 w 149"/>
                  <a:gd name="T17" fmla="*/ 10 h 168"/>
                  <a:gd name="T18" fmla="*/ 120 w 149"/>
                  <a:gd name="T19" fmla="*/ 11 h 168"/>
                  <a:gd name="T20" fmla="*/ 120 w 149"/>
                  <a:gd name="T21" fmla="*/ 12 h 168"/>
                  <a:gd name="T22" fmla="*/ 120 w 149"/>
                  <a:gd name="T23" fmla="*/ 12 h 168"/>
                  <a:gd name="T24" fmla="*/ 116 w 149"/>
                  <a:gd name="T25" fmla="*/ 30 h 168"/>
                  <a:gd name="T26" fmla="*/ 113 w 149"/>
                  <a:gd name="T27" fmla="*/ 49 h 168"/>
                  <a:gd name="T28" fmla="*/ 135 w 149"/>
                  <a:gd name="T29" fmla="*/ 55 h 168"/>
                  <a:gd name="T30" fmla="*/ 141 w 149"/>
                  <a:gd name="T31" fmla="*/ 64 h 168"/>
                  <a:gd name="T32" fmla="*/ 127 w 149"/>
                  <a:gd name="T33" fmla="*/ 85 h 168"/>
                  <a:gd name="T34" fmla="*/ 108 w 149"/>
                  <a:gd name="T35" fmla="*/ 112 h 168"/>
                  <a:gd name="T36" fmla="*/ 87 w 149"/>
                  <a:gd name="T37" fmla="*/ 141 h 168"/>
                  <a:gd name="T38" fmla="*/ 60 w 149"/>
                  <a:gd name="T39" fmla="*/ 164 h 168"/>
                  <a:gd name="T40" fmla="*/ 35 w 149"/>
                  <a:gd name="T41" fmla="*/ 164 h 168"/>
                  <a:gd name="T42" fmla="*/ 32 w 149"/>
                  <a:gd name="T43" fmla="*/ 157 h 168"/>
                  <a:gd name="T44" fmla="*/ 20 w 149"/>
                  <a:gd name="T45" fmla="*/ 118 h 168"/>
                  <a:gd name="T46" fmla="*/ 20 w 149"/>
                  <a:gd name="T47" fmla="*/ 83 h 168"/>
                  <a:gd name="T48" fmla="*/ 12 w 149"/>
                  <a:gd name="T49" fmla="*/ 51 h 168"/>
                  <a:gd name="T50" fmla="*/ 5 w 149"/>
                  <a:gd name="T51" fmla="*/ 36 h 168"/>
                  <a:gd name="T52" fmla="*/ 4 w 149"/>
                  <a:gd name="T53" fmla="*/ 34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9" h="168">
                    <a:moveTo>
                      <a:pt x="4" y="34"/>
                    </a:moveTo>
                    <a:cubicBezTo>
                      <a:pt x="7" y="34"/>
                      <a:pt x="8" y="30"/>
                      <a:pt x="9" y="25"/>
                    </a:cubicBezTo>
                    <a:cubicBezTo>
                      <a:pt x="21" y="23"/>
                      <a:pt x="31" y="30"/>
                      <a:pt x="32" y="41"/>
                    </a:cubicBezTo>
                    <a:cubicBezTo>
                      <a:pt x="45" y="39"/>
                      <a:pt x="65" y="44"/>
                      <a:pt x="73" y="30"/>
                    </a:cubicBezTo>
                    <a:cubicBezTo>
                      <a:pt x="77" y="15"/>
                      <a:pt x="67" y="4"/>
                      <a:pt x="77" y="4"/>
                    </a:cubicBezTo>
                    <a:cubicBezTo>
                      <a:pt x="84" y="9"/>
                      <a:pt x="91" y="16"/>
                      <a:pt x="97" y="6"/>
                    </a:cubicBezTo>
                    <a:cubicBezTo>
                      <a:pt x="104" y="5"/>
                      <a:pt x="113" y="0"/>
                      <a:pt x="118" y="9"/>
                    </a:cubicBezTo>
                    <a:cubicBezTo>
                      <a:pt x="119" y="9"/>
                      <a:pt x="120" y="9"/>
                      <a:pt x="122" y="9"/>
                    </a:cubicBezTo>
                    <a:cubicBezTo>
                      <a:pt x="122" y="10"/>
                      <a:pt x="122" y="10"/>
                      <a:pt x="122" y="10"/>
                    </a:cubicBezTo>
                    <a:cubicBezTo>
                      <a:pt x="120" y="11"/>
                      <a:pt x="120" y="11"/>
                      <a:pt x="120" y="11"/>
                    </a:cubicBezTo>
                    <a:cubicBezTo>
                      <a:pt x="120" y="12"/>
                      <a:pt x="120" y="12"/>
                      <a:pt x="120" y="12"/>
                    </a:cubicBezTo>
                    <a:cubicBezTo>
                      <a:pt x="120" y="12"/>
                      <a:pt x="120" y="12"/>
                      <a:pt x="120" y="12"/>
                    </a:cubicBezTo>
                    <a:cubicBezTo>
                      <a:pt x="120" y="13"/>
                      <a:pt x="107" y="32"/>
                      <a:pt x="116" y="30"/>
                    </a:cubicBezTo>
                    <a:cubicBezTo>
                      <a:pt x="114" y="31"/>
                      <a:pt x="108" y="41"/>
                      <a:pt x="113" y="49"/>
                    </a:cubicBezTo>
                    <a:cubicBezTo>
                      <a:pt x="106" y="49"/>
                      <a:pt x="127" y="50"/>
                      <a:pt x="135" y="55"/>
                    </a:cubicBezTo>
                    <a:cubicBezTo>
                      <a:pt x="144" y="52"/>
                      <a:pt x="137" y="58"/>
                      <a:pt x="141" y="64"/>
                    </a:cubicBezTo>
                    <a:cubicBezTo>
                      <a:pt x="149" y="78"/>
                      <a:pt x="126" y="77"/>
                      <a:pt x="127" y="85"/>
                    </a:cubicBezTo>
                    <a:cubicBezTo>
                      <a:pt x="123" y="95"/>
                      <a:pt x="105" y="97"/>
                      <a:pt x="108" y="112"/>
                    </a:cubicBezTo>
                    <a:cubicBezTo>
                      <a:pt x="99" y="115"/>
                      <a:pt x="94" y="132"/>
                      <a:pt x="87" y="141"/>
                    </a:cubicBezTo>
                    <a:cubicBezTo>
                      <a:pt x="81" y="153"/>
                      <a:pt x="69" y="157"/>
                      <a:pt x="60" y="164"/>
                    </a:cubicBezTo>
                    <a:cubicBezTo>
                      <a:pt x="54" y="166"/>
                      <a:pt x="41" y="168"/>
                      <a:pt x="35" y="164"/>
                    </a:cubicBezTo>
                    <a:cubicBezTo>
                      <a:pt x="34" y="163"/>
                      <a:pt x="32" y="160"/>
                      <a:pt x="32" y="157"/>
                    </a:cubicBezTo>
                    <a:cubicBezTo>
                      <a:pt x="36" y="142"/>
                      <a:pt x="22" y="132"/>
                      <a:pt x="20" y="118"/>
                    </a:cubicBezTo>
                    <a:cubicBezTo>
                      <a:pt x="21" y="107"/>
                      <a:pt x="23" y="95"/>
                      <a:pt x="20" y="83"/>
                    </a:cubicBezTo>
                    <a:cubicBezTo>
                      <a:pt x="18" y="72"/>
                      <a:pt x="26" y="57"/>
                      <a:pt x="12" y="51"/>
                    </a:cubicBezTo>
                    <a:cubicBezTo>
                      <a:pt x="10" y="45"/>
                      <a:pt x="0" y="41"/>
                      <a:pt x="5" y="36"/>
                    </a:cubicBezTo>
                    <a:lnTo>
                      <a:pt x="4" y="34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54" name="Bulgaria"/>
              <p:cNvSpPr>
                <a:spLocks/>
              </p:cNvSpPr>
              <p:nvPr>
                <p:custDataLst>
                  <p:tags r:id="rId115"/>
                </p:custDataLst>
              </p:nvPr>
            </p:nvSpPr>
            <p:spPr bwMode="auto">
              <a:xfrm>
                <a:off x="4799640" y="3142593"/>
                <a:ext cx="150122" cy="110417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3" y="4"/>
                  </a:cxn>
                  <a:cxn ang="0">
                    <a:pos x="4" y="4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11"/>
                  </a:cxn>
                  <a:cxn ang="0">
                    <a:pos x="0" y="13"/>
                  </a:cxn>
                  <a:cxn ang="0">
                    <a:pos x="2" y="20"/>
                  </a:cxn>
                  <a:cxn ang="0">
                    <a:pos x="9" y="15"/>
                  </a:cxn>
                  <a:cxn ang="0">
                    <a:pos x="13" y="20"/>
                  </a:cxn>
                  <a:cxn ang="0">
                    <a:pos x="17" y="15"/>
                  </a:cxn>
                  <a:cxn ang="0">
                    <a:pos x="25" y="15"/>
                  </a:cxn>
                  <a:cxn ang="0">
                    <a:pos x="21" y="11"/>
                  </a:cxn>
                  <a:cxn ang="0">
                    <a:pos x="25" y="6"/>
                  </a:cxn>
                  <a:cxn ang="0">
                    <a:pos x="27" y="4"/>
                  </a:cxn>
                  <a:cxn ang="0">
                    <a:pos x="23" y="2"/>
                  </a:cxn>
                  <a:cxn ang="0">
                    <a:pos x="19" y="0"/>
                  </a:cxn>
                </a:cxnLst>
                <a:rect l="0" t="0" r="r" b="b"/>
                <a:pathLst>
                  <a:path w="27" h="20">
                    <a:moveTo>
                      <a:pt x="19" y="0"/>
                    </a:moveTo>
                    <a:lnTo>
                      <a:pt x="13" y="4"/>
                    </a:lnTo>
                    <a:lnTo>
                      <a:pt x="4" y="4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2" y="20"/>
                    </a:lnTo>
                    <a:lnTo>
                      <a:pt x="9" y="15"/>
                    </a:lnTo>
                    <a:lnTo>
                      <a:pt x="13" y="20"/>
                    </a:lnTo>
                    <a:lnTo>
                      <a:pt x="17" y="15"/>
                    </a:lnTo>
                    <a:lnTo>
                      <a:pt x="25" y="15"/>
                    </a:lnTo>
                    <a:lnTo>
                      <a:pt x="21" y="11"/>
                    </a:lnTo>
                    <a:lnTo>
                      <a:pt x="25" y="6"/>
                    </a:lnTo>
                    <a:lnTo>
                      <a:pt x="27" y="4"/>
                    </a:lnTo>
                    <a:lnTo>
                      <a:pt x="23" y="2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55" name="Brazil"/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auto">
              <a:xfrm>
                <a:off x="2314850" y="4407218"/>
                <a:ext cx="1004269" cy="1254272"/>
              </a:xfrm>
              <a:custGeom>
                <a:avLst/>
                <a:gdLst/>
                <a:ahLst/>
                <a:cxnLst>
                  <a:cxn ang="0">
                    <a:pos x="96" y="18"/>
                  </a:cxn>
                  <a:cxn ang="0">
                    <a:pos x="83" y="16"/>
                  </a:cxn>
                  <a:cxn ang="0">
                    <a:pos x="79" y="18"/>
                  </a:cxn>
                  <a:cxn ang="0">
                    <a:pos x="68" y="20"/>
                  </a:cxn>
                  <a:cxn ang="0">
                    <a:pos x="62" y="16"/>
                  </a:cxn>
                  <a:cxn ang="0">
                    <a:pos x="62" y="0"/>
                  </a:cxn>
                  <a:cxn ang="0">
                    <a:pos x="60" y="2"/>
                  </a:cxn>
                  <a:cxn ang="0">
                    <a:pos x="39" y="7"/>
                  </a:cxn>
                  <a:cxn ang="0">
                    <a:pos x="43" y="16"/>
                  </a:cxn>
                  <a:cxn ang="0">
                    <a:pos x="37" y="25"/>
                  </a:cxn>
                  <a:cxn ang="0">
                    <a:pos x="31" y="20"/>
                  </a:cxn>
                  <a:cxn ang="0">
                    <a:pos x="16" y="20"/>
                  </a:cxn>
                  <a:cxn ang="0">
                    <a:pos x="20" y="27"/>
                  </a:cxn>
                  <a:cxn ang="0">
                    <a:pos x="16" y="36"/>
                  </a:cxn>
                  <a:cxn ang="0">
                    <a:pos x="6" y="59"/>
                  </a:cxn>
                  <a:cxn ang="0">
                    <a:pos x="0" y="72"/>
                  </a:cxn>
                  <a:cxn ang="0">
                    <a:pos x="8" y="88"/>
                  </a:cxn>
                  <a:cxn ang="0">
                    <a:pos x="14" y="92"/>
                  </a:cxn>
                  <a:cxn ang="0">
                    <a:pos x="25" y="95"/>
                  </a:cxn>
                  <a:cxn ang="0">
                    <a:pos x="39" y="86"/>
                  </a:cxn>
                  <a:cxn ang="0">
                    <a:pos x="43" y="101"/>
                  </a:cxn>
                  <a:cxn ang="0">
                    <a:pos x="64" y="115"/>
                  </a:cxn>
                  <a:cxn ang="0">
                    <a:pos x="64" y="122"/>
                  </a:cxn>
                  <a:cxn ang="0">
                    <a:pos x="75" y="129"/>
                  </a:cxn>
                  <a:cxn ang="0">
                    <a:pos x="77" y="147"/>
                  </a:cxn>
                  <a:cxn ang="0">
                    <a:pos x="87" y="158"/>
                  </a:cxn>
                  <a:cxn ang="0">
                    <a:pos x="91" y="167"/>
                  </a:cxn>
                  <a:cxn ang="0">
                    <a:pos x="96" y="178"/>
                  </a:cxn>
                  <a:cxn ang="0">
                    <a:pos x="102" y="187"/>
                  </a:cxn>
                  <a:cxn ang="0">
                    <a:pos x="87" y="205"/>
                  </a:cxn>
                  <a:cxn ang="0">
                    <a:pos x="96" y="210"/>
                  </a:cxn>
                  <a:cxn ang="0">
                    <a:pos x="108" y="214"/>
                  </a:cxn>
                  <a:cxn ang="0">
                    <a:pos x="110" y="225"/>
                  </a:cxn>
                  <a:cxn ang="0">
                    <a:pos x="118" y="210"/>
                  </a:cxn>
                  <a:cxn ang="0">
                    <a:pos x="127" y="196"/>
                  </a:cxn>
                  <a:cxn ang="0">
                    <a:pos x="133" y="171"/>
                  </a:cxn>
                  <a:cxn ang="0">
                    <a:pos x="139" y="167"/>
                  </a:cxn>
                  <a:cxn ang="0">
                    <a:pos x="141" y="165"/>
                  </a:cxn>
                  <a:cxn ang="0">
                    <a:pos x="152" y="162"/>
                  </a:cxn>
                  <a:cxn ang="0">
                    <a:pos x="158" y="156"/>
                  </a:cxn>
                  <a:cxn ang="0">
                    <a:pos x="164" y="144"/>
                  </a:cxn>
                  <a:cxn ang="0">
                    <a:pos x="164" y="131"/>
                  </a:cxn>
                  <a:cxn ang="0">
                    <a:pos x="179" y="86"/>
                  </a:cxn>
                  <a:cxn ang="0">
                    <a:pos x="181" y="70"/>
                  </a:cxn>
                  <a:cxn ang="0">
                    <a:pos x="173" y="59"/>
                  </a:cxn>
                  <a:cxn ang="0">
                    <a:pos x="150" y="50"/>
                  </a:cxn>
                  <a:cxn ang="0">
                    <a:pos x="135" y="45"/>
                  </a:cxn>
                  <a:cxn ang="0">
                    <a:pos x="135" y="38"/>
                  </a:cxn>
                  <a:cxn ang="0">
                    <a:pos x="131" y="36"/>
                  </a:cxn>
                  <a:cxn ang="0">
                    <a:pos x="118" y="34"/>
                  </a:cxn>
                  <a:cxn ang="0">
                    <a:pos x="118" y="29"/>
                  </a:cxn>
                  <a:cxn ang="0">
                    <a:pos x="108" y="34"/>
                  </a:cxn>
                  <a:cxn ang="0">
                    <a:pos x="104" y="36"/>
                  </a:cxn>
                  <a:cxn ang="0">
                    <a:pos x="110" y="25"/>
                  </a:cxn>
                  <a:cxn ang="0">
                    <a:pos x="108" y="18"/>
                  </a:cxn>
                  <a:cxn ang="0">
                    <a:pos x="102" y="9"/>
                  </a:cxn>
                </a:cxnLst>
                <a:rect l="0" t="0" r="r" b="b"/>
                <a:pathLst>
                  <a:path w="181" h="225">
                    <a:moveTo>
                      <a:pt x="102" y="7"/>
                    </a:moveTo>
                    <a:lnTo>
                      <a:pt x="96" y="18"/>
                    </a:lnTo>
                    <a:lnTo>
                      <a:pt x="91" y="18"/>
                    </a:lnTo>
                    <a:lnTo>
                      <a:pt x="83" y="16"/>
                    </a:lnTo>
                    <a:lnTo>
                      <a:pt x="83" y="18"/>
                    </a:lnTo>
                    <a:lnTo>
                      <a:pt x="79" y="18"/>
                    </a:lnTo>
                    <a:lnTo>
                      <a:pt x="77" y="18"/>
                    </a:lnTo>
                    <a:lnTo>
                      <a:pt x="68" y="20"/>
                    </a:lnTo>
                    <a:lnTo>
                      <a:pt x="64" y="20"/>
                    </a:lnTo>
                    <a:lnTo>
                      <a:pt x="62" y="16"/>
                    </a:lnTo>
                    <a:lnTo>
                      <a:pt x="64" y="7"/>
                    </a:lnTo>
                    <a:lnTo>
                      <a:pt x="62" y="0"/>
                    </a:lnTo>
                    <a:lnTo>
                      <a:pt x="60" y="0"/>
                    </a:lnTo>
                    <a:lnTo>
                      <a:pt x="60" y="2"/>
                    </a:lnTo>
                    <a:lnTo>
                      <a:pt x="48" y="9"/>
                    </a:lnTo>
                    <a:lnTo>
                      <a:pt x="39" y="7"/>
                    </a:lnTo>
                    <a:lnTo>
                      <a:pt x="43" y="9"/>
                    </a:lnTo>
                    <a:lnTo>
                      <a:pt x="43" y="16"/>
                    </a:lnTo>
                    <a:lnTo>
                      <a:pt x="45" y="18"/>
                    </a:lnTo>
                    <a:lnTo>
                      <a:pt x="37" y="25"/>
                    </a:lnTo>
                    <a:lnTo>
                      <a:pt x="31" y="25"/>
                    </a:lnTo>
                    <a:lnTo>
                      <a:pt x="31" y="20"/>
                    </a:lnTo>
                    <a:lnTo>
                      <a:pt x="29" y="18"/>
                    </a:lnTo>
                    <a:lnTo>
                      <a:pt x="16" y="20"/>
                    </a:lnTo>
                    <a:lnTo>
                      <a:pt x="16" y="25"/>
                    </a:lnTo>
                    <a:lnTo>
                      <a:pt x="20" y="27"/>
                    </a:lnTo>
                    <a:lnTo>
                      <a:pt x="14" y="27"/>
                    </a:lnTo>
                    <a:lnTo>
                      <a:pt x="16" y="36"/>
                    </a:lnTo>
                    <a:lnTo>
                      <a:pt x="16" y="54"/>
                    </a:lnTo>
                    <a:lnTo>
                      <a:pt x="6" y="59"/>
                    </a:lnTo>
                    <a:lnTo>
                      <a:pt x="4" y="63"/>
                    </a:lnTo>
                    <a:lnTo>
                      <a:pt x="0" y="72"/>
                    </a:lnTo>
                    <a:lnTo>
                      <a:pt x="4" y="81"/>
                    </a:lnTo>
                    <a:lnTo>
                      <a:pt x="8" y="88"/>
                    </a:lnTo>
                    <a:lnTo>
                      <a:pt x="14" y="86"/>
                    </a:lnTo>
                    <a:lnTo>
                      <a:pt x="14" y="92"/>
                    </a:lnTo>
                    <a:lnTo>
                      <a:pt x="20" y="92"/>
                    </a:lnTo>
                    <a:lnTo>
                      <a:pt x="25" y="95"/>
                    </a:lnTo>
                    <a:lnTo>
                      <a:pt x="31" y="86"/>
                    </a:lnTo>
                    <a:lnTo>
                      <a:pt x="39" y="86"/>
                    </a:lnTo>
                    <a:lnTo>
                      <a:pt x="39" y="95"/>
                    </a:lnTo>
                    <a:lnTo>
                      <a:pt x="43" y="101"/>
                    </a:lnTo>
                    <a:lnTo>
                      <a:pt x="62" y="110"/>
                    </a:lnTo>
                    <a:lnTo>
                      <a:pt x="64" y="115"/>
                    </a:lnTo>
                    <a:lnTo>
                      <a:pt x="64" y="119"/>
                    </a:lnTo>
                    <a:lnTo>
                      <a:pt x="64" y="122"/>
                    </a:lnTo>
                    <a:lnTo>
                      <a:pt x="75" y="124"/>
                    </a:lnTo>
                    <a:lnTo>
                      <a:pt x="75" y="129"/>
                    </a:lnTo>
                    <a:lnTo>
                      <a:pt x="79" y="135"/>
                    </a:lnTo>
                    <a:lnTo>
                      <a:pt x="77" y="147"/>
                    </a:lnTo>
                    <a:lnTo>
                      <a:pt x="79" y="156"/>
                    </a:lnTo>
                    <a:lnTo>
                      <a:pt x="87" y="158"/>
                    </a:lnTo>
                    <a:lnTo>
                      <a:pt x="91" y="158"/>
                    </a:lnTo>
                    <a:lnTo>
                      <a:pt x="91" y="167"/>
                    </a:lnTo>
                    <a:lnTo>
                      <a:pt x="96" y="167"/>
                    </a:lnTo>
                    <a:lnTo>
                      <a:pt x="96" y="178"/>
                    </a:lnTo>
                    <a:lnTo>
                      <a:pt x="100" y="178"/>
                    </a:lnTo>
                    <a:lnTo>
                      <a:pt x="102" y="187"/>
                    </a:lnTo>
                    <a:lnTo>
                      <a:pt x="100" y="189"/>
                    </a:lnTo>
                    <a:lnTo>
                      <a:pt x="87" y="205"/>
                    </a:lnTo>
                    <a:lnTo>
                      <a:pt x="91" y="205"/>
                    </a:lnTo>
                    <a:lnTo>
                      <a:pt x="96" y="210"/>
                    </a:lnTo>
                    <a:lnTo>
                      <a:pt x="96" y="207"/>
                    </a:lnTo>
                    <a:lnTo>
                      <a:pt x="108" y="214"/>
                    </a:lnTo>
                    <a:lnTo>
                      <a:pt x="110" y="221"/>
                    </a:lnTo>
                    <a:lnTo>
                      <a:pt x="110" y="225"/>
                    </a:lnTo>
                    <a:lnTo>
                      <a:pt x="114" y="216"/>
                    </a:lnTo>
                    <a:lnTo>
                      <a:pt x="118" y="210"/>
                    </a:lnTo>
                    <a:lnTo>
                      <a:pt x="123" y="201"/>
                    </a:lnTo>
                    <a:lnTo>
                      <a:pt x="127" y="196"/>
                    </a:lnTo>
                    <a:lnTo>
                      <a:pt x="125" y="180"/>
                    </a:lnTo>
                    <a:lnTo>
                      <a:pt x="133" y="171"/>
                    </a:lnTo>
                    <a:lnTo>
                      <a:pt x="135" y="167"/>
                    </a:lnTo>
                    <a:lnTo>
                      <a:pt x="139" y="167"/>
                    </a:lnTo>
                    <a:lnTo>
                      <a:pt x="139" y="165"/>
                    </a:lnTo>
                    <a:lnTo>
                      <a:pt x="141" y="165"/>
                    </a:lnTo>
                    <a:lnTo>
                      <a:pt x="141" y="162"/>
                    </a:lnTo>
                    <a:lnTo>
                      <a:pt x="152" y="162"/>
                    </a:lnTo>
                    <a:lnTo>
                      <a:pt x="152" y="158"/>
                    </a:lnTo>
                    <a:lnTo>
                      <a:pt x="158" y="156"/>
                    </a:lnTo>
                    <a:lnTo>
                      <a:pt x="158" y="153"/>
                    </a:lnTo>
                    <a:lnTo>
                      <a:pt x="164" y="144"/>
                    </a:lnTo>
                    <a:lnTo>
                      <a:pt x="164" y="135"/>
                    </a:lnTo>
                    <a:lnTo>
                      <a:pt x="164" y="131"/>
                    </a:lnTo>
                    <a:lnTo>
                      <a:pt x="164" y="106"/>
                    </a:lnTo>
                    <a:lnTo>
                      <a:pt x="179" y="86"/>
                    </a:lnTo>
                    <a:lnTo>
                      <a:pt x="181" y="77"/>
                    </a:lnTo>
                    <a:lnTo>
                      <a:pt x="181" y="70"/>
                    </a:lnTo>
                    <a:lnTo>
                      <a:pt x="179" y="61"/>
                    </a:lnTo>
                    <a:lnTo>
                      <a:pt x="173" y="59"/>
                    </a:lnTo>
                    <a:lnTo>
                      <a:pt x="158" y="45"/>
                    </a:lnTo>
                    <a:lnTo>
                      <a:pt x="150" y="50"/>
                    </a:lnTo>
                    <a:lnTo>
                      <a:pt x="141" y="43"/>
                    </a:lnTo>
                    <a:lnTo>
                      <a:pt x="135" y="45"/>
                    </a:lnTo>
                    <a:lnTo>
                      <a:pt x="135" y="43"/>
                    </a:lnTo>
                    <a:lnTo>
                      <a:pt x="135" y="38"/>
                    </a:lnTo>
                    <a:lnTo>
                      <a:pt x="133" y="38"/>
                    </a:lnTo>
                    <a:lnTo>
                      <a:pt x="131" y="36"/>
                    </a:lnTo>
                    <a:lnTo>
                      <a:pt x="123" y="34"/>
                    </a:lnTo>
                    <a:lnTo>
                      <a:pt x="118" y="34"/>
                    </a:lnTo>
                    <a:lnTo>
                      <a:pt x="116" y="38"/>
                    </a:lnTo>
                    <a:lnTo>
                      <a:pt x="118" y="29"/>
                    </a:lnTo>
                    <a:lnTo>
                      <a:pt x="116" y="29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04" y="36"/>
                    </a:lnTo>
                    <a:lnTo>
                      <a:pt x="104" y="29"/>
                    </a:lnTo>
                    <a:lnTo>
                      <a:pt x="110" y="25"/>
                    </a:lnTo>
                    <a:lnTo>
                      <a:pt x="110" y="20"/>
                    </a:lnTo>
                    <a:lnTo>
                      <a:pt x="108" y="18"/>
                    </a:lnTo>
                    <a:lnTo>
                      <a:pt x="104" y="9"/>
                    </a:lnTo>
                    <a:lnTo>
                      <a:pt x="102" y="9"/>
                    </a:lnTo>
                    <a:lnTo>
                      <a:pt x="102" y="7"/>
                    </a:lnTo>
                    <a:close/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56" name="Botswana"/>
              <p:cNvSpPr>
                <a:spLocks/>
              </p:cNvSpPr>
              <p:nvPr/>
            </p:nvSpPr>
            <p:spPr bwMode="auto">
              <a:xfrm>
                <a:off x="4754775" y="5154261"/>
                <a:ext cx="245028" cy="293296"/>
              </a:xfrm>
              <a:custGeom>
                <a:avLst/>
                <a:gdLst>
                  <a:gd name="T0" fmla="*/ 399 w 673"/>
                  <a:gd name="T1" fmla="*/ 4 h 680"/>
                  <a:gd name="T2" fmla="*/ 396 w 673"/>
                  <a:gd name="T3" fmla="*/ 16 h 680"/>
                  <a:gd name="T4" fmla="*/ 420 w 673"/>
                  <a:gd name="T5" fmla="*/ 54 h 680"/>
                  <a:gd name="T6" fmla="*/ 443 w 673"/>
                  <a:gd name="T7" fmla="*/ 87 h 680"/>
                  <a:gd name="T8" fmla="*/ 452 w 673"/>
                  <a:gd name="T9" fmla="*/ 122 h 680"/>
                  <a:gd name="T10" fmla="*/ 468 w 673"/>
                  <a:gd name="T11" fmla="*/ 140 h 680"/>
                  <a:gd name="T12" fmla="*/ 475 w 673"/>
                  <a:gd name="T13" fmla="*/ 148 h 680"/>
                  <a:gd name="T14" fmla="*/ 515 w 673"/>
                  <a:gd name="T15" fmla="*/ 169 h 680"/>
                  <a:gd name="T16" fmla="*/ 515 w 673"/>
                  <a:gd name="T17" fmla="*/ 169 h 680"/>
                  <a:gd name="T18" fmla="*/ 534 w 673"/>
                  <a:gd name="T19" fmla="*/ 194 h 680"/>
                  <a:gd name="T20" fmla="*/ 559 w 673"/>
                  <a:gd name="T21" fmla="*/ 207 h 680"/>
                  <a:gd name="T22" fmla="*/ 559 w 673"/>
                  <a:gd name="T23" fmla="*/ 251 h 680"/>
                  <a:gd name="T24" fmla="*/ 579 w 673"/>
                  <a:gd name="T25" fmla="*/ 287 h 680"/>
                  <a:gd name="T26" fmla="*/ 621 w 673"/>
                  <a:gd name="T27" fmla="*/ 294 h 680"/>
                  <a:gd name="T28" fmla="*/ 652 w 673"/>
                  <a:gd name="T29" fmla="*/ 307 h 680"/>
                  <a:gd name="T30" fmla="*/ 663 w 673"/>
                  <a:gd name="T31" fmla="*/ 328 h 680"/>
                  <a:gd name="T32" fmla="*/ 673 w 673"/>
                  <a:gd name="T33" fmla="*/ 335 h 680"/>
                  <a:gd name="T34" fmla="*/ 672 w 673"/>
                  <a:gd name="T35" fmla="*/ 337 h 680"/>
                  <a:gd name="T36" fmla="*/ 640 w 673"/>
                  <a:gd name="T37" fmla="*/ 353 h 680"/>
                  <a:gd name="T38" fmla="*/ 605 w 673"/>
                  <a:gd name="T39" fmla="*/ 364 h 680"/>
                  <a:gd name="T40" fmla="*/ 574 w 673"/>
                  <a:gd name="T41" fmla="*/ 386 h 680"/>
                  <a:gd name="T42" fmla="*/ 555 w 673"/>
                  <a:gd name="T43" fmla="*/ 405 h 680"/>
                  <a:gd name="T44" fmla="*/ 538 w 673"/>
                  <a:gd name="T45" fmla="*/ 419 h 680"/>
                  <a:gd name="T46" fmla="*/ 511 w 673"/>
                  <a:gd name="T47" fmla="*/ 432 h 680"/>
                  <a:gd name="T48" fmla="*/ 496 w 673"/>
                  <a:gd name="T49" fmla="*/ 443 h 680"/>
                  <a:gd name="T50" fmla="*/ 483 w 673"/>
                  <a:gd name="T51" fmla="*/ 486 h 680"/>
                  <a:gd name="T52" fmla="*/ 452 w 673"/>
                  <a:gd name="T53" fmla="*/ 511 h 680"/>
                  <a:gd name="T54" fmla="*/ 413 w 673"/>
                  <a:gd name="T55" fmla="*/ 522 h 680"/>
                  <a:gd name="T56" fmla="*/ 397 w 673"/>
                  <a:gd name="T57" fmla="*/ 571 h 680"/>
                  <a:gd name="T58" fmla="*/ 354 w 673"/>
                  <a:gd name="T59" fmla="*/ 594 h 680"/>
                  <a:gd name="T60" fmla="*/ 315 w 673"/>
                  <a:gd name="T61" fmla="*/ 594 h 680"/>
                  <a:gd name="T62" fmla="*/ 291 w 673"/>
                  <a:gd name="T63" fmla="*/ 584 h 680"/>
                  <a:gd name="T64" fmla="*/ 251 w 673"/>
                  <a:gd name="T65" fmla="*/ 565 h 680"/>
                  <a:gd name="T66" fmla="*/ 210 w 673"/>
                  <a:gd name="T67" fmla="*/ 559 h 680"/>
                  <a:gd name="T68" fmla="*/ 194 w 673"/>
                  <a:gd name="T69" fmla="*/ 587 h 680"/>
                  <a:gd name="T70" fmla="*/ 183 w 673"/>
                  <a:gd name="T71" fmla="*/ 615 h 680"/>
                  <a:gd name="T72" fmla="*/ 156 w 673"/>
                  <a:gd name="T73" fmla="*/ 635 h 680"/>
                  <a:gd name="T74" fmla="*/ 124 w 673"/>
                  <a:gd name="T75" fmla="*/ 658 h 680"/>
                  <a:gd name="T76" fmla="*/ 108 w 673"/>
                  <a:gd name="T77" fmla="*/ 672 h 680"/>
                  <a:gd name="T78" fmla="*/ 63 w 673"/>
                  <a:gd name="T79" fmla="*/ 668 h 680"/>
                  <a:gd name="T80" fmla="*/ 40 w 673"/>
                  <a:gd name="T81" fmla="*/ 664 h 680"/>
                  <a:gd name="T82" fmla="*/ 51 w 673"/>
                  <a:gd name="T83" fmla="*/ 630 h 680"/>
                  <a:gd name="T84" fmla="*/ 48 w 673"/>
                  <a:gd name="T85" fmla="*/ 585 h 680"/>
                  <a:gd name="T86" fmla="*/ 37 w 673"/>
                  <a:gd name="T87" fmla="*/ 555 h 680"/>
                  <a:gd name="T88" fmla="*/ 18 w 673"/>
                  <a:gd name="T89" fmla="*/ 528 h 680"/>
                  <a:gd name="T90" fmla="*/ 3 w 673"/>
                  <a:gd name="T91" fmla="*/ 515 h 680"/>
                  <a:gd name="T92" fmla="*/ 2 w 673"/>
                  <a:gd name="T93" fmla="*/ 483 h 680"/>
                  <a:gd name="T94" fmla="*/ 7 w 673"/>
                  <a:gd name="T95" fmla="*/ 311 h 680"/>
                  <a:gd name="T96" fmla="*/ 78 w 673"/>
                  <a:gd name="T97" fmla="*/ 312 h 680"/>
                  <a:gd name="T98" fmla="*/ 83 w 673"/>
                  <a:gd name="T99" fmla="*/ 163 h 680"/>
                  <a:gd name="T100" fmla="*/ 82 w 673"/>
                  <a:gd name="T101" fmla="*/ 163 h 680"/>
                  <a:gd name="T102" fmla="*/ 85 w 673"/>
                  <a:gd name="T103" fmla="*/ 52 h 680"/>
                  <a:gd name="T104" fmla="*/ 113 w 673"/>
                  <a:gd name="T105" fmla="*/ 37 h 680"/>
                  <a:gd name="T106" fmla="*/ 202 w 673"/>
                  <a:gd name="T107" fmla="*/ 22 h 680"/>
                  <a:gd name="T108" fmla="*/ 254 w 673"/>
                  <a:gd name="T109" fmla="*/ 17 h 680"/>
                  <a:gd name="T110" fmla="*/ 271 w 673"/>
                  <a:gd name="T111" fmla="*/ 43 h 680"/>
                  <a:gd name="T112" fmla="*/ 298 w 673"/>
                  <a:gd name="T113" fmla="*/ 32 h 680"/>
                  <a:gd name="T114" fmla="*/ 336 w 673"/>
                  <a:gd name="T115" fmla="*/ 14 h 680"/>
                  <a:gd name="T116" fmla="*/ 355 w 673"/>
                  <a:gd name="T117" fmla="*/ 11 h 680"/>
                  <a:gd name="T118" fmla="*/ 388 w 673"/>
                  <a:gd name="T119" fmla="*/ 2 h 680"/>
                  <a:gd name="T120" fmla="*/ 395 w 673"/>
                  <a:gd name="T121" fmla="*/ 2 h 680"/>
                  <a:gd name="T122" fmla="*/ 399 w 673"/>
                  <a:gd name="T123" fmla="*/ 4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73" h="680">
                    <a:moveTo>
                      <a:pt x="399" y="4"/>
                    </a:moveTo>
                    <a:cubicBezTo>
                      <a:pt x="395" y="5"/>
                      <a:pt x="393" y="11"/>
                      <a:pt x="396" y="16"/>
                    </a:cubicBezTo>
                    <a:cubicBezTo>
                      <a:pt x="407" y="27"/>
                      <a:pt x="410" y="42"/>
                      <a:pt x="420" y="54"/>
                    </a:cubicBezTo>
                    <a:cubicBezTo>
                      <a:pt x="434" y="62"/>
                      <a:pt x="429" y="79"/>
                      <a:pt x="443" y="87"/>
                    </a:cubicBezTo>
                    <a:cubicBezTo>
                      <a:pt x="442" y="100"/>
                      <a:pt x="448" y="110"/>
                      <a:pt x="452" y="122"/>
                    </a:cubicBezTo>
                    <a:cubicBezTo>
                      <a:pt x="451" y="134"/>
                      <a:pt x="463" y="134"/>
                      <a:pt x="468" y="140"/>
                    </a:cubicBezTo>
                    <a:cubicBezTo>
                      <a:pt x="472" y="143"/>
                      <a:pt x="473" y="145"/>
                      <a:pt x="475" y="148"/>
                    </a:cubicBezTo>
                    <a:cubicBezTo>
                      <a:pt x="488" y="155"/>
                      <a:pt x="499" y="169"/>
                      <a:pt x="515" y="169"/>
                    </a:cubicBezTo>
                    <a:cubicBezTo>
                      <a:pt x="515" y="169"/>
                      <a:pt x="515" y="169"/>
                      <a:pt x="515" y="169"/>
                    </a:cubicBezTo>
                    <a:cubicBezTo>
                      <a:pt x="526" y="175"/>
                      <a:pt x="535" y="179"/>
                      <a:pt x="534" y="194"/>
                    </a:cubicBezTo>
                    <a:cubicBezTo>
                      <a:pt x="526" y="213"/>
                      <a:pt x="549" y="202"/>
                      <a:pt x="559" y="207"/>
                    </a:cubicBezTo>
                    <a:cubicBezTo>
                      <a:pt x="568" y="218"/>
                      <a:pt x="558" y="236"/>
                      <a:pt x="559" y="251"/>
                    </a:cubicBezTo>
                    <a:cubicBezTo>
                      <a:pt x="569" y="261"/>
                      <a:pt x="575" y="274"/>
                      <a:pt x="579" y="287"/>
                    </a:cubicBezTo>
                    <a:cubicBezTo>
                      <a:pt x="594" y="289"/>
                      <a:pt x="607" y="295"/>
                      <a:pt x="621" y="294"/>
                    </a:cubicBezTo>
                    <a:cubicBezTo>
                      <a:pt x="631" y="300"/>
                      <a:pt x="643" y="303"/>
                      <a:pt x="652" y="307"/>
                    </a:cubicBezTo>
                    <a:cubicBezTo>
                      <a:pt x="647" y="317"/>
                      <a:pt x="650" y="329"/>
                      <a:pt x="663" y="328"/>
                    </a:cubicBezTo>
                    <a:cubicBezTo>
                      <a:pt x="665" y="332"/>
                      <a:pt x="669" y="334"/>
                      <a:pt x="673" y="335"/>
                    </a:cubicBezTo>
                    <a:cubicBezTo>
                      <a:pt x="672" y="337"/>
                      <a:pt x="672" y="337"/>
                      <a:pt x="672" y="337"/>
                    </a:cubicBezTo>
                    <a:cubicBezTo>
                      <a:pt x="659" y="335"/>
                      <a:pt x="642" y="338"/>
                      <a:pt x="640" y="353"/>
                    </a:cubicBezTo>
                    <a:cubicBezTo>
                      <a:pt x="629" y="358"/>
                      <a:pt x="617" y="364"/>
                      <a:pt x="605" y="364"/>
                    </a:cubicBezTo>
                    <a:cubicBezTo>
                      <a:pt x="590" y="363"/>
                      <a:pt x="583" y="377"/>
                      <a:pt x="574" y="386"/>
                    </a:cubicBezTo>
                    <a:cubicBezTo>
                      <a:pt x="567" y="392"/>
                      <a:pt x="564" y="401"/>
                      <a:pt x="555" y="405"/>
                    </a:cubicBezTo>
                    <a:cubicBezTo>
                      <a:pt x="553" y="414"/>
                      <a:pt x="537" y="406"/>
                      <a:pt x="538" y="419"/>
                    </a:cubicBezTo>
                    <a:cubicBezTo>
                      <a:pt x="530" y="426"/>
                      <a:pt x="518" y="423"/>
                      <a:pt x="511" y="432"/>
                    </a:cubicBezTo>
                    <a:cubicBezTo>
                      <a:pt x="504" y="433"/>
                      <a:pt x="503" y="444"/>
                      <a:pt x="496" y="443"/>
                    </a:cubicBezTo>
                    <a:cubicBezTo>
                      <a:pt x="490" y="457"/>
                      <a:pt x="488" y="472"/>
                      <a:pt x="483" y="486"/>
                    </a:cubicBezTo>
                    <a:cubicBezTo>
                      <a:pt x="471" y="492"/>
                      <a:pt x="460" y="501"/>
                      <a:pt x="452" y="511"/>
                    </a:cubicBezTo>
                    <a:cubicBezTo>
                      <a:pt x="439" y="514"/>
                      <a:pt x="426" y="518"/>
                      <a:pt x="413" y="522"/>
                    </a:cubicBezTo>
                    <a:cubicBezTo>
                      <a:pt x="412" y="539"/>
                      <a:pt x="402" y="555"/>
                      <a:pt x="397" y="571"/>
                    </a:cubicBezTo>
                    <a:cubicBezTo>
                      <a:pt x="391" y="589"/>
                      <a:pt x="371" y="600"/>
                      <a:pt x="354" y="594"/>
                    </a:cubicBezTo>
                    <a:cubicBezTo>
                      <a:pt x="342" y="595"/>
                      <a:pt x="327" y="605"/>
                      <a:pt x="315" y="594"/>
                    </a:cubicBezTo>
                    <a:cubicBezTo>
                      <a:pt x="304" y="595"/>
                      <a:pt x="297" y="591"/>
                      <a:pt x="291" y="584"/>
                    </a:cubicBezTo>
                    <a:cubicBezTo>
                      <a:pt x="273" y="591"/>
                      <a:pt x="264" y="573"/>
                      <a:pt x="251" y="565"/>
                    </a:cubicBezTo>
                    <a:cubicBezTo>
                      <a:pt x="239" y="553"/>
                      <a:pt x="224" y="556"/>
                      <a:pt x="210" y="559"/>
                    </a:cubicBezTo>
                    <a:cubicBezTo>
                      <a:pt x="201" y="566"/>
                      <a:pt x="196" y="577"/>
                      <a:pt x="194" y="587"/>
                    </a:cubicBezTo>
                    <a:cubicBezTo>
                      <a:pt x="188" y="597"/>
                      <a:pt x="191" y="606"/>
                      <a:pt x="183" y="615"/>
                    </a:cubicBezTo>
                    <a:cubicBezTo>
                      <a:pt x="176" y="626"/>
                      <a:pt x="165" y="627"/>
                      <a:pt x="156" y="635"/>
                    </a:cubicBezTo>
                    <a:cubicBezTo>
                      <a:pt x="145" y="641"/>
                      <a:pt x="142" y="663"/>
                      <a:pt x="124" y="658"/>
                    </a:cubicBezTo>
                    <a:cubicBezTo>
                      <a:pt x="117" y="661"/>
                      <a:pt x="121" y="675"/>
                      <a:pt x="108" y="672"/>
                    </a:cubicBezTo>
                    <a:cubicBezTo>
                      <a:pt x="93" y="665"/>
                      <a:pt x="77" y="677"/>
                      <a:pt x="63" y="668"/>
                    </a:cubicBezTo>
                    <a:cubicBezTo>
                      <a:pt x="55" y="664"/>
                      <a:pt x="42" y="680"/>
                      <a:pt x="40" y="664"/>
                    </a:cubicBezTo>
                    <a:cubicBezTo>
                      <a:pt x="40" y="651"/>
                      <a:pt x="38" y="638"/>
                      <a:pt x="51" y="630"/>
                    </a:cubicBezTo>
                    <a:cubicBezTo>
                      <a:pt x="62" y="617"/>
                      <a:pt x="56" y="598"/>
                      <a:pt x="48" y="585"/>
                    </a:cubicBezTo>
                    <a:cubicBezTo>
                      <a:pt x="46" y="572"/>
                      <a:pt x="45" y="566"/>
                      <a:pt x="37" y="555"/>
                    </a:cubicBezTo>
                    <a:cubicBezTo>
                      <a:pt x="32" y="546"/>
                      <a:pt x="28" y="534"/>
                      <a:pt x="18" y="528"/>
                    </a:cubicBezTo>
                    <a:cubicBezTo>
                      <a:pt x="9" y="526"/>
                      <a:pt x="5" y="521"/>
                      <a:pt x="3" y="515"/>
                    </a:cubicBezTo>
                    <a:cubicBezTo>
                      <a:pt x="0" y="506"/>
                      <a:pt x="2" y="493"/>
                      <a:pt x="2" y="483"/>
                    </a:cubicBezTo>
                    <a:cubicBezTo>
                      <a:pt x="4" y="426"/>
                      <a:pt x="5" y="368"/>
                      <a:pt x="7" y="311"/>
                    </a:cubicBezTo>
                    <a:cubicBezTo>
                      <a:pt x="31" y="311"/>
                      <a:pt x="55" y="312"/>
                      <a:pt x="78" y="312"/>
                    </a:cubicBezTo>
                    <a:cubicBezTo>
                      <a:pt x="80" y="262"/>
                      <a:pt x="81" y="213"/>
                      <a:pt x="83" y="163"/>
                    </a:cubicBezTo>
                    <a:cubicBezTo>
                      <a:pt x="82" y="163"/>
                      <a:pt x="82" y="163"/>
                      <a:pt x="82" y="163"/>
                    </a:cubicBezTo>
                    <a:cubicBezTo>
                      <a:pt x="83" y="126"/>
                      <a:pt x="84" y="89"/>
                      <a:pt x="85" y="52"/>
                    </a:cubicBezTo>
                    <a:cubicBezTo>
                      <a:pt x="79" y="32"/>
                      <a:pt x="101" y="38"/>
                      <a:pt x="113" y="37"/>
                    </a:cubicBezTo>
                    <a:cubicBezTo>
                      <a:pt x="143" y="34"/>
                      <a:pt x="172" y="27"/>
                      <a:pt x="202" y="22"/>
                    </a:cubicBezTo>
                    <a:cubicBezTo>
                      <a:pt x="219" y="21"/>
                      <a:pt x="237" y="12"/>
                      <a:pt x="254" y="17"/>
                    </a:cubicBezTo>
                    <a:cubicBezTo>
                      <a:pt x="256" y="28"/>
                      <a:pt x="270" y="31"/>
                      <a:pt x="271" y="43"/>
                    </a:cubicBezTo>
                    <a:cubicBezTo>
                      <a:pt x="274" y="62"/>
                      <a:pt x="292" y="38"/>
                      <a:pt x="298" y="32"/>
                    </a:cubicBezTo>
                    <a:cubicBezTo>
                      <a:pt x="311" y="25"/>
                      <a:pt x="322" y="14"/>
                      <a:pt x="336" y="14"/>
                    </a:cubicBezTo>
                    <a:cubicBezTo>
                      <a:pt x="339" y="26"/>
                      <a:pt x="350" y="18"/>
                      <a:pt x="355" y="11"/>
                    </a:cubicBezTo>
                    <a:cubicBezTo>
                      <a:pt x="364" y="1"/>
                      <a:pt x="377" y="5"/>
                      <a:pt x="388" y="2"/>
                    </a:cubicBezTo>
                    <a:cubicBezTo>
                      <a:pt x="391" y="0"/>
                      <a:pt x="395" y="2"/>
                      <a:pt x="395" y="2"/>
                    </a:cubicBezTo>
                    <a:lnTo>
                      <a:pt x="399" y="4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57" name="Bosnia and Herzegovina"/>
              <p:cNvSpPr>
                <a:spLocks/>
              </p:cNvSpPr>
              <p:nvPr>
                <p:custDataLst>
                  <p:tags r:id="rId117"/>
                </p:custDataLst>
              </p:nvPr>
            </p:nvSpPr>
            <p:spPr bwMode="auto">
              <a:xfrm>
                <a:off x="4639163" y="3114989"/>
                <a:ext cx="93180" cy="87989"/>
              </a:xfrm>
              <a:custGeom>
                <a:avLst/>
                <a:gdLst/>
                <a:ahLst/>
                <a:cxnLst>
                  <a:cxn ang="0">
                    <a:pos x="15" y="2"/>
                  </a:cxn>
                  <a:cxn ang="0">
                    <a:pos x="15" y="5"/>
                  </a:cxn>
                  <a:cxn ang="0">
                    <a:pos x="17" y="9"/>
                  </a:cxn>
                  <a:cxn ang="0">
                    <a:pos x="15" y="9"/>
                  </a:cxn>
                  <a:cxn ang="0">
                    <a:pos x="10" y="11"/>
                  </a:cxn>
                  <a:cxn ang="0">
                    <a:pos x="10" y="16"/>
                  </a:cxn>
                  <a:cxn ang="0">
                    <a:pos x="2" y="5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10" y="2"/>
                  </a:cxn>
                  <a:cxn ang="0">
                    <a:pos x="12" y="2"/>
                  </a:cxn>
                  <a:cxn ang="0">
                    <a:pos x="15" y="2"/>
                  </a:cxn>
                </a:cxnLst>
                <a:rect l="0" t="0" r="r" b="b"/>
                <a:pathLst>
                  <a:path w="17" h="16">
                    <a:moveTo>
                      <a:pt x="15" y="2"/>
                    </a:moveTo>
                    <a:lnTo>
                      <a:pt x="15" y="5"/>
                    </a:lnTo>
                    <a:lnTo>
                      <a:pt x="17" y="9"/>
                    </a:lnTo>
                    <a:lnTo>
                      <a:pt x="15" y="9"/>
                    </a:lnTo>
                    <a:lnTo>
                      <a:pt x="10" y="11"/>
                    </a:lnTo>
                    <a:lnTo>
                      <a:pt x="10" y="16"/>
                    </a:lnTo>
                    <a:lnTo>
                      <a:pt x="2" y="5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5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341" name="Bolivia"/>
              <p:cNvSpPr>
                <a:spLocks/>
              </p:cNvSpPr>
              <p:nvPr>
                <p:custDataLst>
                  <p:tags r:id="rId118"/>
                </p:custDataLst>
              </p:nvPr>
            </p:nvSpPr>
            <p:spPr bwMode="auto">
              <a:xfrm>
                <a:off x="2425269" y="4886581"/>
                <a:ext cx="327302" cy="423581"/>
              </a:xfrm>
              <a:custGeom>
                <a:avLst/>
                <a:gdLst>
                  <a:gd name="T0" fmla="*/ 0 w 59"/>
                  <a:gd name="T1" fmla="*/ 33441 h 76"/>
                  <a:gd name="T2" fmla="*/ 27737 w 59"/>
                  <a:gd name="T3" fmla="*/ 50161 h 76"/>
                  <a:gd name="T4" fmla="*/ 61022 w 59"/>
                  <a:gd name="T5" fmla="*/ 0 h 76"/>
                  <a:gd name="T6" fmla="*/ 105402 w 59"/>
                  <a:gd name="T7" fmla="*/ 0 h 76"/>
                  <a:gd name="T8" fmla="*/ 105402 w 59"/>
                  <a:gd name="T9" fmla="*/ 50161 h 76"/>
                  <a:gd name="T10" fmla="*/ 127592 w 59"/>
                  <a:gd name="T11" fmla="*/ 83602 h 76"/>
                  <a:gd name="T12" fmla="*/ 232995 w 59"/>
                  <a:gd name="T13" fmla="*/ 133762 h 76"/>
                  <a:gd name="T14" fmla="*/ 244090 w 59"/>
                  <a:gd name="T15" fmla="*/ 161630 h 76"/>
                  <a:gd name="T16" fmla="*/ 244090 w 59"/>
                  <a:gd name="T17" fmla="*/ 183923 h 76"/>
                  <a:gd name="T18" fmla="*/ 244090 w 59"/>
                  <a:gd name="T19" fmla="*/ 200644 h 76"/>
                  <a:gd name="T20" fmla="*/ 305112 w 59"/>
                  <a:gd name="T21" fmla="*/ 211791 h 76"/>
                  <a:gd name="T22" fmla="*/ 305112 w 59"/>
                  <a:gd name="T23" fmla="*/ 239658 h 76"/>
                  <a:gd name="T24" fmla="*/ 327302 w 59"/>
                  <a:gd name="T25" fmla="*/ 273098 h 76"/>
                  <a:gd name="T26" fmla="*/ 316207 w 59"/>
                  <a:gd name="T27" fmla="*/ 339979 h 76"/>
                  <a:gd name="T28" fmla="*/ 305112 w 59"/>
                  <a:gd name="T29" fmla="*/ 300965 h 76"/>
                  <a:gd name="T30" fmla="*/ 221900 w 59"/>
                  <a:gd name="T31" fmla="*/ 323259 h 76"/>
                  <a:gd name="T32" fmla="*/ 199710 w 59"/>
                  <a:gd name="T33" fmla="*/ 401287 h 76"/>
                  <a:gd name="T34" fmla="*/ 177520 w 59"/>
                  <a:gd name="T35" fmla="*/ 401287 h 76"/>
                  <a:gd name="T36" fmla="*/ 127592 w 59"/>
                  <a:gd name="T37" fmla="*/ 390140 h 76"/>
                  <a:gd name="T38" fmla="*/ 94307 w 59"/>
                  <a:gd name="T39" fmla="*/ 423581 h 76"/>
                  <a:gd name="T40" fmla="*/ 83212 w 59"/>
                  <a:gd name="T41" fmla="*/ 423581 h 76"/>
                  <a:gd name="T42" fmla="*/ 49927 w 59"/>
                  <a:gd name="T43" fmla="*/ 339979 h 76"/>
                  <a:gd name="T44" fmla="*/ 49927 w 59"/>
                  <a:gd name="T45" fmla="*/ 300965 h 76"/>
                  <a:gd name="T46" fmla="*/ 11095 w 59"/>
                  <a:gd name="T47" fmla="*/ 250805 h 76"/>
                  <a:gd name="T48" fmla="*/ 27737 w 59"/>
                  <a:gd name="T49" fmla="*/ 211791 h 76"/>
                  <a:gd name="T50" fmla="*/ 11095 w 59"/>
                  <a:gd name="T51" fmla="*/ 200644 h 76"/>
                  <a:gd name="T52" fmla="*/ 11095 w 59"/>
                  <a:gd name="T53" fmla="*/ 83602 h 76"/>
                  <a:gd name="T54" fmla="*/ 0 w 59"/>
                  <a:gd name="T55" fmla="*/ 61308 h 76"/>
                  <a:gd name="T56" fmla="*/ 0 w 59"/>
                  <a:gd name="T57" fmla="*/ 33441 h 7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59"/>
                  <a:gd name="T88" fmla="*/ 0 h 76"/>
                  <a:gd name="T89" fmla="*/ 59 w 59"/>
                  <a:gd name="T90" fmla="*/ 76 h 7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59" h="76">
                    <a:moveTo>
                      <a:pt x="0" y="6"/>
                    </a:moveTo>
                    <a:lnTo>
                      <a:pt x="5" y="9"/>
                    </a:lnTo>
                    <a:lnTo>
                      <a:pt x="11" y="0"/>
                    </a:lnTo>
                    <a:lnTo>
                      <a:pt x="19" y="0"/>
                    </a:lnTo>
                    <a:lnTo>
                      <a:pt x="19" y="9"/>
                    </a:lnTo>
                    <a:lnTo>
                      <a:pt x="23" y="15"/>
                    </a:lnTo>
                    <a:lnTo>
                      <a:pt x="42" y="24"/>
                    </a:lnTo>
                    <a:lnTo>
                      <a:pt x="44" y="29"/>
                    </a:lnTo>
                    <a:lnTo>
                      <a:pt x="44" y="33"/>
                    </a:lnTo>
                    <a:lnTo>
                      <a:pt x="44" y="36"/>
                    </a:lnTo>
                    <a:lnTo>
                      <a:pt x="55" y="38"/>
                    </a:lnTo>
                    <a:lnTo>
                      <a:pt x="55" y="43"/>
                    </a:lnTo>
                    <a:lnTo>
                      <a:pt x="59" y="49"/>
                    </a:lnTo>
                    <a:lnTo>
                      <a:pt x="57" y="61"/>
                    </a:lnTo>
                    <a:lnTo>
                      <a:pt x="55" y="54"/>
                    </a:lnTo>
                    <a:lnTo>
                      <a:pt x="40" y="58"/>
                    </a:lnTo>
                    <a:lnTo>
                      <a:pt x="36" y="72"/>
                    </a:lnTo>
                    <a:lnTo>
                      <a:pt x="32" y="72"/>
                    </a:lnTo>
                    <a:lnTo>
                      <a:pt x="23" y="70"/>
                    </a:lnTo>
                    <a:lnTo>
                      <a:pt x="17" y="76"/>
                    </a:lnTo>
                    <a:lnTo>
                      <a:pt x="15" y="76"/>
                    </a:lnTo>
                    <a:lnTo>
                      <a:pt x="9" y="61"/>
                    </a:lnTo>
                    <a:lnTo>
                      <a:pt x="9" y="54"/>
                    </a:lnTo>
                    <a:lnTo>
                      <a:pt x="2" y="45"/>
                    </a:lnTo>
                    <a:lnTo>
                      <a:pt x="5" y="38"/>
                    </a:lnTo>
                    <a:lnTo>
                      <a:pt x="2" y="36"/>
                    </a:lnTo>
                    <a:lnTo>
                      <a:pt x="2" y="15"/>
                    </a:lnTo>
                    <a:lnTo>
                      <a:pt x="0" y="11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778025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59" name="Bhutan"/>
              <p:cNvSpPr>
                <a:spLocks/>
              </p:cNvSpPr>
              <p:nvPr>
                <p:custDataLst>
                  <p:tags r:id="rId119"/>
                </p:custDataLst>
              </p:nvPr>
            </p:nvSpPr>
            <p:spPr bwMode="auto">
              <a:xfrm>
                <a:off x="6502755" y="3655000"/>
                <a:ext cx="82826" cy="50032"/>
              </a:xfrm>
              <a:custGeom>
                <a:avLst/>
                <a:gdLst/>
                <a:ahLst/>
                <a:cxnLst>
                  <a:cxn ang="0">
                    <a:pos x="12" y="5"/>
                  </a:cxn>
                  <a:cxn ang="0">
                    <a:pos x="4" y="0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4" y="9"/>
                  </a:cxn>
                  <a:cxn ang="0">
                    <a:pos x="15" y="9"/>
                  </a:cxn>
                  <a:cxn ang="0">
                    <a:pos x="15" y="7"/>
                  </a:cxn>
                  <a:cxn ang="0">
                    <a:pos x="12" y="7"/>
                  </a:cxn>
                  <a:cxn ang="0">
                    <a:pos x="12" y="5"/>
                  </a:cxn>
                </a:cxnLst>
                <a:rect l="0" t="0" r="r" b="b"/>
                <a:pathLst>
                  <a:path w="15" h="9">
                    <a:moveTo>
                      <a:pt x="12" y="5"/>
                    </a:moveTo>
                    <a:lnTo>
                      <a:pt x="4" y="0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15" y="9"/>
                    </a:lnTo>
                    <a:lnTo>
                      <a:pt x="15" y="7"/>
                    </a:lnTo>
                    <a:lnTo>
                      <a:pt x="12" y="7"/>
                    </a:lnTo>
                    <a:lnTo>
                      <a:pt x="12" y="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60" name="Benin"/>
              <p:cNvSpPr>
                <a:spLocks/>
              </p:cNvSpPr>
              <p:nvPr/>
            </p:nvSpPr>
            <p:spPr bwMode="auto">
              <a:xfrm>
                <a:off x="4242287" y="4167405"/>
                <a:ext cx="84552" cy="205308"/>
              </a:xfrm>
              <a:custGeom>
                <a:avLst/>
                <a:gdLst>
                  <a:gd name="T0" fmla="*/ 60 w 231"/>
                  <a:gd name="T1" fmla="*/ 469 h 474"/>
                  <a:gd name="T2" fmla="*/ 59 w 231"/>
                  <a:gd name="T3" fmla="*/ 445 h 474"/>
                  <a:gd name="T4" fmla="*/ 52 w 231"/>
                  <a:gd name="T5" fmla="*/ 413 h 474"/>
                  <a:gd name="T6" fmla="*/ 58 w 231"/>
                  <a:gd name="T7" fmla="*/ 393 h 474"/>
                  <a:gd name="T8" fmla="*/ 59 w 231"/>
                  <a:gd name="T9" fmla="*/ 348 h 474"/>
                  <a:gd name="T10" fmla="*/ 60 w 231"/>
                  <a:gd name="T11" fmla="*/ 301 h 474"/>
                  <a:gd name="T12" fmla="*/ 60 w 231"/>
                  <a:gd name="T13" fmla="*/ 262 h 474"/>
                  <a:gd name="T14" fmla="*/ 43 w 231"/>
                  <a:gd name="T15" fmla="*/ 222 h 474"/>
                  <a:gd name="T16" fmla="*/ 35 w 231"/>
                  <a:gd name="T17" fmla="*/ 179 h 474"/>
                  <a:gd name="T18" fmla="*/ 1 w 231"/>
                  <a:gd name="T19" fmla="*/ 153 h 474"/>
                  <a:gd name="T20" fmla="*/ 13 w 231"/>
                  <a:gd name="T21" fmla="*/ 107 h 474"/>
                  <a:gd name="T22" fmla="*/ 13 w 231"/>
                  <a:gd name="T23" fmla="*/ 107 h 474"/>
                  <a:gd name="T24" fmla="*/ 17 w 231"/>
                  <a:gd name="T25" fmla="*/ 102 h 474"/>
                  <a:gd name="T26" fmla="*/ 24 w 231"/>
                  <a:gd name="T27" fmla="*/ 97 h 474"/>
                  <a:gd name="T28" fmla="*/ 33 w 231"/>
                  <a:gd name="T29" fmla="*/ 87 h 474"/>
                  <a:gd name="T30" fmla="*/ 43 w 231"/>
                  <a:gd name="T31" fmla="*/ 85 h 474"/>
                  <a:gd name="T32" fmla="*/ 62 w 231"/>
                  <a:gd name="T33" fmla="*/ 76 h 474"/>
                  <a:gd name="T34" fmla="*/ 95 w 231"/>
                  <a:gd name="T35" fmla="*/ 75 h 474"/>
                  <a:gd name="T36" fmla="*/ 125 w 231"/>
                  <a:gd name="T37" fmla="*/ 41 h 474"/>
                  <a:gd name="T38" fmla="*/ 124 w 231"/>
                  <a:gd name="T39" fmla="*/ 39 h 474"/>
                  <a:gd name="T40" fmla="*/ 126 w 231"/>
                  <a:gd name="T41" fmla="*/ 28 h 474"/>
                  <a:gd name="T42" fmla="*/ 145 w 231"/>
                  <a:gd name="T43" fmla="*/ 10 h 474"/>
                  <a:gd name="T44" fmla="*/ 171 w 231"/>
                  <a:gd name="T45" fmla="*/ 15 h 474"/>
                  <a:gd name="T46" fmla="*/ 206 w 231"/>
                  <a:gd name="T47" fmla="*/ 47 h 474"/>
                  <a:gd name="T48" fmla="*/ 214 w 231"/>
                  <a:gd name="T49" fmla="*/ 55 h 474"/>
                  <a:gd name="T50" fmla="*/ 213 w 231"/>
                  <a:gd name="T51" fmla="*/ 57 h 474"/>
                  <a:gd name="T52" fmla="*/ 209 w 231"/>
                  <a:gd name="T53" fmla="*/ 85 h 474"/>
                  <a:gd name="T54" fmla="*/ 222 w 231"/>
                  <a:gd name="T55" fmla="*/ 123 h 474"/>
                  <a:gd name="T56" fmla="*/ 224 w 231"/>
                  <a:gd name="T57" fmla="*/ 153 h 474"/>
                  <a:gd name="T58" fmla="*/ 209 w 231"/>
                  <a:gd name="T59" fmla="*/ 164 h 474"/>
                  <a:gd name="T60" fmla="*/ 211 w 231"/>
                  <a:gd name="T61" fmla="*/ 183 h 474"/>
                  <a:gd name="T62" fmla="*/ 189 w 231"/>
                  <a:gd name="T63" fmla="*/ 202 h 474"/>
                  <a:gd name="T64" fmla="*/ 182 w 231"/>
                  <a:gd name="T65" fmla="*/ 217 h 474"/>
                  <a:gd name="T66" fmla="*/ 174 w 231"/>
                  <a:gd name="T67" fmla="*/ 243 h 474"/>
                  <a:gd name="T68" fmla="*/ 146 w 231"/>
                  <a:gd name="T69" fmla="*/ 262 h 474"/>
                  <a:gd name="T70" fmla="*/ 144 w 231"/>
                  <a:gd name="T71" fmla="*/ 297 h 474"/>
                  <a:gd name="T72" fmla="*/ 138 w 231"/>
                  <a:gd name="T73" fmla="*/ 341 h 474"/>
                  <a:gd name="T74" fmla="*/ 145 w 231"/>
                  <a:gd name="T75" fmla="*/ 375 h 474"/>
                  <a:gd name="T76" fmla="*/ 140 w 231"/>
                  <a:gd name="T77" fmla="*/ 414 h 474"/>
                  <a:gd name="T78" fmla="*/ 138 w 231"/>
                  <a:gd name="T79" fmla="*/ 463 h 474"/>
                  <a:gd name="T80" fmla="*/ 138 w 231"/>
                  <a:gd name="T81" fmla="*/ 464 h 474"/>
                  <a:gd name="T82" fmla="*/ 100 w 231"/>
                  <a:gd name="T83" fmla="*/ 467 h 474"/>
                  <a:gd name="T84" fmla="*/ 58 w 231"/>
                  <a:gd name="T85" fmla="*/ 474 h 474"/>
                  <a:gd name="T86" fmla="*/ 58 w 231"/>
                  <a:gd name="T87" fmla="*/ 473 h 474"/>
                  <a:gd name="T88" fmla="*/ 57 w 231"/>
                  <a:gd name="T89" fmla="*/ 470 h 474"/>
                  <a:gd name="T90" fmla="*/ 60 w 231"/>
                  <a:gd name="T91" fmla="*/ 469 h 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31" h="474">
                    <a:moveTo>
                      <a:pt x="60" y="469"/>
                    </a:moveTo>
                    <a:cubicBezTo>
                      <a:pt x="74" y="467"/>
                      <a:pt x="67" y="452"/>
                      <a:pt x="59" y="445"/>
                    </a:cubicBezTo>
                    <a:cubicBezTo>
                      <a:pt x="48" y="437"/>
                      <a:pt x="60" y="424"/>
                      <a:pt x="52" y="413"/>
                    </a:cubicBezTo>
                    <a:cubicBezTo>
                      <a:pt x="61" y="412"/>
                      <a:pt x="58" y="400"/>
                      <a:pt x="58" y="393"/>
                    </a:cubicBezTo>
                    <a:cubicBezTo>
                      <a:pt x="60" y="378"/>
                      <a:pt x="59" y="363"/>
                      <a:pt x="59" y="348"/>
                    </a:cubicBezTo>
                    <a:cubicBezTo>
                      <a:pt x="60" y="333"/>
                      <a:pt x="59" y="316"/>
                      <a:pt x="60" y="301"/>
                    </a:cubicBezTo>
                    <a:cubicBezTo>
                      <a:pt x="59" y="288"/>
                      <a:pt x="60" y="275"/>
                      <a:pt x="60" y="262"/>
                    </a:cubicBezTo>
                    <a:cubicBezTo>
                      <a:pt x="63" y="245"/>
                      <a:pt x="42" y="239"/>
                      <a:pt x="43" y="222"/>
                    </a:cubicBezTo>
                    <a:cubicBezTo>
                      <a:pt x="38" y="210"/>
                      <a:pt x="51" y="187"/>
                      <a:pt x="35" y="179"/>
                    </a:cubicBezTo>
                    <a:cubicBezTo>
                      <a:pt x="24" y="170"/>
                      <a:pt x="10" y="164"/>
                      <a:pt x="1" y="153"/>
                    </a:cubicBezTo>
                    <a:cubicBezTo>
                      <a:pt x="0" y="136"/>
                      <a:pt x="9" y="123"/>
                      <a:pt x="13" y="107"/>
                    </a:cubicBezTo>
                    <a:cubicBezTo>
                      <a:pt x="13" y="107"/>
                      <a:pt x="13" y="107"/>
                      <a:pt x="13" y="107"/>
                    </a:cubicBezTo>
                    <a:cubicBezTo>
                      <a:pt x="14" y="106"/>
                      <a:pt x="16" y="105"/>
                      <a:pt x="17" y="102"/>
                    </a:cubicBezTo>
                    <a:cubicBezTo>
                      <a:pt x="22" y="101"/>
                      <a:pt x="29" y="110"/>
                      <a:pt x="24" y="97"/>
                    </a:cubicBezTo>
                    <a:cubicBezTo>
                      <a:pt x="33" y="96"/>
                      <a:pt x="27" y="88"/>
                      <a:pt x="33" y="87"/>
                    </a:cubicBezTo>
                    <a:cubicBezTo>
                      <a:pt x="40" y="93"/>
                      <a:pt x="38" y="82"/>
                      <a:pt x="43" y="85"/>
                    </a:cubicBezTo>
                    <a:cubicBezTo>
                      <a:pt x="42" y="91"/>
                      <a:pt x="55" y="66"/>
                      <a:pt x="62" y="76"/>
                    </a:cubicBezTo>
                    <a:cubicBezTo>
                      <a:pt x="73" y="78"/>
                      <a:pt x="84" y="74"/>
                      <a:pt x="95" y="75"/>
                    </a:cubicBezTo>
                    <a:cubicBezTo>
                      <a:pt x="106" y="65"/>
                      <a:pt x="121" y="57"/>
                      <a:pt x="125" y="41"/>
                    </a:cubicBezTo>
                    <a:cubicBezTo>
                      <a:pt x="124" y="39"/>
                      <a:pt x="124" y="39"/>
                      <a:pt x="124" y="39"/>
                    </a:cubicBezTo>
                    <a:cubicBezTo>
                      <a:pt x="127" y="39"/>
                      <a:pt x="131" y="31"/>
                      <a:pt x="126" y="28"/>
                    </a:cubicBezTo>
                    <a:cubicBezTo>
                      <a:pt x="117" y="13"/>
                      <a:pt x="135" y="11"/>
                      <a:pt x="145" y="10"/>
                    </a:cubicBezTo>
                    <a:cubicBezTo>
                      <a:pt x="154" y="0"/>
                      <a:pt x="165" y="5"/>
                      <a:pt x="171" y="15"/>
                    </a:cubicBezTo>
                    <a:cubicBezTo>
                      <a:pt x="185" y="25"/>
                      <a:pt x="189" y="43"/>
                      <a:pt x="206" y="47"/>
                    </a:cubicBezTo>
                    <a:cubicBezTo>
                      <a:pt x="206" y="52"/>
                      <a:pt x="210" y="54"/>
                      <a:pt x="214" y="55"/>
                    </a:cubicBezTo>
                    <a:cubicBezTo>
                      <a:pt x="213" y="57"/>
                      <a:pt x="213" y="57"/>
                      <a:pt x="213" y="57"/>
                    </a:cubicBezTo>
                    <a:cubicBezTo>
                      <a:pt x="207" y="65"/>
                      <a:pt x="199" y="77"/>
                      <a:pt x="209" y="85"/>
                    </a:cubicBezTo>
                    <a:cubicBezTo>
                      <a:pt x="218" y="96"/>
                      <a:pt x="226" y="109"/>
                      <a:pt x="222" y="123"/>
                    </a:cubicBezTo>
                    <a:cubicBezTo>
                      <a:pt x="230" y="132"/>
                      <a:pt x="231" y="143"/>
                      <a:pt x="224" y="153"/>
                    </a:cubicBezTo>
                    <a:cubicBezTo>
                      <a:pt x="217" y="149"/>
                      <a:pt x="210" y="156"/>
                      <a:pt x="209" y="164"/>
                    </a:cubicBezTo>
                    <a:cubicBezTo>
                      <a:pt x="215" y="170"/>
                      <a:pt x="217" y="177"/>
                      <a:pt x="211" y="183"/>
                    </a:cubicBezTo>
                    <a:cubicBezTo>
                      <a:pt x="212" y="199"/>
                      <a:pt x="194" y="193"/>
                      <a:pt x="189" y="202"/>
                    </a:cubicBezTo>
                    <a:cubicBezTo>
                      <a:pt x="195" y="210"/>
                      <a:pt x="183" y="210"/>
                      <a:pt x="182" y="217"/>
                    </a:cubicBezTo>
                    <a:cubicBezTo>
                      <a:pt x="172" y="223"/>
                      <a:pt x="177" y="233"/>
                      <a:pt x="174" y="243"/>
                    </a:cubicBezTo>
                    <a:cubicBezTo>
                      <a:pt x="174" y="262"/>
                      <a:pt x="149" y="248"/>
                      <a:pt x="146" y="262"/>
                    </a:cubicBezTo>
                    <a:cubicBezTo>
                      <a:pt x="144" y="274"/>
                      <a:pt x="143" y="285"/>
                      <a:pt x="144" y="297"/>
                    </a:cubicBezTo>
                    <a:cubicBezTo>
                      <a:pt x="138" y="312"/>
                      <a:pt x="144" y="327"/>
                      <a:pt x="138" y="341"/>
                    </a:cubicBezTo>
                    <a:cubicBezTo>
                      <a:pt x="144" y="353"/>
                      <a:pt x="137" y="365"/>
                      <a:pt x="145" y="375"/>
                    </a:cubicBezTo>
                    <a:cubicBezTo>
                      <a:pt x="138" y="387"/>
                      <a:pt x="147" y="403"/>
                      <a:pt x="140" y="414"/>
                    </a:cubicBezTo>
                    <a:cubicBezTo>
                      <a:pt x="145" y="430"/>
                      <a:pt x="140" y="447"/>
                      <a:pt x="138" y="463"/>
                    </a:cubicBezTo>
                    <a:cubicBezTo>
                      <a:pt x="138" y="464"/>
                      <a:pt x="138" y="464"/>
                      <a:pt x="138" y="464"/>
                    </a:cubicBezTo>
                    <a:cubicBezTo>
                      <a:pt x="125" y="465"/>
                      <a:pt x="113" y="467"/>
                      <a:pt x="100" y="467"/>
                    </a:cubicBezTo>
                    <a:cubicBezTo>
                      <a:pt x="86" y="467"/>
                      <a:pt x="72" y="470"/>
                      <a:pt x="58" y="474"/>
                    </a:cubicBezTo>
                    <a:cubicBezTo>
                      <a:pt x="58" y="473"/>
                      <a:pt x="58" y="473"/>
                      <a:pt x="58" y="473"/>
                    </a:cubicBezTo>
                    <a:cubicBezTo>
                      <a:pt x="57" y="470"/>
                      <a:pt x="57" y="470"/>
                      <a:pt x="57" y="470"/>
                    </a:cubicBezTo>
                    <a:lnTo>
                      <a:pt x="60" y="469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61" name="Belize"/>
              <p:cNvSpPr>
                <a:spLocks/>
              </p:cNvSpPr>
              <p:nvPr>
                <p:custDataLst>
                  <p:tags r:id="rId120"/>
                </p:custDataLst>
              </p:nvPr>
            </p:nvSpPr>
            <p:spPr bwMode="auto">
              <a:xfrm rot="5400000">
                <a:off x="1912801" y="4012130"/>
                <a:ext cx="44857" cy="1035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2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34345" name="Belgium"/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auto">
              <a:xfrm>
                <a:off x="4339157" y="2924731"/>
                <a:ext cx="77665" cy="50161"/>
              </a:xfrm>
              <a:custGeom>
                <a:avLst/>
                <a:gdLst>
                  <a:gd name="T0" fmla="*/ 22190 w 14"/>
                  <a:gd name="T1" fmla="*/ 0 h 9"/>
                  <a:gd name="T2" fmla="*/ 44380 w 14"/>
                  <a:gd name="T3" fmla="*/ 0 h 9"/>
                  <a:gd name="T4" fmla="*/ 77665 w 14"/>
                  <a:gd name="T5" fmla="*/ 16720 h 9"/>
                  <a:gd name="T6" fmla="*/ 77665 w 14"/>
                  <a:gd name="T7" fmla="*/ 39014 h 9"/>
                  <a:gd name="T8" fmla="*/ 66570 w 14"/>
                  <a:gd name="T9" fmla="*/ 50161 h 9"/>
                  <a:gd name="T10" fmla="*/ 44380 w 14"/>
                  <a:gd name="T11" fmla="*/ 50161 h 9"/>
                  <a:gd name="T12" fmla="*/ 44380 w 14"/>
                  <a:gd name="T13" fmla="*/ 39014 h 9"/>
                  <a:gd name="T14" fmla="*/ 33285 w 14"/>
                  <a:gd name="T15" fmla="*/ 50161 h 9"/>
                  <a:gd name="T16" fmla="*/ 0 w 14"/>
                  <a:gd name="T17" fmla="*/ 16720 h 9"/>
                  <a:gd name="T18" fmla="*/ 11095 w 14"/>
                  <a:gd name="T19" fmla="*/ 16720 h 9"/>
                  <a:gd name="T20" fmla="*/ 22190 w 14"/>
                  <a:gd name="T21" fmla="*/ 0 h 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4"/>
                  <a:gd name="T34" fmla="*/ 0 h 9"/>
                  <a:gd name="T35" fmla="*/ 14 w 14"/>
                  <a:gd name="T36" fmla="*/ 9 h 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4" h="9">
                    <a:moveTo>
                      <a:pt x="4" y="0"/>
                    </a:moveTo>
                    <a:lnTo>
                      <a:pt x="8" y="0"/>
                    </a:lnTo>
                    <a:lnTo>
                      <a:pt x="14" y="3"/>
                    </a:lnTo>
                    <a:lnTo>
                      <a:pt x="14" y="7"/>
                    </a:lnTo>
                    <a:lnTo>
                      <a:pt x="12" y="9"/>
                    </a:lnTo>
                    <a:lnTo>
                      <a:pt x="8" y="9"/>
                    </a:lnTo>
                    <a:lnTo>
                      <a:pt x="8" y="7"/>
                    </a:lnTo>
                    <a:lnTo>
                      <a:pt x="6" y="9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63" name="Belarus"/>
              <p:cNvSpPr>
                <a:spLocks/>
              </p:cNvSpPr>
              <p:nvPr>
                <p:custDataLst>
                  <p:tags r:id="rId122"/>
                </p:custDataLst>
              </p:nvPr>
            </p:nvSpPr>
            <p:spPr bwMode="auto">
              <a:xfrm>
                <a:off x="4799640" y="2775111"/>
                <a:ext cx="200164" cy="150098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0" y="25"/>
                  </a:cxn>
                  <a:cxn ang="0">
                    <a:pos x="2" y="27"/>
                  </a:cxn>
                  <a:cxn ang="0">
                    <a:pos x="11" y="25"/>
                  </a:cxn>
                  <a:cxn ang="0">
                    <a:pos x="19" y="27"/>
                  </a:cxn>
                  <a:cxn ang="0">
                    <a:pos x="25" y="27"/>
                  </a:cxn>
                  <a:cxn ang="0">
                    <a:pos x="29" y="27"/>
                  </a:cxn>
                  <a:cxn ang="0">
                    <a:pos x="29" y="25"/>
                  </a:cxn>
                  <a:cxn ang="0">
                    <a:pos x="34" y="25"/>
                  </a:cxn>
                  <a:cxn ang="0">
                    <a:pos x="29" y="18"/>
                  </a:cxn>
                  <a:cxn ang="0">
                    <a:pos x="36" y="18"/>
                  </a:cxn>
                  <a:cxn ang="0">
                    <a:pos x="36" y="14"/>
                  </a:cxn>
                  <a:cxn ang="0">
                    <a:pos x="34" y="14"/>
                  </a:cxn>
                  <a:cxn ang="0">
                    <a:pos x="29" y="9"/>
                  </a:cxn>
                  <a:cxn ang="0">
                    <a:pos x="27" y="3"/>
                  </a:cxn>
                  <a:cxn ang="0">
                    <a:pos x="19" y="0"/>
                  </a:cxn>
                  <a:cxn ang="0">
                    <a:pos x="13" y="3"/>
                  </a:cxn>
                  <a:cxn ang="0">
                    <a:pos x="13" y="5"/>
                  </a:cxn>
                  <a:cxn ang="0">
                    <a:pos x="9" y="9"/>
                  </a:cxn>
                  <a:cxn ang="0">
                    <a:pos x="11" y="12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18"/>
                  </a:cxn>
                </a:cxnLst>
                <a:rect l="0" t="0" r="r" b="b"/>
                <a:pathLst>
                  <a:path w="36" h="27">
                    <a:moveTo>
                      <a:pt x="2" y="18"/>
                    </a:moveTo>
                    <a:lnTo>
                      <a:pt x="0" y="25"/>
                    </a:lnTo>
                    <a:lnTo>
                      <a:pt x="2" y="27"/>
                    </a:lnTo>
                    <a:lnTo>
                      <a:pt x="11" y="25"/>
                    </a:lnTo>
                    <a:lnTo>
                      <a:pt x="19" y="27"/>
                    </a:lnTo>
                    <a:lnTo>
                      <a:pt x="25" y="27"/>
                    </a:lnTo>
                    <a:lnTo>
                      <a:pt x="29" y="27"/>
                    </a:lnTo>
                    <a:lnTo>
                      <a:pt x="29" y="25"/>
                    </a:lnTo>
                    <a:lnTo>
                      <a:pt x="34" y="25"/>
                    </a:lnTo>
                    <a:lnTo>
                      <a:pt x="29" y="18"/>
                    </a:lnTo>
                    <a:lnTo>
                      <a:pt x="36" y="18"/>
                    </a:lnTo>
                    <a:lnTo>
                      <a:pt x="36" y="14"/>
                    </a:lnTo>
                    <a:lnTo>
                      <a:pt x="34" y="14"/>
                    </a:lnTo>
                    <a:lnTo>
                      <a:pt x="29" y="9"/>
                    </a:lnTo>
                    <a:lnTo>
                      <a:pt x="27" y="3"/>
                    </a:lnTo>
                    <a:lnTo>
                      <a:pt x="19" y="0"/>
                    </a:lnTo>
                    <a:lnTo>
                      <a:pt x="13" y="3"/>
                    </a:lnTo>
                    <a:lnTo>
                      <a:pt x="13" y="5"/>
                    </a:lnTo>
                    <a:lnTo>
                      <a:pt x="9" y="9"/>
                    </a:lnTo>
                    <a:lnTo>
                      <a:pt x="11" y="12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664" name="Barbados"/>
              <p:cNvGrpSpPr/>
              <p:nvPr/>
            </p:nvGrpSpPr>
            <p:grpSpPr>
              <a:xfrm>
                <a:off x="3239852" y="4451133"/>
                <a:ext cx="66570" cy="222546"/>
                <a:chOff x="3239852" y="4432044"/>
                <a:chExt cx="66570" cy="222546"/>
              </a:xfrm>
              <a:solidFill>
                <a:schemeClr val="accent3"/>
              </a:solidFill>
            </p:grpSpPr>
            <p:sp>
              <p:nvSpPr>
                <p:cNvPr id="708" name="Barbados"/>
                <p:cNvSpPr>
                  <a:spLocks/>
                </p:cNvSpPr>
                <p:nvPr/>
              </p:nvSpPr>
              <p:spPr bwMode="auto">
                <a:xfrm>
                  <a:off x="3239852" y="4432044"/>
                  <a:ext cx="44380" cy="11147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8" y="0"/>
                    </a:cxn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8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09" name="Barbados"/>
                <p:cNvSpPr>
                  <a:spLocks/>
                </p:cNvSpPr>
                <p:nvPr/>
              </p:nvSpPr>
              <p:spPr bwMode="auto">
                <a:xfrm>
                  <a:off x="3259514" y="4643443"/>
                  <a:ext cx="44380" cy="11147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8" y="0"/>
                    </a:cxn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8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10" name="Barbados"/>
                <p:cNvSpPr>
                  <a:spLocks/>
                </p:cNvSpPr>
                <p:nvPr/>
              </p:nvSpPr>
              <p:spPr bwMode="auto">
                <a:xfrm>
                  <a:off x="3262042" y="4556083"/>
                  <a:ext cx="44380" cy="11147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8" y="0"/>
                    </a:cxn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8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34348" name="Bangladesch"/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auto">
              <a:xfrm>
                <a:off x="6491587" y="3732879"/>
                <a:ext cx="127592" cy="161630"/>
              </a:xfrm>
              <a:custGeom>
                <a:avLst/>
                <a:gdLst>
                  <a:gd name="T0" fmla="*/ 11095 w 23"/>
                  <a:gd name="T1" fmla="*/ 61308 h 29"/>
                  <a:gd name="T2" fmla="*/ 0 w 23"/>
                  <a:gd name="T3" fmla="*/ 50161 h 29"/>
                  <a:gd name="T4" fmla="*/ 11095 w 23"/>
                  <a:gd name="T5" fmla="*/ 22294 h 29"/>
                  <a:gd name="T6" fmla="*/ 0 w 23"/>
                  <a:gd name="T7" fmla="*/ 11147 h 29"/>
                  <a:gd name="T8" fmla="*/ 0 w 23"/>
                  <a:gd name="T9" fmla="*/ 0 h 29"/>
                  <a:gd name="T10" fmla="*/ 11095 w 23"/>
                  <a:gd name="T11" fmla="*/ 0 h 29"/>
                  <a:gd name="T12" fmla="*/ 33285 w 23"/>
                  <a:gd name="T13" fmla="*/ 0 h 29"/>
                  <a:gd name="T14" fmla="*/ 44380 w 23"/>
                  <a:gd name="T15" fmla="*/ 22294 h 29"/>
                  <a:gd name="T16" fmla="*/ 116497 w 23"/>
                  <a:gd name="T17" fmla="*/ 22294 h 29"/>
                  <a:gd name="T18" fmla="*/ 77665 w 23"/>
                  <a:gd name="T19" fmla="*/ 61308 h 29"/>
                  <a:gd name="T20" fmla="*/ 77665 w 23"/>
                  <a:gd name="T21" fmla="*/ 72455 h 29"/>
                  <a:gd name="T22" fmla="*/ 116497 w 23"/>
                  <a:gd name="T23" fmla="*/ 100322 h 29"/>
                  <a:gd name="T24" fmla="*/ 116497 w 23"/>
                  <a:gd name="T25" fmla="*/ 72455 h 29"/>
                  <a:gd name="T26" fmla="*/ 127592 w 23"/>
                  <a:gd name="T27" fmla="*/ 122616 h 29"/>
                  <a:gd name="T28" fmla="*/ 127592 w 23"/>
                  <a:gd name="T29" fmla="*/ 161630 h 29"/>
                  <a:gd name="T30" fmla="*/ 94307 w 23"/>
                  <a:gd name="T31" fmla="*/ 111469 h 29"/>
                  <a:gd name="T32" fmla="*/ 77665 w 23"/>
                  <a:gd name="T33" fmla="*/ 150483 h 29"/>
                  <a:gd name="T34" fmla="*/ 33285 w 23"/>
                  <a:gd name="T35" fmla="*/ 150483 h 29"/>
                  <a:gd name="T36" fmla="*/ 22190 w 23"/>
                  <a:gd name="T37" fmla="*/ 111469 h 29"/>
                  <a:gd name="T38" fmla="*/ 11095 w 23"/>
                  <a:gd name="T39" fmla="*/ 61308 h 29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3"/>
                  <a:gd name="T61" fmla="*/ 0 h 29"/>
                  <a:gd name="T62" fmla="*/ 23 w 23"/>
                  <a:gd name="T63" fmla="*/ 29 h 29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3" h="29">
                    <a:moveTo>
                      <a:pt x="2" y="11"/>
                    </a:moveTo>
                    <a:lnTo>
                      <a:pt x="0" y="9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8" y="4"/>
                    </a:lnTo>
                    <a:lnTo>
                      <a:pt x="21" y="4"/>
                    </a:lnTo>
                    <a:lnTo>
                      <a:pt x="14" y="11"/>
                    </a:lnTo>
                    <a:lnTo>
                      <a:pt x="14" y="13"/>
                    </a:lnTo>
                    <a:lnTo>
                      <a:pt x="21" y="18"/>
                    </a:lnTo>
                    <a:lnTo>
                      <a:pt x="21" y="13"/>
                    </a:lnTo>
                    <a:lnTo>
                      <a:pt x="23" y="22"/>
                    </a:lnTo>
                    <a:lnTo>
                      <a:pt x="23" y="29"/>
                    </a:lnTo>
                    <a:lnTo>
                      <a:pt x="17" y="20"/>
                    </a:lnTo>
                    <a:lnTo>
                      <a:pt x="14" y="27"/>
                    </a:lnTo>
                    <a:lnTo>
                      <a:pt x="6" y="27"/>
                    </a:lnTo>
                    <a:lnTo>
                      <a:pt x="4" y="20"/>
                    </a:lnTo>
                    <a:lnTo>
                      <a:pt x="2" y="11"/>
                    </a:lnTo>
                    <a:close/>
                  </a:path>
                </a:pathLst>
              </a:custGeom>
              <a:solidFill>
                <a:srgbClr val="EE8B8B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66" name="Bahrain"/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auto">
              <a:xfrm>
                <a:off x="5531272" y="3744714"/>
                <a:ext cx="34511" cy="5003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4" y="0"/>
                  </a:cxn>
                  <a:cxn ang="0">
                    <a:pos x="6" y="0"/>
                  </a:cxn>
                  <a:cxn ang="0">
                    <a:pos x="6" y="7"/>
                  </a:cxn>
                  <a:cxn ang="0">
                    <a:pos x="4" y="9"/>
                  </a:cxn>
                  <a:cxn ang="0">
                    <a:pos x="2" y="7"/>
                  </a:cxn>
                  <a:cxn ang="0">
                    <a:pos x="0" y="2"/>
                  </a:cxn>
                </a:cxnLst>
                <a:rect l="0" t="0" r="r" b="b"/>
                <a:pathLst>
                  <a:path w="6" h="9">
                    <a:moveTo>
                      <a:pt x="0" y="2"/>
                    </a:moveTo>
                    <a:lnTo>
                      <a:pt x="4" y="0"/>
                    </a:lnTo>
                    <a:lnTo>
                      <a:pt x="6" y="0"/>
                    </a:lnTo>
                    <a:lnTo>
                      <a:pt x="6" y="7"/>
                    </a:lnTo>
                    <a:lnTo>
                      <a:pt x="4" y="9"/>
                    </a:lnTo>
                    <a:lnTo>
                      <a:pt x="2" y="7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667" name="Bahamas"/>
              <p:cNvGrpSpPr/>
              <p:nvPr/>
            </p:nvGrpSpPr>
            <p:grpSpPr>
              <a:xfrm>
                <a:off x="2231107" y="3716159"/>
                <a:ext cx="88761" cy="117043"/>
                <a:chOff x="2231107" y="3697070"/>
                <a:chExt cx="88761" cy="117043"/>
              </a:xfrm>
              <a:solidFill>
                <a:schemeClr val="accent3"/>
              </a:solidFill>
            </p:grpSpPr>
            <p:sp>
              <p:nvSpPr>
                <p:cNvPr id="699" name="Bahamas"/>
                <p:cNvSpPr>
                  <a:spLocks/>
                </p:cNvSpPr>
                <p:nvPr/>
              </p:nvSpPr>
              <p:spPr bwMode="auto">
                <a:xfrm>
                  <a:off x="2231107" y="3736084"/>
                  <a:ext cx="22190" cy="5016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5"/>
                    </a:cxn>
                    <a:cxn ang="0">
                      <a:pos x="4" y="9"/>
                    </a:cxn>
                    <a:cxn ang="0">
                      <a:pos x="4" y="5"/>
                    </a:cxn>
                    <a:cxn ang="0">
                      <a:pos x="4" y="2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9">
                      <a:moveTo>
                        <a:pt x="4" y="0"/>
                      </a:moveTo>
                      <a:lnTo>
                        <a:pt x="0" y="5"/>
                      </a:lnTo>
                      <a:lnTo>
                        <a:pt x="4" y="9"/>
                      </a:lnTo>
                      <a:lnTo>
                        <a:pt x="4" y="5"/>
                      </a:lnTo>
                      <a:lnTo>
                        <a:pt x="4" y="2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00" name="Bahamas"/>
                <p:cNvSpPr>
                  <a:spLocks noChangeShapeType="1"/>
                </p:cNvSpPr>
                <p:nvPr/>
              </p:nvSpPr>
              <p:spPr bwMode="auto">
                <a:xfrm>
                  <a:off x="2231107" y="3697070"/>
                  <a:ext cx="33285" cy="27867"/>
                </a:xfrm>
                <a:prstGeom prst="line">
                  <a:avLst/>
                </a:pr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01" name="Bahamas"/>
                <p:cNvSpPr>
                  <a:spLocks noChangeShapeType="1"/>
                </p:cNvSpPr>
                <p:nvPr/>
              </p:nvSpPr>
              <p:spPr bwMode="auto">
                <a:xfrm>
                  <a:off x="2264392" y="3697070"/>
                  <a:ext cx="22190" cy="27867"/>
                </a:xfrm>
                <a:prstGeom prst="line">
                  <a:avLst/>
                </a:pr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02" name="Bahamas"/>
                <p:cNvSpPr>
                  <a:spLocks noChangeShapeType="1"/>
                </p:cNvSpPr>
                <p:nvPr/>
              </p:nvSpPr>
              <p:spPr bwMode="auto">
                <a:xfrm>
                  <a:off x="2286582" y="3724937"/>
                  <a:ext cx="5548" cy="11147"/>
                </a:xfrm>
                <a:prstGeom prst="line">
                  <a:avLst/>
                </a:pr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03" name="Bahamas"/>
                <p:cNvSpPr>
                  <a:spLocks noChangeShapeType="1"/>
                </p:cNvSpPr>
                <p:nvPr/>
              </p:nvSpPr>
              <p:spPr bwMode="auto">
                <a:xfrm>
                  <a:off x="2286582" y="3747230"/>
                  <a:ext cx="11095" cy="5574"/>
                </a:xfrm>
                <a:prstGeom prst="line">
                  <a:avLst/>
                </a:pr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04" name="Bahamas"/>
                <p:cNvSpPr>
                  <a:spLocks noChangeShapeType="1"/>
                </p:cNvSpPr>
                <p:nvPr/>
              </p:nvSpPr>
              <p:spPr bwMode="auto">
                <a:xfrm>
                  <a:off x="2297676" y="3747230"/>
                  <a:ext cx="5548" cy="27867"/>
                </a:xfrm>
                <a:prstGeom prst="line">
                  <a:avLst/>
                </a:pr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05" name="Bahamas"/>
                <p:cNvSpPr>
                  <a:spLocks noChangeShapeType="1"/>
                </p:cNvSpPr>
                <p:nvPr/>
              </p:nvSpPr>
              <p:spPr bwMode="auto">
                <a:xfrm>
                  <a:off x="2314320" y="3775098"/>
                  <a:ext cx="5548" cy="11147"/>
                </a:xfrm>
                <a:prstGeom prst="line">
                  <a:avLst/>
                </a:pr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06" name="Bahamas"/>
                <p:cNvSpPr>
                  <a:spLocks/>
                </p:cNvSpPr>
                <p:nvPr/>
              </p:nvSpPr>
              <p:spPr bwMode="auto">
                <a:xfrm>
                  <a:off x="2264392" y="3763952"/>
                  <a:ext cx="22190" cy="5016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5"/>
                    </a:cxn>
                    <a:cxn ang="0">
                      <a:pos x="4" y="9"/>
                    </a:cxn>
                    <a:cxn ang="0">
                      <a:pos x="4" y="5"/>
                    </a:cxn>
                    <a:cxn ang="0">
                      <a:pos x="4" y="2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9">
                      <a:moveTo>
                        <a:pt x="4" y="0"/>
                      </a:moveTo>
                      <a:lnTo>
                        <a:pt x="0" y="5"/>
                      </a:lnTo>
                      <a:lnTo>
                        <a:pt x="4" y="9"/>
                      </a:lnTo>
                      <a:lnTo>
                        <a:pt x="4" y="5"/>
                      </a:lnTo>
                      <a:lnTo>
                        <a:pt x="4" y="2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07" name="Bahamas"/>
                <p:cNvSpPr>
                  <a:spLocks/>
                </p:cNvSpPr>
                <p:nvPr/>
              </p:nvSpPr>
              <p:spPr bwMode="auto">
                <a:xfrm>
                  <a:off x="2253297" y="3750016"/>
                  <a:ext cx="22190" cy="5016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5"/>
                    </a:cxn>
                    <a:cxn ang="0">
                      <a:pos x="4" y="9"/>
                    </a:cxn>
                    <a:cxn ang="0">
                      <a:pos x="4" y="5"/>
                    </a:cxn>
                    <a:cxn ang="0">
                      <a:pos x="4" y="2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9">
                      <a:moveTo>
                        <a:pt x="4" y="0"/>
                      </a:moveTo>
                      <a:lnTo>
                        <a:pt x="0" y="5"/>
                      </a:lnTo>
                      <a:lnTo>
                        <a:pt x="4" y="9"/>
                      </a:lnTo>
                      <a:lnTo>
                        <a:pt x="4" y="5"/>
                      </a:lnTo>
                      <a:lnTo>
                        <a:pt x="4" y="2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668" name="Azerbaijan"/>
              <p:cNvSpPr>
                <a:spLocks/>
              </p:cNvSpPr>
              <p:nvPr>
                <p:custDataLst>
                  <p:tags r:id="rId125"/>
                </p:custDataLst>
              </p:nvPr>
            </p:nvSpPr>
            <p:spPr bwMode="auto">
              <a:xfrm>
                <a:off x="5343187" y="3225406"/>
                <a:ext cx="127691" cy="100066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7" y="5"/>
                  </a:cxn>
                  <a:cxn ang="0">
                    <a:pos x="23" y="7"/>
                  </a:cxn>
                  <a:cxn ang="0">
                    <a:pos x="21" y="9"/>
                  </a:cxn>
                  <a:cxn ang="0">
                    <a:pos x="21" y="16"/>
                  </a:cxn>
                  <a:cxn ang="0">
                    <a:pos x="17" y="16"/>
                  </a:cxn>
                  <a:cxn ang="0">
                    <a:pos x="21" y="18"/>
                  </a:cxn>
                  <a:cxn ang="0">
                    <a:pos x="15" y="16"/>
                  </a:cxn>
                  <a:cxn ang="0">
                    <a:pos x="15" y="14"/>
                  </a:cxn>
                  <a:cxn ang="0">
                    <a:pos x="9" y="16"/>
                  </a:cxn>
                  <a:cxn ang="0">
                    <a:pos x="7" y="9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0" y="5"/>
                  </a:cxn>
                  <a:cxn ang="0">
                    <a:pos x="0" y="0"/>
                  </a:cxn>
                  <a:cxn ang="0">
                    <a:pos x="7" y="0"/>
                  </a:cxn>
                  <a:cxn ang="0">
                    <a:pos x="9" y="5"/>
                  </a:cxn>
                  <a:cxn ang="0">
                    <a:pos x="11" y="5"/>
                  </a:cxn>
                  <a:cxn ang="0">
                    <a:pos x="13" y="3"/>
                  </a:cxn>
                  <a:cxn ang="0">
                    <a:pos x="15" y="0"/>
                  </a:cxn>
                </a:cxnLst>
                <a:rect l="0" t="0" r="r" b="b"/>
                <a:pathLst>
                  <a:path w="23" h="18">
                    <a:moveTo>
                      <a:pt x="15" y="0"/>
                    </a:moveTo>
                    <a:lnTo>
                      <a:pt x="17" y="5"/>
                    </a:lnTo>
                    <a:lnTo>
                      <a:pt x="23" y="7"/>
                    </a:lnTo>
                    <a:lnTo>
                      <a:pt x="21" y="9"/>
                    </a:lnTo>
                    <a:lnTo>
                      <a:pt x="21" y="16"/>
                    </a:lnTo>
                    <a:lnTo>
                      <a:pt x="17" y="16"/>
                    </a:lnTo>
                    <a:lnTo>
                      <a:pt x="21" y="18"/>
                    </a:lnTo>
                    <a:lnTo>
                      <a:pt x="15" y="16"/>
                    </a:lnTo>
                    <a:lnTo>
                      <a:pt x="15" y="14"/>
                    </a:lnTo>
                    <a:lnTo>
                      <a:pt x="9" y="16"/>
                    </a:lnTo>
                    <a:lnTo>
                      <a:pt x="7" y="9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9" y="5"/>
                    </a:lnTo>
                    <a:lnTo>
                      <a:pt x="11" y="5"/>
                    </a:lnTo>
                    <a:lnTo>
                      <a:pt x="13" y="3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69" name="Austria"/>
              <p:cNvSpPr>
                <a:spLocks/>
              </p:cNvSpPr>
              <p:nvPr>
                <p:custDataLst>
                  <p:tags r:id="rId126"/>
                </p:custDataLst>
              </p:nvPr>
            </p:nvSpPr>
            <p:spPr bwMode="auto">
              <a:xfrm>
                <a:off x="4499394" y="2990769"/>
                <a:ext cx="172555" cy="84539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0" y="13"/>
                  </a:cxn>
                  <a:cxn ang="0">
                    <a:pos x="2" y="13"/>
                  </a:cxn>
                  <a:cxn ang="0">
                    <a:pos x="8" y="13"/>
                  </a:cxn>
                  <a:cxn ang="0">
                    <a:pos x="10" y="13"/>
                  </a:cxn>
                  <a:cxn ang="0">
                    <a:pos x="17" y="15"/>
                  </a:cxn>
                  <a:cxn ang="0">
                    <a:pos x="25" y="13"/>
                  </a:cxn>
                  <a:cxn ang="0">
                    <a:pos x="31" y="6"/>
                  </a:cxn>
                  <a:cxn ang="0">
                    <a:pos x="27" y="4"/>
                  </a:cxn>
                  <a:cxn ang="0">
                    <a:pos x="23" y="0"/>
                  </a:cxn>
                  <a:cxn ang="0">
                    <a:pos x="19" y="4"/>
                  </a:cxn>
                  <a:cxn ang="0">
                    <a:pos x="17" y="4"/>
                  </a:cxn>
                  <a:cxn ang="0">
                    <a:pos x="10" y="6"/>
                  </a:cxn>
                  <a:cxn ang="0">
                    <a:pos x="15" y="9"/>
                  </a:cxn>
                  <a:cxn ang="0">
                    <a:pos x="6" y="9"/>
                  </a:cxn>
                  <a:cxn ang="0">
                    <a:pos x="0" y="9"/>
                  </a:cxn>
                </a:cxnLst>
                <a:rect l="0" t="0" r="r" b="b"/>
                <a:pathLst>
                  <a:path w="31" h="15">
                    <a:moveTo>
                      <a:pt x="0" y="9"/>
                    </a:moveTo>
                    <a:lnTo>
                      <a:pt x="0" y="13"/>
                    </a:lnTo>
                    <a:lnTo>
                      <a:pt x="2" y="13"/>
                    </a:lnTo>
                    <a:lnTo>
                      <a:pt x="8" y="13"/>
                    </a:lnTo>
                    <a:lnTo>
                      <a:pt x="10" y="13"/>
                    </a:lnTo>
                    <a:lnTo>
                      <a:pt x="17" y="15"/>
                    </a:lnTo>
                    <a:lnTo>
                      <a:pt x="25" y="13"/>
                    </a:lnTo>
                    <a:lnTo>
                      <a:pt x="31" y="6"/>
                    </a:lnTo>
                    <a:lnTo>
                      <a:pt x="27" y="4"/>
                    </a:lnTo>
                    <a:lnTo>
                      <a:pt x="23" y="0"/>
                    </a:lnTo>
                    <a:lnTo>
                      <a:pt x="19" y="4"/>
                    </a:lnTo>
                    <a:lnTo>
                      <a:pt x="17" y="4"/>
                    </a:lnTo>
                    <a:lnTo>
                      <a:pt x="10" y="6"/>
                    </a:lnTo>
                    <a:lnTo>
                      <a:pt x="15" y="9"/>
                    </a:lnTo>
                    <a:lnTo>
                      <a:pt x="6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670" name="Australia"/>
              <p:cNvGrpSpPr/>
              <p:nvPr/>
            </p:nvGrpSpPr>
            <p:grpSpPr>
              <a:xfrm>
                <a:off x="7118455" y="4797406"/>
                <a:ext cx="1577472" cy="1181568"/>
                <a:chOff x="7118455" y="4778317"/>
                <a:chExt cx="1577472" cy="1181568"/>
              </a:xfrm>
              <a:solidFill>
                <a:srgbClr val="EE8B8B"/>
              </a:solidFill>
            </p:grpSpPr>
            <p:sp>
              <p:nvSpPr>
                <p:cNvPr id="684" name="Australia"/>
                <p:cNvSpPr>
                  <a:spLocks noChangeShapeType="1"/>
                </p:cNvSpPr>
                <p:nvPr/>
              </p:nvSpPr>
              <p:spPr bwMode="auto">
                <a:xfrm>
                  <a:off x="8333357" y="4778317"/>
                  <a:ext cx="33285" cy="22294"/>
                </a:xfrm>
                <a:prstGeom prst="line">
                  <a:avLst/>
                </a:pr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85" name="Australia"/>
                <p:cNvSpPr>
                  <a:spLocks noChangeShapeType="1"/>
                </p:cNvSpPr>
                <p:nvPr/>
              </p:nvSpPr>
              <p:spPr bwMode="auto">
                <a:xfrm>
                  <a:off x="8366642" y="4828477"/>
                  <a:ext cx="5548" cy="11147"/>
                </a:xfrm>
                <a:prstGeom prst="line">
                  <a:avLst/>
                </a:pr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86" name="Australia"/>
                <p:cNvSpPr>
                  <a:spLocks noChangeShapeType="1"/>
                </p:cNvSpPr>
                <p:nvPr/>
              </p:nvSpPr>
              <p:spPr bwMode="auto">
                <a:xfrm>
                  <a:off x="8388832" y="4800611"/>
                  <a:ext cx="33285" cy="39014"/>
                </a:xfrm>
                <a:prstGeom prst="line">
                  <a:avLst/>
                </a:pr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87" name="Australia"/>
                <p:cNvSpPr>
                  <a:spLocks noChangeShapeType="1"/>
                </p:cNvSpPr>
                <p:nvPr/>
              </p:nvSpPr>
              <p:spPr bwMode="auto">
                <a:xfrm>
                  <a:off x="8433212" y="4839625"/>
                  <a:ext cx="27737" cy="39014"/>
                </a:xfrm>
                <a:prstGeom prst="line">
                  <a:avLst/>
                </a:pr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88" name="Australia"/>
                <p:cNvSpPr>
                  <a:spLocks/>
                </p:cNvSpPr>
                <p:nvPr/>
              </p:nvSpPr>
              <p:spPr bwMode="auto">
                <a:xfrm>
                  <a:off x="8411022" y="4839625"/>
                  <a:ext cx="22190" cy="3901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4" y="7"/>
                    </a:cxn>
                    <a:cxn ang="0">
                      <a:pos x="4" y="5"/>
                    </a:cxn>
                    <a:cxn ang="0">
                      <a:pos x="2" y="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" h="7">
                      <a:moveTo>
                        <a:pt x="0" y="0"/>
                      </a:moveTo>
                      <a:lnTo>
                        <a:pt x="0" y="5"/>
                      </a:lnTo>
                      <a:lnTo>
                        <a:pt x="4" y="7"/>
                      </a:lnTo>
                      <a:lnTo>
                        <a:pt x="4" y="5"/>
                      </a:lnTo>
                      <a:lnTo>
                        <a:pt x="2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89" name="Australia"/>
                <p:cNvSpPr>
                  <a:spLocks/>
                </p:cNvSpPr>
                <p:nvPr/>
              </p:nvSpPr>
              <p:spPr bwMode="auto">
                <a:xfrm>
                  <a:off x="8460949" y="4878638"/>
                  <a:ext cx="22190" cy="2229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" y="4"/>
                    </a:cxn>
                    <a:cxn ang="0">
                      <a:pos x="4" y="4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" h="4">
                      <a:moveTo>
                        <a:pt x="0" y="0"/>
                      </a:move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90" name="Australia"/>
                <p:cNvSpPr>
                  <a:spLocks noChangeShapeType="1"/>
                </p:cNvSpPr>
                <p:nvPr/>
              </p:nvSpPr>
              <p:spPr bwMode="auto">
                <a:xfrm flipV="1">
                  <a:off x="8571899" y="5040269"/>
                  <a:ext cx="5548" cy="27867"/>
                </a:xfrm>
                <a:prstGeom prst="line">
                  <a:avLst/>
                </a:pr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91" name="Australia"/>
                <p:cNvSpPr>
                  <a:spLocks/>
                </p:cNvSpPr>
                <p:nvPr/>
              </p:nvSpPr>
              <p:spPr bwMode="auto">
                <a:xfrm>
                  <a:off x="8571899" y="5068135"/>
                  <a:ext cx="27737" cy="1114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3" y="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92" name="New Caledonie"/>
                <p:cNvSpPr>
                  <a:spLocks/>
                </p:cNvSpPr>
                <p:nvPr/>
              </p:nvSpPr>
              <p:spPr bwMode="auto">
                <a:xfrm>
                  <a:off x="8472045" y="5207471"/>
                  <a:ext cx="55475" cy="6130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" y="6"/>
                    </a:cxn>
                    <a:cxn ang="0">
                      <a:pos x="8" y="11"/>
                    </a:cxn>
                    <a:cxn ang="0">
                      <a:pos x="10" y="11"/>
                    </a:cxn>
                    <a:cxn ang="0">
                      <a:pos x="6" y="2"/>
                    </a:cxn>
                    <a:cxn ang="0">
                      <a:pos x="2" y="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" h="11">
                      <a:moveTo>
                        <a:pt x="0" y="0"/>
                      </a:moveTo>
                      <a:lnTo>
                        <a:pt x="2" y="6"/>
                      </a:lnTo>
                      <a:lnTo>
                        <a:pt x="8" y="11"/>
                      </a:lnTo>
                      <a:lnTo>
                        <a:pt x="10" y="11"/>
                      </a:lnTo>
                      <a:lnTo>
                        <a:pt x="6" y="2"/>
                      </a:lnTo>
                      <a:lnTo>
                        <a:pt x="2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93" name="Timor-Leste"/>
                <p:cNvSpPr>
                  <a:spLocks/>
                </p:cNvSpPr>
                <p:nvPr/>
              </p:nvSpPr>
              <p:spPr bwMode="auto">
                <a:xfrm>
                  <a:off x="7634372" y="4917653"/>
                  <a:ext cx="38833" cy="33441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3" y="6"/>
                    </a:cxn>
                    <a:cxn ang="0">
                      <a:pos x="7" y="2"/>
                    </a:cxn>
                    <a:cxn ang="0">
                      <a:pos x="7" y="0"/>
                    </a:cxn>
                    <a:cxn ang="0">
                      <a:pos x="0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7" h="6">
                      <a:moveTo>
                        <a:pt x="0" y="2"/>
                      </a:moveTo>
                      <a:lnTo>
                        <a:pt x="3" y="6"/>
                      </a:ln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94" name="Tasmania"/>
                <p:cNvSpPr>
                  <a:spLocks/>
                </p:cNvSpPr>
                <p:nvPr/>
              </p:nvSpPr>
              <p:spPr bwMode="auto">
                <a:xfrm>
                  <a:off x="7728680" y="5870710"/>
                  <a:ext cx="94308" cy="89175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11"/>
                    </a:cxn>
                    <a:cxn ang="0">
                      <a:pos x="0" y="16"/>
                    </a:cxn>
                    <a:cxn ang="0">
                      <a:pos x="4" y="16"/>
                    </a:cxn>
                    <a:cxn ang="0">
                      <a:pos x="8" y="11"/>
                    </a:cxn>
                    <a:cxn ang="0">
                      <a:pos x="17" y="0"/>
                    </a:cxn>
                    <a:cxn ang="0">
                      <a:pos x="8" y="2"/>
                    </a:cxn>
                    <a:cxn ang="0">
                      <a:pos x="6" y="2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17" h="16">
                      <a:moveTo>
                        <a:pt x="4" y="0"/>
                      </a:moveTo>
                      <a:lnTo>
                        <a:pt x="0" y="11"/>
                      </a:lnTo>
                      <a:lnTo>
                        <a:pt x="0" y="16"/>
                      </a:lnTo>
                      <a:lnTo>
                        <a:pt x="4" y="16"/>
                      </a:lnTo>
                      <a:lnTo>
                        <a:pt x="8" y="11"/>
                      </a:lnTo>
                      <a:lnTo>
                        <a:pt x="17" y="0"/>
                      </a:lnTo>
                      <a:lnTo>
                        <a:pt x="8" y="2"/>
                      </a:lnTo>
                      <a:lnTo>
                        <a:pt x="6" y="2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95" name="Samoa"/>
                <p:cNvSpPr>
                  <a:spLocks/>
                </p:cNvSpPr>
                <p:nvPr/>
              </p:nvSpPr>
              <p:spPr bwMode="auto">
                <a:xfrm>
                  <a:off x="8640452" y="4810119"/>
                  <a:ext cx="16176" cy="18359"/>
                </a:xfrm>
                <a:custGeom>
                  <a:avLst/>
                  <a:gdLst>
                    <a:gd name="T0" fmla="*/ 37 w 43"/>
                    <a:gd name="T1" fmla="*/ 22 h 43"/>
                    <a:gd name="T2" fmla="*/ 41 w 43"/>
                    <a:gd name="T3" fmla="*/ 28 h 43"/>
                    <a:gd name="T4" fmla="*/ 37 w 43"/>
                    <a:gd name="T5" fmla="*/ 35 h 43"/>
                    <a:gd name="T6" fmla="*/ 34 w 43"/>
                    <a:gd name="T7" fmla="*/ 42 h 43"/>
                    <a:gd name="T8" fmla="*/ 23 w 43"/>
                    <a:gd name="T9" fmla="*/ 43 h 43"/>
                    <a:gd name="T10" fmla="*/ 16 w 43"/>
                    <a:gd name="T11" fmla="*/ 40 h 43"/>
                    <a:gd name="T12" fmla="*/ 10 w 43"/>
                    <a:gd name="T13" fmla="*/ 36 h 43"/>
                    <a:gd name="T14" fmla="*/ 5 w 43"/>
                    <a:gd name="T15" fmla="*/ 31 h 43"/>
                    <a:gd name="T16" fmla="*/ 4 w 43"/>
                    <a:gd name="T17" fmla="*/ 24 h 43"/>
                    <a:gd name="T18" fmla="*/ 1 w 43"/>
                    <a:gd name="T19" fmla="*/ 17 h 43"/>
                    <a:gd name="T20" fmla="*/ 4 w 43"/>
                    <a:gd name="T21" fmla="*/ 11 h 43"/>
                    <a:gd name="T22" fmla="*/ 8 w 43"/>
                    <a:gd name="T23" fmla="*/ 5 h 43"/>
                    <a:gd name="T24" fmla="*/ 13 w 43"/>
                    <a:gd name="T25" fmla="*/ 3 h 43"/>
                    <a:gd name="T26" fmla="*/ 21 w 43"/>
                    <a:gd name="T27" fmla="*/ 3 h 43"/>
                    <a:gd name="T28" fmla="*/ 27 w 43"/>
                    <a:gd name="T29" fmla="*/ 4 h 43"/>
                    <a:gd name="T30" fmla="*/ 33 w 43"/>
                    <a:gd name="T31" fmla="*/ 7 h 43"/>
                    <a:gd name="T32" fmla="*/ 34 w 43"/>
                    <a:gd name="T33" fmla="*/ 14 h 43"/>
                    <a:gd name="T34" fmla="*/ 35 w 43"/>
                    <a:gd name="T35" fmla="*/ 15 h 43"/>
                    <a:gd name="T36" fmla="*/ 37 w 43"/>
                    <a:gd name="T37" fmla="*/ 22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3" h="43">
                      <a:moveTo>
                        <a:pt x="37" y="22"/>
                      </a:moveTo>
                      <a:cubicBezTo>
                        <a:pt x="38" y="24"/>
                        <a:pt x="43" y="24"/>
                        <a:pt x="41" y="28"/>
                      </a:cubicBezTo>
                      <a:cubicBezTo>
                        <a:pt x="40" y="30"/>
                        <a:pt x="38" y="33"/>
                        <a:pt x="37" y="35"/>
                      </a:cubicBezTo>
                      <a:cubicBezTo>
                        <a:pt x="37" y="37"/>
                        <a:pt x="38" y="41"/>
                        <a:pt x="34" y="42"/>
                      </a:cubicBezTo>
                      <a:cubicBezTo>
                        <a:pt x="31" y="42"/>
                        <a:pt x="27" y="43"/>
                        <a:pt x="23" y="43"/>
                      </a:cubicBezTo>
                      <a:cubicBezTo>
                        <a:pt x="21" y="42"/>
                        <a:pt x="18" y="43"/>
                        <a:pt x="16" y="40"/>
                      </a:cubicBezTo>
                      <a:cubicBezTo>
                        <a:pt x="14" y="38"/>
                        <a:pt x="11" y="38"/>
                        <a:pt x="10" y="36"/>
                      </a:cubicBezTo>
                      <a:cubicBezTo>
                        <a:pt x="8" y="34"/>
                        <a:pt x="5" y="34"/>
                        <a:pt x="5" y="31"/>
                      </a:cubicBezTo>
                      <a:cubicBezTo>
                        <a:pt x="3" y="29"/>
                        <a:pt x="3" y="27"/>
                        <a:pt x="4" y="24"/>
                      </a:cubicBezTo>
                      <a:cubicBezTo>
                        <a:pt x="4" y="22"/>
                        <a:pt x="2" y="19"/>
                        <a:pt x="1" y="17"/>
                      </a:cubicBezTo>
                      <a:cubicBezTo>
                        <a:pt x="0" y="15"/>
                        <a:pt x="1" y="12"/>
                        <a:pt x="4" y="11"/>
                      </a:cubicBezTo>
                      <a:cubicBezTo>
                        <a:pt x="7" y="10"/>
                        <a:pt x="6" y="6"/>
                        <a:pt x="8" y="5"/>
                      </a:cubicBezTo>
                      <a:cubicBezTo>
                        <a:pt x="10" y="5"/>
                        <a:pt x="12" y="4"/>
                        <a:pt x="13" y="3"/>
                      </a:cubicBezTo>
                      <a:cubicBezTo>
                        <a:pt x="16" y="2"/>
                        <a:pt x="19" y="0"/>
                        <a:pt x="21" y="3"/>
                      </a:cubicBezTo>
                      <a:cubicBezTo>
                        <a:pt x="23" y="4"/>
                        <a:pt x="25" y="3"/>
                        <a:pt x="27" y="4"/>
                      </a:cubicBezTo>
                      <a:cubicBezTo>
                        <a:pt x="29" y="5"/>
                        <a:pt x="31" y="6"/>
                        <a:pt x="33" y="7"/>
                      </a:cubicBezTo>
                      <a:cubicBezTo>
                        <a:pt x="35" y="9"/>
                        <a:pt x="34" y="12"/>
                        <a:pt x="34" y="14"/>
                      </a:cubicBezTo>
                      <a:cubicBezTo>
                        <a:pt x="34" y="14"/>
                        <a:pt x="35" y="14"/>
                        <a:pt x="35" y="15"/>
                      </a:cubicBezTo>
                      <a:cubicBezTo>
                        <a:pt x="35" y="17"/>
                        <a:pt x="36" y="20"/>
                        <a:pt x="37" y="22"/>
                      </a:cubicBez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96" name="Fiji"/>
                <p:cNvSpPr>
                  <a:spLocks/>
                </p:cNvSpPr>
                <p:nvPr/>
              </p:nvSpPr>
              <p:spPr bwMode="auto">
                <a:xfrm>
                  <a:off x="8640452" y="4974790"/>
                  <a:ext cx="55475" cy="6130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" y="6"/>
                    </a:cxn>
                    <a:cxn ang="0">
                      <a:pos x="8" y="11"/>
                    </a:cxn>
                    <a:cxn ang="0">
                      <a:pos x="10" y="11"/>
                    </a:cxn>
                    <a:cxn ang="0">
                      <a:pos x="6" y="2"/>
                    </a:cxn>
                    <a:cxn ang="0">
                      <a:pos x="2" y="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" h="11">
                      <a:moveTo>
                        <a:pt x="0" y="0"/>
                      </a:moveTo>
                      <a:lnTo>
                        <a:pt x="2" y="6"/>
                      </a:lnTo>
                      <a:lnTo>
                        <a:pt x="8" y="11"/>
                      </a:lnTo>
                      <a:lnTo>
                        <a:pt x="10" y="11"/>
                      </a:lnTo>
                      <a:lnTo>
                        <a:pt x="6" y="2"/>
                      </a:lnTo>
                      <a:lnTo>
                        <a:pt x="2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97" name="Australia"/>
                <p:cNvSpPr>
                  <a:spLocks/>
                </p:cNvSpPr>
                <p:nvPr/>
              </p:nvSpPr>
              <p:spPr bwMode="auto">
                <a:xfrm>
                  <a:off x="7623277" y="5692361"/>
                  <a:ext cx="27737" cy="27867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2" y="5"/>
                    </a:cxn>
                    <a:cxn ang="0">
                      <a:pos x="5" y="5"/>
                    </a:cxn>
                    <a:cxn ang="0">
                      <a:pos x="5" y="0"/>
                    </a:cxn>
                    <a:cxn ang="0">
                      <a:pos x="2" y="3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5" h="5">
                      <a:moveTo>
                        <a:pt x="0" y="5"/>
                      </a:moveTo>
                      <a:lnTo>
                        <a:pt x="2" y="5"/>
                      </a:lnTo>
                      <a:lnTo>
                        <a:pt x="5" y="5"/>
                      </a:lnTo>
                      <a:lnTo>
                        <a:pt x="5" y="0"/>
                      </a:lnTo>
                      <a:lnTo>
                        <a:pt x="2" y="3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98" name="Australia"/>
                <p:cNvSpPr>
                  <a:spLocks/>
                </p:cNvSpPr>
                <p:nvPr/>
              </p:nvSpPr>
              <p:spPr bwMode="auto">
                <a:xfrm>
                  <a:off x="7118455" y="4900932"/>
                  <a:ext cx="1026288" cy="919617"/>
                </a:xfrm>
                <a:custGeom>
                  <a:avLst/>
                  <a:gdLst/>
                  <a:ahLst/>
                  <a:cxnLst>
                    <a:cxn ang="0">
                      <a:pos x="4" y="140"/>
                    </a:cxn>
                    <a:cxn ang="0">
                      <a:pos x="23" y="133"/>
                    </a:cxn>
                    <a:cxn ang="0">
                      <a:pos x="39" y="129"/>
                    </a:cxn>
                    <a:cxn ang="0">
                      <a:pos x="77" y="122"/>
                    </a:cxn>
                    <a:cxn ang="0">
                      <a:pos x="87" y="140"/>
                    </a:cxn>
                    <a:cxn ang="0">
                      <a:pos x="102" y="131"/>
                    </a:cxn>
                    <a:cxn ang="0">
                      <a:pos x="102" y="138"/>
                    </a:cxn>
                    <a:cxn ang="0">
                      <a:pos x="100" y="142"/>
                    </a:cxn>
                    <a:cxn ang="0">
                      <a:pos x="102" y="147"/>
                    </a:cxn>
                    <a:cxn ang="0">
                      <a:pos x="102" y="151"/>
                    </a:cxn>
                    <a:cxn ang="0">
                      <a:pos x="114" y="160"/>
                    </a:cxn>
                    <a:cxn ang="0">
                      <a:pos x="123" y="160"/>
                    </a:cxn>
                    <a:cxn ang="0">
                      <a:pos x="125" y="160"/>
                    </a:cxn>
                    <a:cxn ang="0">
                      <a:pos x="146" y="156"/>
                    </a:cxn>
                    <a:cxn ang="0">
                      <a:pos x="175" y="118"/>
                    </a:cxn>
                    <a:cxn ang="0">
                      <a:pos x="185" y="88"/>
                    </a:cxn>
                    <a:cxn ang="0">
                      <a:pos x="179" y="73"/>
                    </a:cxn>
                    <a:cxn ang="0">
                      <a:pos x="175" y="66"/>
                    </a:cxn>
                    <a:cxn ang="0">
                      <a:pos x="166" y="52"/>
                    </a:cxn>
                    <a:cxn ang="0">
                      <a:pos x="164" y="39"/>
                    </a:cxn>
                    <a:cxn ang="0">
                      <a:pos x="162" y="23"/>
                    </a:cxn>
                    <a:cxn ang="0">
                      <a:pos x="156" y="21"/>
                    </a:cxn>
                    <a:cxn ang="0">
                      <a:pos x="150" y="0"/>
                    </a:cxn>
                    <a:cxn ang="0">
                      <a:pos x="146" y="30"/>
                    </a:cxn>
                    <a:cxn ang="0">
                      <a:pos x="135" y="39"/>
                    </a:cxn>
                    <a:cxn ang="0">
                      <a:pos x="131" y="37"/>
                    </a:cxn>
                    <a:cxn ang="0">
                      <a:pos x="118" y="30"/>
                    </a:cxn>
                    <a:cxn ang="0">
                      <a:pos x="116" y="23"/>
                    </a:cxn>
                    <a:cxn ang="0">
                      <a:pos x="118" y="14"/>
                    </a:cxn>
                    <a:cxn ang="0">
                      <a:pos x="125" y="9"/>
                    </a:cxn>
                    <a:cxn ang="0">
                      <a:pos x="118" y="12"/>
                    </a:cxn>
                    <a:cxn ang="0">
                      <a:pos x="116" y="9"/>
                    </a:cxn>
                    <a:cxn ang="0">
                      <a:pos x="106" y="5"/>
                    </a:cxn>
                    <a:cxn ang="0">
                      <a:pos x="96" y="9"/>
                    </a:cxn>
                    <a:cxn ang="0">
                      <a:pos x="93" y="18"/>
                    </a:cxn>
                    <a:cxn ang="0">
                      <a:pos x="87" y="21"/>
                    </a:cxn>
                    <a:cxn ang="0">
                      <a:pos x="87" y="27"/>
                    </a:cxn>
                    <a:cxn ang="0">
                      <a:pos x="83" y="27"/>
                    </a:cxn>
                    <a:cxn ang="0">
                      <a:pos x="79" y="18"/>
                    </a:cxn>
                    <a:cxn ang="0">
                      <a:pos x="70" y="23"/>
                    </a:cxn>
                    <a:cxn ang="0">
                      <a:pos x="62" y="32"/>
                    </a:cxn>
                    <a:cxn ang="0">
                      <a:pos x="60" y="37"/>
                    </a:cxn>
                    <a:cxn ang="0">
                      <a:pos x="56" y="32"/>
                    </a:cxn>
                    <a:cxn ang="0">
                      <a:pos x="52" y="43"/>
                    </a:cxn>
                    <a:cxn ang="0">
                      <a:pos x="20" y="57"/>
                    </a:cxn>
                    <a:cxn ang="0">
                      <a:pos x="12" y="64"/>
                    </a:cxn>
                    <a:cxn ang="0">
                      <a:pos x="8" y="73"/>
                    </a:cxn>
                    <a:cxn ang="0">
                      <a:pos x="6" y="91"/>
                    </a:cxn>
                    <a:cxn ang="0">
                      <a:pos x="4" y="91"/>
                    </a:cxn>
                    <a:cxn ang="0">
                      <a:pos x="6" y="122"/>
                    </a:cxn>
                    <a:cxn ang="0">
                      <a:pos x="0" y="131"/>
                    </a:cxn>
                    <a:cxn ang="0">
                      <a:pos x="0" y="138"/>
                    </a:cxn>
                  </a:cxnLst>
                  <a:rect l="0" t="0" r="r" b="b"/>
                  <a:pathLst>
                    <a:path w="185" h="165">
                      <a:moveTo>
                        <a:pt x="0" y="138"/>
                      </a:moveTo>
                      <a:lnTo>
                        <a:pt x="4" y="140"/>
                      </a:lnTo>
                      <a:lnTo>
                        <a:pt x="12" y="140"/>
                      </a:lnTo>
                      <a:lnTo>
                        <a:pt x="23" y="133"/>
                      </a:lnTo>
                      <a:lnTo>
                        <a:pt x="37" y="133"/>
                      </a:lnTo>
                      <a:lnTo>
                        <a:pt x="39" y="129"/>
                      </a:lnTo>
                      <a:lnTo>
                        <a:pt x="52" y="124"/>
                      </a:lnTo>
                      <a:lnTo>
                        <a:pt x="77" y="122"/>
                      </a:lnTo>
                      <a:lnTo>
                        <a:pt x="87" y="129"/>
                      </a:lnTo>
                      <a:lnTo>
                        <a:pt x="87" y="140"/>
                      </a:lnTo>
                      <a:lnTo>
                        <a:pt x="102" y="129"/>
                      </a:lnTo>
                      <a:lnTo>
                        <a:pt x="102" y="131"/>
                      </a:lnTo>
                      <a:lnTo>
                        <a:pt x="93" y="142"/>
                      </a:lnTo>
                      <a:lnTo>
                        <a:pt x="102" y="138"/>
                      </a:lnTo>
                      <a:lnTo>
                        <a:pt x="102" y="140"/>
                      </a:lnTo>
                      <a:lnTo>
                        <a:pt x="100" y="142"/>
                      </a:lnTo>
                      <a:lnTo>
                        <a:pt x="102" y="142"/>
                      </a:lnTo>
                      <a:lnTo>
                        <a:pt x="102" y="147"/>
                      </a:lnTo>
                      <a:lnTo>
                        <a:pt x="106" y="149"/>
                      </a:lnTo>
                      <a:lnTo>
                        <a:pt x="102" y="151"/>
                      </a:lnTo>
                      <a:lnTo>
                        <a:pt x="106" y="160"/>
                      </a:lnTo>
                      <a:lnTo>
                        <a:pt x="114" y="160"/>
                      </a:lnTo>
                      <a:lnTo>
                        <a:pt x="123" y="156"/>
                      </a:lnTo>
                      <a:lnTo>
                        <a:pt x="123" y="160"/>
                      </a:lnTo>
                      <a:lnTo>
                        <a:pt x="125" y="158"/>
                      </a:lnTo>
                      <a:lnTo>
                        <a:pt x="125" y="160"/>
                      </a:lnTo>
                      <a:lnTo>
                        <a:pt x="125" y="165"/>
                      </a:lnTo>
                      <a:lnTo>
                        <a:pt x="146" y="156"/>
                      </a:lnTo>
                      <a:lnTo>
                        <a:pt x="154" y="147"/>
                      </a:lnTo>
                      <a:lnTo>
                        <a:pt x="175" y="118"/>
                      </a:lnTo>
                      <a:lnTo>
                        <a:pt x="185" y="104"/>
                      </a:lnTo>
                      <a:lnTo>
                        <a:pt x="185" y="88"/>
                      </a:lnTo>
                      <a:lnTo>
                        <a:pt x="181" y="75"/>
                      </a:lnTo>
                      <a:lnTo>
                        <a:pt x="179" y="73"/>
                      </a:lnTo>
                      <a:lnTo>
                        <a:pt x="179" y="70"/>
                      </a:lnTo>
                      <a:lnTo>
                        <a:pt x="175" y="66"/>
                      </a:lnTo>
                      <a:lnTo>
                        <a:pt x="173" y="55"/>
                      </a:lnTo>
                      <a:lnTo>
                        <a:pt x="166" y="52"/>
                      </a:lnTo>
                      <a:lnTo>
                        <a:pt x="164" y="48"/>
                      </a:lnTo>
                      <a:lnTo>
                        <a:pt x="164" y="39"/>
                      </a:lnTo>
                      <a:lnTo>
                        <a:pt x="162" y="32"/>
                      </a:lnTo>
                      <a:lnTo>
                        <a:pt x="162" y="23"/>
                      </a:lnTo>
                      <a:lnTo>
                        <a:pt x="158" y="21"/>
                      </a:lnTo>
                      <a:lnTo>
                        <a:pt x="156" y="21"/>
                      </a:lnTo>
                      <a:lnTo>
                        <a:pt x="154" y="3"/>
                      </a:lnTo>
                      <a:lnTo>
                        <a:pt x="150" y="0"/>
                      </a:lnTo>
                      <a:lnTo>
                        <a:pt x="150" y="3"/>
                      </a:lnTo>
                      <a:lnTo>
                        <a:pt x="146" y="30"/>
                      </a:lnTo>
                      <a:lnTo>
                        <a:pt x="139" y="39"/>
                      </a:lnTo>
                      <a:lnTo>
                        <a:pt x="135" y="39"/>
                      </a:lnTo>
                      <a:lnTo>
                        <a:pt x="133" y="43"/>
                      </a:lnTo>
                      <a:lnTo>
                        <a:pt x="131" y="37"/>
                      </a:lnTo>
                      <a:lnTo>
                        <a:pt x="125" y="30"/>
                      </a:lnTo>
                      <a:lnTo>
                        <a:pt x="118" y="30"/>
                      </a:lnTo>
                      <a:lnTo>
                        <a:pt x="118" y="27"/>
                      </a:lnTo>
                      <a:lnTo>
                        <a:pt x="116" y="23"/>
                      </a:lnTo>
                      <a:lnTo>
                        <a:pt x="118" y="21"/>
                      </a:lnTo>
                      <a:lnTo>
                        <a:pt x="118" y="14"/>
                      </a:lnTo>
                      <a:lnTo>
                        <a:pt x="123" y="14"/>
                      </a:lnTo>
                      <a:lnTo>
                        <a:pt x="125" y="9"/>
                      </a:lnTo>
                      <a:lnTo>
                        <a:pt x="123" y="9"/>
                      </a:lnTo>
                      <a:lnTo>
                        <a:pt x="118" y="12"/>
                      </a:lnTo>
                      <a:lnTo>
                        <a:pt x="118" y="9"/>
                      </a:lnTo>
                      <a:lnTo>
                        <a:pt x="116" y="9"/>
                      </a:lnTo>
                      <a:lnTo>
                        <a:pt x="106" y="3"/>
                      </a:lnTo>
                      <a:lnTo>
                        <a:pt x="106" y="5"/>
                      </a:lnTo>
                      <a:lnTo>
                        <a:pt x="102" y="9"/>
                      </a:lnTo>
                      <a:lnTo>
                        <a:pt x="96" y="9"/>
                      </a:lnTo>
                      <a:lnTo>
                        <a:pt x="93" y="12"/>
                      </a:lnTo>
                      <a:lnTo>
                        <a:pt x="93" y="18"/>
                      </a:lnTo>
                      <a:lnTo>
                        <a:pt x="91" y="18"/>
                      </a:lnTo>
                      <a:lnTo>
                        <a:pt x="87" y="21"/>
                      </a:lnTo>
                      <a:lnTo>
                        <a:pt x="91" y="23"/>
                      </a:lnTo>
                      <a:lnTo>
                        <a:pt x="87" y="27"/>
                      </a:lnTo>
                      <a:lnTo>
                        <a:pt x="85" y="23"/>
                      </a:lnTo>
                      <a:lnTo>
                        <a:pt x="83" y="27"/>
                      </a:lnTo>
                      <a:lnTo>
                        <a:pt x="79" y="21"/>
                      </a:lnTo>
                      <a:lnTo>
                        <a:pt x="79" y="18"/>
                      </a:lnTo>
                      <a:lnTo>
                        <a:pt x="77" y="18"/>
                      </a:lnTo>
                      <a:lnTo>
                        <a:pt x="70" y="23"/>
                      </a:lnTo>
                      <a:lnTo>
                        <a:pt x="68" y="23"/>
                      </a:lnTo>
                      <a:lnTo>
                        <a:pt x="62" y="32"/>
                      </a:lnTo>
                      <a:lnTo>
                        <a:pt x="60" y="30"/>
                      </a:lnTo>
                      <a:lnTo>
                        <a:pt x="60" y="37"/>
                      </a:lnTo>
                      <a:lnTo>
                        <a:pt x="56" y="39"/>
                      </a:lnTo>
                      <a:lnTo>
                        <a:pt x="56" y="32"/>
                      </a:lnTo>
                      <a:lnTo>
                        <a:pt x="52" y="39"/>
                      </a:lnTo>
                      <a:lnTo>
                        <a:pt x="52" y="43"/>
                      </a:lnTo>
                      <a:lnTo>
                        <a:pt x="43" y="52"/>
                      </a:lnTo>
                      <a:lnTo>
                        <a:pt x="20" y="57"/>
                      </a:lnTo>
                      <a:lnTo>
                        <a:pt x="12" y="66"/>
                      </a:lnTo>
                      <a:lnTo>
                        <a:pt x="12" y="64"/>
                      </a:lnTo>
                      <a:lnTo>
                        <a:pt x="8" y="70"/>
                      </a:lnTo>
                      <a:lnTo>
                        <a:pt x="8" y="73"/>
                      </a:lnTo>
                      <a:lnTo>
                        <a:pt x="6" y="75"/>
                      </a:lnTo>
                      <a:lnTo>
                        <a:pt x="6" y="91"/>
                      </a:lnTo>
                      <a:lnTo>
                        <a:pt x="4" y="86"/>
                      </a:lnTo>
                      <a:lnTo>
                        <a:pt x="4" y="91"/>
                      </a:lnTo>
                      <a:lnTo>
                        <a:pt x="6" y="106"/>
                      </a:lnTo>
                      <a:lnTo>
                        <a:pt x="6" y="122"/>
                      </a:lnTo>
                      <a:lnTo>
                        <a:pt x="4" y="131"/>
                      </a:lnTo>
                      <a:lnTo>
                        <a:pt x="0" y="131"/>
                      </a:lnTo>
                      <a:lnTo>
                        <a:pt x="0" y="136"/>
                      </a:lnTo>
                      <a:lnTo>
                        <a:pt x="0" y="138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grpSp>
            <p:nvGrpSpPr>
              <p:cNvPr id="3334354" name="Armenia"/>
              <p:cNvGrpSpPr>
                <a:grpSpLocks/>
              </p:cNvGrpSpPr>
              <p:nvPr/>
            </p:nvGrpSpPr>
            <p:grpSpPr bwMode="auto">
              <a:xfrm>
                <a:off x="5298874" y="3278769"/>
                <a:ext cx="94308" cy="61308"/>
                <a:chOff x="5298874" y="3234474"/>
                <a:chExt cx="94308" cy="61308"/>
              </a:xfrm>
            </p:grpSpPr>
            <p:sp>
              <p:nvSpPr>
                <p:cNvPr id="682" name="Armenia"/>
                <p:cNvSpPr>
                  <a:spLocks/>
                </p:cNvSpPr>
                <p:nvPr>
                  <p:custDataLst>
                    <p:tags r:id="rId131"/>
                  </p:custDataLst>
                </p:nvPr>
              </p:nvSpPr>
              <p:spPr bwMode="auto">
                <a:xfrm>
                  <a:off x="5343186" y="3257024"/>
                  <a:ext cx="39688" cy="37956"/>
                </a:xfrm>
                <a:custGeom>
                  <a:avLst/>
                  <a:gdLst/>
                  <a:ahLst/>
                  <a:cxnLst>
                    <a:cxn ang="0">
                      <a:pos x="7" y="7"/>
                    </a:cxn>
                    <a:cxn ang="0">
                      <a:pos x="2" y="7"/>
                    </a:cxn>
                    <a:cxn ang="0">
                      <a:pos x="0" y="0"/>
                    </a:cxn>
                    <a:cxn ang="0">
                      <a:pos x="2" y="5"/>
                    </a:cxn>
                    <a:cxn ang="0">
                      <a:pos x="4" y="7"/>
                    </a:cxn>
                    <a:cxn ang="0">
                      <a:pos x="7" y="7"/>
                    </a:cxn>
                  </a:cxnLst>
                  <a:rect l="0" t="0" r="r" b="b"/>
                  <a:pathLst>
                    <a:path w="7" h="7">
                      <a:moveTo>
                        <a:pt x="7" y="7"/>
                      </a:moveTo>
                      <a:lnTo>
                        <a:pt x="2" y="7"/>
                      </a:lnTo>
                      <a:lnTo>
                        <a:pt x="0" y="0"/>
                      </a:lnTo>
                      <a:lnTo>
                        <a:pt x="2" y="5"/>
                      </a:lnTo>
                      <a:lnTo>
                        <a:pt x="4" y="7"/>
                      </a:lnTo>
                      <a:lnTo>
                        <a:pt x="7" y="7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83" name="Armenia"/>
                <p:cNvSpPr>
                  <a:spLocks/>
                </p:cNvSpPr>
                <p:nvPr>
                  <p:custDataLst>
                    <p:tags r:id="rId132"/>
                  </p:custDataLst>
                </p:nvPr>
              </p:nvSpPr>
              <p:spPr bwMode="auto">
                <a:xfrm>
                  <a:off x="5298322" y="3234596"/>
                  <a:ext cx="94906" cy="60384"/>
                </a:xfrm>
                <a:custGeom>
                  <a:avLst/>
                  <a:gdLst/>
                  <a:ahLst/>
                  <a:cxnLst>
                    <a:cxn ang="0">
                      <a:pos x="8" y="4"/>
                    </a:cxn>
                    <a:cxn ang="0">
                      <a:pos x="2" y="4"/>
                    </a:cxn>
                    <a:cxn ang="0">
                      <a:pos x="0" y="0"/>
                    </a:cxn>
                    <a:cxn ang="0">
                      <a:pos x="8" y="0"/>
                    </a:cxn>
                    <a:cxn ang="0">
                      <a:pos x="10" y="2"/>
                    </a:cxn>
                    <a:cxn ang="0">
                      <a:pos x="10" y="4"/>
                    </a:cxn>
                    <a:cxn ang="0">
                      <a:pos x="15" y="4"/>
                    </a:cxn>
                    <a:cxn ang="0">
                      <a:pos x="17" y="11"/>
                    </a:cxn>
                    <a:cxn ang="0">
                      <a:pos x="15" y="11"/>
                    </a:cxn>
                    <a:cxn ang="0">
                      <a:pos x="10" y="9"/>
                    </a:cxn>
                    <a:cxn ang="0">
                      <a:pos x="8" y="7"/>
                    </a:cxn>
                    <a:cxn ang="0">
                      <a:pos x="8" y="4"/>
                    </a:cxn>
                  </a:cxnLst>
                  <a:rect l="0" t="0" r="r" b="b"/>
                  <a:pathLst>
                    <a:path w="17" h="11">
                      <a:moveTo>
                        <a:pt x="8" y="4"/>
                      </a:moveTo>
                      <a:lnTo>
                        <a:pt x="2" y="4"/>
                      </a:ln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0" y="2"/>
                      </a:lnTo>
                      <a:lnTo>
                        <a:pt x="10" y="4"/>
                      </a:lnTo>
                      <a:lnTo>
                        <a:pt x="15" y="4"/>
                      </a:lnTo>
                      <a:lnTo>
                        <a:pt x="17" y="11"/>
                      </a:lnTo>
                      <a:lnTo>
                        <a:pt x="15" y="11"/>
                      </a:lnTo>
                      <a:lnTo>
                        <a:pt x="10" y="9"/>
                      </a:lnTo>
                      <a:lnTo>
                        <a:pt x="8" y="7"/>
                      </a:lnTo>
                      <a:lnTo>
                        <a:pt x="8" y="4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grpSp>
            <p:nvGrpSpPr>
              <p:cNvPr id="672" name="Argentina"/>
              <p:cNvGrpSpPr/>
              <p:nvPr/>
            </p:nvGrpSpPr>
            <p:grpSpPr>
              <a:xfrm>
                <a:off x="2486292" y="5276721"/>
                <a:ext cx="393872" cy="1064527"/>
                <a:chOff x="2486292" y="5257632"/>
                <a:chExt cx="393872" cy="1064527"/>
              </a:xfrm>
              <a:solidFill>
                <a:srgbClr val="778025"/>
              </a:solidFill>
            </p:grpSpPr>
            <p:sp>
              <p:nvSpPr>
                <p:cNvPr id="679" name="Argentina"/>
                <p:cNvSpPr>
                  <a:spLocks/>
                </p:cNvSpPr>
                <p:nvPr/>
              </p:nvSpPr>
              <p:spPr bwMode="auto">
                <a:xfrm>
                  <a:off x="2741477" y="6244131"/>
                  <a:ext cx="105402" cy="7802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6" y="5"/>
                    </a:cxn>
                    <a:cxn ang="0">
                      <a:pos x="19" y="12"/>
                    </a:cxn>
                    <a:cxn ang="0">
                      <a:pos x="10" y="14"/>
                    </a:cxn>
                    <a:cxn ang="0">
                      <a:pos x="8" y="14"/>
                    </a:cxn>
                    <a:cxn ang="0">
                      <a:pos x="4" y="7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9" h="14">
                      <a:moveTo>
                        <a:pt x="0" y="0"/>
                      </a:moveTo>
                      <a:lnTo>
                        <a:pt x="6" y="5"/>
                      </a:lnTo>
                      <a:lnTo>
                        <a:pt x="19" y="12"/>
                      </a:lnTo>
                      <a:lnTo>
                        <a:pt x="10" y="14"/>
                      </a:lnTo>
                      <a:lnTo>
                        <a:pt x="8" y="14"/>
                      </a:lnTo>
                      <a:lnTo>
                        <a:pt x="4" y="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80" name="Argentina"/>
                <p:cNvSpPr>
                  <a:spLocks/>
                </p:cNvSpPr>
                <p:nvPr/>
              </p:nvSpPr>
              <p:spPr bwMode="auto">
                <a:xfrm>
                  <a:off x="2647169" y="6244131"/>
                  <a:ext cx="138687" cy="78028"/>
                </a:xfrm>
                <a:custGeom>
                  <a:avLst/>
                  <a:gdLst/>
                  <a:ahLst/>
                  <a:cxnLst>
                    <a:cxn ang="0">
                      <a:pos x="17" y="0"/>
                    </a:cxn>
                    <a:cxn ang="0">
                      <a:pos x="10" y="0"/>
                    </a:cxn>
                    <a:cxn ang="0">
                      <a:pos x="15" y="3"/>
                    </a:cxn>
                    <a:cxn ang="0">
                      <a:pos x="17" y="3"/>
                    </a:cxn>
                    <a:cxn ang="0">
                      <a:pos x="15" y="5"/>
                    </a:cxn>
                    <a:cxn ang="0">
                      <a:pos x="15" y="9"/>
                    </a:cxn>
                    <a:cxn ang="0">
                      <a:pos x="0" y="3"/>
                    </a:cxn>
                    <a:cxn ang="0">
                      <a:pos x="0" y="5"/>
                    </a:cxn>
                    <a:cxn ang="0">
                      <a:pos x="2" y="9"/>
                    </a:cxn>
                    <a:cxn ang="0">
                      <a:pos x="4" y="9"/>
                    </a:cxn>
                    <a:cxn ang="0">
                      <a:pos x="15" y="12"/>
                    </a:cxn>
                    <a:cxn ang="0">
                      <a:pos x="19" y="12"/>
                    </a:cxn>
                    <a:cxn ang="0">
                      <a:pos x="19" y="14"/>
                    </a:cxn>
                    <a:cxn ang="0">
                      <a:pos x="25" y="14"/>
                    </a:cxn>
                    <a:cxn ang="0">
                      <a:pos x="21" y="7"/>
                    </a:cxn>
                    <a:cxn ang="0">
                      <a:pos x="17" y="0"/>
                    </a:cxn>
                  </a:cxnLst>
                  <a:rect l="0" t="0" r="r" b="b"/>
                  <a:pathLst>
                    <a:path w="25" h="14">
                      <a:moveTo>
                        <a:pt x="17" y="0"/>
                      </a:moveTo>
                      <a:lnTo>
                        <a:pt x="10" y="0"/>
                      </a:lnTo>
                      <a:lnTo>
                        <a:pt x="15" y="3"/>
                      </a:lnTo>
                      <a:lnTo>
                        <a:pt x="17" y="3"/>
                      </a:lnTo>
                      <a:lnTo>
                        <a:pt x="15" y="5"/>
                      </a:lnTo>
                      <a:lnTo>
                        <a:pt x="15" y="9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2" y="9"/>
                      </a:lnTo>
                      <a:lnTo>
                        <a:pt x="4" y="9"/>
                      </a:lnTo>
                      <a:lnTo>
                        <a:pt x="15" y="12"/>
                      </a:lnTo>
                      <a:lnTo>
                        <a:pt x="19" y="12"/>
                      </a:lnTo>
                      <a:lnTo>
                        <a:pt x="19" y="14"/>
                      </a:lnTo>
                      <a:lnTo>
                        <a:pt x="25" y="14"/>
                      </a:lnTo>
                      <a:lnTo>
                        <a:pt x="21" y="7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81" name="Argentina"/>
                <p:cNvSpPr>
                  <a:spLocks/>
                </p:cNvSpPr>
                <p:nvPr/>
              </p:nvSpPr>
              <p:spPr bwMode="auto">
                <a:xfrm>
                  <a:off x="2486292" y="5257632"/>
                  <a:ext cx="393872" cy="964205"/>
                </a:xfrm>
                <a:custGeom>
                  <a:avLst/>
                  <a:gdLst/>
                  <a:ahLst/>
                  <a:cxnLst>
                    <a:cxn ang="0">
                      <a:pos x="56" y="69"/>
                    </a:cxn>
                    <a:cxn ang="0">
                      <a:pos x="65" y="78"/>
                    </a:cxn>
                    <a:cxn ang="0">
                      <a:pos x="69" y="85"/>
                    </a:cxn>
                    <a:cxn ang="0">
                      <a:pos x="65" y="94"/>
                    </a:cxn>
                    <a:cxn ang="0">
                      <a:pos x="48" y="101"/>
                    </a:cxn>
                    <a:cxn ang="0">
                      <a:pos x="44" y="112"/>
                    </a:cxn>
                    <a:cxn ang="0">
                      <a:pos x="39" y="117"/>
                    </a:cxn>
                    <a:cxn ang="0">
                      <a:pos x="46" y="117"/>
                    </a:cxn>
                    <a:cxn ang="0">
                      <a:pos x="48" y="121"/>
                    </a:cxn>
                    <a:cxn ang="0">
                      <a:pos x="44" y="119"/>
                    </a:cxn>
                    <a:cxn ang="0">
                      <a:pos x="46" y="121"/>
                    </a:cxn>
                    <a:cxn ang="0">
                      <a:pos x="44" y="130"/>
                    </a:cxn>
                    <a:cxn ang="0">
                      <a:pos x="37" y="135"/>
                    </a:cxn>
                    <a:cxn ang="0">
                      <a:pos x="37" y="144"/>
                    </a:cxn>
                    <a:cxn ang="0">
                      <a:pos x="46" y="146"/>
                    </a:cxn>
                    <a:cxn ang="0">
                      <a:pos x="44" y="155"/>
                    </a:cxn>
                    <a:cxn ang="0">
                      <a:pos x="39" y="164"/>
                    </a:cxn>
                    <a:cxn ang="0">
                      <a:pos x="48" y="173"/>
                    </a:cxn>
                    <a:cxn ang="0">
                      <a:pos x="31" y="173"/>
                    </a:cxn>
                    <a:cxn ang="0">
                      <a:pos x="23" y="164"/>
                    </a:cxn>
                    <a:cxn ang="0">
                      <a:pos x="21" y="144"/>
                    </a:cxn>
                    <a:cxn ang="0">
                      <a:pos x="17" y="135"/>
                    </a:cxn>
                    <a:cxn ang="0">
                      <a:pos x="12" y="121"/>
                    </a:cxn>
                    <a:cxn ang="0">
                      <a:pos x="8" y="112"/>
                    </a:cxn>
                    <a:cxn ang="0">
                      <a:pos x="4" y="87"/>
                    </a:cxn>
                    <a:cxn ang="0">
                      <a:pos x="4" y="78"/>
                    </a:cxn>
                    <a:cxn ang="0">
                      <a:pos x="0" y="54"/>
                    </a:cxn>
                    <a:cxn ang="0">
                      <a:pos x="4" y="27"/>
                    </a:cxn>
                    <a:cxn ang="0">
                      <a:pos x="6" y="11"/>
                    </a:cxn>
                    <a:cxn ang="0">
                      <a:pos x="12" y="0"/>
                    </a:cxn>
                    <a:cxn ang="0">
                      <a:pos x="25" y="2"/>
                    </a:cxn>
                    <a:cxn ang="0">
                      <a:pos x="44" y="15"/>
                    </a:cxn>
                    <a:cxn ang="0">
                      <a:pos x="52" y="24"/>
                    </a:cxn>
                    <a:cxn ang="0">
                      <a:pos x="60" y="33"/>
                    </a:cxn>
                    <a:cxn ang="0">
                      <a:pos x="65" y="27"/>
                    </a:cxn>
                    <a:cxn ang="0">
                      <a:pos x="69" y="22"/>
                    </a:cxn>
                    <a:cxn ang="0">
                      <a:pos x="69" y="33"/>
                    </a:cxn>
                    <a:cxn ang="0">
                      <a:pos x="56" y="49"/>
                    </a:cxn>
                  </a:cxnLst>
                  <a:rect l="0" t="0" r="r" b="b"/>
                  <a:pathLst>
                    <a:path w="71" h="173">
                      <a:moveTo>
                        <a:pt x="56" y="49"/>
                      </a:moveTo>
                      <a:lnTo>
                        <a:pt x="56" y="69"/>
                      </a:lnTo>
                      <a:lnTo>
                        <a:pt x="56" y="74"/>
                      </a:lnTo>
                      <a:lnTo>
                        <a:pt x="65" y="78"/>
                      </a:lnTo>
                      <a:lnTo>
                        <a:pt x="62" y="83"/>
                      </a:lnTo>
                      <a:lnTo>
                        <a:pt x="69" y="85"/>
                      </a:lnTo>
                      <a:lnTo>
                        <a:pt x="69" y="87"/>
                      </a:lnTo>
                      <a:lnTo>
                        <a:pt x="65" y="94"/>
                      </a:lnTo>
                      <a:lnTo>
                        <a:pt x="54" y="96"/>
                      </a:lnTo>
                      <a:lnTo>
                        <a:pt x="48" y="101"/>
                      </a:lnTo>
                      <a:lnTo>
                        <a:pt x="48" y="110"/>
                      </a:lnTo>
                      <a:lnTo>
                        <a:pt x="44" y="112"/>
                      </a:lnTo>
                      <a:lnTo>
                        <a:pt x="37" y="110"/>
                      </a:lnTo>
                      <a:lnTo>
                        <a:pt x="39" y="117"/>
                      </a:lnTo>
                      <a:lnTo>
                        <a:pt x="44" y="119"/>
                      </a:lnTo>
                      <a:lnTo>
                        <a:pt x="46" y="117"/>
                      </a:lnTo>
                      <a:lnTo>
                        <a:pt x="48" y="119"/>
                      </a:lnTo>
                      <a:lnTo>
                        <a:pt x="48" y="121"/>
                      </a:lnTo>
                      <a:lnTo>
                        <a:pt x="46" y="121"/>
                      </a:lnTo>
                      <a:lnTo>
                        <a:pt x="44" y="119"/>
                      </a:lnTo>
                      <a:lnTo>
                        <a:pt x="44" y="121"/>
                      </a:lnTo>
                      <a:lnTo>
                        <a:pt x="46" y="121"/>
                      </a:lnTo>
                      <a:lnTo>
                        <a:pt x="44" y="126"/>
                      </a:lnTo>
                      <a:lnTo>
                        <a:pt x="44" y="130"/>
                      </a:lnTo>
                      <a:lnTo>
                        <a:pt x="44" y="135"/>
                      </a:lnTo>
                      <a:lnTo>
                        <a:pt x="37" y="135"/>
                      </a:lnTo>
                      <a:lnTo>
                        <a:pt x="37" y="139"/>
                      </a:lnTo>
                      <a:lnTo>
                        <a:pt x="37" y="144"/>
                      </a:lnTo>
                      <a:lnTo>
                        <a:pt x="44" y="146"/>
                      </a:lnTo>
                      <a:lnTo>
                        <a:pt x="46" y="146"/>
                      </a:lnTo>
                      <a:lnTo>
                        <a:pt x="48" y="148"/>
                      </a:lnTo>
                      <a:lnTo>
                        <a:pt x="44" y="155"/>
                      </a:lnTo>
                      <a:lnTo>
                        <a:pt x="44" y="162"/>
                      </a:lnTo>
                      <a:lnTo>
                        <a:pt x="39" y="164"/>
                      </a:lnTo>
                      <a:lnTo>
                        <a:pt x="39" y="168"/>
                      </a:lnTo>
                      <a:lnTo>
                        <a:pt x="48" y="173"/>
                      </a:lnTo>
                      <a:lnTo>
                        <a:pt x="44" y="173"/>
                      </a:lnTo>
                      <a:lnTo>
                        <a:pt x="31" y="173"/>
                      </a:lnTo>
                      <a:lnTo>
                        <a:pt x="25" y="164"/>
                      </a:lnTo>
                      <a:lnTo>
                        <a:pt x="23" y="164"/>
                      </a:lnTo>
                      <a:lnTo>
                        <a:pt x="21" y="162"/>
                      </a:lnTo>
                      <a:lnTo>
                        <a:pt x="21" y="144"/>
                      </a:lnTo>
                      <a:lnTo>
                        <a:pt x="17" y="130"/>
                      </a:lnTo>
                      <a:lnTo>
                        <a:pt x="17" y="135"/>
                      </a:lnTo>
                      <a:lnTo>
                        <a:pt x="14" y="130"/>
                      </a:lnTo>
                      <a:lnTo>
                        <a:pt x="12" y="121"/>
                      </a:lnTo>
                      <a:lnTo>
                        <a:pt x="12" y="117"/>
                      </a:lnTo>
                      <a:lnTo>
                        <a:pt x="8" y="112"/>
                      </a:lnTo>
                      <a:lnTo>
                        <a:pt x="8" y="96"/>
                      </a:lnTo>
                      <a:lnTo>
                        <a:pt x="4" y="87"/>
                      </a:lnTo>
                      <a:lnTo>
                        <a:pt x="6" y="83"/>
                      </a:lnTo>
                      <a:lnTo>
                        <a:pt x="4" y="78"/>
                      </a:lnTo>
                      <a:lnTo>
                        <a:pt x="6" y="69"/>
                      </a:lnTo>
                      <a:lnTo>
                        <a:pt x="0" y="54"/>
                      </a:lnTo>
                      <a:lnTo>
                        <a:pt x="0" y="36"/>
                      </a:lnTo>
                      <a:lnTo>
                        <a:pt x="4" y="27"/>
                      </a:lnTo>
                      <a:lnTo>
                        <a:pt x="0" y="15"/>
                      </a:lnTo>
                      <a:lnTo>
                        <a:pt x="6" y="11"/>
                      </a:lnTo>
                      <a:lnTo>
                        <a:pt x="6" y="6"/>
                      </a:lnTo>
                      <a:lnTo>
                        <a:pt x="12" y="0"/>
                      </a:lnTo>
                      <a:lnTo>
                        <a:pt x="21" y="2"/>
                      </a:lnTo>
                      <a:lnTo>
                        <a:pt x="25" y="2"/>
                      </a:lnTo>
                      <a:lnTo>
                        <a:pt x="37" y="11"/>
                      </a:lnTo>
                      <a:lnTo>
                        <a:pt x="44" y="15"/>
                      </a:lnTo>
                      <a:lnTo>
                        <a:pt x="52" y="18"/>
                      </a:lnTo>
                      <a:lnTo>
                        <a:pt x="52" y="24"/>
                      </a:lnTo>
                      <a:lnTo>
                        <a:pt x="48" y="31"/>
                      </a:lnTo>
                      <a:lnTo>
                        <a:pt x="60" y="33"/>
                      </a:lnTo>
                      <a:lnTo>
                        <a:pt x="62" y="33"/>
                      </a:lnTo>
                      <a:lnTo>
                        <a:pt x="65" y="27"/>
                      </a:lnTo>
                      <a:lnTo>
                        <a:pt x="65" y="22"/>
                      </a:lnTo>
                      <a:lnTo>
                        <a:pt x="69" y="22"/>
                      </a:lnTo>
                      <a:lnTo>
                        <a:pt x="71" y="31"/>
                      </a:lnTo>
                      <a:lnTo>
                        <a:pt x="69" y="33"/>
                      </a:lnTo>
                      <a:lnTo>
                        <a:pt x="62" y="42"/>
                      </a:lnTo>
                      <a:lnTo>
                        <a:pt x="56" y="4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34356" name="Antigua and Barbuda"/>
              <p:cNvSpPr>
                <a:spLocks/>
              </p:cNvSpPr>
              <p:nvPr>
                <p:custDataLst>
                  <p:tags r:id="rId127"/>
                </p:custDataLst>
              </p:nvPr>
            </p:nvSpPr>
            <p:spPr bwMode="auto">
              <a:xfrm>
                <a:off x="2508482" y="3983684"/>
                <a:ext cx="44380" cy="11147"/>
              </a:xfrm>
              <a:custGeom>
                <a:avLst/>
                <a:gdLst>
                  <a:gd name="T0" fmla="*/ 0 w 8"/>
                  <a:gd name="T1" fmla="*/ 11147 h 2"/>
                  <a:gd name="T2" fmla="*/ 22190 w 8"/>
                  <a:gd name="T3" fmla="*/ 11147 h 2"/>
                  <a:gd name="T4" fmla="*/ 44380 w 8"/>
                  <a:gd name="T5" fmla="*/ 0 h 2"/>
                  <a:gd name="T6" fmla="*/ 22190 w 8"/>
                  <a:gd name="T7" fmla="*/ 0 h 2"/>
                  <a:gd name="T8" fmla="*/ 0 w 8"/>
                  <a:gd name="T9" fmla="*/ 0 h 2"/>
                  <a:gd name="T10" fmla="*/ 0 w 8"/>
                  <a:gd name="T11" fmla="*/ 11147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2"/>
                  <a:gd name="T20" fmla="*/ 8 w 8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2">
                    <a:moveTo>
                      <a:pt x="0" y="2"/>
                    </a:moveTo>
                    <a:lnTo>
                      <a:pt x="4" y="2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F7A04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34357" name="Angola"/>
              <p:cNvSpPr>
                <a:spLocks/>
              </p:cNvSpPr>
              <p:nvPr/>
            </p:nvSpPr>
            <p:spPr bwMode="auto">
              <a:xfrm>
                <a:off x="4535950" y="4763240"/>
                <a:ext cx="336870" cy="397226"/>
              </a:xfrm>
              <a:custGeom>
                <a:avLst/>
                <a:gdLst>
                  <a:gd name="T0" fmla="*/ 264840 w 926"/>
                  <a:gd name="T1" fmla="*/ 152349339 h 921"/>
                  <a:gd name="T2" fmla="*/ 1191050 w 926"/>
                  <a:gd name="T3" fmla="*/ 152349339 h 921"/>
                  <a:gd name="T4" fmla="*/ 2646940 w 926"/>
                  <a:gd name="T5" fmla="*/ 139328007 h 921"/>
                  <a:gd name="T6" fmla="*/ 4764201 w 926"/>
                  <a:gd name="T7" fmla="*/ 127236554 h 921"/>
                  <a:gd name="T8" fmla="*/ 6617350 w 926"/>
                  <a:gd name="T9" fmla="*/ 116819833 h 921"/>
                  <a:gd name="T10" fmla="*/ 8205295 w 926"/>
                  <a:gd name="T11" fmla="*/ 110681135 h 921"/>
                  <a:gd name="T12" fmla="*/ 11910864 w 926"/>
                  <a:gd name="T13" fmla="*/ 101938284 h 921"/>
                  <a:gd name="T14" fmla="*/ 15881276 w 926"/>
                  <a:gd name="T15" fmla="*/ 96171392 h 921"/>
                  <a:gd name="T16" fmla="*/ 20380999 w 926"/>
                  <a:gd name="T17" fmla="*/ 83894481 h 921"/>
                  <a:gd name="T18" fmla="*/ 20645475 w 926"/>
                  <a:gd name="T19" fmla="*/ 73849539 h 921"/>
                  <a:gd name="T20" fmla="*/ 20777894 w 926"/>
                  <a:gd name="T21" fmla="*/ 66966878 h 921"/>
                  <a:gd name="T22" fmla="*/ 17998900 w 926"/>
                  <a:gd name="T23" fmla="*/ 62874287 h 921"/>
                  <a:gd name="T24" fmla="*/ 15087121 w 926"/>
                  <a:gd name="T25" fmla="*/ 52457122 h 921"/>
                  <a:gd name="T26" fmla="*/ 15219541 w 926"/>
                  <a:gd name="T27" fmla="*/ 44086481 h 921"/>
                  <a:gd name="T28" fmla="*/ 15881276 w 926"/>
                  <a:gd name="T29" fmla="*/ 35529519 h 921"/>
                  <a:gd name="T30" fmla="*/ 12837441 w 926"/>
                  <a:gd name="T31" fmla="*/ 24740581 h 921"/>
                  <a:gd name="T32" fmla="*/ 8734610 w 926"/>
                  <a:gd name="T33" fmla="*/ 12649125 h 921"/>
                  <a:gd name="T34" fmla="*/ 6220091 w 926"/>
                  <a:gd name="T35" fmla="*/ 5022472 h 921"/>
                  <a:gd name="T36" fmla="*/ 8602191 w 926"/>
                  <a:gd name="T37" fmla="*/ 3720382 h 921"/>
                  <a:gd name="T38" fmla="*/ 10587395 w 926"/>
                  <a:gd name="T39" fmla="*/ 3162281 h 921"/>
                  <a:gd name="T40" fmla="*/ 12969497 w 926"/>
                  <a:gd name="T41" fmla="*/ 1860191 h 921"/>
                  <a:gd name="T42" fmla="*/ 14690226 w 926"/>
                  <a:gd name="T43" fmla="*/ 1487980 h 921"/>
                  <a:gd name="T44" fmla="*/ 17998900 w 926"/>
                  <a:gd name="T45" fmla="*/ 743990 h 921"/>
                  <a:gd name="T46" fmla="*/ 29248032 w 926"/>
                  <a:gd name="T47" fmla="*/ 1487980 h 921"/>
                  <a:gd name="T48" fmla="*/ 44467567 w 926"/>
                  <a:gd name="T49" fmla="*/ 743990 h 921"/>
                  <a:gd name="T50" fmla="*/ 50687667 w 926"/>
                  <a:gd name="T51" fmla="*/ 10230834 h 921"/>
                  <a:gd name="T52" fmla="*/ 54128396 w 926"/>
                  <a:gd name="T53" fmla="*/ 22322291 h 921"/>
                  <a:gd name="T54" fmla="*/ 58231225 w 926"/>
                  <a:gd name="T55" fmla="*/ 30879259 h 921"/>
                  <a:gd name="T56" fmla="*/ 65245467 w 926"/>
                  <a:gd name="T57" fmla="*/ 30879259 h 921"/>
                  <a:gd name="T58" fmla="*/ 75038705 w 926"/>
                  <a:gd name="T59" fmla="*/ 30879259 h 921"/>
                  <a:gd name="T60" fmla="*/ 78347379 w 926"/>
                  <a:gd name="T61" fmla="*/ 23252170 h 921"/>
                  <a:gd name="T62" fmla="*/ 84567467 w 926"/>
                  <a:gd name="T63" fmla="*/ 16927609 h 921"/>
                  <a:gd name="T64" fmla="*/ 88405456 w 926"/>
                  <a:gd name="T65" fmla="*/ 21020200 h 921"/>
                  <a:gd name="T66" fmla="*/ 101375334 w 926"/>
                  <a:gd name="T67" fmla="*/ 23066280 h 921"/>
                  <a:gd name="T68" fmla="*/ 101904649 w 926"/>
                  <a:gd name="T69" fmla="*/ 39622110 h 921"/>
                  <a:gd name="T70" fmla="*/ 102698439 w 926"/>
                  <a:gd name="T71" fmla="*/ 56735616 h 921"/>
                  <a:gd name="T72" fmla="*/ 104551588 w 926"/>
                  <a:gd name="T73" fmla="*/ 70500938 h 921"/>
                  <a:gd name="T74" fmla="*/ 104816063 w 926"/>
                  <a:gd name="T75" fmla="*/ 76267399 h 921"/>
                  <a:gd name="T76" fmla="*/ 107595422 w 926"/>
                  <a:gd name="T77" fmla="*/ 74035429 h 921"/>
                  <a:gd name="T78" fmla="*/ 116726925 w 926"/>
                  <a:gd name="T79" fmla="*/ 72733339 h 921"/>
                  <a:gd name="T80" fmla="*/ 122153222 w 926"/>
                  <a:gd name="T81" fmla="*/ 71989349 h 921"/>
                  <a:gd name="T82" fmla="*/ 122417698 w 926"/>
                  <a:gd name="T83" fmla="*/ 79616000 h 921"/>
                  <a:gd name="T84" fmla="*/ 122153222 w 926"/>
                  <a:gd name="T85" fmla="*/ 92637332 h 921"/>
                  <a:gd name="T86" fmla="*/ 116065190 w 926"/>
                  <a:gd name="T87" fmla="*/ 101380184 h 921"/>
                  <a:gd name="T88" fmla="*/ 101242914 w 926"/>
                  <a:gd name="T89" fmla="*/ 145466678 h 921"/>
                  <a:gd name="T90" fmla="*/ 110241997 w 926"/>
                  <a:gd name="T91" fmla="*/ 160534090 h 921"/>
                  <a:gd name="T92" fmla="*/ 115006560 w 926"/>
                  <a:gd name="T93" fmla="*/ 165742451 h 921"/>
                  <a:gd name="T94" fmla="*/ 94757964 w 926"/>
                  <a:gd name="T95" fmla="*/ 171137132 h 921"/>
                  <a:gd name="T96" fmla="*/ 83376417 w 926"/>
                  <a:gd name="T97" fmla="*/ 169276942 h 921"/>
                  <a:gd name="T98" fmla="*/ 71068660 w 926"/>
                  <a:gd name="T99" fmla="*/ 167974852 h 921"/>
                  <a:gd name="T100" fmla="*/ 62466109 w 926"/>
                  <a:gd name="T101" fmla="*/ 162207960 h 921"/>
                  <a:gd name="T102" fmla="*/ 23689673 w 926"/>
                  <a:gd name="T103" fmla="*/ 162580170 h 921"/>
                  <a:gd name="T104" fmla="*/ 13631232 w 926"/>
                  <a:gd name="T105" fmla="*/ 156813710 h 921"/>
                  <a:gd name="T106" fmla="*/ 2514520 w 926"/>
                  <a:gd name="T107" fmla="*/ 160534090 h 921"/>
                  <a:gd name="T108" fmla="*/ 926575 w 926"/>
                  <a:gd name="T109" fmla="*/ 160347769 h 921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926"/>
                  <a:gd name="T166" fmla="*/ 0 h 921"/>
                  <a:gd name="T167" fmla="*/ 926 w 926"/>
                  <a:gd name="T168" fmla="*/ 921 h 921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926" h="921">
                    <a:moveTo>
                      <a:pt x="6" y="862"/>
                    </a:moveTo>
                    <a:cubicBezTo>
                      <a:pt x="5" y="847"/>
                      <a:pt x="1" y="833"/>
                      <a:pt x="2" y="819"/>
                    </a:cubicBezTo>
                    <a:cubicBezTo>
                      <a:pt x="0" y="813"/>
                      <a:pt x="10" y="819"/>
                      <a:pt x="9" y="823"/>
                    </a:cubicBezTo>
                    <a:cubicBezTo>
                      <a:pt x="11" y="832"/>
                      <a:pt x="10" y="824"/>
                      <a:pt x="9" y="819"/>
                    </a:cubicBezTo>
                    <a:cubicBezTo>
                      <a:pt x="8" y="801"/>
                      <a:pt x="7" y="782"/>
                      <a:pt x="9" y="763"/>
                    </a:cubicBezTo>
                    <a:cubicBezTo>
                      <a:pt x="12" y="758"/>
                      <a:pt x="18" y="755"/>
                      <a:pt x="20" y="749"/>
                    </a:cubicBezTo>
                    <a:cubicBezTo>
                      <a:pt x="25" y="737"/>
                      <a:pt x="25" y="724"/>
                      <a:pt x="31" y="713"/>
                    </a:cubicBezTo>
                    <a:cubicBezTo>
                      <a:pt x="36" y="704"/>
                      <a:pt x="33" y="693"/>
                      <a:pt x="36" y="684"/>
                    </a:cubicBezTo>
                    <a:cubicBezTo>
                      <a:pt x="41" y="673"/>
                      <a:pt x="39" y="661"/>
                      <a:pt x="44" y="651"/>
                    </a:cubicBezTo>
                    <a:cubicBezTo>
                      <a:pt x="46" y="643"/>
                      <a:pt x="46" y="635"/>
                      <a:pt x="50" y="628"/>
                    </a:cubicBezTo>
                    <a:cubicBezTo>
                      <a:pt x="53" y="621"/>
                      <a:pt x="58" y="614"/>
                      <a:pt x="57" y="606"/>
                    </a:cubicBezTo>
                    <a:cubicBezTo>
                      <a:pt x="56" y="601"/>
                      <a:pt x="59" y="598"/>
                      <a:pt x="62" y="595"/>
                    </a:cubicBezTo>
                    <a:cubicBezTo>
                      <a:pt x="62" y="584"/>
                      <a:pt x="67" y="575"/>
                      <a:pt x="71" y="566"/>
                    </a:cubicBezTo>
                    <a:cubicBezTo>
                      <a:pt x="78" y="561"/>
                      <a:pt x="85" y="555"/>
                      <a:pt x="90" y="548"/>
                    </a:cubicBezTo>
                    <a:cubicBezTo>
                      <a:pt x="92" y="542"/>
                      <a:pt x="92" y="536"/>
                      <a:pt x="93" y="530"/>
                    </a:cubicBezTo>
                    <a:cubicBezTo>
                      <a:pt x="102" y="526"/>
                      <a:pt x="111" y="521"/>
                      <a:pt x="120" y="517"/>
                    </a:cubicBezTo>
                    <a:cubicBezTo>
                      <a:pt x="130" y="506"/>
                      <a:pt x="142" y="495"/>
                      <a:pt x="146" y="481"/>
                    </a:cubicBezTo>
                    <a:cubicBezTo>
                      <a:pt x="151" y="471"/>
                      <a:pt x="152" y="461"/>
                      <a:pt x="154" y="451"/>
                    </a:cubicBezTo>
                    <a:cubicBezTo>
                      <a:pt x="155" y="442"/>
                      <a:pt x="153" y="434"/>
                      <a:pt x="155" y="426"/>
                    </a:cubicBezTo>
                    <a:cubicBezTo>
                      <a:pt x="159" y="416"/>
                      <a:pt x="158" y="406"/>
                      <a:pt x="156" y="397"/>
                    </a:cubicBezTo>
                    <a:cubicBezTo>
                      <a:pt x="156" y="392"/>
                      <a:pt x="160" y="389"/>
                      <a:pt x="162" y="385"/>
                    </a:cubicBezTo>
                    <a:cubicBezTo>
                      <a:pt x="160" y="377"/>
                      <a:pt x="158" y="368"/>
                      <a:pt x="157" y="360"/>
                    </a:cubicBezTo>
                    <a:cubicBezTo>
                      <a:pt x="153" y="355"/>
                      <a:pt x="148" y="352"/>
                      <a:pt x="144" y="349"/>
                    </a:cubicBezTo>
                    <a:cubicBezTo>
                      <a:pt x="139" y="346"/>
                      <a:pt x="138" y="342"/>
                      <a:pt x="136" y="338"/>
                    </a:cubicBezTo>
                    <a:cubicBezTo>
                      <a:pt x="134" y="331"/>
                      <a:pt x="130" y="325"/>
                      <a:pt x="125" y="319"/>
                    </a:cubicBezTo>
                    <a:cubicBezTo>
                      <a:pt x="121" y="307"/>
                      <a:pt x="116" y="295"/>
                      <a:pt x="114" y="282"/>
                    </a:cubicBezTo>
                    <a:cubicBezTo>
                      <a:pt x="112" y="271"/>
                      <a:pt x="107" y="260"/>
                      <a:pt x="107" y="248"/>
                    </a:cubicBezTo>
                    <a:cubicBezTo>
                      <a:pt x="109" y="244"/>
                      <a:pt x="112" y="240"/>
                      <a:pt x="115" y="237"/>
                    </a:cubicBezTo>
                    <a:cubicBezTo>
                      <a:pt x="118" y="233"/>
                      <a:pt x="125" y="230"/>
                      <a:pt x="124" y="224"/>
                    </a:cubicBezTo>
                    <a:cubicBezTo>
                      <a:pt x="125" y="213"/>
                      <a:pt x="124" y="202"/>
                      <a:pt x="120" y="191"/>
                    </a:cubicBezTo>
                    <a:cubicBezTo>
                      <a:pt x="120" y="185"/>
                      <a:pt x="113" y="181"/>
                      <a:pt x="111" y="175"/>
                    </a:cubicBezTo>
                    <a:cubicBezTo>
                      <a:pt x="105" y="162"/>
                      <a:pt x="101" y="147"/>
                      <a:pt x="97" y="133"/>
                    </a:cubicBezTo>
                    <a:cubicBezTo>
                      <a:pt x="92" y="121"/>
                      <a:pt x="92" y="108"/>
                      <a:pt x="87" y="96"/>
                    </a:cubicBezTo>
                    <a:cubicBezTo>
                      <a:pt x="81" y="87"/>
                      <a:pt x="72" y="78"/>
                      <a:pt x="66" y="68"/>
                    </a:cubicBezTo>
                    <a:cubicBezTo>
                      <a:pt x="62" y="58"/>
                      <a:pt x="54" y="50"/>
                      <a:pt x="49" y="40"/>
                    </a:cubicBezTo>
                    <a:cubicBezTo>
                      <a:pt x="49" y="36"/>
                      <a:pt x="47" y="31"/>
                      <a:pt x="47" y="27"/>
                    </a:cubicBezTo>
                    <a:cubicBezTo>
                      <a:pt x="48" y="24"/>
                      <a:pt x="51" y="23"/>
                      <a:pt x="53" y="22"/>
                    </a:cubicBezTo>
                    <a:cubicBezTo>
                      <a:pt x="57" y="21"/>
                      <a:pt x="62" y="23"/>
                      <a:pt x="65" y="20"/>
                    </a:cubicBezTo>
                    <a:cubicBezTo>
                      <a:pt x="68" y="20"/>
                      <a:pt x="69" y="19"/>
                      <a:pt x="72" y="19"/>
                    </a:cubicBezTo>
                    <a:cubicBezTo>
                      <a:pt x="75" y="20"/>
                      <a:pt x="77" y="14"/>
                      <a:pt x="80" y="17"/>
                    </a:cubicBezTo>
                    <a:cubicBezTo>
                      <a:pt x="83" y="16"/>
                      <a:pt x="86" y="17"/>
                      <a:pt x="88" y="16"/>
                    </a:cubicBezTo>
                    <a:cubicBezTo>
                      <a:pt x="91" y="14"/>
                      <a:pt x="96" y="14"/>
                      <a:pt x="98" y="10"/>
                    </a:cubicBezTo>
                    <a:cubicBezTo>
                      <a:pt x="98" y="7"/>
                      <a:pt x="101" y="7"/>
                      <a:pt x="104" y="7"/>
                    </a:cubicBezTo>
                    <a:cubicBezTo>
                      <a:pt x="106" y="4"/>
                      <a:pt x="108" y="9"/>
                      <a:pt x="111" y="8"/>
                    </a:cubicBezTo>
                    <a:cubicBezTo>
                      <a:pt x="111" y="7"/>
                      <a:pt x="115" y="6"/>
                      <a:pt x="115" y="5"/>
                    </a:cubicBezTo>
                    <a:cubicBezTo>
                      <a:pt x="122" y="6"/>
                      <a:pt x="129" y="6"/>
                      <a:pt x="136" y="4"/>
                    </a:cubicBezTo>
                    <a:cubicBezTo>
                      <a:pt x="148" y="5"/>
                      <a:pt x="160" y="5"/>
                      <a:pt x="172" y="3"/>
                    </a:cubicBezTo>
                    <a:cubicBezTo>
                      <a:pt x="187" y="6"/>
                      <a:pt x="205" y="7"/>
                      <a:pt x="221" y="8"/>
                    </a:cubicBezTo>
                    <a:cubicBezTo>
                      <a:pt x="234" y="5"/>
                      <a:pt x="249" y="5"/>
                      <a:pt x="263" y="5"/>
                    </a:cubicBezTo>
                    <a:cubicBezTo>
                      <a:pt x="287" y="4"/>
                      <a:pt x="311" y="5"/>
                      <a:pt x="336" y="4"/>
                    </a:cubicBezTo>
                    <a:cubicBezTo>
                      <a:pt x="349" y="5"/>
                      <a:pt x="374" y="0"/>
                      <a:pt x="373" y="19"/>
                    </a:cubicBezTo>
                    <a:cubicBezTo>
                      <a:pt x="387" y="28"/>
                      <a:pt x="377" y="43"/>
                      <a:pt x="383" y="55"/>
                    </a:cubicBezTo>
                    <a:cubicBezTo>
                      <a:pt x="385" y="70"/>
                      <a:pt x="399" y="81"/>
                      <a:pt x="400" y="95"/>
                    </a:cubicBezTo>
                    <a:cubicBezTo>
                      <a:pt x="392" y="103"/>
                      <a:pt x="405" y="114"/>
                      <a:pt x="409" y="120"/>
                    </a:cubicBezTo>
                    <a:cubicBezTo>
                      <a:pt x="416" y="123"/>
                      <a:pt x="413" y="124"/>
                      <a:pt x="416" y="130"/>
                    </a:cubicBezTo>
                    <a:cubicBezTo>
                      <a:pt x="425" y="141"/>
                      <a:pt x="431" y="155"/>
                      <a:pt x="440" y="166"/>
                    </a:cubicBezTo>
                    <a:cubicBezTo>
                      <a:pt x="445" y="181"/>
                      <a:pt x="464" y="166"/>
                      <a:pt x="474" y="171"/>
                    </a:cubicBezTo>
                    <a:cubicBezTo>
                      <a:pt x="483" y="181"/>
                      <a:pt x="485" y="167"/>
                      <a:pt x="493" y="166"/>
                    </a:cubicBezTo>
                    <a:cubicBezTo>
                      <a:pt x="506" y="170"/>
                      <a:pt x="516" y="163"/>
                      <a:pt x="528" y="161"/>
                    </a:cubicBezTo>
                    <a:cubicBezTo>
                      <a:pt x="539" y="168"/>
                      <a:pt x="553" y="166"/>
                      <a:pt x="567" y="166"/>
                    </a:cubicBezTo>
                    <a:cubicBezTo>
                      <a:pt x="584" y="172"/>
                      <a:pt x="578" y="154"/>
                      <a:pt x="582" y="144"/>
                    </a:cubicBezTo>
                    <a:cubicBezTo>
                      <a:pt x="575" y="133"/>
                      <a:pt x="593" y="135"/>
                      <a:pt x="592" y="125"/>
                    </a:cubicBezTo>
                    <a:cubicBezTo>
                      <a:pt x="586" y="113"/>
                      <a:pt x="592" y="102"/>
                      <a:pt x="593" y="91"/>
                    </a:cubicBezTo>
                    <a:cubicBezTo>
                      <a:pt x="609" y="91"/>
                      <a:pt x="624" y="91"/>
                      <a:pt x="639" y="91"/>
                    </a:cubicBezTo>
                    <a:cubicBezTo>
                      <a:pt x="650" y="96"/>
                      <a:pt x="652" y="81"/>
                      <a:pt x="662" y="85"/>
                    </a:cubicBezTo>
                    <a:cubicBezTo>
                      <a:pt x="685" y="80"/>
                      <a:pt x="663" y="102"/>
                      <a:pt x="668" y="113"/>
                    </a:cubicBezTo>
                    <a:cubicBezTo>
                      <a:pt x="693" y="113"/>
                      <a:pt x="718" y="112"/>
                      <a:pt x="743" y="113"/>
                    </a:cubicBezTo>
                    <a:cubicBezTo>
                      <a:pt x="752" y="112"/>
                      <a:pt x="767" y="111"/>
                      <a:pt x="766" y="124"/>
                    </a:cubicBezTo>
                    <a:cubicBezTo>
                      <a:pt x="768" y="137"/>
                      <a:pt x="759" y="148"/>
                      <a:pt x="759" y="161"/>
                    </a:cubicBezTo>
                    <a:cubicBezTo>
                      <a:pt x="762" y="178"/>
                      <a:pt x="776" y="195"/>
                      <a:pt x="770" y="213"/>
                    </a:cubicBezTo>
                    <a:cubicBezTo>
                      <a:pt x="763" y="231"/>
                      <a:pt x="766" y="250"/>
                      <a:pt x="762" y="268"/>
                    </a:cubicBezTo>
                    <a:cubicBezTo>
                      <a:pt x="758" y="282"/>
                      <a:pt x="767" y="294"/>
                      <a:pt x="776" y="305"/>
                    </a:cubicBezTo>
                    <a:cubicBezTo>
                      <a:pt x="793" y="311"/>
                      <a:pt x="788" y="331"/>
                      <a:pt x="797" y="344"/>
                    </a:cubicBezTo>
                    <a:cubicBezTo>
                      <a:pt x="791" y="355"/>
                      <a:pt x="806" y="373"/>
                      <a:pt x="790" y="379"/>
                    </a:cubicBezTo>
                    <a:cubicBezTo>
                      <a:pt x="781" y="387"/>
                      <a:pt x="794" y="398"/>
                      <a:pt x="792" y="408"/>
                    </a:cubicBezTo>
                    <a:cubicBezTo>
                      <a:pt x="791" y="409"/>
                      <a:pt x="790" y="410"/>
                      <a:pt x="792" y="410"/>
                    </a:cubicBezTo>
                    <a:cubicBezTo>
                      <a:pt x="792" y="409"/>
                      <a:pt x="792" y="409"/>
                      <a:pt x="792" y="408"/>
                    </a:cubicBezTo>
                    <a:cubicBezTo>
                      <a:pt x="797" y="406"/>
                      <a:pt x="809" y="403"/>
                      <a:pt x="813" y="398"/>
                    </a:cubicBezTo>
                    <a:cubicBezTo>
                      <a:pt x="816" y="400"/>
                      <a:pt x="833" y="402"/>
                      <a:pt x="839" y="399"/>
                    </a:cubicBezTo>
                    <a:cubicBezTo>
                      <a:pt x="854" y="406"/>
                      <a:pt x="868" y="396"/>
                      <a:pt x="882" y="391"/>
                    </a:cubicBezTo>
                    <a:cubicBezTo>
                      <a:pt x="895" y="392"/>
                      <a:pt x="914" y="403"/>
                      <a:pt x="921" y="386"/>
                    </a:cubicBezTo>
                    <a:cubicBezTo>
                      <a:pt x="923" y="387"/>
                      <a:pt x="923" y="387"/>
                      <a:pt x="923" y="387"/>
                    </a:cubicBezTo>
                    <a:cubicBezTo>
                      <a:pt x="922" y="388"/>
                      <a:pt x="922" y="389"/>
                      <a:pt x="923" y="391"/>
                    </a:cubicBezTo>
                    <a:cubicBezTo>
                      <a:pt x="923" y="403"/>
                      <a:pt x="926" y="416"/>
                      <a:pt x="925" y="428"/>
                    </a:cubicBezTo>
                    <a:cubicBezTo>
                      <a:pt x="917" y="439"/>
                      <a:pt x="922" y="451"/>
                      <a:pt x="920" y="463"/>
                    </a:cubicBezTo>
                    <a:cubicBezTo>
                      <a:pt x="916" y="475"/>
                      <a:pt x="921" y="487"/>
                      <a:pt x="923" y="498"/>
                    </a:cubicBezTo>
                    <a:cubicBezTo>
                      <a:pt x="915" y="512"/>
                      <a:pt x="904" y="531"/>
                      <a:pt x="919" y="543"/>
                    </a:cubicBezTo>
                    <a:cubicBezTo>
                      <a:pt x="909" y="549"/>
                      <a:pt x="891" y="544"/>
                      <a:pt x="877" y="545"/>
                    </a:cubicBezTo>
                    <a:cubicBezTo>
                      <a:pt x="842" y="545"/>
                      <a:pt x="806" y="544"/>
                      <a:pt x="771" y="544"/>
                    </a:cubicBezTo>
                    <a:cubicBezTo>
                      <a:pt x="769" y="623"/>
                      <a:pt x="767" y="702"/>
                      <a:pt x="765" y="782"/>
                    </a:cubicBezTo>
                    <a:cubicBezTo>
                      <a:pt x="776" y="793"/>
                      <a:pt x="771" y="812"/>
                      <a:pt x="788" y="818"/>
                    </a:cubicBezTo>
                    <a:cubicBezTo>
                      <a:pt x="805" y="831"/>
                      <a:pt x="816" y="850"/>
                      <a:pt x="833" y="863"/>
                    </a:cubicBezTo>
                    <a:cubicBezTo>
                      <a:pt x="843" y="873"/>
                      <a:pt x="851" y="885"/>
                      <a:pt x="865" y="890"/>
                    </a:cubicBezTo>
                    <a:cubicBezTo>
                      <a:pt x="866" y="890"/>
                      <a:pt x="868" y="891"/>
                      <a:pt x="869" y="891"/>
                    </a:cubicBezTo>
                    <a:cubicBezTo>
                      <a:pt x="869" y="893"/>
                      <a:pt x="869" y="893"/>
                      <a:pt x="869" y="893"/>
                    </a:cubicBezTo>
                    <a:cubicBezTo>
                      <a:pt x="818" y="902"/>
                      <a:pt x="767" y="911"/>
                      <a:pt x="716" y="920"/>
                    </a:cubicBezTo>
                    <a:cubicBezTo>
                      <a:pt x="703" y="906"/>
                      <a:pt x="685" y="921"/>
                      <a:pt x="671" y="919"/>
                    </a:cubicBezTo>
                    <a:cubicBezTo>
                      <a:pt x="656" y="920"/>
                      <a:pt x="645" y="904"/>
                      <a:pt x="630" y="910"/>
                    </a:cubicBezTo>
                    <a:cubicBezTo>
                      <a:pt x="613" y="910"/>
                      <a:pt x="596" y="906"/>
                      <a:pt x="579" y="908"/>
                    </a:cubicBezTo>
                    <a:cubicBezTo>
                      <a:pt x="565" y="903"/>
                      <a:pt x="551" y="905"/>
                      <a:pt x="537" y="903"/>
                    </a:cubicBezTo>
                    <a:cubicBezTo>
                      <a:pt x="523" y="899"/>
                      <a:pt x="514" y="887"/>
                      <a:pt x="506" y="876"/>
                    </a:cubicBezTo>
                    <a:cubicBezTo>
                      <a:pt x="497" y="867"/>
                      <a:pt x="483" y="873"/>
                      <a:pt x="472" y="872"/>
                    </a:cubicBezTo>
                    <a:cubicBezTo>
                      <a:pt x="387" y="872"/>
                      <a:pt x="303" y="871"/>
                      <a:pt x="219" y="871"/>
                    </a:cubicBezTo>
                    <a:cubicBezTo>
                      <a:pt x="205" y="869"/>
                      <a:pt x="193" y="874"/>
                      <a:pt x="179" y="874"/>
                    </a:cubicBezTo>
                    <a:cubicBezTo>
                      <a:pt x="168" y="865"/>
                      <a:pt x="152" y="862"/>
                      <a:pt x="144" y="850"/>
                    </a:cubicBezTo>
                    <a:cubicBezTo>
                      <a:pt x="133" y="838"/>
                      <a:pt x="116" y="839"/>
                      <a:pt x="103" y="843"/>
                    </a:cubicBezTo>
                    <a:cubicBezTo>
                      <a:pt x="87" y="852"/>
                      <a:pt x="72" y="864"/>
                      <a:pt x="55" y="859"/>
                    </a:cubicBezTo>
                    <a:cubicBezTo>
                      <a:pt x="39" y="853"/>
                      <a:pt x="30" y="853"/>
                      <a:pt x="19" y="863"/>
                    </a:cubicBezTo>
                    <a:cubicBezTo>
                      <a:pt x="17" y="863"/>
                      <a:pt x="17" y="863"/>
                      <a:pt x="17" y="863"/>
                    </a:cubicBezTo>
                    <a:cubicBezTo>
                      <a:pt x="7" y="862"/>
                      <a:pt x="7" y="862"/>
                      <a:pt x="7" y="862"/>
                    </a:cubicBezTo>
                    <a:lnTo>
                      <a:pt x="6" y="862"/>
                    </a:ln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34358" name="Andorra"/>
              <p:cNvSpPr>
                <a:spLocks/>
              </p:cNvSpPr>
              <p:nvPr>
                <p:custDataLst>
                  <p:tags r:id="rId128"/>
                </p:custDataLst>
              </p:nvPr>
            </p:nvSpPr>
            <p:spPr bwMode="auto">
              <a:xfrm>
                <a:off x="4250931" y="3183894"/>
                <a:ext cx="36000" cy="36000"/>
              </a:xfrm>
              <a:custGeom>
                <a:avLst/>
                <a:gdLst>
                  <a:gd name="T0" fmla="*/ 0 w 10"/>
                  <a:gd name="T1" fmla="*/ 25714 h 7"/>
                  <a:gd name="T2" fmla="*/ 14400 w 10"/>
                  <a:gd name="T3" fmla="*/ 36000 h 7"/>
                  <a:gd name="T4" fmla="*/ 36000 w 10"/>
                  <a:gd name="T5" fmla="*/ 36000 h 7"/>
                  <a:gd name="T6" fmla="*/ 36000 w 10"/>
                  <a:gd name="T7" fmla="*/ 25714 h 7"/>
                  <a:gd name="T8" fmla="*/ 28800 w 10"/>
                  <a:gd name="T9" fmla="*/ 25714 h 7"/>
                  <a:gd name="T10" fmla="*/ 0 w 10"/>
                  <a:gd name="T11" fmla="*/ 0 h 7"/>
                  <a:gd name="T12" fmla="*/ 0 w 10"/>
                  <a:gd name="T13" fmla="*/ 10286 h 7"/>
                  <a:gd name="T14" fmla="*/ 0 w 10"/>
                  <a:gd name="T15" fmla="*/ 25714 h 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"/>
                  <a:gd name="T25" fmla="*/ 0 h 7"/>
                  <a:gd name="T26" fmla="*/ 10 w 10"/>
                  <a:gd name="T27" fmla="*/ 7 h 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" h="7">
                    <a:moveTo>
                      <a:pt x="0" y="5"/>
                    </a:moveTo>
                    <a:lnTo>
                      <a:pt x="4" y="7"/>
                    </a:lnTo>
                    <a:lnTo>
                      <a:pt x="10" y="7"/>
                    </a:lnTo>
                    <a:lnTo>
                      <a:pt x="10" y="5"/>
                    </a:lnTo>
                    <a:lnTo>
                      <a:pt x="8" y="5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34359" name="Algeria"/>
              <p:cNvSpPr>
                <a:spLocks/>
              </p:cNvSpPr>
              <p:nvPr/>
            </p:nvSpPr>
            <p:spPr bwMode="auto">
              <a:xfrm>
                <a:off x="4038733" y="3381292"/>
                <a:ext cx="511985" cy="574977"/>
              </a:xfrm>
              <a:custGeom>
                <a:avLst/>
                <a:gdLst>
                  <a:gd name="T0" fmla="*/ 159858579 w 1408"/>
                  <a:gd name="T1" fmla="*/ 2976681 h 1333"/>
                  <a:gd name="T2" fmla="*/ 160784006 w 1408"/>
                  <a:gd name="T3" fmla="*/ 2976681 h 1333"/>
                  <a:gd name="T4" fmla="*/ 157346290 w 1408"/>
                  <a:gd name="T5" fmla="*/ 7814167 h 1333"/>
                  <a:gd name="T6" fmla="*/ 157081571 w 1408"/>
                  <a:gd name="T7" fmla="*/ 18605445 h 1333"/>
                  <a:gd name="T8" fmla="*/ 156949575 w 1408"/>
                  <a:gd name="T9" fmla="*/ 29024479 h 1333"/>
                  <a:gd name="T10" fmla="*/ 152718427 w 1408"/>
                  <a:gd name="T11" fmla="*/ 36838643 h 1333"/>
                  <a:gd name="T12" fmla="*/ 150999569 w 1408"/>
                  <a:gd name="T13" fmla="*/ 52095154 h 1333"/>
                  <a:gd name="T14" fmla="*/ 156023784 w 1408"/>
                  <a:gd name="T15" fmla="*/ 62142380 h 1333"/>
                  <a:gd name="T16" fmla="*/ 165279509 w 1408"/>
                  <a:gd name="T17" fmla="*/ 91725000 h 1333"/>
                  <a:gd name="T18" fmla="*/ 165543865 w 1408"/>
                  <a:gd name="T19" fmla="*/ 93585371 h 1333"/>
                  <a:gd name="T20" fmla="*/ 167659439 w 1408"/>
                  <a:gd name="T21" fmla="*/ 116656504 h 1333"/>
                  <a:gd name="T22" fmla="*/ 167263087 w 1408"/>
                  <a:gd name="T23" fmla="*/ 129679965 h 1333"/>
                  <a:gd name="T24" fmla="*/ 166469656 w 1408"/>
                  <a:gd name="T25" fmla="*/ 144936476 h 1333"/>
                  <a:gd name="T26" fmla="*/ 168452870 w 1408"/>
                  <a:gd name="T27" fmla="*/ 160565234 h 1333"/>
                  <a:gd name="T28" fmla="*/ 172684017 w 1408"/>
                  <a:gd name="T29" fmla="*/ 172286479 h 1333"/>
                  <a:gd name="T30" fmla="*/ 182336458 w 1408"/>
                  <a:gd name="T31" fmla="*/ 174891344 h 1333"/>
                  <a:gd name="T32" fmla="*/ 142669271 w 1408"/>
                  <a:gd name="T33" fmla="*/ 222149432 h 1333"/>
                  <a:gd name="T34" fmla="*/ 111596737 w 1408"/>
                  <a:gd name="T35" fmla="*/ 245220160 h 1333"/>
                  <a:gd name="T36" fmla="*/ 101415584 w 1408"/>
                  <a:gd name="T37" fmla="*/ 243359357 h 1333"/>
                  <a:gd name="T38" fmla="*/ 96787722 w 1408"/>
                  <a:gd name="T39" fmla="*/ 232754422 h 1333"/>
                  <a:gd name="T40" fmla="*/ 88193045 w 1408"/>
                  <a:gd name="T41" fmla="*/ 227358784 h 1333"/>
                  <a:gd name="T42" fmla="*/ 83565182 w 1408"/>
                  <a:gd name="T43" fmla="*/ 217125610 h 1333"/>
                  <a:gd name="T44" fmla="*/ 31733616 w 1408"/>
                  <a:gd name="T45" fmla="*/ 160565234 h 1333"/>
                  <a:gd name="T46" fmla="*/ 0 w 1408"/>
                  <a:gd name="T47" fmla="*/ 126331038 h 1333"/>
                  <a:gd name="T48" fmla="*/ 2115574 w 1408"/>
                  <a:gd name="T49" fmla="*/ 106609264 h 1333"/>
                  <a:gd name="T50" fmla="*/ 9916800 w 1408"/>
                  <a:gd name="T51" fmla="*/ 100283657 h 1333"/>
                  <a:gd name="T52" fmla="*/ 19304524 w 1408"/>
                  <a:gd name="T53" fmla="*/ 95446174 h 1333"/>
                  <a:gd name="T54" fmla="*/ 29353687 w 1408"/>
                  <a:gd name="T55" fmla="*/ 92469062 h 1333"/>
                  <a:gd name="T56" fmla="*/ 40063915 w 1408"/>
                  <a:gd name="T57" fmla="*/ 83352682 h 1333"/>
                  <a:gd name="T58" fmla="*/ 48658217 w 1408"/>
                  <a:gd name="T59" fmla="*/ 79073354 h 1333"/>
                  <a:gd name="T60" fmla="*/ 48658217 w 1408"/>
                  <a:gd name="T61" fmla="*/ 71631006 h 1333"/>
                  <a:gd name="T62" fmla="*/ 56988515 w 1408"/>
                  <a:gd name="T63" fmla="*/ 65119060 h 1333"/>
                  <a:gd name="T64" fmla="*/ 69417601 w 1408"/>
                  <a:gd name="T65" fmla="*/ 64374998 h 1333"/>
                  <a:gd name="T66" fmla="*/ 73119673 w 1408"/>
                  <a:gd name="T67" fmla="*/ 60281577 h 1333"/>
                  <a:gd name="T68" fmla="*/ 71004100 w 1408"/>
                  <a:gd name="T69" fmla="*/ 51723338 h 1333"/>
                  <a:gd name="T70" fmla="*/ 70078673 w 1408"/>
                  <a:gd name="T71" fmla="*/ 41117971 h 1333"/>
                  <a:gd name="T72" fmla="*/ 70210669 w 1408"/>
                  <a:gd name="T73" fmla="*/ 30885282 h 1333"/>
                  <a:gd name="T74" fmla="*/ 67566383 w 1408"/>
                  <a:gd name="T75" fmla="*/ 23257020 h 1333"/>
                  <a:gd name="T76" fmla="*/ 71268455 w 1408"/>
                  <a:gd name="T77" fmla="*/ 23442928 h 1333"/>
                  <a:gd name="T78" fmla="*/ 78144252 w 1408"/>
                  <a:gd name="T79" fmla="*/ 17675043 h 1333"/>
                  <a:gd name="T80" fmla="*/ 82904111 w 1408"/>
                  <a:gd name="T81" fmla="*/ 15256518 h 1333"/>
                  <a:gd name="T82" fmla="*/ 85945475 w 1408"/>
                  <a:gd name="T83" fmla="*/ 14140209 h 1333"/>
                  <a:gd name="T84" fmla="*/ 88986476 w 1408"/>
                  <a:gd name="T85" fmla="*/ 12837989 h 1333"/>
                  <a:gd name="T86" fmla="*/ 94804485 w 1408"/>
                  <a:gd name="T87" fmla="*/ 7814167 h 1333"/>
                  <a:gd name="T88" fmla="*/ 104985660 w 1408"/>
                  <a:gd name="T89" fmla="*/ 5395639 h 1333"/>
                  <a:gd name="T90" fmla="*/ 112918880 w 1408"/>
                  <a:gd name="T91" fmla="*/ 4092991 h 1333"/>
                  <a:gd name="T92" fmla="*/ 117150027 w 1408"/>
                  <a:gd name="T93" fmla="*/ 3163020 h 1333"/>
                  <a:gd name="T94" fmla="*/ 122042609 w 1408"/>
                  <a:gd name="T95" fmla="*/ 1860372 h 1333"/>
                  <a:gd name="T96" fmla="*/ 130240185 w 1408"/>
                  <a:gd name="T97" fmla="*/ 2604866 h 1333"/>
                  <a:gd name="T98" fmla="*/ 133810261 w 1408"/>
                  <a:gd name="T99" fmla="*/ 5023392 h 1333"/>
                  <a:gd name="T100" fmla="*/ 140421701 w 1408"/>
                  <a:gd name="T101" fmla="*/ 2418527 h 1333"/>
                  <a:gd name="T102" fmla="*/ 144917204 w 1408"/>
                  <a:gd name="T103" fmla="*/ 1860372 h 1333"/>
                  <a:gd name="T104" fmla="*/ 148487280 w 1408"/>
                  <a:gd name="T105" fmla="*/ 2232619 h 1333"/>
                  <a:gd name="T106" fmla="*/ 152057356 w 1408"/>
                  <a:gd name="T107" fmla="*/ 1674464 h 1333"/>
                  <a:gd name="T108" fmla="*/ 157346290 w 1408"/>
                  <a:gd name="T109" fmla="*/ 2604866 h 133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408"/>
                  <a:gd name="T166" fmla="*/ 0 h 1333"/>
                  <a:gd name="T167" fmla="*/ 1408 w 1408"/>
                  <a:gd name="T168" fmla="*/ 1333 h 133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408" h="1333">
                    <a:moveTo>
                      <a:pt x="1190" y="14"/>
                    </a:moveTo>
                    <a:cubicBezTo>
                      <a:pt x="1196" y="15"/>
                      <a:pt x="1202" y="17"/>
                      <a:pt x="1209" y="16"/>
                    </a:cubicBezTo>
                    <a:cubicBezTo>
                      <a:pt x="1211" y="16"/>
                      <a:pt x="1213" y="16"/>
                      <a:pt x="1215" y="15"/>
                    </a:cubicBezTo>
                    <a:cubicBezTo>
                      <a:pt x="1216" y="16"/>
                      <a:pt x="1216" y="16"/>
                      <a:pt x="1216" y="16"/>
                    </a:cubicBezTo>
                    <a:cubicBezTo>
                      <a:pt x="1220" y="30"/>
                      <a:pt x="1210" y="23"/>
                      <a:pt x="1203" y="27"/>
                    </a:cubicBezTo>
                    <a:cubicBezTo>
                      <a:pt x="1209" y="36"/>
                      <a:pt x="1197" y="41"/>
                      <a:pt x="1190" y="42"/>
                    </a:cubicBezTo>
                    <a:cubicBezTo>
                      <a:pt x="1181" y="48"/>
                      <a:pt x="1194" y="48"/>
                      <a:pt x="1197" y="52"/>
                    </a:cubicBezTo>
                    <a:cubicBezTo>
                      <a:pt x="1196" y="68"/>
                      <a:pt x="1187" y="83"/>
                      <a:pt x="1188" y="100"/>
                    </a:cubicBezTo>
                    <a:cubicBezTo>
                      <a:pt x="1197" y="110"/>
                      <a:pt x="1189" y="121"/>
                      <a:pt x="1189" y="132"/>
                    </a:cubicBezTo>
                    <a:cubicBezTo>
                      <a:pt x="1204" y="137"/>
                      <a:pt x="1188" y="146"/>
                      <a:pt x="1187" y="156"/>
                    </a:cubicBezTo>
                    <a:cubicBezTo>
                      <a:pt x="1183" y="159"/>
                      <a:pt x="1184" y="164"/>
                      <a:pt x="1185" y="169"/>
                    </a:cubicBezTo>
                    <a:cubicBezTo>
                      <a:pt x="1185" y="187"/>
                      <a:pt x="1166" y="190"/>
                      <a:pt x="1155" y="198"/>
                    </a:cubicBezTo>
                    <a:cubicBezTo>
                      <a:pt x="1152" y="214"/>
                      <a:pt x="1129" y="212"/>
                      <a:pt x="1130" y="230"/>
                    </a:cubicBezTo>
                    <a:cubicBezTo>
                      <a:pt x="1127" y="249"/>
                      <a:pt x="1146" y="262"/>
                      <a:pt x="1142" y="280"/>
                    </a:cubicBezTo>
                    <a:cubicBezTo>
                      <a:pt x="1150" y="290"/>
                      <a:pt x="1169" y="289"/>
                      <a:pt x="1173" y="304"/>
                    </a:cubicBezTo>
                    <a:cubicBezTo>
                      <a:pt x="1181" y="312"/>
                      <a:pt x="1179" y="324"/>
                      <a:pt x="1180" y="334"/>
                    </a:cubicBezTo>
                    <a:cubicBezTo>
                      <a:pt x="1195" y="345"/>
                      <a:pt x="1211" y="356"/>
                      <a:pt x="1226" y="367"/>
                    </a:cubicBezTo>
                    <a:cubicBezTo>
                      <a:pt x="1234" y="409"/>
                      <a:pt x="1242" y="451"/>
                      <a:pt x="1250" y="493"/>
                    </a:cubicBezTo>
                    <a:cubicBezTo>
                      <a:pt x="1250" y="497"/>
                      <a:pt x="1251" y="500"/>
                      <a:pt x="1253" y="500"/>
                    </a:cubicBezTo>
                    <a:cubicBezTo>
                      <a:pt x="1252" y="503"/>
                      <a:pt x="1252" y="503"/>
                      <a:pt x="1252" y="503"/>
                    </a:cubicBezTo>
                    <a:cubicBezTo>
                      <a:pt x="1245" y="506"/>
                      <a:pt x="1231" y="511"/>
                      <a:pt x="1243" y="519"/>
                    </a:cubicBezTo>
                    <a:cubicBezTo>
                      <a:pt x="1266" y="549"/>
                      <a:pt x="1277" y="590"/>
                      <a:pt x="1268" y="627"/>
                    </a:cubicBezTo>
                    <a:cubicBezTo>
                      <a:pt x="1265" y="637"/>
                      <a:pt x="1262" y="649"/>
                      <a:pt x="1268" y="659"/>
                    </a:cubicBezTo>
                    <a:cubicBezTo>
                      <a:pt x="1274" y="671"/>
                      <a:pt x="1277" y="687"/>
                      <a:pt x="1265" y="697"/>
                    </a:cubicBezTo>
                    <a:cubicBezTo>
                      <a:pt x="1259" y="710"/>
                      <a:pt x="1256" y="724"/>
                      <a:pt x="1263" y="738"/>
                    </a:cubicBezTo>
                    <a:cubicBezTo>
                      <a:pt x="1269" y="750"/>
                      <a:pt x="1274" y="771"/>
                      <a:pt x="1259" y="779"/>
                    </a:cubicBezTo>
                    <a:cubicBezTo>
                      <a:pt x="1247" y="783"/>
                      <a:pt x="1233" y="789"/>
                      <a:pt x="1232" y="803"/>
                    </a:cubicBezTo>
                    <a:cubicBezTo>
                      <a:pt x="1246" y="823"/>
                      <a:pt x="1260" y="843"/>
                      <a:pt x="1274" y="863"/>
                    </a:cubicBezTo>
                    <a:cubicBezTo>
                      <a:pt x="1277" y="876"/>
                      <a:pt x="1268" y="895"/>
                      <a:pt x="1280" y="903"/>
                    </a:cubicBezTo>
                    <a:cubicBezTo>
                      <a:pt x="1290" y="910"/>
                      <a:pt x="1290" y="930"/>
                      <a:pt x="1306" y="926"/>
                    </a:cubicBezTo>
                    <a:cubicBezTo>
                      <a:pt x="1318" y="916"/>
                      <a:pt x="1331" y="926"/>
                      <a:pt x="1344" y="929"/>
                    </a:cubicBezTo>
                    <a:cubicBezTo>
                      <a:pt x="1355" y="933"/>
                      <a:pt x="1367" y="936"/>
                      <a:pt x="1379" y="940"/>
                    </a:cubicBezTo>
                    <a:cubicBezTo>
                      <a:pt x="1389" y="960"/>
                      <a:pt x="1398" y="979"/>
                      <a:pt x="1408" y="998"/>
                    </a:cubicBezTo>
                    <a:cubicBezTo>
                      <a:pt x="1298" y="1062"/>
                      <a:pt x="1188" y="1128"/>
                      <a:pt x="1079" y="1194"/>
                    </a:cubicBezTo>
                    <a:cubicBezTo>
                      <a:pt x="1038" y="1228"/>
                      <a:pt x="998" y="1263"/>
                      <a:pt x="957" y="1297"/>
                    </a:cubicBezTo>
                    <a:cubicBezTo>
                      <a:pt x="919" y="1304"/>
                      <a:pt x="882" y="1311"/>
                      <a:pt x="844" y="1318"/>
                    </a:cubicBezTo>
                    <a:cubicBezTo>
                      <a:pt x="827" y="1321"/>
                      <a:pt x="811" y="1324"/>
                      <a:pt x="794" y="1326"/>
                    </a:cubicBezTo>
                    <a:cubicBezTo>
                      <a:pt x="783" y="1333"/>
                      <a:pt x="757" y="1323"/>
                      <a:pt x="767" y="1308"/>
                    </a:cubicBezTo>
                    <a:cubicBezTo>
                      <a:pt x="781" y="1298"/>
                      <a:pt x="768" y="1282"/>
                      <a:pt x="773" y="1268"/>
                    </a:cubicBezTo>
                    <a:cubicBezTo>
                      <a:pt x="763" y="1256"/>
                      <a:pt x="747" y="1254"/>
                      <a:pt x="732" y="1251"/>
                    </a:cubicBezTo>
                    <a:cubicBezTo>
                      <a:pt x="715" y="1255"/>
                      <a:pt x="714" y="1232"/>
                      <a:pt x="701" y="1231"/>
                    </a:cubicBezTo>
                    <a:cubicBezTo>
                      <a:pt x="688" y="1237"/>
                      <a:pt x="677" y="1230"/>
                      <a:pt x="667" y="1222"/>
                    </a:cubicBezTo>
                    <a:cubicBezTo>
                      <a:pt x="667" y="1205"/>
                      <a:pt x="650" y="1204"/>
                      <a:pt x="640" y="1195"/>
                    </a:cubicBezTo>
                    <a:cubicBezTo>
                      <a:pt x="621" y="1198"/>
                      <a:pt x="639" y="1176"/>
                      <a:pt x="632" y="1167"/>
                    </a:cubicBezTo>
                    <a:cubicBezTo>
                      <a:pt x="606" y="1148"/>
                      <a:pt x="579" y="1130"/>
                      <a:pt x="553" y="1111"/>
                    </a:cubicBezTo>
                    <a:cubicBezTo>
                      <a:pt x="450" y="1027"/>
                      <a:pt x="345" y="944"/>
                      <a:pt x="240" y="863"/>
                    </a:cubicBezTo>
                    <a:cubicBezTo>
                      <a:pt x="239" y="862"/>
                      <a:pt x="239" y="862"/>
                      <a:pt x="239" y="862"/>
                    </a:cubicBezTo>
                    <a:cubicBezTo>
                      <a:pt x="160" y="801"/>
                      <a:pt x="80" y="740"/>
                      <a:pt x="0" y="679"/>
                    </a:cubicBezTo>
                    <a:cubicBezTo>
                      <a:pt x="1" y="670"/>
                      <a:pt x="3" y="660"/>
                      <a:pt x="4" y="651"/>
                    </a:cubicBezTo>
                    <a:cubicBezTo>
                      <a:pt x="8" y="625"/>
                      <a:pt x="12" y="599"/>
                      <a:pt x="16" y="573"/>
                    </a:cubicBezTo>
                    <a:cubicBezTo>
                      <a:pt x="27" y="569"/>
                      <a:pt x="36" y="563"/>
                      <a:pt x="44" y="556"/>
                    </a:cubicBezTo>
                    <a:cubicBezTo>
                      <a:pt x="54" y="549"/>
                      <a:pt x="66" y="547"/>
                      <a:pt x="75" y="539"/>
                    </a:cubicBezTo>
                    <a:cubicBezTo>
                      <a:pt x="86" y="532"/>
                      <a:pt x="94" y="524"/>
                      <a:pt x="106" y="526"/>
                    </a:cubicBezTo>
                    <a:cubicBezTo>
                      <a:pt x="117" y="516"/>
                      <a:pt x="130" y="506"/>
                      <a:pt x="146" y="513"/>
                    </a:cubicBezTo>
                    <a:cubicBezTo>
                      <a:pt x="160" y="521"/>
                      <a:pt x="173" y="514"/>
                      <a:pt x="176" y="499"/>
                    </a:cubicBezTo>
                    <a:cubicBezTo>
                      <a:pt x="191" y="502"/>
                      <a:pt x="207" y="499"/>
                      <a:pt x="222" y="497"/>
                    </a:cubicBezTo>
                    <a:cubicBezTo>
                      <a:pt x="239" y="498"/>
                      <a:pt x="255" y="489"/>
                      <a:pt x="266" y="477"/>
                    </a:cubicBezTo>
                    <a:cubicBezTo>
                      <a:pt x="277" y="464"/>
                      <a:pt x="284" y="449"/>
                      <a:pt x="303" y="448"/>
                    </a:cubicBezTo>
                    <a:cubicBezTo>
                      <a:pt x="315" y="446"/>
                      <a:pt x="327" y="443"/>
                      <a:pt x="338" y="436"/>
                    </a:cubicBezTo>
                    <a:cubicBezTo>
                      <a:pt x="345" y="427"/>
                      <a:pt x="356" y="423"/>
                      <a:pt x="368" y="425"/>
                    </a:cubicBezTo>
                    <a:cubicBezTo>
                      <a:pt x="385" y="427"/>
                      <a:pt x="377" y="405"/>
                      <a:pt x="366" y="407"/>
                    </a:cubicBezTo>
                    <a:cubicBezTo>
                      <a:pt x="365" y="398"/>
                      <a:pt x="377" y="391"/>
                      <a:pt x="368" y="385"/>
                    </a:cubicBezTo>
                    <a:cubicBezTo>
                      <a:pt x="364" y="371"/>
                      <a:pt x="378" y="363"/>
                      <a:pt x="389" y="371"/>
                    </a:cubicBezTo>
                    <a:cubicBezTo>
                      <a:pt x="403" y="365"/>
                      <a:pt x="430" y="370"/>
                      <a:pt x="431" y="350"/>
                    </a:cubicBezTo>
                    <a:cubicBezTo>
                      <a:pt x="440" y="338"/>
                      <a:pt x="459" y="344"/>
                      <a:pt x="473" y="340"/>
                    </a:cubicBezTo>
                    <a:cubicBezTo>
                      <a:pt x="490" y="342"/>
                      <a:pt x="508" y="345"/>
                      <a:pt x="525" y="346"/>
                    </a:cubicBezTo>
                    <a:cubicBezTo>
                      <a:pt x="532" y="344"/>
                      <a:pt x="548" y="354"/>
                      <a:pt x="548" y="342"/>
                    </a:cubicBezTo>
                    <a:cubicBezTo>
                      <a:pt x="535" y="345"/>
                      <a:pt x="549" y="329"/>
                      <a:pt x="553" y="324"/>
                    </a:cubicBezTo>
                    <a:cubicBezTo>
                      <a:pt x="567" y="324"/>
                      <a:pt x="559" y="311"/>
                      <a:pt x="551" y="308"/>
                    </a:cubicBezTo>
                    <a:cubicBezTo>
                      <a:pt x="541" y="302"/>
                      <a:pt x="529" y="289"/>
                      <a:pt x="537" y="278"/>
                    </a:cubicBezTo>
                    <a:cubicBezTo>
                      <a:pt x="529" y="267"/>
                      <a:pt x="524" y="254"/>
                      <a:pt x="534" y="243"/>
                    </a:cubicBezTo>
                    <a:cubicBezTo>
                      <a:pt x="538" y="234"/>
                      <a:pt x="523" y="230"/>
                      <a:pt x="530" y="221"/>
                    </a:cubicBezTo>
                    <a:cubicBezTo>
                      <a:pt x="532" y="209"/>
                      <a:pt x="539" y="197"/>
                      <a:pt x="533" y="185"/>
                    </a:cubicBezTo>
                    <a:cubicBezTo>
                      <a:pt x="527" y="178"/>
                      <a:pt x="544" y="171"/>
                      <a:pt x="531" y="166"/>
                    </a:cubicBezTo>
                    <a:cubicBezTo>
                      <a:pt x="526" y="159"/>
                      <a:pt x="543" y="152"/>
                      <a:pt x="530" y="147"/>
                    </a:cubicBezTo>
                    <a:cubicBezTo>
                      <a:pt x="525" y="140"/>
                      <a:pt x="512" y="134"/>
                      <a:pt x="511" y="125"/>
                    </a:cubicBezTo>
                    <a:cubicBezTo>
                      <a:pt x="511" y="124"/>
                      <a:pt x="511" y="124"/>
                      <a:pt x="511" y="124"/>
                    </a:cubicBezTo>
                    <a:cubicBezTo>
                      <a:pt x="520" y="125"/>
                      <a:pt x="530" y="129"/>
                      <a:pt x="539" y="126"/>
                    </a:cubicBezTo>
                    <a:cubicBezTo>
                      <a:pt x="550" y="124"/>
                      <a:pt x="560" y="119"/>
                      <a:pt x="570" y="115"/>
                    </a:cubicBezTo>
                    <a:cubicBezTo>
                      <a:pt x="578" y="109"/>
                      <a:pt x="584" y="102"/>
                      <a:pt x="591" y="95"/>
                    </a:cubicBezTo>
                    <a:cubicBezTo>
                      <a:pt x="595" y="88"/>
                      <a:pt x="602" y="86"/>
                      <a:pt x="609" y="83"/>
                    </a:cubicBezTo>
                    <a:cubicBezTo>
                      <a:pt x="615" y="81"/>
                      <a:pt x="621" y="80"/>
                      <a:pt x="627" y="82"/>
                    </a:cubicBezTo>
                    <a:cubicBezTo>
                      <a:pt x="631" y="83"/>
                      <a:pt x="634" y="79"/>
                      <a:pt x="638" y="77"/>
                    </a:cubicBezTo>
                    <a:cubicBezTo>
                      <a:pt x="642" y="73"/>
                      <a:pt x="646" y="73"/>
                      <a:pt x="650" y="76"/>
                    </a:cubicBezTo>
                    <a:cubicBezTo>
                      <a:pt x="654" y="79"/>
                      <a:pt x="658" y="78"/>
                      <a:pt x="662" y="76"/>
                    </a:cubicBezTo>
                    <a:cubicBezTo>
                      <a:pt x="667" y="75"/>
                      <a:pt x="671" y="73"/>
                      <a:pt x="673" y="69"/>
                    </a:cubicBezTo>
                    <a:cubicBezTo>
                      <a:pt x="680" y="61"/>
                      <a:pt x="688" y="53"/>
                      <a:pt x="698" y="52"/>
                    </a:cubicBezTo>
                    <a:cubicBezTo>
                      <a:pt x="705" y="52"/>
                      <a:pt x="711" y="46"/>
                      <a:pt x="717" y="42"/>
                    </a:cubicBezTo>
                    <a:cubicBezTo>
                      <a:pt x="731" y="37"/>
                      <a:pt x="746" y="34"/>
                      <a:pt x="761" y="30"/>
                    </a:cubicBezTo>
                    <a:cubicBezTo>
                      <a:pt x="772" y="29"/>
                      <a:pt x="783" y="30"/>
                      <a:pt x="794" y="29"/>
                    </a:cubicBezTo>
                    <a:cubicBezTo>
                      <a:pt x="809" y="29"/>
                      <a:pt x="824" y="26"/>
                      <a:pt x="839" y="28"/>
                    </a:cubicBezTo>
                    <a:cubicBezTo>
                      <a:pt x="844" y="27"/>
                      <a:pt x="849" y="24"/>
                      <a:pt x="854" y="22"/>
                    </a:cubicBezTo>
                    <a:cubicBezTo>
                      <a:pt x="858" y="20"/>
                      <a:pt x="862" y="15"/>
                      <a:pt x="866" y="16"/>
                    </a:cubicBezTo>
                    <a:cubicBezTo>
                      <a:pt x="872" y="20"/>
                      <a:pt x="879" y="17"/>
                      <a:pt x="886" y="17"/>
                    </a:cubicBezTo>
                    <a:cubicBezTo>
                      <a:pt x="890" y="20"/>
                      <a:pt x="896" y="19"/>
                      <a:pt x="901" y="18"/>
                    </a:cubicBezTo>
                    <a:cubicBezTo>
                      <a:pt x="908" y="16"/>
                      <a:pt x="915" y="11"/>
                      <a:pt x="923" y="10"/>
                    </a:cubicBezTo>
                    <a:cubicBezTo>
                      <a:pt x="935" y="12"/>
                      <a:pt x="947" y="11"/>
                      <a:pt x="959" y="11"/>
                    </a:cubicBezTo>
                    <a:cubicBezTo>
                      <a:pt x="967" y="13"/>
                      <a:pt x="977" y="11"/>
                      <a:pt x="985" y="14"/>
                    </a:cubicBezTo>
                    <a:cubicBezTo>
                      <a:pt x="988" y="18"/>
                      <a:pt x="992" y="20"/>
                      <a:pt x="995" y="23"/>
                    </a:cubicBezTo>
                    <a:cubicBezTo>
                      <a:pt x="1001" y="25"/>
                      <a:pt x="1006" y="29"/>
                      <a:pt x="1012" y="27"/>
                    </a:cubicBezTo>
                    <a:cubicBezTo>
                      <a:pt x="1021" y="26"/>
                      <a:pt x="1028" y="20"/>
                      <a:pt x="1037" y="19"/>
                    </a:cubicBezTo>
                    <a:cubicBezTo>
                      <a:pt x="1045" y="18"/>
                      <a:pt x="1054" y="17"/>
                      <a:pt x="1062" y="13"/>
                    </a:cubicBezTo>
                    <a:cubicBezTo>
                      <a:pt x="1067" y="10"/>
                      <a:pt x="1070" y="4"/>
                      <a:pt x="1074" y="0"/>
                    </a:cubicBezTo>
                    <a:cubicBezTo>
                      <a:pt x="1082" y="3"/>
                      <a:pt x="1090" y="5"/>
                      <a:pt x="1096" y="10"/>
                    </a:cubicBezTo>
                    <a:cubicBezTo>
                      <a:pt x="1100" y="12"/>
                      <a:pt x="1105" y="10"/>
                      <a:pt x="1109" y="13"/>
                    </a:cubicBezTo>
                    <a:cubicBezTo>
                      <a:pt x="1113" y="17"/>
                      <a:pt x="1118" y="14"/>
                      <a:pt x="1123" y="12"/>
                    </a:cubicBezTo>
                    <a:cubicBezTo>
                      <a:pt x="1128" y="12"/>
                      <a:pt x="1131" y="7"/>
                      <a:pt x="1134" y="3"/>
                    </a:cubicBezTo>
                    <a:cubicBezTo>
                      <a:pt x="1140" y="5"/>
                      <a:pt x="1145" y="7"/>
                      <a:pt x="1150" y="9"/>
                    </a:cubicBezTo>
                    <a:cubicBezTo>
                      <a:pt x="1157" y="10"/>
                      <a:pt x="1162" y="15"/>
                      <a:pt x="1167" y="19"/>
                    </a:cubicBezTo>
                    <a:cubicBezTo>
                      <a:pt x="1175" y="18"/>
                      <a:pt x="1182" y="18"/>
                      <a:pt x="1190" y="14"/>
                    </a:cubicBez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77" name="Albania"/>
              <p:cNvSpPr>
                <a:spLocks/>
              </p:cNvSpPr>
              <p:nvPr>
                <p:custDataLst>
                  <p:tags r:id="rId129"/>
                </p:custDataLst>
              </p:nvPr>
            </p:nvSpPr>
            <p:spPr bwMode="auto">
              <a:xfrm>
                <a:off x="4732343" y="3202978"/>
                <a:ext cx="34511" cy="100066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6" y="11"/>
                  </a:cxn>
                  <a:cxn ang="0">
                    <a:pos x="4" y="18"/>
                  </a:cxn>
                  <a:cxn ang="0">
                    <a:pos x="0" y="13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4" y="4"/>
                  </a:cxn>
                </a:cxnLst>
                <a:rect l="0" t="0" r="r" b="b"/>
                <a:pathLst>
                  <a:path w="6" h="18">
                    <a:moveTo>
                      <a:pt x="4" y="4"/>
                    </a:moveTo>
                    <a:lnTo>
                      <a:pt x="6" y="11"/>
                    </a:lnTo>
                    <a:lnTo>
                      <a:pt x="4" y="18"/>
                    </a:lnTo>
                    <a:lnTo>
                      <a:pt x="0" y="13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78" name="Afghanistan"/>
              <p:cNvSpPr>
                <a:spLocks/>
              </p:cNvSpPr>
              <p:nvPr>
                <p:custDataLst>
                  <p:tags r:id="rId130"/>
                </p:custDataLst>
              </p:nvPr>
            </p:nvSpPr>
            <p:spPr bwMode="auto">
              <a:xfrm>
                <a:off x="5748691" y="3325472"/>
                <a:ext cx="338207" cy="289846"/>
              </a:xfrm>
              <a:custGeom>
                <a:avLst/>
                <a:gdLst/>
                <a:ahLst/>
                <a:cxnLst>
                  <a:cxn ang="0">
                    <a:pos x="23" y="7"/>
                  </a:cxn>
                  <a:cxn ang="0">
                    <a:pos x="30" y="9"/>
                  </a:cxn>
                  <a:cxn ang="0">
                    <a:pos x="32" y="9"/>
                  </a:cxn>
                  <a:cxn ang="0">
                    <a:pos x="38" y="7"/>
                  </a:cxn>
                  <a:cxn ang="0">
                    <a:pos x="40" y="7"/>
                  </a:cxn>
                  <a:cxn ang="0">
                    <a:pos x="44" y="0"/>
                  </a:cxn>
                  <a:cxn ang="0">
                    <a:pos x="46" y="5"/>
                  </a:cxn>
                  <a:cxn ang="0">
                    <a:pos x="48" y="9"/>
                  </a:cxn>
                  <a:cxn ang="0">
                    <a:pos x="55" y="7"/>
                  </a:cxn>
                  <a:cxn ang="0">
                    <a:pos x="61" y="7"/>
                  </a:cxn>
                  <a:cxn ang="0">
                    <a:pos x="61" y="9"/>
                  </a:cxn>
                  <a:cxn ang="0">
                    <a:pos x="57" y="9"/>
                  </a:cxn>
                  <a:cxn ang="0">
                    <a:pos x="55" y="9"/>
                  </a:cxn>
                  <a:cxn ang="0">
                    <a:pos x="48" y="14"/>
                  </a:cxn>
                  <a:cxn ang="0">
                    <a:pos x="48" y="23"/>
                  </a:cxn>
                  <a:cxn ang="0">
                    <a:pos x="48" y="25"/>
                  </a:cxn>
                  <a:cxn ang="0">
                    <a:pos x="44" y="25"/>
                  </a:cxn>
                  <a:cxn ang="0">
                    <a:pos x="46" y="30"/>
                  </a:cxn>
                  <a:cxn ang="0">
                    <a:pos x="44" y="32"/>
                  </a:cxn>
                  <a:cxn ang="0">
                    <a:pos x="44" y="41"/>
                  </a:cxn>
                  <a:cxn ang="0">
                    <a:pos x="32" y="43"/>
                  </a:cxn>
                  <a:cxn ang="0">
                    <a:pos x="32" y="50"/>
                  </a:cxn>
                  <a:cxn ang="0">
                    <a:pos x="13" y="52"/>
                  </a:cxn>
                  <a:cxn ang="0">
                    <a:pos x="7" y="50"/>
                  </a:cxn>
                  <a:cxn ang="0">
                    <a:pos x="9" y="43"/>
                  </a:cxn>
                  <a:cxn ang="0">
                    <a:pos x="9" y="41"/>
                  </a:cxn>
                  <a:cxn ang="0">
                    <a:pos x="4" y="41"/>
                  </a:cxn>
                  <a:cxn ang="0">
                    <a:pos x="0" y="30"/>
                  </a:cxn>
                  <a:cxn ang="0">
                    <a:pos x="0" y="25"/>
                  </a:cxn>
                  <a:cxn ang="0">
                    <a:pos x="4" y="23"/>
                  </a:cxn>
                  <a:cxn ang="0">
                    <a:pos x="4" y="16"/>
                  </a:cxn>
                  <a:cxn ang="0">
                    <a:pos x="9" y="21"/>
                  </a:cxn>
                  <a:cxn ang="0">
                    <a:pos x="13" y="16"/>
                  </a:cxn>
                  <a:cxn ang="0">
                    <a:pos x="17" y="14"/>
                  </a:cxn>
                  <a:cxn ang="0">
                    <a:pos x="17" y="7"/>
                  </a:cxn>
                  <a:cxn ang="0">
                    <a:pos x="21" y="7"/>
                  </a:cxn>
                  <a:cxn ang="0">
                    <a:pos x="23" y="7"/>
                  </a:cxn>
                </a:cxnLst>
                <a:rect l="0" t="0" r="r" b="b"/>
                <a:pathLst>
                  <a:path w="61" h="52">
                    <a:moveTo>
                      <a:pt x="23" y="7"/>
                    </a:moveTo>
                    <a:lnTo>
                      <a:pt x="30" y="9"/>
                    </a:lnTo>
                    <a:lnTo>
                      <a:pt x="32" y="9"/>
                    </a:lnTo>
                    <a:lnTo>
                      <a:pt x="38" y="7"/>
                    </a:lnTo>
                    <a:lnTo>
                      <a:pt x="40" y="7"/>
                    </a:lnTo>
                    <a:lnTo>
                      <a:pt x="44" y="0"/>
                    </a:lnTo>
                    <a:lnTo>
                      <a:pt x="46" y="5"/>
                    </a:lnTo>
                    <a:lnTo>
                      <a:pt x="48" y="9"/>
                    </a:lnTo>
                    <a:lnTo>
                      <a:pt x="55" y="7"/>
                    </a:lnTo>
                    <a:lnTo>
                      <a:pt x="61" y="7"/>
                    </a:lnTo>
                    <a:lnTo>
                      <a:pt x="61" y="9"/>
                    </a:lnTo>
                    <a:lnTo>
                      <a:pt x="57" y="9"/>
                    </a:lnTo>
                    <a:lnTo>
                      <a:pt x="55" y="9"/>
                    </a:lnTo>
                    <a:lnTo>
                      <a:pt x="48" y="14"/>
                    </a:lnTo>
                    <a:lnTo>
                      <a:pt x="48" y="23"/>
                    </a:lnTo>
                    <a:lnTo>
                      <a:pt x="48" y="25"/>
                    </a:lnTo>
                    <a:lnTo>
                      <a:pt x="44" y="25"/>
                    </a:lnTo>
                    <a:lnTo>
                      <a:pt x="46" y="30"/>
                    </a:lnTo>
                    <a:lnTo>
                      <a:pt x="44" y="32"/>
                    </a:lnTo>
                    <a:lnTo>
                      <a:pt x="44" y="41"/>
                    </a:lnTo>
                    <a:lnTo>
                      <a:pt x="32" y="43"/>
                    </a:lnTo>
                    <a:lnTo>
                      <a:pt x="32" y="50"/>
                    </a:lnTo>
                    <a:lnTo>
                      <a:pt x="13" y="52"/>
                    </a:lnTo>
                    <a:lnTo>
                      <a:pt x="7" y="50"/>
                    </a:lnTo>
                    <a:lnTo>
                      <a:pt x="9" y="43"/>
                    </a:lnTo>
                    <a:lnTo>
                      <a:pt x="9" y="41"/>
                    </a:lnTo>
                    <a:lnTo>
                      <a:pt x="4" y="41"/>
                    </a:lnTo>
                    <a:lnTo>
                      <a:pt x="0" y="30"/>
                    </a:lnTo>
                    <a:lnTo>
                      <a:pt x="0" y="25"/>
                    </a:lnTo>
                    <a:lnTo>
                      <a:pt x="4" y="23"/>
                    </a:lnTo>
                    <a:lnTo>
                      <a:pt x="4" y="16"/>
                    </a:lnTo>
                    <a:lnTo>
                      <a:pt x="9" y="21"/>
                    </a:lnTo>
                    <a:lnTo>
                      <a:pt x="13" y="16"/>
                    </a:lnTo>
                    <a:lnTo>
                      <a:pt x="17" y="14"/>
                    </a:lnTo>
                    <a:lnTo>
                      <a:pt x="17" y="7"/>
                    </a:lnTo>
                    <a:lnTo>
                      <a:pt x="21" y="7"/>
                    </a:lnTo>
                    <a:lnTo>
                      <a:pt x="23" y="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</p:grpSp>
      <p:sp>
        <p:nvSpPr>
          <p:cNvPr id="391" name="Rectangle 390"/>
          <p:cNvSpPr/>
          <p:nvPr/>
        </p:nvSpPr>
        <p:spPr>
          <a:xfrm>
            <a:off x="250825" y="1191911"/>
            <a:ext cx="8615363" cy="141922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000" rIns="73152" bIns="73152">
            <a:spAutoFit/>
          </a:bodyPr>
          <a:lstStyle/>
          <a:p>
            <a:pPr marL="113414" indent="-113414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300" b="1" dirty="0">
                <a:solidFill>
                  <a:srgbClr val="000000"/>
                </a:solidFill>
                <a:cs typeface="Arial" pitchFamily="34" charset="0"/>
              </a:rPr>
              <a:t>Organización basada en:</a:t>
            </a:r>
          </a:p>
          <a:p>
            <a:pPr marL="232229" indent="-135017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_tradnl" sz="1300" dirty="0">
                <a:solidFill>
                  <a:srgbClr val="000000"/>
                </a:solidFill>
                <a:cs typeface="Arial" pitchFamily="34" charset="0"/>
              </a:rPr>
              <a:t>El </a:t>
            </a:r>
            <a:r>
              <a:rPr lang="es-ES_tradnl" sz="1300" dirty="0" smtClean="0">
                <a:solidFill>
                  <a:srgbClr val="000000"/>
                </a:solidFill>
                <a:cs typeface="Arial" pitchFamily="34" charset="0"/>
              </a:rPr>
              <a:t>tipo de misión.</a:t>
            </a:r>
            <a:endParaRPr lang="es-ES_tradnl" sz="1300" dirty="0">
              <a:solidFill>
                <a:srgbClr val="000000"/>
              </a:solidFill>
              <a:cs typeface="Arial" pitchFamily="34" charset="0"/>
            </a:endParaRPr>
          </a:p>
          <a:p>
            <a:pPr marL="232229" indent="-135017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_tradnl" sz="1300" dirty="0">
                <a:solidFill>
                  <a:srgbClr val="000000"/>
                </a:solidFill>
                <a:cs typeface="Arial" pitchFamily="34" charset="0"/>
              </a:rPr>
              <a:t>La proximidad </a:t>
            </a:r>
            <a:r>
              <a:rPr lang="es-ES_tradnl" sz="1300" dirty="0" smtClean="0">
                <a:solidFill>
                  <a:srgbClr val="000000"/>
                </a:solidFill>
                <a:cs typeface="Arial" pitchFamily="34" charset="0"/>
              </a:rPr>
              <a:t>geográfica.</a:t>
            </a:r>
            <a:endParaRPr lang="es-ES_tradnl" sz="1300" dirty="0">
              <a:solidFill>
                <a:srgbClr val="000000"/>
              </a:solidFill>
              <a:cs typeface="Arial" pitchFamily="34" charset="0"/>
            </a:endParaRPr>
          </a:p>
          <a:p>
            <a:pPr marL="232229" indent="-135017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_tradnl" sz="1300" dirty="0">
                <a:solidFill>
                  <a:srgbClr val="000000"/>
                </a:solidFill>
                <a:cs typeface="Arial" pitchFamily="34" charset="0"/>
              </a:rPr>
              <a:t>Las semejanzas </a:t>
            </a:r>
            <a:r>
              <a:rPr lang="es-ES_tradnl" sz="1300" dirty="0" smtClean="0">
                <a:solidFill>
                  <a:srgbClr val="000000"/>
                </a:solidFill>
                <a:cs typeface="Arial" pitchFamily="34" charset="0"/>
              </a:rPr>
              <a:t>culturales.</a:t>
            </a:r>
            <a:endParaRPr lang="es-ES_tradnl" sz="1300" dirty="0">
              <a:solidFill>
                <a:srgbClr val="000000"/>
              </a:solidFill>
              <a:cs typeface="Arial" pitchFamily="34" charset="0"/>
            </a:endParaRPr>
          </a:p>
          <a:p>
            <a:pPr marL="232229" indent="-135017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_tradnl" sz="1300" dirty="0">
                <a:solidFill>
                  <a:srgbClr val="000000"/>
                </a:solidFill>
                <a:cs typeface="Arial" pitchFamily="34" charset="0"/>
              </a:rPr>
              <a:t>Las iniciativas que ya se están </a:t>
            </a:r>
            <a:r>
              <a:rPr lang="es-ES_tradnl" sz="1300" dirty="0" smtClean="0">
                <a:solidFill>
                  <a:srgbClr val="000000"/>
                </a:solidFill>
                <a:cs typeface="Arial" pitchFamily="34" charset="0"/>
              </a:rPr>
              <a:t>desarrollando.</a:t>
            </a:r>
            <a:endParaRPr lang="es-ES_tradnl" sz="1300" dirty="0">
              <a:solidFill>
                <a:srgbClr val="000000"/>
              </a:solidFill>
              <a:cs typeface="Arial" pitchFamily="34" charset="0"/>
            </a:endParaRPr>
          </a:p>
          <a:p>
            <a:pPr marL="232229" indent="-135017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_tradnl" sz="1300" dirty="0" smtClean="0">
                <a:solidFill>
                  <a:srgbClr val="000000"/>
                </a:solidFill>
                <a:cs typeface="Arial" pitchFamily="34" charset="0"/>
              </a:rPr>
              <a:t>Dimensión equilibrada </a:t>
            </a:r>
            <a:r>
              <a:rPr lang="es-ES_tradnl" sz="1300" dirty="0">
                <a:solidFill>
                  <a:srgbClr val="000000"/>
                </a:solidFill>
                <a:cs typeface="Arial" pitchFamily="34" charset="0"/>
              </a:rPr>
              <a:t>que evite la dependencia </a:t>
            </a:r>
            <a:r>
              <a:rPr lang="es-ES_tradnl" sz="1300" dirty="0" smtClean="0">
                <a:solidFill>
                  <a:srgbClr val="000000"/>
                </a:solidFill>
                <a:cs typeface="Arial" pitchFamily="34" charset="0"/>
              </a:rPr>
              <a:t>local.</a:t>
            </a:r>
            <a:endParaRPr lang="es-ES_tradn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334148" name="TextBox 393"/>
          <p:cNvSpPr txBox="1">
            <a:spLocks noChangeArrowheads="1"/>
          </p:cNvSpPr>
          <p:nvPr/>
        </p:nvSpPr>
        <p:spPr bwMode="auto">
          <a:xfrm>
            <a:off x="168275" y="2781300"/>
            <a:ext cx="6842125" cy="254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buClr>
                <a:srgbClr val="9B1717"/>
              </a:buClr>
            </a:pPr>
            <a:r>
              <a:rPr lang="es-ES_tradnl" b="1">
                <a:solidFill>
                  <a:srgbClr val="000000"/>
                </a:solidFill>
              </a:rPr>
              <a:t>Propuesta de Regiones</a:t>
            </a:r>
          </a:p>
        </p:txBody>
      </p:sp>
      <p:sp>
        <p:nvSpPr>
          <p:cNvPr id="5" name="Isosceles Triangle 4"/>
          <p:cNvSpPr/>
          <p:nvPr/>
        </p:nvSpPr>
        <p:spPr>
          <a:xfrm rot="10800000">
            <a:off x="3509963" y="2643188"/>
            <a:ext cx="2305050" cy="152400"/>
          </a:xfrm>
          <a:prstGeom prst="triangl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60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7" name="Rectangle 396"/>
          <p:cNvSpPr/>
          <p:nvPr/>
        </p:nvSpPr>
        <p:spPr>
          <a:xfrm>
            <a:off x="4471988" y="1199849"/>
            <a:ext cx="4600575" cy="1343025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000" rIns="73152" bIns="73152">
            <a:spAutoFit/>
          </a:bodyPr>
          <a:lstStyle/>
          <a:p>
            <a:pPr marL="113414" indent="-113414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300" b="1" dirty="0">
                <a:solidFill>
                  <a:srgbClr val="000000"/>
                </a:solidFill>
                <a:cs typeface="Arial" pitchFamily="34" charset="0"/>
              </a:rPr>
              <a:t>Criterios usados previamente (reestructuración </a:t>
            </a:r>
            <a:r>
              <a:rPr lang="es-ES_tradnl" sz="1300" b="1" dirty="0" smtClean="0">
                <a:solidFill>
                  <a:srgbClr val="000000"/>
                </a:solidFill>
                <a:cs typeface="Arial" pitchFamily="34" charset="0"/>
              </a:rPr>
              <a:t>UA):</a:t>
            </a:r>
            <a:endParaRPr lang="es-ES_tradnl" sz="1300" b="1" dirty="0">
              <a:solidFill>
                <a:srgbClr val="000000"/>
              </a:solidFill>
              <a:cs typeface="Arial" pitchFamily="34" charset="0"/>
            </a:endParaRPr>
          </a:p>
          <a:p>
            <a:pPr marL="232229" indent="-135017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_tradnl" sz="1300" dirty="0">
                <a:solidFill>
                  <a:srgbClr val="000000"/>
                </a:solidFill>
                <a:cs typeface="Arial" pitchFamily="34" charset="0"/>
              </a:rPr>
              <a:t>Vitalidad de la misión, número de hermanos (al menos 100) y promedio de edad.</a:t>
            </a:r>
          </a:p>
          <a:p>
            <a:pPr marL="232229" indent="-135017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_tradnl" sz="1300" dirty="0">
                <a:solidFill>
                  <a:srgbClr val="000000"/>
                </a:solidFill>
                <a:cs typeface="Arial" pitchFamily="34" charset="0"/>
              </a:rPr>
              <a:t>Multiculturalidad e </a:t>
            </a:r>
            <a:r>
              <a:rPr lang="es-ES_tradnl" sz="1300" dirty="0" smtClean="0">
                <a:solidFill>
                  <a:srgbClr val="000000"/>
                </a:solidFill>
                <a:cs typeface="Arial" pitchFamily="34" charset="0"/>
              </a:rPr>
              <a:t>internacionalidad.</a:t>
            </a:r>
            <a:endParaRPr lang="es-ES_tradnl" sz="1300" dirty="0">
              <a:solidFill>
                <a:srgbClr val="000000"/>
              </a:solidFill>
              <a:cs typeface="Arial" pitchFamily="34" charset="0"/>
            </a:endParaRPr>
          </a:p>
          <a:p>
            <a:pPr marL="232229" indent="-135017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_tradnl" sz="1300" dirty="0">
                <a:solidFill>
                  <a:srgbClr val="000000"/>
                </a:solidFill>
                <a:cs typeface="Arial" pitchFamily="34" charset="0"/>
              </a:rPr>
              <a:t>Impacto social y </a:t>
            </a:r>
            <a:r>
              <a:rPr lang="es-ES_tradnl" sz="1300" dirty="0" smtClean="0">
                <a:solidFill>
                  <a:srgbClr val="000000"/>
                </a:solidFill>
                <a:cs typeface="Arial" pitchFamily="34" charset="0"/>
              </a:rPr>
              <a:t>religioso.</a:t>
            </a:r>
            <a:endParaRPr lang="es-ES_tradnl" sz="1300" dirty="0">
              <a:solidFill>
                <a:srgbClr val="000000"/>
              </a:solidFill>
              <a:cs typeface="Arial" pitchFamily="34" charset="0"/>
            </a:endParaRPr>
          </a:p>
          <a:p>
            <a:pPr marL="232229" indent="-135017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_tradnl" sz="1300" dirty="0">
                <a:solidFill>
                  <a:srgbClr val="000000"/>
                </a:solidFill>
                <a:cs typeface="Arial" pitchFamily="34" charset="0"/>
              </a:rPr>
              <a:t>Sostenibilidad económica a largo </a:t>
            </a:r>
            <a:r>
              <a:rPr lang="es-ES_tradnl" sz="1300" dirty="0" smtClean="0">
                <a:solidFill>
                  <a:srgbClr val="000000"/>
                </a:solidFill>
                <a:cs typeface="Arial" pitchFamily="34" charset="0"/>
              </a:rPr>
              <a:t>plazo.</a:t>
            </a:r>
            <a:endParaRPr lang="es-ES_tradn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334151" name="RunningHead"/>
          <p:cNvSpPr txBox="1">
            <a:spLocks noChangeArrowheads="1"/>
          </p:cNvSpPr>
          <p:nvPr/>
        </p:nvSpPr>
        <p:spPr bwMode="gray">
          <a:xfrm>
            <a:off x="6861175" y="139700"/>
            <a:ext cx="2030413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" sz="1200" dirty="0">
                <a:solidFill>
                  <a:srgbClr val="000000"/>
                </a:solidFill>
              </a:rPr>
              <a:t>¿Estamos bien organizados? 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12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44800" y="804672"/>
            <a:ext cx="8827700" cy="664797"/>
          </a:xfrm>
        </p:spPr>
        <p:txBody>
          <a:bodyPr/>
          <a:lstStyle/>
          <a:p>
            <a:r>
              <a:rPr lang="es-ES_tradnl" dirty="0">
                <a:latin typeface="Arial" charset="0"/>
                <a:cs typeface="Arial" charset="0"/>
              </a:rPr>
              <a:t>Finalmente, la estructura Regional tendrá el nivel de complejidad que le deleguen las Provincias en cada Región…</a:t>
            </a:r>
            <a:endParaRPr lang="en-US" dirty="0"/>
          </a:p>
        </p:txBody>
      </p:sp>
      <p:sp>
        <p:nvSpPr>
          <p:cNvPr id="98" name="Rectángulo 49"/>
          <p:cNvSpPr/>
          <p:nvPr/>
        </p:nvSpPr>
        <p:spPr>
          <a:xfrm>
            <a:off x="233770" y="2906495"/>
            <a:ext cx="8646160" cy="3547202"/>
          </a:xfrm>
          <a:prstGeom prst="rect">
            <a:avLst/>
          </a:prstGeom>
          <a:solidFill>
            <a:schemeClr val="accent6">
              <a:lumMod val="40000"/>
              <a:lumOff val="60000"/>
              <a:alpha val="68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s-ES" sz="1400" dirty="0" err="1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4" name="Rectangle 103"/>
          <p:cNvSpPr>
            <a:spLocks noChangeArrowheads="1"/>
          </p:cNvSpPr>
          <p:nvPr/>
        </p:nvSpPr>
        <p:spPr bwMode="gray">
          <a:xfrm>
            <a:off x="1498317" y="1538855"/>
            <a:ext cx="2352475" cy="539750"/>
          </a:xfrm>
          <a:prstGeom prst="rect">
            <a:avLst/>
          </a:prstGeom>
          <a:solidFill>
            <a:schemeClr val="bg2"/>
          </a:solidFill>
          <a:ln w="6350" cap="flat" algn="ctr">
            <a:noFill/>
            <a:miter lim="800000"/>
            <a:headEnd/>
            <a:tailEnd/>
          </a:ln>
        </p:spPr>
        <p:txBody>
          <a:bodyPr wrap="square"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nsejo regional </a:t>
            </a:r>
          </a:p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(UA y </a:t>
            </a:r>
            <a:r>
              <a:rPr lang="en-US" sz="1400" b="1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sociaciones</a:t>
            </a:r>
            <a:r>
              <a:rPr lang="en-US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4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245110" y="6369685"/>
            <a:ext cx="7243214" cy="36830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lvl="1">
              <a:lnSpc>
                <a:spcPct val="90000"/>
              </a:lnSpc>
            </a:pPr>
            <a:r>
              <a:rPr lang="en-US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Participación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de </a:t>
            </a:r>
            <a:r>
              <a:rPr lang="en-US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laicos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en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la </a:t>
            </a:r>
            <a:r>
              <a:rPr lang="en-US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gobernanza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               </a:t>
            </a:r>
            <a:r>
              <a:rPr lang="en-US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Participación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de </a:t>
            </a:r>
            <a:r>
              <a:rPr lang="en-US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laicos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en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la </a:t>
            </a:r>
            <a:r>
              <a:rPr lang="en-US" sz="1000" dirty="0" err="1">
                <a:solidFill>
                  <a:srgbClr val="000000"/>
                </a:solidFill>
                <a:latin typeface="Arial" panose="020B0604020202020204" pitchFamily="34" charset="0"/>
              </a:rPr>
              <a:t>gestión</a:t>
            </a:r>
            <a:endParaRPr lang="en-US" sz="1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06" name="5-Point Star 122"/>
          <p:cNvSpPr/>
          <p:nvPr/>
        </p:nvSpPr>
        <p:spPr>
          <a:xfrm>
            <a:off x="200174" y="6453696"/>
            <a:ext cx="396044" cy="324036"/>
          </a:xfrm>
          <a:prstGeom prst="star5">
            <a:avLst/>
          </a:prstGeom>
          <a:solidFill>
            <a:srgbClr val="FFFF00"/>
          </a:solidFill>
          <a:ln w="63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7" name="Conector angular 45"/>
          <p:cNvCxnSpPr>
            <a:stCxn id="104" idx="2"/>
            <a:endCxn id="130" idx="1"/>
          </p:cNvCxnSpPr>
          <p:nvPr/>
        </p:nvCxnSpPr>
        <p:spPr>
          <a:xfrm rot="5400000">
            <a:off x="1346581" y="1726427"/>
            <a:ext cx="975797" cy="1680152"/>
          </a:xfrm>
          <a:prstGeom prst="bentConnector3">
            <a:avLst>
              <a:gd name="adj1" fmla="val 50000"/>
            </a:avLst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Conector angular 47"/>
          <p:cNvCxnSpPr>
            <a:stCxn id="104" idx="2"/>
            <a:endCxn id="119" idx="1"/>
          </p:cNvCxnSpPr>
          <p:nvPr/>
        </p:nvCxnSpPr>
        <p:spPr>
          <a:xfrm rot="16200000" flipH="1">
            <a:off x="2188273" y="2564887"/>
            <a:ext cx="977913" cy="5348"/>
          </a:xfrm>
          <a:prstGeom prst="bentConnector3">
            <a:avLst>
              <a:gd name="adj1" fmla="val 50000"/>
            </a:avLst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tangle 14"/>
          <p:cNvSpPr>
            <a:spLocks noChangeArrowheads="1"/>
          </p:cNvSpPr>
          <p:nvPr/>
        </p:nvSpPr>
        <p:spPr bwMode="gray">
          <a:xfrm>
            <a:off x="2155518" y="3721376"/>
            <a:ext cx="1391514" cy="446636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Hermanos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0" name="AutoShape 34"/>
          <p:cNvCxnSpPr>
            <a:cxnSpLocks noChangeShapeType="1"/>
            <a:stCxn id="119" idx="4"/>
            <a:endCxn id="109" idx="3"/>
          </p:cNvCxnSpPr>
          <p:nvPr/>
        </p:nvCxnSpPr>
        <p:spPr bwMode="gray">
          <a:xfrm rot="16200000" flipH="1">
            <a:off x="1828058" y="3617234"/>
            <a:ext cx="312176" cy="342744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111" name="AutoShape 35"/>
          <p:cNvCxnSpPr>
            <a:cxnSpLocks noChangeShapeType="1"/>
            <a:stCxn id="119" idx="4"/>
            <a:endCxn id="113" idx="3"/>
          </p:cNvCxnSpPr>
          <p:nvPr/>
        </p:nvCxnSpPr>
        <p:spPr bwMode="gray">
          <a:xfrm rot="16200000" flipH="1">
            <a:off x="1519243" y="3926049"/>
            <a:ext cx="929806" cy="342744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112" name="AutoShape 36"/>
          <p:cNvCxnSpPr>
            <a:cxnSpLocks noChangeShapeType="1"/>
            <a:stCxn id="119" idx="4"/>
            <a:endCxn id="114" idx="3"/>
          </p:cNvCxnSpPr>
          <p:nvPr/>
        </p:nvCxnSpPr>
        <p:spPr bwMode="gray">
          <a:xfrm rot="16200000" flipH="1">
            <a:off x="870235" y="4575056"/>
            <a:ext cx="2231440" cy="346363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113" name="Rectangle 14"/>
          <p:cNvSpPr>
            <a:spLocks noChangeArrowheads="1"/>
          </p:cNvSpPr>
          <p:nvPr/>
        </p:nvSpPr>
        <p:spPr bwMode="gray">
          <a:xfrm>
            <a:off x="2155518" y="4339006"/>
            <a:ext cx="1391514" cy="446636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Laicos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aristas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4" name="Rectangle 14"/>
          <p:cNvSpPr>
            <a:spLocks noChangeArrowheads="1"/>
          </p:cNvSpPr>
          <p:nvPr/>
        </p:nvSpPr>
        <p:spPr bwMode="gray">
          <a:xfrm>
            <a:off x="2159137" y="5640640"/>
            <a:ext cx="1391514" cy="446636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astoral </a:t>
            </a: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vocacional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5" name="Rectangle 14"/>
          <p:cNvSpPr>
            <a:spLocks noChangeArrowheads="1"/>
          </p:cNvSpPr>
          <p:nvPr/>
        </p:nvSpPr>
        <p:spPr bwMode="gray">
          <a:xfrm>
            <a:off x="2159137" y="4956636"/>
            <a:ext cx="1391513" cy="513011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spiritualidad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y Formación marista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6" name="AutoShape 35"/>
          <p:cNvCxnSpPr>
            <a:cxnSpLocks noChangeShapeType="1"/>
            <a:stCxn id="119" idx="4"/>
            <a:endCxn id="115" idx="3"/>
          </p:cNvCxnSpPr>
          <p:nvPr/>
        </p:nvCxnSpPr>
        <p:spPr bwMode="gray">
          <a:xfrm rot="16200000" flipH="1">
            <a:off x="1195643" y="4249648"/>
            <a:ext cx="1580624" cy="346363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117" name="CuadroTexto 56"/>
          <p:cNvSpPr txBox="1"/>
          <p:nvPr/>
        </p:nvSpPr>
        <p:spPr>
          <a:xfrm rot="16200000">
            <a:off x="666548" y="4790346"/>
            <a:ext cx="2449427" cy="221599"/>
          </a:xfrm>
          <a:prstGeom prst="rect">
            <a:avLst/>
          </a:prstGeom>
          <a:solidFill>
            <a:schemeClr val="accent5"/>
          </a:solidFill>
          <a:ln w="6350" cap="flat">
            <a:solidFill>
              <a:schemeClr val="tx1"/>
            </a:solidFill>
            <a:prstDash val="dot"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n-US" sz="2400" kern="1700" baseline="2000" dirty="0" err="1" smtClean="0">
                <a:solidFill>
                  <a:srgbClr val="FFFFFF"/>
                </a:solidFill>
                <a:latin typeface="Arial "/>
              </a:rPr>
              <a:t>Comité</a:t>
            </a:r>
            <a:r>
              <a:rPr lang="en-US" sz="2400" kern="1700" baseline="2000" dirty="0" smtClean="0">
                <a:solidFill>
                  <a:srgbClr val="FFFFFF"/>
                </a:solidFill>
                <a:latin typeface="Arial "/>
              </a:rPr>
              <a:t> de </a:t>
            </a:r>
            <a:r>
              <a:rPr lang="en-US" sz="2400" kern="1700" baseline="2000" dirty="0" err="1" smtClean="0">
                <a:solidFill>
                  <a:srgbClr val="FFFFFF"/>
                </a:solidFill>
                <a:latin typeface="Arial "/>
              </a:rPr>
              <a:t>integración</a:t>
            </a:r>
            <a:endParaRPr lang="en-US" sz="2400" kern="1700" baseline="2000" dirty="0">
              <a:solidFill>
                <a:srgbClr val="FFFFFF"/>
              </a:solidFill>
              <a:latin typeface="Arial "/>
            </a:endParaRPr>
          </a:p>
        </p:txBody>
      </p:sp>
      <p:sp>
        <p:nvSpPr>
          <p:cNvPr id="118" name="Oval 123"/>
          <p:cNvSpPr/>
          <p:nvPr/>
        </p:nvSpPr>
        <p:spPr>
          <a:xfrm>
            <a:off x="3095836" y="6575220"/>
            <a:ext cx="357065" cy="18038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" name="Rectangle 6"/>
          <p:cNvSpPr>
            <a:spLocks noChangeArrowheads="1"/>
          </p:cNvSpPr>
          <p:nvPr/>
        </p:nvSpPr>
        <p:spPr bwMode="gray">
          <a:xfrm>
            <a:off x="1812774" y="3056518"/>
            <a:ext cx="1734258" cy="576000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tx2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400" b="1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Vocación</a:t>
            </a:r>
            <a:r>
              <a:rPr lang="en-US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marista</a:t>
            </a:r>
            <a:endParaRPr lang="en-US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0" name="Oval 125"/>
          <p:cNvSpPr/>
          <p:nvPr/>
        </p:nvSpPr>
        <p:spPr>
          <a:xfrm>
            <a:off x="3225928" y="3006882"/>
            <a:ext cx="357064" cy="18038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1" name="5-Point Star 126"/>
          <p:cNvSpPr/>
          <p:nvPr/>
        </p:nvSpPr>
        <p:spPr>
          <a:xfrm>
            <a:off x="2989907" y="2905745"/>
            <a:ext cx="327309" cy="324036"/>
          </a:xfrm>
          <a:prstGeom prst="star5">
            <a:avLst/>
          </a:prstGeom>
          <a:solidFill>
            <a:srgbClr val="FFFF00"/>
          </a:solidFill>
          <a:ln w="63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2" name="Rectangle 14"/>
          <p:cNvSpPr>
            <a:spLocks noChangeArrowheads="1"/>
          </p:cNvSpPr>
          <p:nvPr/>
        </p:nvSpPr>
        <p:spPr bwMode="gray">
          <a:xfrm>
            <a:off x="571146" y="3721376"/>
            <a:ext cx="1063591" cy="447675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ntabilidad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23" name="AutoShape 38"/>
          <p:cNvCxnSpPr>
            <a:cxnSpLocks noChangeShapeType="1"/>
            <a:stCxn id="131" idx="2"/>
            <a:endCxn id="122" idx="3"/>
          </p:cNvCxnSpPr>
          <p:nvPr/>
        </p:nvCxnSpPr>
        <p:spPr bwMode="gray">
          <a:xfrm rot="16200000" flipH="1">
            <a:off x="308543" y="3682611"/>
            <a:ext cx="339540" cy="185666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124" name="Rectangle 14"/>
          <p:cNvSpPr>
            <a:spLocks noChangeArrowheads="1"/>
          </p:cNvSpPr>
          <p:nvPr/>
        </p:nvSpPr>
        <p:spPr bwMode="gray">
          <a:xfrm>
            <a:off x="571146" y="4360805"/>
            <a:ext cx="1063591" cy="447675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Gestión</a:t>
            </a: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2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ctivos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5" name="Rectangle 14"/>
          <p:cNvSpPr>
            <a:spLocks noChangeArrowheads="1"/>
          </p:cNvSpPr>
          <p:nvPr/>
        </p:nvSpPr>
        <p:spPr bwMode="gray">
          <a:xfrm>
            <a:off x="571146" y="5000234"/>
            <a:ext cx="1063591" cy="447614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1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lanificación</a:t>
            </a:r>
            <a:r>
              <a:rPr lang="en-US" sz="11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, control y </a:t>
            </a:r>
            <a:r>
              <a:rPr lang="en-US" sz="110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uditoría</a:t>
            </a:r>
            <a:endParaRPr lang="en-US" sz="11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26" name="AutoShape 38"/>
          <p:cNvCxnSpPr>
            <a:cxnSpLocks noChangeShapeType="1"/>
            <a:stCxn id="131" idx="2"/>
            <a:endCxn id="124" idx="3"/>
          </p:cNvCxnSpPr>
          <p:nvPr/>
        </p:nvCxnSpPr>
        <p:spPr bwMode="gray">
          <a:xfrm rot="16200000" flipH="1">
            <a:off x="-11171" y="4002325"/>
            <a:ext cx="978969" cy="185666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127" name="AutoShape 38"/>
          <p:cNvCxnSpPr>
            <a:cxnSpLocks noChangeShapeType="1"/>
            <a:stCxn id="131" idx="2"/>
            <a:endCxn id="125" idx="3"/>
          </p:cNvCxnSpPr>
          <p:nvPr/>
        </p:nvCxnSpPr>
        <p:spPr bwMode="gray">
          <a:xfrm rot="16200000" flipH="1">
            <a:off x="-330870" y="4322024"/>
            <a:ext cx="1618367" cy="185666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128" name="Rectangle 14"/>
          <p:cNvSpPr>
            <a:spLocks noChangeArrowheads="1"/>
          </p:cNvSpPr>
          <p:nvPr/>
        </p:nvSpPr>
        <p:spPr bwMode="gray">
          <a:xfrm>
            <a:off x="571146" y="5639601"/>
            <a:ext cx="1063591" cy="447675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…</a:t>
            </a:r>
            <a:endParaRPr lang="en-US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29" name="AutoShape 38"/>
          <p:cNvCxnSpPr>
            <a:cxnSpLocks noChangeShapeType="1"/>
            <a:stCxn id="131" idx="2"/>
            <a:endCxn id="128" idx="3"/>
          </p:cNvCxnSpPr>
          <p:nvPr/>
        </p:nvCxnSpPr>
        <p:spPr bwMode="gray">
          <a:xfrm rot="16200000" flipH="1">
            <a:off x="-650569" y="4641723"/>
            <a:ext cx="2257765" cy="185666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130" name="Rectangle 7"/>
          <p:cNvSpPr>
            <a:spLocks noChangeArrowheads="1"/>
          </p:cNvSpPr>
          <p:nvPr/>
        </p:nvSpPr>
        <p:spPr bwMode="gray">
          <a:xfrm>
            <a:off x="323528" y="3054402"/>
            <a:ext cx="1341750" cy="576000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>
              <a:lumMod val="5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400" b="1" i="1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conomato</a:t>
            </a:r>
            <a:endParaRPr lang="en-US" sz="1400" b="1" i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350950" y="3132483"/>
            <a:ext cx="69060" cy="473191"/>
          </a:xfrm>
          <a:prstGeom prst="rect">
            <a:avLst/>
          </a:prstGeom>
          <a:solidFill>
            <a:schemeClr val="accent3">
              <a:lumMod val="5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endParaRPr lang="en-US" sz="1400" b="1" i="1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2" name="Rectangle 7"/>
          <p:cNvSpPr>
            <a:spLocks noChangeArrowheads="1"/>
          </p:cNvSpPr>
          <p:nvPr/>
        </p:nvSpPr>
        <p:spPr bwMode="gray">
          <a:xfrm>
            <a:off x="4757864" y="2000039"/>
            <a:ext cx="2998174" cy="576000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nsejo de Misión</a:t>
            </a:r>
            <a:endParaRPr lang="en-US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en-US" sz="1000" b="1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ntidades</a:t>
            </a:r>
            <a:r>
              <a:rPr lang="en-U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nónicas</a:t>
            </a:r>
            <a:r>
              <a:rPr lang="en-U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y </a:t>
            </a:r>
            <a:r>
              <a:rPr lang="en-US" sz="1000" b="1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iviles</a:t>
            </a:r>
            <a:r>
              <a:rPr lang="en-U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3" name="Oval 124"/>
          <p:cNvSpPr/>
          <p:nvPr/>
        </p:nvSpPr>
        <p:spPr>
          <a:xfrm>
            <a:off x="7557885" y="1927714"/>
            <a:ext cx="432048" cy="18038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4" name="5-Point Star 127"/>
          <p:cNvSpPr/>
          <p:nvPr/>
        </p:nvSpPr>
        <p:spPr>
          <a:xfrm>
            <a:off x="7272300" y="1826577"/>
            <a:ext cx="396044" cy="324036"/>
          </a:xfrm>
          <a:prstGeom prst="star5">
            <a:avLst/>
          </a:prstGeom>
          <a:solidFill>
            <a:srgbClr val="FFFF00"/>
          </a:solidFill>
          <a:ln w="63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5" name="Conector angular 47"/>
          <p:cNvCxnSpPr>
            <a:stCxn id="104" idx="2"/>
            <a:endCxn id="132" idx="3"/>
          </p:cNvCxnSpPr>
          <p:nvPr/>
        </p:nvCxnSpPr>
        <p:spPr>
          <a:xfrm rot="16200000" flipH="1">
            <a:off x="3611492" y="1141667"/>
            <a:ext cx="209434" cy="2083309"/>
          </a:xfrm>
          <a:prstGeom prst="bentConnector2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Oval 135"/>
          <p:cNvSpPr/>
          <p:nvPr/>
        </p:nvSpPr>
        <p:spPr>
          <a:xfrm>
            <a:off x="1295636" y="2996592"/>
            <a:ext cx="432048" cy="18038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7" name="Rectangle 136"/>
          <p:cNvSpPr/>
          <p:nvPr/>
        </p:nvSpPr>
        <p:spPr>
          <a:xfrm>
            <a:off x="5272604" y="3691532"/>
            <a:ext cx="3511864" cy="242245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8" name="AutoShape 37"/>
          <p:cNvCxnSpPr>
            <a:cxnSpLocks noChangeShapeType="1"/>
            <a:stCxn id="142" idx="4"/>
            <a:endCxn id="143" idx="3"/>
          </p:cNvCxnSpPr>
          <p:nvPr/>
        </p:nvCxnSpPr>
        <p:spPr bwMode="gray">
          <a:xfrm rot="16200000" flipH="1">
            <a:off x="3630259" y="3636711"/>
            <a:ext cx="385229" cy="186879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139" name="AutoShape 38"/>
          <p:cNvCxnSpPr>
            <a:cxnSpLocks noChangeShapeType="1"/>
            <a:stCxn id="142" idx="4"/>
            <a:endCxn id="144" idx="3"/>
          </p:cNvCxnSpPr>
          <p:nvPr/>
        </p:nvCxnSpPr>
        <p:spPr bwMode="gray">
          <a:xfrm rot="16200000" flipH="1">
            <a:off x="3384869" y="3882101"/>
            <a:ext cx="876009" cy="186879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140" name="AutoShape 38"/>
          <p:cNvCxnSpPr>
            <a:cxnSpLocks noChangeShapeType="1"/>
            <a:stCxn id="142" idx="4"/>
            <a:endCxn id="145" idx="3"/>
          </p:cNvCxnSpPr>
          <p:nvPr/>
        </p:nvCxnSpPr>
        <p:spPr bwMode="gray">
          <a:xfrm rot="16200000" flipH="1">
            <a:off x="3139478" y="4127492"/>
            <a:ext cx="1366790" cy="186879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141" name="AutoShape 38"/>
          <p:cNvCxnSpPr>
            <a:cxnSpLocks noChangeShapeType="1"/>
            <a:stCxn id="142" idx="4"/>
            <a:endCxn id="146" idx="3"/>
          </p:cNvCxnSpPr>
          <p:nvPr/>
        </p:nvCxnSpPr>
        <p:spPr bwMode="gray">
          <a:xfrm rot="16200000" flipH="1">
            <a:off x="2894088" y="4372882"/>
            <a:ext cx="1857570" cy="186879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142" name="Rectangle 7"/>
          <p:cNvSpPr>
            <a:spLocks noChangeArrowheads="1"/>
          </p:cNvSpPr>
          <p:nvPr/>
        </p:nvSpPr>
        <p:spPr bwMode="gray">
          <a:xfrm>
            <a:off x="3729434" y="3061504"/>
            <a:ext cx="5055034" cy="476033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sión</a:t>
            </a:r>
            <a:endParaRPr lang="en-US" sz="900" b="1" i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3" name="Rectangle 14"/>
          <p:cNvSpPr>
            <a:spLocks noChangeArrowheads="1"/>
          </p:cNvSpPr>
          <p:nvPr/>
        </p:nvSpPr>
        <p:spPr bwMode="gray">
          <a:xfrm>
            <a:off x="3916313" y="3721376"/>
            <a:ext cx="1242637" cy="402779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vangelización</a:t>
            </a:r>
            <a:endPara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4" name="Rectangle 14"/>
          <p:cNvSpPr>
            <a:spLocks noChangeArrowheads="1"/>
          </p:cNvSpPr>
          <p:nvPr/>
        </p:nvSpPr>
        <p:spPr bwMode="gray">
          <a:xfrm>
            <a:off x="3916313" y="4212156"/>
            <a:ext cx="1242637" cy="402779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ducación</a:t>
            </a:r>
            <a:endPara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5" name="Rectangle 14"/>
          <p:cNvSpPr>
            <a:spLocks noChangeArrowheads="1"/>
          </p:cNvSpPr>
          <p:nvPr/>
        </p:nvSpPr>
        <p:spPr bwMode="gray">
          <a:xfrm>
            <a:off x="3916313" y="4702937"/>
            <a:ext cx="1242637" cy="402779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en-US" sz="11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bras</a:t>
            </a:r>
            <a:r>
              <a:rPr lang="en-US" sz="11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ociales</a:t>
            </a:r>
            <a:r>
              <a:rPr lang="en-US" sz="11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y Derechos del </a:t>
            </a:r>
            <a:r>
              <a:rPr lang="en-US" sz="11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iño</a:t>
            </a:r>
            <a:endParaRPr lang="en-US" sz="11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6" name="Rectangle 14"/>
          <p:cNvSpPr>
            <a:spLocks noChangeArrowheads="1"/>
          </p:cNvSpPr>
          <p:nvPr/>
        </p:nvSpPr>
        <p:spPr bwMode="gray">
          <a:xfrm>
            <a:off x="3916313" y="5193717"/>
            <a:ext cx="1242637" cy="402779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ormación de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íderes</a:t>
            </a:r>
            <a:endPara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7" name="Rectangle 14"/>
          <p:cNvSpPr>
            <a:spLocks noChangeArrowheads="1"/>
          </p:cNvSpPr>
          <p:nvPr/>
        </p:nvSpPr>
        <p:spPr bwMode="gray">
          <a:xfrm>
            <a:off x="3916313" y="5684497"/>
            <a:ext cx="1242637" cy="402779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 w="6350" cap="flat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…</a:t>
            </a:r>
            <a:endPara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48" name="AutoShape 38"/>
          <p:cNvCxnSpPr>
            <a:cxnSpLocks noChangeShapeType="1"/>
            <a:stCxn id="142" idx="4"/>
            <a:endCxn id="147" idx="3"/>
          </p:cNvCxnSpPr>
          <p:nvPr/>
        </p:nvCxnSpPr>
        <p:spPr bwMode="gray">
          <a:xfrm rot="16200000" flipH="1">
            <a:off x="2648698" y="4618272"/>
            <a:ext cx="2348350" cy="186879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149" name="AutoShape 19"/>
          <p:cNvCxnSpPr>
            <a:cxnSpLocks noChangeShapeType="1"/>
            <a:endCxn id="155" idx="1"/>
          </p:cNvCxnSpPr>
          <p:nvPr/>
        </p:nvCxnSpPr>
        <p:spPr bwMode="gray">
          <a:xfrm rot="16200000" flipH="1">
            <a:off x="6754753" y="3488825"/>
            <a:ext cx="210133" cy="307557"/>
          </a:xfrm>
          <a:prstGeom prst="bentConnector3">
            <a:avLst>
              <a:gd name="adj1" fmla="val 50000"/>
            </a:avLst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150" name="AutoShape 21"/>
          <p:cNvCxnSpPr>
            <a:cxnSpLocks noChangeShapeType="1"/>
            <a:endCxn id="152" idx="1"/>
          </p:cNvCxnSpPr>
          <p:nvPr/>
        </p:nvCxnSpPr>
        <p:spPr bwMode="gray">
          <a:xfrm rot="5400000">
            <a:off x="6172764" y="3214393"/>
            <a:ext cx="210133" cy="856421"/>
          </a:xfrm>
          <a:prstGeom prst="bentConnector3">
            <a:avLst>
              <a:gd name="adj1" fmla="val 50000"/>
            </a:avLst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151" name="AutoShape 26"/>
          <p:cNvCxnSpPr>
            <a:cxnSpLocks noChangeShapeType="1"/>
          </p:cNvCxnSpPr>
          <p:nvPr/>
        </p:nvCxnSpPr>
        <p:spPr bwMode="gray">
          <a:xfrm rot="16200000" flipH="1">
            <a:off x="5310190" y="4255051"/>
            <a:ext cx="308973" cy="99770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152" name="Rectangle 12"/>
          <p:cNvSpPr>
            <a:spLocks noChangeArrowheads="1"/>
          </p:cNvSpPr>
          <p:nvPr/>
        </p:nvSpPr>
        <p:spPr bwMode="gray">
          <a:xfrm flipH="1">
            <a:off x="5315865" y="3747670"/>
            <a:ext cx="1067508" cy="402779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en-US" sz="1200" i="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lanificación</a:t>
            </a:r>
            <a:endParaRPr lang="en-US" sz="1200" i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3" name="Rectangle 9"/>
          <p:cNvSpPr>
            <a:spLocks noChangeArrowheads="1"/>
          </p:cNvSpPr>
          <p:nvPr/>
        </p:nvSpPr>
        <p:spPr bwMode="gray">
          <a:xfrm flipH="1">
            <a:off x="6579613" y="4244309"/>
            <a:ext cx="920872" cy="371960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/>
          </a:solidFill>
          <a:ln w="6350" cap="flat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en-US" sz="10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mpras</a:t>
            </a:r>
            <a:endParaRPr lang="en-US" sz="1000" i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4" name="Rectangle 11"/>
          <p:cNvSpPr>
            <a:spLocks noChangeArrowheads="1"/>
          </p:cNvSpPr>
          <p:nvPr/>
        </p:nvSpPr>
        <p:spPr bwMode="gray">
          <a:xfrm flipH="1">
            <a:off x="6579613" y="4712531"/>
            <a:ext cx="920872" cy="390933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/>
          </a:solidFill>
          <a:ln w="6350" cap="flat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en-US" sz="10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rvicios</a:t>
            </a:r>
            <a:r>
              <a:rPr lang="en-US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IC</a:t>
            </a:r>
            <a:endParaRPr lang="en-US" sz="1000" i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5" name="Rectangle 13"/>
          <p:cNvSpPr>
            <a:spLocks noChangeArrowheads="1"/>
          </p:cNvSpPr>
          <p:nvPr/>
        </p:nvSpPr>
        <p:spPr bwMode="gray">
          <a:xfrm flipH="1">
            <a:off x="6479844" y="3747670"/>
            <a:ext cx="1067508" cy="402779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en-US" sz="1200" i="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rvicios</a:t>
            </a:r>
            <a:endParaRPr lang="en-US" sz="1200" i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6" name="Rectangle 8"/>
          <p:cNvSpPr>
            <a:spLocks noChangeArrowheads="1"/>
          </p:cNvSpPr>
          <p:nvPr/>
        </p:nvSpPr>
        <p:spPr bwMode="gray">
          <a:xfrm flipH="1">
            <a:off x="5499040" y="4254844"/>
            <a:ext cx="837156" cy="409156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/>
          </a:solidFill>
          <a:ln w="6350" cap="flat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en-US" sz="10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sarrollo</a:t>
            </a:r>
            <a:r>
              <a:rPr lang="en-US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del Plan </a:t>
            </a:r>
            <a:r>
              <a:rPr lang="en-US" sz="10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stratégico</a:t>
            </a:r>
            <a:endParaRPr lang="en-US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7" name="Rectangle 10"/>
          <p:cNvSpPr>
            <a:spLocks noChangeArrowheads="1"/>
          </p:cNvSpPr>
          <p:nvPr/>
        </p:nvSpPr>
        <p:spPr bwMode="gray">
          <a:xfrm flipH="1">
            <a:off x="5499040" y="4767396"/>
            <a:ext cx="837156" cy="829100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/>
          </a:solidFill>
          <a:ln w="6350" cap="flat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en-US" sz="10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lanificar</a:t>
            </a:r>
            <a:r>
              <a:rPr lang="en-US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en-US" sz="10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mpartir</a:t>
            </a:r>
            <a:r>
              <a:rPr lang="en-US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Recursos </a:t>
            </a:r>
            <a:r>
              <a:rPr lang="en-US" sz="10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umanos</a:t>
            </a:r>
            <a:r>
              <a:rPr lang="en-US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y </a:t>
            </a:r>
            <a:r>
              <a:rPr lang="en-US" sz="10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conómicos</a:t>
            </a:r>
            <a:r>
              <a:rPr lang="en-US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Formación</a:t>
            </a:r>
            <a:endParaRPr lang="en-US" sz="1000" i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58" name="AutoShape 21"/>
          <p:cNvCxnSpPr>
            <a:cxnSpLocks noChangeShapeType="1"/>
            <a:stCxn id="155" idx="6"/>
            <a:endCxn id="153" idx="7"/>
          </p:cNvCxnSpPr>
          <p:nvPr/>
        </p:nvCxnSpPr>
        <p:spPr bwMode="gray">
          <a:xfrm rot="16200000" flipH="1">
            <a:off x="6389809" y="4240485"/>
            <a:ext cx="279840" cy="99770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159" name="AutoShape 21"/>
          <p:cNvCxnSpPr>
            <a:cxnSpLocks noChangeShapeType="1"/>
            <a:stCxn id="155" idx="6"/>
            <a:endCxn id="154" idx="7"/>
          </p:cNvCxnSpPr>
          <p:nvPr/>
        </p:nvCxnSpPr>
        <p:spPr bwMode="gray">
          <a:xfrm rot="16200000" flipH="1">
            <a:off x="6150954" y="4479338"/>
            <a:ext cx="757549" cy="99769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160" name="AutoShape 26"/>
          <p:cNvCxnSpPr>
            <a:cxnSpLocks noChangeShapeType="1"/>
          </p:cNvCxnSpPr>
          <p:nvPr/>
        </p:nvCxnSpPr>
        <p:spPr bwMode="gray">
          <a:xfrm rot="16200000" flipH="1">
            <a:off x="4974515" y="4590726"/>
            <a:ext cx="980323" cy="99770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161" name="AutoShape 26"/>
          <p:cNvCxnSpPr>
            <a:cxnSpLocks noChangeShapeType="1"/>
            <a:stCxn id="155" idx="6"/>
            <a:endCxn id="163" idx="7"/>
          </p:cNvCxnSpPr>
          <p:nvPr/>
        </p:nvCxnSpPr>
        <p:spPr bwMode="gray">
          <a:xfrm rot="16200000" flipH="1">
            <a:off x="5675225" y="4955067"/>
            <a:ext cx="1709006" cy="99769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162" name="Rectangle 11"/>
          <p:cNvSpPr>
            <a:spLocks noChangeArrowheads="1"/>
          </p:cNvSpPr>
          <p:nvPr/>
        </p:nvSpPr>
        <p:spPr bwMode="gray">
          <a:xfrm flipH="1">
            <a:off x="6579613" y="5194358"/>
            <a:ext cx="920872" cy="387062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/>
          </a:solidFill>
          <a:ln w="6350" cap="flat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en-US" sz="10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ublicaciones</a:t>
            </a:r>
            <a:r>
              <a:rPr lang="en-US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municación</a:t>
            </a:r>
            <a:endParaRPr lang="en-US" sz="1000" i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3" name="Rectangle 11"/>
          <p:cNvSpPr>
            <a:spLocks noChangeArrowheads="1"/>
          </p:cNvSpPr>
          <p:nvPr/>
        </p:nvSpPr>
        <p:spPr bwMode="gray">
          <a:xfrm flipH="1">
            <a:off x="6579613" y="5640953"/>
            <a:ext cx="920872" cy="437003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/>
          </a:solidFill>
          <a:ln w="6350" cap="flat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en-US" sz="10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rvicios</a:t>
            </a:r>
            <a:r>
              <a:rPr lang="en-US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generales</a:t>
            </a:r>
            <a:endParaRPr lang="en-US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64" name="AutoShape 26"/>
          <p:cNvCxnSpPr>
            <a:cxnSpLocks noChangeShapeType="1"/>
            <a:stCxn id="155" idx="6"/>
            <a:endCxn id="162" idx="7"/>
          </p:cNvCxnSpPr>
          <p:nvPr/>
        </p:nvCxnSpPr>
        <p:spPr bwMode="gray">
          <a:xfrm rot="16200000" flipH="1">
            <a:off x="5911008" y="4719284"/>
            <a:ext cx="1237440" cy="99769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165" name="Rectangle 13"/>
          <p:cNvSpPr>
            <a:spLocks noChangeArrowheads="1"/>
          </p:cNvSpPr>
          <p:nvPr/>
        </p:nvSpPr>
        <p:spPr bwMode="gray">
          <a:xfrm flipH="1">
            <a:off x="7683703" y="3747670"/>
            <a:ext cx="1067508" cy="402779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4"/>
          </a:solidFill>
          <a:ln w="6350" cap="flat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en-US" sz="1200" i="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inanzas</a:t>
            </a:r>
            <a:endParaRPr lang="en-US" sz="1200" i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66" name="AutoShape 19"/>
          <p:cNvCxnSpPr>
            <a:cxnSpLocks noChangeShapeType="1"/>
            <a:endCxn id="165" idx="1"/>
          </p:cNvCxnSpPr>
          <p:nvPr/>
        </p:nvCxnSpPr>
        <p:spPr bwMode="gray">
          <a:xfrm rot="16200000" flipH="1">
            <a:off x="7356683" y="2886896"/>
            <a:ext cx="210133" cy="1511417"/>
          </a:xfrm>
          <a:prstGeom prst="bentConnector3">
            <a:avLst>
              <a:gd name="adj1" fmla="val 50000"/>
            </a:avLst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167" name="Rectangle 8"/>
          <p:cNvSpPr>
            <a:spLocks noChangeArrowheads="1"/>
          </p:cNvSpPr>
          <p:nvPr/>
        </p:nvSpPr>
        <p:spPr bwMode="gray">
          <a:xfrm flipH="1">
            <a:off x="7820415" y="4244309"/>
            <a:ext cx="920872" cy="371960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/>
          </a:solidFill>
          <a:ln w="6350" cap="flat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en-US" sz="9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delo</a:t>
            </a:r>
            <a:r>
              <a:rPr lang="en-US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9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lanificación</a:t>
            </a:r>
            <a:r>
              <a:rPr lang="en-US" sz="9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y control</a:t>
            </a:r>
            <a:endParaRPr lang="en-US" sz="9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8" name="Rectangle 10"/>
          <p:cNvSpPr>
            <a:spLocks noChangeArrowheads="1"/>
          </p:cNvSpPr>
          <p:nvPr/>
        </p:nvSpPr>
        <p:spPr bwMode="gray">
          <a:xfrm flipH="1">
            <a:off x="7820415" y="4688499"/>
            <a:ext cx="920872" cy="425769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/>
          </a:solidFill>
          <a:ln w="6350" cap="flat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en-US" sz="10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Gestión</a:t>
            </a:r>
            <a:r>
              <a:rPr lang="en-US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0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ctivos</a:t>
            </a:r>
            <a:endParaRPr lang="en-US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9" name="Rectangle 10"/>
          <p:cNvSpPr>
            <a:spLocks noChangeArrowheads="1"/>
          </p:cNvSpPr>
          <p:nvPr/>
        </p:nvSpPr>
        <p:spPr bwMode="gray">
          <a:xfrm flipH="1">
            <a:off x="7820415" y="5186498"/>
            <a:ext cx="920872" cy="425769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/>
          </a:solidFill>
          <a:ln w="6350" cap="flat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it-IT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…</a:t>
            </a:r>
            <a:endParaRPr lang="en-US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70" name="AutoShape 26"/>
          <p:cNvCxnSpPr>
            <a:cxnSpLocks noChangeShapeType="1"/>
            <a:stCxn id="165" idx="6"/>
            <a:endCxn id="167" idx="7"/>
          </p:cNvCxnSpPr>
          <p:nvPr/>
        </p:nvCxnSpPr>
        <p:spPr bwMode="gray">
          <a:xfrm rot="16200000" flipH="1">
            <a:off x="7612139" y="4222014"/>
            <a:ext cx="279840" cy="136712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171" name="AutoShape 26"/>
          <p:cNvCxnSpPr>
            <a:cxnSpLocks noChangeShapeType="1"/>
            <a:stCxn id="165" idx="6"/>
            <a:endCxn id="168" idx="7"/>
          </p:cNvCxnSpPr>
          <p:nvPr/>
        </p:nvCxnSpPr>
        <p:spPr bwMode="gray">
          <a:xfrm rot="16200000" flipH="1">
            <a:off x="7376592" y="4457561"/>
            <a:ext cx="750934" cy="136712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cxnSp>
        <p:nvCxnSpPr>
          <p:cNvPr id="172" name="AutoShape 26"/>
          <p:cNvCxnSpPr>
            <a:cxnSpLocks noChangeShapeType="1"/>
            <a:stCxn id="165" idx="6"/>
            <a:endCxn id="169" idx="7"/>
          </p:cNvCxnSpPr>
          <p:nvPr/>
        </p:nvCxnSpPr>
        <p:spPr bwMode="gray">
          <a:xfrm rot="16200000" flipH="1">
            <a:off x="7127593" y="4706560"/>
            <a:ext cx="1248932" cy="136712"/>
          </a:xfrm>
          <a:prstGeom prst="bentConnector2">
            <a:avLst/>
          </a:prstGeom>
          <a:noFill/>
          <a:ln w="6350" cap="flat">
            <a:solidFill>
              <a:schemeClr val="accent3"/>
            </a:solidFill>
            <a:miter lim="800000"/>
            <a:headEnd/>
            <a:tailEnd/>
          </a:ln>
        </p:spPr>
      </p:cxnSp>
      <p:sp>
        <p:nvSpPr>
          <p:cNvPr id="173" name="CuadroTexto 3"/>
          <p:cNvSpPr txBox="1"/>
          <p:nvPr/>
        </p:nvSpPr>
        <p:spPr>
          <a:xfrm rot="16200000">
            <a:off x="2537725" y="4801413"/>
            <a:ext cx="2464226" cy="184666"/>
          </a:xfrm>
          <a:prstGeom prst="rect">
            <a:avLst/>
          </a:prstGeom>
          <a:solidFill>
            <a:srgbClr val="EE8B8B"/>
          </a:solidFill>
          <a:ln w="6350" cap="flat">
            <a:solidFill>
              <a:schemeClr val="tx1"/>
            </a:solidFill>
            <a:prstDash val="dot"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es-ES" sz="2000" kern="1700" baseline="2000" dirty="0" smtClean="0">
                <a:solidFill>
                  <a:srgbClr val="FFFFFF"/>
                </a:solidFill>
                <a:latin typeface="Arial "/>
              </a:rPr>
              <a:t>Redes</a:t>
            </a:r>
          </a:p>
        </p:txBody>
      </p:sp>
      <p:sp>
        <p:nvSpPr>
          <p:cNvPr id="174" name="TextBox 173"/>
          <p:cNvSpPr txBox="1"/>
          <p:nvPr/>
        </p:nvSpPr>
        <p:spPr>
          <a:xfrm>
            <a:off x="5284540" y="5715853"/>
            <a:ext cx="974626" cy="413447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</a:pPr>
            <a:r>
              <a:rPr lang="it-IT" sz="1400" i="1" dirty="0" smtClean="0">
                <a:latin typeface="Arial "/>
              </a:rPr>
              <a:t>Servicios</a:t>
            </a:r>
          </a:p>
          <a:p>
            <a:pPr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</a:pPr>
            <a:r>
              <a:rPr lang="it-IT" sz="1400" i="1" dirty="0" smtClean="0">
                <a:latin typeface="Arial "/>
              </a:rPr>
              <a:t>compartidos</a:t>
            </a:r>
            <a:endParaRPr lang="it-IT" sz="1400" i="1" dirty="0">
              <a:latin typeface="Arial "/>
            </a:endParaRPr>
          </a:p>
        </p:txBody>
      </p:sp>
      <p:cxnSp>
        <p:nvCxnSpPr>
          <p:cNvPr id="175" name="Straight Connector 174"/>
          <p:cNvCxnSpPr>
            <a:stCxn id="132" idx="5"/>
            <a:endCxn id="142" idx="1"/>
          </p:cNvCxnSpPr>
          <p:nvPr/>
        </p:nvCxnSpPr>
        <p:spPr>
          <a:xfrm>
            <a:off x="6256951" y="2576039"/>
            <a:ext cx="0" cy="485465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Oval 125"/>
          <p:cNvSpPr/>
          <p:nvPr/>
        </p:nvSpPr>
        <p:spPr>
          <a:xfrm>
            <a:off x="8701398" y="3006882"/>
            <a:ext cx="357064" cy="18038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5-Point Star 126"/>
          <p:cNvSpPr/>
          <p:nvPr/>
        </p:nvSpPr>
        <p:spPr>
          <a:xfrm>
            <a:off x="8465377" y="2905745"/>
            <a:ext cx="327309" cy="324036"/>
          </a:xfrm>
          <a:prstGeom prst="star5">
            <a:avLst/>
          </a:prstGeom>
          <a:solidFill>
            <a:srgbClr val="FFFF00"/>
          </a:solidFill>
          <a:ln w="635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RunningHead"/>
          <p:cNvSpPr txBox="1">
            <a:spLocks noChangeArrowheads="1"/>
          </p:cNvSpPr>
          <p:nvPr/>
        </p:nvSpPr>
        <p:spPr bwMode="gray">
          <a:xfrm>
            <a:off x="6861175" y="139700"/>
            <a:ext cx="2030413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" sz="1200" dirty="0">
                <a:solidFill>
                  <a:srgbClr val="000000"/>
                </a:solidFill>
              </a:rPr>
              <a:t>¿Estamos bien organizados? </a:t>
            </a:r>
          </a:p>
        </p:txBody>
      </p:sp>
    </p:spTree>
    <p:extLst>
      <p:ext uri="{BB962C8B-B14F-4D97-AF65-F5344CB8AC3E}">
        <p14:creationId xmlns:p14="http://schemas.microsoft.com/office/powerpoint/2010/main" val="196661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4943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14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5162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s-ES" dirty="0" smtClean="0">
                <a:latin typeface="+mj-lt"/>
              </a:rPr>
              <a:t>… con un modelo de Gobernanza Regional que involucra a la AG y a las Provincias</a:t>
            </a:r>
            <a:endParaRPr lang="es-ES" dirty="0">
              <a:latin typeface="+mj-lt"/>
            </a:endParaRPr>
          </a:p>
        </p:txBody>
      </p:sp>
      <p:sp>
        <p:nvSpPr>
          <p:cNvPr id="764945" name="Rectangle 9"/>
          <p:cNvSpPr>
            <a:spLocks noChangeArrowheads="1"/>
          </p:cNvSpPr>
          <p:nvPr/>
        </p:nvSpPr>
        <p:spPr bwMode="gray">
          <a:xfrm>
            <a:off x="179388" y="1825625"/>
            <a:ext cx="4017962" cy="1373188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</a:pPr>
            <a:r>
              <a:rPr lang="es-ES" sz="1400" b="1">
                <a:solidFill>
                  <a:srgbClr val="FFFFFF"/>
                </a:solidFill>
              </a:rPr>
              <a:t>Administración General</a:t>
            </a:r>
            <a:endParaRPr lang="es-ES" sz="1400">
              <a:solidFill>
                <a:srgbClr val="FFFFFF"/>
              </a:solidFill>
            </a:endParaRPr>
          </a:p>
        </p:txBody>
      </p:sp>
      <p:sp>
        <p:nvSpPr>
          <p:cNvPr id="764946" name="Rectangle 9"/>
          <p:cNvSpPr>
            <a:spLocks noChangeArrowheads="1"/>
          </p:cNvSpPr>
          <p:nvPr/>
        </p:nvSpPr>
        <p:spPr bwMode="gray">
          <a:xfrm>
            <a:off x="190500" y="3821113"/>
            <a:ext cx="4021138" cy="735012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</a:pPr>
            <a:r>
              <a:rPr lang="es-ES" sz="1400" b="1" dirty="0">
                <a:solidFill>
                  <a:srgbClr val="FFFFFF"/>
                </a:solidFill>
              </a:rPr>
              <a:t>Gobierno Regional </a:t>
            </a:r>
            <a:r>
              <a:rPr lang="es-ES" sz="1400" b="1" baseline="30000" dirty="0">
                <a:solidFill>
                  <a:srgbClr val="FFFFFF"/>
                </a:solidFill>
              </a:rPr>
              <a:t>(1)</a:t>
            </a:r>
            <a:endParaRPr lang="es-ES" sz="1400" baseline="30000" dirty="0">
              <a:solidFill>
                <a:srgbClr val="FFFFFF"/>
              </a:solidFill>
            </a:endParaRPr>
          </a:p>
        </p:txBody>
      </p:sp>
      <p:sp>
        <p:nvSpPr>
          <p:cNvPr id="764947" name="Rectangle 9"/>
          <p:cNvSpPr>
            <a:spLocks noChangeArrowheads="1"/>
          </p:cNvSpPr>
          <p:nvPr/>
        </p:nvSpPr>
        <p:spPr bwMode="gray">
          <a:xfrm>
            <a:off x="179388" y="4973638"/>
            <a:ext cx="2674938" cy="1371600"/>
          </a:xfrm>
          <a:prstGeom prst="rect">
            <a:avLst/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</a:pPr>
            <a:r>
              <a:rPr lang="es-ES" sz="1400" b="1">
                <a:solidFill>
                  <a:srgbClr val="FFFFFF"/>
                </a:solidFill>
              </a:rPr>
              <a:t>Gobierno Provincial</a:t>
            </a:r>
            <a:endParaRPr lang="es-ES" sz="1400">
              <a:solidFill>
                <a:srgbClr val="FFFFFF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529138" y="1989138"/>
            <a:ext cx="4356100" cy="43561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113414" indent="-113414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Miembros del Consejo </a:t>
            </a:r>
            <a:r>
              <a:rPr lang="es-ES" sz="1400" b="1" dirty="0" smtClean="0">
                <a:solidFill>
                  <a:srgbClr val="000000"/>
                </a:solidFill>
                <a:cs typeface="Arial" pitchFamily="34" charset="0"/>
              </a:rPr>
              <a:t>General </a:t>
            </a: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y del Consejo de Misión:</a:t>
            </a:r>
          </a:p>
          <a:p>
            <a:pPr marL="270934" indent="-15752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Promover el enriquecimiento inter-regional dentro del Consejo </a:t>
            </a:r>
            <a:r>
              <a:rPr lang="es-ES" sz="1300" dirty="0" smtClean="0">
                <a:solidFill>
                  <a:srgbClr val="000000"/>
                </a:solidFill>
                <a:cs typeface="Arial" pitchFamily="34" charset="0"/>
              </a:rPr>
              <a:t>General</a:t>
            </a:r>
            <a:endParaRPr lang="es-ES" sz="1300" dirty="0">
              <a:solidFill>
                <a:srgbClr val="000000"/>
              </a:solidFill>
              <a:cs typeface="Arial" pitchFamily="34" charset="0"/>
            </a:endParaRPr>
          </a:p>
          <a:p>
            <a:pPr marL="270934" indent="-15752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Promover </a:t>
            </a:r>
            <a:r>
              <a:rPr lang="es-ES" sz="1300" dirty="0" smtClean="0">
                <a:solidFill>
                  <a:srgbClr val="000000"/>
                </a:solidFill>
                <a:cs typeface="Arial" pitchFamily="34" charset="0"/>
              </a:rPr>
              <a:t>la convergencia </a:t>
            </a: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con la estrategia </a:t>
            </a:r>
            <a:r>
              <a:rPr lang="es-ES" sz="1300" dirty="0" smtClean="0">
                <a:solidFill>
                  <a:srgbClr val="000000"/>
                </a:solidFill>
                <a:cs typeface="Arial" pitchFamily="34" charset="0"/>
              </a:rPr>
              <a:t>global.</a:t>
            </a:r>
            <a:endParaRPr lang="es-ES" sz="1300" dirty="0">
              <a:solidFill>
                <a:srgbClr val="000000"/>
              </a:solidFill>
              <a:cs typeface="Arial" pitchFamily="34" charset="0"/>
            </a:endParaRPr>
          </a:p>
          <a:p>
            <a:pPr marL="270934" indent="-15752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Incrementar la transparencia y el conocimiento global de las iniciativas </a:t>
            </a:r>
            <a:r>
              <a:rPr lang="es-ES" sz="1300" dirty="0" smtClean="0">
                <a:solidFill>
                  <a:srgbClr val="000000"/>
                </a:solidFill>
                <a:cs typeface="Arial" pitchFamily="34" charset="0"/>
              </a:rPr>
              <a:t>locales.</a:t>
            </a:r>
            <a:endParaRPr lang="es-ES" sz="1300" dirty="0">
              <a:solidFill>
                <a:srgbClr val="000000"/>
              </a:solidFill>
              <a:cs typeface="Arial" pitchFamily="34" charset="0"/>
            </a:endParaRPr>
          </a:p>
          <a:p>
            <a:pPr marL="270934" indent="-15752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Acompañar la vida y Misión Marista en el nivel </a:t>
            </a:r>
            <a:r>
              <a:rPr lang="es-ES" sz="1300" dirty="0" smtClean="0">
                <a:solidFill>
                  <a:srgbClr val="000000"/>
                </a:solidFill>
                <a:cs typeface="Arial" pitchFamily="34" charset="0"/>
              </a:rPr>
              <a:t>regional.</a:t>
            </a:r>
            <a:endParaRPr lang="es-ES" sz="1300" dirty="0">
              <a:solidFill>
                <a:srgbClr val="000000"/>
              </a:solidFill>
              <a:cs typeface="Arial" pitchFamily="34" charset="0"/>
            </a:endParaRPr>
          </a:p>
          <a:p>
            <a:pPr marL="113414" indent="-113414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b="1" dirty="0" smtClean="0">
                <a:solidFill>
                  <a:srgbClr val="000000"/>
                </a:solidFill>
                <a:cs typeface="Arial" pitchFamily="34" charset="0"/>
              </a:rPr>
              <a:t>Otros </a:t>
            </a: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miembros del Gobierno Regional: representantes </a:t>
            </a:r>
            <a:r>
              <a:rPr lang="es-ES" sz="1400" b="1" dirty="0" smtClean="0">
                <a:solidFill>
                  <a:srgbClr val="000000"/>
                </a:solidFill>
                <a:cs typeface="Arial" pitchFamily="34" charset="0"/>
              </a:rPr>
              <a:t>de los Gobiernos provinciales </a:t>
            </a: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y de las </a:t>
            </a:r>
            <a:r>
              <a:rPr lang="es-ES" sz="1400" b="1" dirty="0" smtClean="0">
                <a:solidFill>
                  <a:srgbClr val="000000"/>
                </a:solidFill>
                <a:cs typeface="Arial" pitchFamily="34" charset="0"/>
              </a:rPr>
              <a:t>Asociaciones </a:t>
            </a:r>
            <a:r>
              <a:rPr lang="es-ES" sz="1400" dirty="0" smtClean="0">
                <a:solidFill>
                  <a:srgbClr val="000000"/>
                </a:solidFill>
                <a:cs typeface="Arial" pitchFamily="34" charset="0"/>
              </a:rPr>
              <a:t>(si existen)</a:t>
            </a:r>
            <a:r>
              <a:rPr lang="es-ES" sz="1400" b="1" dirty="0" smtClean="0">
                <a:solidFill>
                  <a:srgbClr val="000000"/>
                </a:solidFill>
                <a:cs typeface="Arial" pitchFamily="34" charset="0"/>
              </a:rPr>
              <a:t>:</a:t>
            </a:r>
            <a:endParaRPr lang="es-ES" sz="1400" dirty="0">
              <a:solidFill>
                <a:srgbClr val="000000"/>
              </a:solidFill>
              <a:cs typeface="Arial" pitchFamily="34" charset="0"/>
            </a:endParaRPr>
          </a:p>
          <a:p>
            <a:pPr marL="270934" indent="-15752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Los </a:t>
            </a:r>
            <a:r>
              <a:rPr lang="es-ES" sz="1300" dirty="0" smtClean="0">
                <a:solidFill>
                  <a:schemeClr val="tx1"/>
                </a:solidFill>
                <a:cs typeface="Arial" pitchFamily="34" charset="0"/>
              </a:rPr>
              <a:t>Responsables</a:t>
            </a:r>
            <a:r>
              <a:rPr lang="es-ES" sz="130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de los </a:t>
            </a:r>
            <a:r>
              <a:rPr lang="es-ES" sz="1300" dirty="0" smtClean="0">
                <a:solidFill>
                  <a:srgbClr val="000000"/>
                </a:solidFill>
                <a:cs typeface="Arial" pitchFamily="34" charset="0"/>
              </a:rPr>
              <a:t>Consejos </a:t>
            </a: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R</a:t>
            </a:r>
            <a:r>
              <a:rPr lang="es-ES" sz="1300" dirty="0" smtClean="0">
                <a:solidFill>
                  <a:srgbClr val="000000"/>
                </a:solidFill>
                <a:cs typeface="Arial" pitchFamily="34" charset="0"/>
              </a:rPr>
              <a:t>egionales </a:t>
            </a: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y de </a:t>
            </a:r>
            <a:r>
              <a:rPr lang="es-ES" sz="1300" dirty="0" smtClean="0">
                <a:solidFill>
                  <a:srgbClr val="000000"/>
                </a:solidFill>
                <a:cs typeface="Arial" pitchFamily="34" charset="0"/>
              </a:rPr>
              <a:t>Misión deberían ser elegidos entre los representantes de las Provincias y Asociaciones.</a:t>
            </a:r>
            <a:endParaRPr lang="es-ES" sz="1300" dirty="0">
              <a:solidFill>
                <a:srgbClr val="000000"/>
              </a:solidFill>
              <a:cs typeface="Arial" pitchFamily="34" charset="0"/>
            </a:endParaRPr>
          </a:p>
          <a:p>
            <a:pPr marL="270934" indent="-15752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Fomentar el enriquecimiento entre las Provincias / Asociaciones de la misma R</a:t>
            </a:r>
            <a:r>
              <a:rPr lang="es-ES" sz="1300" dirty="0" smtClean="0">
                <a:solidFill>
                  <a:srgbClr val="000000"/>
                </a:solidFill>
                <a:cs typeface="Arial" pitchFamily="34" charset="0"/>
              </a:rPr>
              <a:t>egión</a:t>
            </a: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.</a:t>
            </a:r>
          </a:p>
          <a:p>
            <a:pPr marL="270934" indent="-15752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Promover </a:t>
            </a:r>
            <a:r>
              <a:rPr lang="es-ES" sz="1300" dirty="0" smtClean="0">
                <a:solidFill>
                  <a:srgbClr val="000000"/>
                </a:solidFill>
                <a:cs typeface="Arial" pitchFamily="34" charset="0"/>
              </a:rPr>
              <a:t>la convergencia entre el nivel provincial y regional.</a:t>
            </a:r>
            <a:endParaRPr lang="es-ES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" name="Right Arrow 3"/>
          <p:cNvSpPr/>
          <p:nvPr/>
        </p:nvSpPr>
        <p:spPr>
          <a:xfrm rot="5400000">
            <a:off x="190500" y="3127375"/>
            <a:ext cx="977900" cy="869950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7" name="Right Arrow 46"/>
          <p:cNvSpPr/>
          <p:nvPr/>
        </p:nvSpPr>
        <p:spPr>
          <a:xfrm rot="16200000">
            <a:off x="2049464" y="4427539"/>
            <a:ext cx="890587" cy="719137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gray">
          <a:xfrm>
            <a:off x="2943498" y="4973638"/>
            <a:ext cx="1284016" cy="1371600"/>
          </a:xfrm>
          <a:prstGeom prst="rect">
            <a:avLst/>
          </a:prstGeom>
          <a:solidFill>
            <a:schemeClr val="accent6"/>
          </a:solidFill>
          <a:ln w="6350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CO" sz="1400" dirty="0">
                <a:solidFill>
                  <a:srgbClr val="000000"/>
                </a:solidFill>
                <a:cs typeface="Arial" pitchFamily="34" charset="0"/>
              </a:rPr>
              <a:t>Asociaciones</a:t>
            </a:r>
          </a:p>
        </p:txBody>
      </p:sp>
      <p:sp>
        <p:nvSpPr>
          <p:cNvPr id="14" name="Right Arrow 13"/>
          <p:cNvSpPr/>
          <p:nvPr/>
        </p:nvSpPr>
        <p:spPr>
          <a:xfrm rot="16200000">
            <a:off x="3136584" y="4427538"/>
            <a:ext cx="890587" cy="719138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5" name="Conector recto 4"/>
          <p:cNvCxnSpPr/>
          <p:nvPr/>
        </p:nvCxnSpPr>
        <p:spPr>
          <a:xfrm flipV="1">
            <a:off x="4208463" y="1989138"/>
            <a:ext cx="320675" cy="1831975"/>
          </a:xfrm>
          <a:prstGeom prst="line">
            <a:avLst/>
          </a:prstGeom>
          <a:ln w="19050" cap="flat" cmpd="sng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/>
          <p:cNvCxnSpPr/>
          <p:nvPr/>
        </p:nvCxnSpPr>
        <p:spPr>
          <a:xfrm>
            <a:off x="4208463" y="4556125"/>
            <a:ext cx="320675" cy="1812925"/>
          </a:xfrm>
          <a:prstGeom prst="line">
            <a:avLst/>
          </a:prstGeom>
          <a:ln w="19050" cap="flat" cmpd="sng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4955" name="TextBox 15"/>
          <p:cNvSpPr txBox="1">
            <a:spLocks noChangeArrowheads="1"/>
          </p:cNvSpPr>
          <p:nvPr/>
        </p:nvSpPr>
        <p:spPr bwMode="auto">
          <a:xfrm>
            <a:off x="260350" y="6369050"/>
            <a:ext cx="7243763" cy="3683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0" lvl="1">
              <a:lnSpc>
                <a:spcPct val="90000"/>
              </a:lnSpc>
            </a:pPr>
            <a:r>
              <a:rPr lang="en-US" sz="1000">
                <a:solidFill>
                  <a:srgbClr val="000000"/>
                </a:solidFill>
              </a:rPr>
              <a:t>(1) Gobierno Regional: Consejos Regional y de Misión</a:t>
            </a:r>
          </a:p>
        </p:txBody>
      </p:sp>
      <p:sp>
        <p:nvSpPr>
          <p:cNvPr id="764956" name="RunningHead"/>
          <p:cNvSpPr txBox="1">
            <a:spLocks noChangeArrowheads="1"/>
          </p:cNvSpPr>
          <p:nvPr/>
        </p:nvSpPr>
        <p:spPr bwMode="gray">
          <a:xfrm>
            <a:off x="6861175" y="139700"/>
            <a:ext cx="2030413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" sz="1200" dirty="0">
                <a:solidFill>
                  <a:srgbClr val="000000"/>
                </a:solidFill>
              </a:rPr>
              <a:t>¿Estamos bien organizados? 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5967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16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4797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s-ES" dirty="0" smtClean="0">
                <a:latin typeface="+mj-lt"/>
              </a:rPr>
              <a:t>Las estructuras Regionales consistirán por una parte en las ya previstas en las Constituciones…</a:t>
            </a:r>
            <a:endParaRPr lang="es-ES" dirty="0">
              <a:latin typeface="+mj-lt"/>
            </a:endParaRPr>
          </a:p>
        </p:txBody>
      </p:sp>
      <p:sp>
        <p:nvSpPr>
          <p:cNvPr id="765969" name="Rectangle 9"/>
          <p:cNvSpPr>
            <a:spLocks noChangeArrowheads="1"/>
          </p:cNvSpPr>
          <p:nvPr/>
        </p:nvSpPr>
        <p:spPr bwMode="gray">
          <a:xfrm>
            <a:off x="2587625" y="1825625"/>
            <a:ext cx="4017963" cy="1373188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</a:pPr>
            <a:r>
              <a:rPr lang="es-ES" sz="1400" b="1">
                <a:solidFill>
                  <a:srgbClr val="FFFFFF"/>
                </a:solidFill>
              </a:rPr>
              <a:t>Consejo General</a:t>
            </a:r>
          </a:p>
        </p:txBody>
      </p:sp>
      <p:sp>
        <p:nvSpPr>
          <p:cNvPr id="765970" name="Rectangle 9"/>
          <p:cNvSpPr>
            <a:spLocks noChangeArrowheads="1"/>
          </p:cNvSpPr>
          <p:nvPr/>
        </p:nvSpPr>
        <p:spPr bwMode="gray">
          <a:xfrm>
            <a:off x="2587625" y="3821113"/>
            <a:ext cx="4021138" cy="735012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</a:pPr>
            <a:r>
              <a:rPr lang="es-CO" sz="1400" b="1">
                <a:solidFill>
                  <a:srgbClr val="FFFFFF"/>
                </a:solidFill>
              </a:rPr>
              <a:t>Consejo Regional</a:t>
            </a:r>
          </a:p>
        </p:txBody>
      </p:sp>
      <p:sp>
        <p:nvSpPr>
          <p:cNvPr id="765971" name="Rectangle 9"/>
          <p:cNvSpPr>
            <a:spLocks noChangeArrowheads="1"/>
          </p:cNvSpPr>
          <p:nvPr/>
        </p:nvSpPr>
        <p:spPr bwMode="gray">
          <a:xfrm>
            <a:off x="2576513" y="4973638"/>
            <a:ext cx="2793454" cy="1371600"/>
          </a:xfrm>
          <a:prstGeom prst="rect">
            <a:avLst/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</a:pPr>
            <a:r>
              <a:rPr lang="es-ES" sz="1400" b="1">
                <a:solidFill>
                  <a:srgbClr val="FFFFFF"/>
                </a:solidFill>
              </a:rPr>
              <a:t>Consejo Provincial</a:t>
            </a:r>
            <a:endParaRPr lang="es-ES" sz="1400">
              <a:solidFill>
                <a:srgbClr val="FFFFFF"/>
              </a:solidFill>
            </a:endParaRPr>
          </a:p>
        </p:txBody>
      </p:sp>
      <p:sp>
        <p:nvSpPr>
          <p:cNvPr id="4" name="Right Arrow 3"/>
          <p:cNvSpPr/>
          <p:nvPr/>
        </p:nvSpPr>
        <p:spPr>
          <a:xfrm rot="5400000">
            <a:off x="2586832" y="3128168"/>
            <a:ext cx="977900" cy="868363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7" name="Right Arrow 46"/>
          <p:cNvSpPr/>
          <p:nvPr/>
        </p:nvSpPr>
        <p:spPr>
          <a:xfrm rot="16200000">
            <a:off x="4565898" y="4428332"/>
            <a:ext cx="890587" cy="717550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gray">
          <a:xfrm>
            <a:off x="5451566" y="4973638"/>
            <a:ext cx="1173072" cy="1371600"/>
          </a:xfrm>
          <a:prstGeom prst="rect">
            <a:avLst/>
          </a:prstGeom>
          <a:solidFill>
            <a:schemeClr val="accent6"/>
          </a:solidFill>
          <a:ln w="6350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" sz="1200" dirty="0">
                <a:solidFill>
                  <a:srgbClr val="000000"/>
                </a:solidFill>
                <a:cs typeface="Arial" pitchFamily="34" charset="0"/>
              </a:rPr>
              <a:t>Asociaciones</a:t>
            </a:r>
            <a:endParaRPr lang="es-E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Right Arrow 13"/>
          <p:cNvSpPr/>
          <p:nvPr/>
        </p:nvSpPr>
        <p:spPr>
          <a:xfrm rot="16200000">
            <a:off x="5592809" y="4428332"/>
            <a:ext cx="890587" cy="717550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65977" name="RunningHead"/>
          <p:cNvSpPr txBox="1">
            <a:spLocks noChangeArrowheads="1"/>
          </p:cNvSpPr>
          <p:nvPr/>
        </p:nvSpPr>
        <p:spPr bwMode="gray">
          <a:xfrm>
            <a:off x="6861175" y="139700"/>
            <a:ext cx="2030413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" sz="1200" dirty="0">
                <a:solidFill>
                  <a:srgbClr val="000000"/>
                </a:solidFill>
              </a:rPr>
              <a:t>¿Estamos bien organizados? 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6991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98012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1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6992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331787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… con sus actividades propias …</a:t>
            </a:r>
          </a:p>
        </p:txBody>
      </p:sp>
      <p:sp>
        <p:nvSpPr>
          <p:cNvPr id="3" name="Rectangle 2"/>
          <p:cNvSpPr/>
          <p:nvPr/>
        </p:nvSpPr>
        <p:spPr>
          <a:xfrm>
            <a:off x="2532063" y="1794187"/>
            <a:ext cx="6408737" cy="112492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105313" indent="-105313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b="1" dirty="0">
                <a:solidFill>
                  <a:srgbClr val="000000"/>
                </a:solidFill>
                <a:cs typeface="Arial" pitchFamily="34" charset="0"/>
              </a:rPr>
              <a:t>Asegurar la vitalidad de la vida y misión Marista en el nivel </a:t>
            </a:r>
            <a:r>
              <a:rPr lang="es-ES" sz="1300" b="1" dirty="0" smtClean="0">
                <a:solidFill>
                  <a:srgbClr val="000000"/>
                </a:solidFill>
                <a:cs typeface="Arial" pitchFamily="34" charset="0"/>
              </a:rPr>
              <a:t>regional.</a:t>
            </a:r>
            <a:endParaRPr lang="es-ES" sz="1300" b="1" dirty="0">
              <a:solidFill>
                <a:srgbClr val="000000"/>
              </a:solidFill>
              <a:cs typeface="Arial" pitchFamily="34" charset="0"/>
            </a:endParaRPr>
          </a:p>
          <a:p>
            <a:pPr marL="105313" indent="-105313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b="1" dirty="0">
                <a:solidFill>
                  <a:srgbClr val="000000"/>
                </a:solidFill>
                <a:cs typeface="Arial" pitchFamily="34" charset="0"/>
              </a:rPr>
              <a:t>“Conferencia” inter-provincial para el desarrollo, enriquecimiento, y el  compartir de conocimiento </a:t>
            </a: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en el trabajo vocacional y </a:t>
            </a:r>
            <a:r>
              <a:rPr lang="es-ES" sz="1300" dirty="0" smtClean="0">
                <a:solidFill>
                  <a:srgbClr val="000000"/>
                </a:solidFill>
                <a:cs typeface="Arial" pitchFamily="34" charset="0"/>
              </a:rPr>
              <a:t>la espiritualidad</a:t>
            </a: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, comunidades internacionales, centros de formación para los hermanos y laicos, asociaciones de laicos…</a:t>
            </a:r>
          </a:p>
        </p:txBody>
      </p:sp>
      <p:sp>
        <p:nvSpPr>
          <p:cNvPr id="4" name="AutoShape 3"/>
          <p:cNvSpPr>
            <a:spLocks noChangeArrowheads="1"/>
          </p:cNvSpPr>
          <p:nvPr/>
        </p:nvSpPr>
        <p:spPr bwMode="gray">
          <a:xfrm>
            <a:off x="173038" y="1823040"/>
            <a:ext cx="2346325" cy="946564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</a:schemeClr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_tradnl" sz="1600" b="1" i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Alcance</a:t>
            </a:r>
            <a:endParaRPr lang="es-ES_tradnl" sz="1600" b="1" i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19363" y="2863169"/>
            <a:ext cx="6624637" cy="391364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noAutofit/>
          </a:bodyPr>
          <a:lstStyle/>
          <a:p>
            <a:pPr marL="113414" indent="-113414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>
                <a:solidFill>
                  <a:schemeClr val="tx1"/>
                </a:solidFill>
                <a:cs typeface="Arial" pitchFamily="34" charset="0"/>
              </a:rPr>
              <a:t>El </a:t>
            </a:r>
            <a:r>
              <a:rPr lang="es-ES" sz="1300" dirty="0" smtClean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es-ES" sz="1300" b="1" dirty="0" smtClean="0">
                <a:solidFill>
                  <a:schemeClr val="tx1"/>
                </a:solidFill>
                <a:cs typeface="Arial" pitchFamily="34" charset="0"/>
              </a:rPr>
              <a:t>Responsable del </a:t>
            </a:r>
            <a:r>
              <a:rPr lang="es-ES" sz="1300" b="1" dirty="0">
                <a:solidFill>
                  <a:schemeClr val="tx1"/>
                </a:solidFill>
                <a:cs typeface="Arial" pitchFamily="34" charset="0"/>
              </a:rPr>
              <a:t>Consejo Regional </a:t>
            </a:r>
            <a:r>
              <a:rPr lang="es-ES" sz="1300" dirty="0">
                <a:solidFill>
                  <a:schemeClr val="tx1"/>
                </a:solidFill>
                <a:cs typeface="Arial" pitchFamily="34" charset="0"/>
              </a:rPr>
              <a:t>deberá ser elegido </a:t>
            </a:r>
            <a:r>
              <a:rPr lang="es-ES" sz="1300" dirty="0" smtClean="0">
                <a:solidFill>
                  <a:schemeClr val="tx1"/>
                </a:solidFill>
                <a:cs typeface="Arial" pitchFamily="34" charset="0"/>
              </a:rPr>
              <a:t>entre </a:t>
            </a:r>
            <a:r>
              <a:rPr lang="es-ES" sz="1300" dirty="0">
                <a:solidFill>
                  <a:schemeClr val="tx1"/>
                </a:solidFill>
                <a:cs typeface="Arial" pitchFamily="34" charset="0"/>
              </a:rPr>
              <a:t>los representantes de las Provincias.</a:t>
            </a:r>
          </a:p>
          <a:p>
            <a:pPr marL="113414" indent="-113414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b="1" dirty="0" smtClean="0">
                <a:solidFill>
                  <a:srgbClr val="000000"/>
                </a:solidFill>
                <a:cs typeface="Arial" pitchFamily="34" charset="0"/>
              </a:rPr>
              <a:t>Son miembros </a:t>
            </a:r>
            <a:r>
              <a:rPr lang="es-ES" sz="1300" b="1" dirty="0">
                <a:solidFill>
                  <a:srgbClr val="000000"/>
                </a:solidFill>
                <a:cs typeface="Arial" pitchFamily="34" charset="0"/>
              </a:rPr>
              <a:t>los </a:t>
            </a:r>
            <a:r>
              <a:rPr lang="es-ES" sz="1300" b="1" dirty="0" smtClean="0">
                <a:solidFill>
                  <a:srgbClr val="000000"/>
                </a:solidFill>
                <a:cs typeface="Arial" pitchFamily="34" charset="0"/>
              </a:rPr>
              <a:t>enlaces </a:t>
            </a:r>
            <a:r>
              <a:rPr lang="es-ES" sz="1300" b="1" dirty="0">
                <a:solidFill>
                  <a:srgbClr val="000000"/>
                </a:solidFill>
                <a:cs typeface="Arial" pitchFamily="34" charset="0"/>
              </a:rPr>
              <a:t>del Consejo General </a:t>
            </a:r>
            <a:r>
              <a:rPr lang="es-ES" sz="1300" dirty="0" smtClean="0">
                <a:solidFill>
                  <a:srgbClr val="000000"/>
                </a:solidFill>
                <a:cs typeface="Arial" pitchFamily="34" charset="0"/>
              </a:rPr>
              <a:t>(para promover </a:t>
            </a: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el acompañamiento de la vida y </a:t>
            </a:r>
            <a:r>
              <a:rPr lang="es-ES" sz="1300" dirty="0" smtClean="0">
                <a:solidFill>
                  <a:srgbClr val="000000"/>
                </a:solidFill>
                <a:cs typeface="Arial" pitchFamily="34" charset="0"/>
              </a:rPr>
              <a:t>Misión </a:t>
            </a: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Marista y el enriquecimiento entre las distintas regiones).</a:t>
            </a:r>
          </a:p>
          <a:p>
            <a:pPr marL="113414" indent="-113414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b="1" dirty="0" smtClean="0">
                <a:solidFill>
                  <a:srgbClr val="000000"/>
                </a:solidFill>
                <a:cs typeface="Arial" pitchFamily="34" charset="0"/>
              </a:rPr>
              <a:t>Otros miembros </a:t>
            </a:r>
            <a:r>
              <a:rPr lang="es-ES" sz="1300" b="1" dirty="0">
                <a:solidFill>
                  <a:srgbClr val="000000"/>
                </a:solidFill>
                <a:cs typeface="Arial" pitchFamily="34" charset="0"/>
              </a:rPr>
              <a:t>del Consejo </a:t>
            </a:r>
            <a:r>
              <a:rPr lang="es-ES" sz="1300" b="1" dirty="0" smtClean="0">
                <a:solidFill>
                  <a:srgbClr val="000000"/>
                </a:solidFill>
                <a:cs typeface="Arial" pitchFamily="34" charset="0"/>
              </a:rPr>
              <a:t>Regional son los representantes </a:t>
            </a:r>
            <a:r>
              <a:rPr lang="es-ES" sz="1300" b="1" dirty="0">
                <a:solidFill>
                  <a:srgbClr val="000000"/>
                </a:solidFill>
                <a:cs typeface="Arial" pitchFamily="34" charset="0"/>
              </a:rPr>
              <a:t>de los Consejos Provinciales </a:t>
            </a:r>
            <a:r>
              <a:rPr lang="es-ES" sz="1300" dirty="0">
                <a:solidFill>
                  <a:srgbClr val="000000"/>
                </a:solidFill>
                <a:cs typeface="Arial" panose="020B0604020202020204" pitchFamily="34" charset="0"/>
              </a:rPr>
              <a:t>(nombrados por los Provinciales) y de </a:t>
            </a:r>
            <a:r>
              <a:rPr lang="es-ES" sz="1300" dirty="0" smtClean="0">
                <a:solidFill>
                  <a:srgbClr val="000000"/>
                </a:solidFill>
                <a:cs typeface="Arial" panose="020B0604020202020204" pitchFamily="34" charset="0"/>
              </a:rPr>
              <a:t>las</a:t>
            </a:r>
            <a:r>
              <a:rPr lang="es-ES" sz="13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Asociaciones</a:t>
            </a:r>
            <a:r>
              <a:rPr lang="es-ES" sz="1300" dirty="0" smtClean="0">
                <a:solidFill>
                  <a:srgbClr val="000000"/>
                </a:solidFill>
                <a:cs typeface="Arial" panose="020B0604020202020204" pitchFamily="34" charset="0"/>
              </a:rPr>
              <a:t>.</a:t>
            </a:r>
            <a:endParaRPr lang="es-ES" sz="1300" b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13414" indent="-113414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Es apoyado por el Economato Regional y el Consejo de Misión Regional.</a:t>
            </a:r>
          </a:p>
          <a:p>
            <a:pPr marL="113414" indent="-113414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Aprueba el </a:t>
            </a:r>
            <a:r>
              <a:rPr lang="es-ES" sz="1300" b="1" dirty="0">
                <a:solidFill>
                  <a:srgbClr val="000000"/>
                </a:solidFill>
                <a:cs typeface="Arial" pitchFamily="34" charset="0"/>
              </a:rPr>
              <a:t>plan estratégico desarrollado por el Consejo de Misión Regional</a:t>
            </a: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.</a:t>
            </a:r>
          </a:p>
          <a:p>
            <a:pPr marL="113414" indent="-113414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Puede conformar </a:t>
            </a:r>
            <a:r>
              <a:rPr lang="es-ES" sz="1300" b="1" dirty="0">
                <a:solidFill>
                  <a:srgbClr val="000000"/>
                </a:solidFill>
                <a:cs typeface="Arial" pitchFamily="34" charset="0"/>
              </a:rPr>
              <a:t>comités</a:t>
            </a: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 para monitorear asuntos clave y definir </a:t>
            </a:r>
            <a:r>
              <a:rPr lang="es-ES" sz="1300" dirty="0" smtClean="0">
                <a:solidFill>
                  <a:srgbClr val="000000"/>
                </a:solidFill>
                <a:cs typeface="Arial" pitchFamily="34" charset="0"/>
              </a:rPr>
              <a:t>temas </a:t>
            </a: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donde son necesarias habilidades </a:t>
            </a:r>
            <a:r>
              <a:rPr lang="es-ES" sz="1300" dirty="0" smtClean="0">
                <a:solidFill>
                  <a:srgbClr val="000000"/>
                </a:solidFill>
                <a:cs typeface="Arial" pitchFamily="34" charset="0"/>
              </a:rPr>
              <a:t>especiales, conocimientos, dedicación </a:t>
            </a: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especial. Los miembros de los comités puede ser Hermanos y/o Laicos, de acuerdo con su disponibilidad y las necesidades. </a:t>
            </a:r>
          </a:p>
          <a:p>
            <a:pPr marL="113414" indent="-113414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Asegurar el </a:t>
            </a:r>
            <a:r>
              <a:rPr lang="es-ES" sz="1300" b="1" dirty="0">
                <a:solidFill>
                  <a:srgbClr val="000000"/>
                </a:solidFill>
                <a:cs typeface="Arial" pitchFamily="34" charset="0"/>
              </a:rPr>
              <a:t>gobierno efectivo de la Región como un conjunto</a:t>
            </a:r>
            <a:r>
              <a:rPr lang="es-ES" sz="1300" dirty="0">
                <a:solidFill>
                  <a:srgbClr val="000000"/>
                </a:solidFill>
                <a:cs typeface="Arial" pitchFamily="34" charset="0"/>
              </a:rPr>
              <a:t>.</a:t>
            </a:r>
            <a:endParaRPr lang="es-ES" sz="1300" b="1" dirty="0">
              <a:solidFill>
                <a:srgbClr val="000000"/>
              </a:solidFill>
              <a:cs typeface="Arial" pitchFamily="34" charset="0"/>
            </a:endParaRPr>
          </a:p>
          <a:p>
            <a:pPr marL="97200" indent="-112713" defTabSz="91440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300" dirty="0" smtClean="0">
                <a:solidFill>
                  <a:srgbClr val="000000"/>
                </a:solidFill>
                <a:cs typeface="Arial" charset="0"/>
              </a:rPr>
              <a:t>Tiene </a:t>
            </a:r>
            <a:r>
              <a:rPr lang="es-ES" sz="1300" b="1" dirty="0">
                <a:solidFill>
                  <a:srgbClr val="000000"/>
                </a:solidFill>
                <a:cs typeface="Arial" charset="0"/>
              </a:rPr>
              <a:t>una visión de conjunto</a:t>
            </a:r>
            <a:r>
              <a:rPr lang="es-ES" sz="1300" dirty="0">
                <a:solidFill>
                  <a:srgbClr val="000000"/>
                </a:solidFill>
                <a:cs typeface="Arial" charset="0"/>
              </a:rPr>
              <a:t> de todos los aspectos de la Misión y de su desarrollo mediante informes de control y </a:t>
            </a:r>
            <a:r>
              <a:rPr lang="es-ES" sz="1300" dirty="0" smtClean="0">
                <a:solidFill>
                  <a:srgbClr val="000000"/>
                </a:solidFill>
                <a:cs typeface="Arial" charset="0"/>
              </a:rPr>
              <a:t>seguimiento del Consejo de Misión. </a:t>
            </a:r>
            <a:r>
              <a:rPr lang="es-ES" sz="1300" dirty="0">
                <a:solidFill>
                  <a:srgbClr val="000000"/>
                </a:solidFill>
                <a:cs typeface="Arial" charset="0"/>
              </a:rPr>
              <a:t>Interviene de forma excepcional.</a:t>
            </a:r>
          </a:p>
          <a:p>
            <a:pPr marL="97200" indent="-112713" defTabSz="91440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300" b="1" dirty="0">
                <a:solidFill>
                  <a:srgbClr val="000000"/>
                </a:solidFill>
                <a:cs typeface="Arial" charset="0"/>
              </a:rPr>
              <a:t>Toma de decisiones sobre cuestiones que son llevadas a un nivel superior  </a:t>
            </a:r>
            <a:r>
              <a:rPr lang="es-ES" sz="1300" dirty="0">
                <a:solidFill>
                  <a:srgbClr val="000000"/>
                </a:solidFill>
                <a:cs typeface="Arial" charset="0"/>
              </a:rPr>
              <a:t>o cuando se deban tomar decisiones que representen un cambio de dirección de las estrategias convenidas</a:t>
            </a:r>
            <a:r>
              <a:rPr lang="es-ES" sz="1300" dirty="0" smtClean="0">
                <a:solidFill>
                  <a:srgbClr val="000000"/>
                </a:solidFill>
                <a:cs typeface="Arial" charset="0"/>
              </a:rPr>
              <a:t>.</a:t>
            </a:r>
            <a:endParaRPr lang="es-ES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AutoShape 3"/>
          <p:cNvSpPr>
            <a:spLocks noChangeArrowheads="1"/>
          </p:cNvSpPr>
          <p:nvPr/>
        </p:nvSpPr>
        <p:spPr bwMode="gray">
          <a:xfrm>
            <a:off x="173038" y="2951768"/>
            <a:ext cx="2346325" cy="3825604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</a:schemeClr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 i="1" dirty="0">
                <a:solidFill>
                  <a:srgbClr val="FFFFFF"/>
                </a:solidFill>
              </a:rPr>
              <a:t>Responsabilidades clave y gobernanza y mecanismos de gestión</a:t>
            </a:r>
            <a:endParaRPr lang="en-US" sz="1600" b="1" i="1" dirty="0">
              <a:solidFill>
                <a:srgbClr val="FFFFFF"/>
              </a:solidFill>
            </a:endParaRPr>
          </a:p>
        </p:txBody>
      </p:sp>
      <p:sp>
        <p:nvSpPr>
          <p:cNvPr id="766997" name="RunningHead"/>
          <p:cNvSpPr txBox="1">
            <a:spLocks noChangeArrowheads="1"/>
          </p:cNvSpPr>
          <p:nvPr/>
        </p:nvSpPr>
        <p:spPr bwMode="gray">
          <a:xfrm>
            <a:off x="6861175" y="139700"/>
            <a:ext cx="2030413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" sz="1200" dirty="0">
                <a:solidFill>
                  <a:srgbClr val="000000"/>
                </a:solidFill>
              </a:rPr>
              <a:t>¿Estamos bien organizados? 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8015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2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331787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s-CO" dirty="0" smtClean="0">
                <a:latin typeface="+mj-lt"/>
              </a:rPr>
              <a:t>… </a:t>
            </a:r>
            <a:r>
              <a:rPr lang="es-CO" dirty="0" smtClean="0"/>
              <a:t>y por otra en estructuras de apoyo a la Misión …</a:t>
            </a:r>
            <a:endParaRPr lang="es-CO" dirty="0">
              <a:latin typeface="+mj-lt"/>
            </a:endParaRPr>
          </a:p>
        </p:txBody>
      </p:sp>
      <p:sp>
        <p:nvSpPr>
          <p:cNvPr id="768017" name="Rectangle 9"/>
          <p:cNvSpPr>
            <a:spLocks noChangeArrowheads="1"/>
          </p:cNvSpPr>
          <p:nvPr/>
        </p:nvSpPr>
        <p:spPr bwMode="gray">
          <a:xfrm>
            <a:off x="2587625" y="1825625"/>
            <a:ext cx="4017963" cy="1373188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</a:pPr>
            <a:r>
              <a:rPr lang="es-CO" sz="1400" b="1" dirty="0" smtClean="0">
                <a:solidFill>
                  <a:srgbClr val="FFFFFF"/>
                </a:solidFill>
              </a:rPr>
              <a:t>Consejo General </a:t>
            </a:r>
            <a:r>
              <a:rPr lang="es-CO" sz="1400" b="1" dirty="0">
                <a:solidFill>
                  <a:srgbClr val="FFFFFF"/>
                </a:solidFill>
              </a:rPr>
              <a:t>de </a:t>
            </a:r>
            <a:r>
              <a:rPr lang="es-CO" sz="1400" b="1" dirty="0" smtClean="0">
                <a:solidFill>
                  <a:srgbClr val="FFFFFF"/>
                </a:solidFill>
              </a:rPr>
              <a:t>Misión</a:t>
            </a:r>
            <a:endParaRPr lang="es-CO" sz="1400" b="1" dirty="0">
              <a:solidFill>
                <a:srgbClr val="FFFFFF"/>
              </a:solidFill>
            </a:endParaRPr>
          </a:p>
        </p:txBody>
      </p:sp>
      <p:sp>
        <p:nvSpPr>
          <p:cNvPr id="768018" name="Rectangle 9"/>
          <p:cNvSpPr>
            <a:spLocks noChangeArrowheads="1"/>
          </p:cNvSpPr>
          <p:nvPr/>
        </p:nvSpPr>
        <p:spPr bwMode="gray">
          <a:xfrm>
            <a:off x="2587625" y="3821113"/>
            <a:ext cx="4021138" cy="735012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</a:pPr>
            <a:r>
              <a:rPr lang="es-ES" sz="1400" b="1" dirty="0" smtClean="0">
                <a:solidFill>
                  <a:srgbClr val="FFFFFF"/>
                </a:solidFill>
              </a:rPr>
              <a:t>Consejo Regional </a:t>
            </a:r>
            <a:r>
              <a:rPr lang="es-ES" sz="1400" b="1" dirty="0">
                <a:solidFill>
                  <a:srgbClr val="FFFFFF"/>
                </a:solidFill>
              </a:rPr>
              <a:t>de </a:t>
            </a:r>
            <a:r>
              <a:rPr lang="es-ES" sz="1400" b="1" dirty="0" smtClean="0">
                <a:solidFill>
                  <a:srgbClr val="FFFFFF"/>
                </a:solidFill>
              </a:rPr>
              <a:t>Misión</a:t>
            </a:r>
            <a:endParaRPr lang="es-ES" sz="1400" b="1" dirty="0">
              <a:solidFill>
                <a:srgbClr val="FFFFFF"/>
              </a:solidFill>
            </a:endParaRPr>
          </a:p>
        </p:txBody>
      </p:sp>
      <p:sp>
        <p:nvSpPr>
          <p:cNvPr id="768019" name="Rectangle 9"/>
          <p:cNvSpPr>
            <a:spLocks noChangeArrowheads="1"/>
          </p:cNvSpPr>
          <p:nvPr/>
        </p:nvSpPr>
        <p:spPr bwMode="gray">
          <a:xfrm>
            <a:off x="2576513" y="4973638"/>
            <a:ext cx="2866344" cy="1371600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eaLnBrk="0" hangingPunct="0">
              <a:lnSpc>
                <a:spcPct val="90000"/>
              </a:lnSpc>
            </a:pPr>
            <a:r>
              <a:rPr lang="es-ES" sz="1400" b="1" dirty="0">
                <a:solidFill>
                  <a:srgbClr val="FFFFFF"/>
                </a:solidFill>
              </a:rPr>
              <a:t>Consejo </a:t>
            </a:r>
            <a:r>
              <a:rPr lang="es-ES" sz="1400" b="1" dirty="0" smtClean="0">
                <a:solidFill>
                  <a:srgbClr val="FFFFFF"/>
                </a:solidFill>
              </a:rPr>
              <a:t>Provincial de Misión</a:t>
            </a:r>
            <a:endParaRPr lang="es-ES" sz="1400" dirty="0">
              <a:solidFill>
                <a:srgbClr val="FFFFFF"/>
              </a:solidFill>
            </a:endParaRPr>
          </a:p>
        </p:txBody>
      </p:sp>
      <p:sp>
        <p:nvSpPr>
          <p:cNvPr id="4" name="Right Arrow 3"/>
          <p:cNvSpPr/>
          <p:nvPr/>
        </p:nvSpPr>
        <p:spPr>
          <a:xfrm rot="5400000">
            <a:off x="2586832" y="3128168"/>
            <a:ext cx="977900" cy="868363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7" name="Right Arrow 46"/>
          <p:cNvSpPr/>
          <p:nvPr/>
        </p:nvSpPr>
        <p:spPr>
          <a:xfrm rot="16200000">
            <a:off x="4661694" y="4428332"/>
            <a:ext cx="890587" cy="717550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gray">
          <a:xfrm>
            <a:off x="5465763" y="4973638"/>
            <a:ext cx="1158875" cy="1371600"/>
          </a:xfrm>
          <a:prstGeom prst="rect">
            <a:avLst/>
          </a:prstGeom>
          <a:solidFill>
            <a:schemeClr val="accent6"/>
          </a:solidFill>
          <a:ln w="6350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" sz="1200" dirty="0">
                <a:solidFill>
                  <a:srgbClr val="000000"/>
                </a:solidFill>
                <a:cs typeface="Arial" pitchFamily="34" charset="0"/>
              </a:rPr>
              <a:t>Asociaciones</a:t>
            </a:r>
            <a:endParaRPr lang="es-E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Right Arrow 13"/>
          <p:cNvSpPr/>
          <p:nvPr/>
        </p:nvSpPr>
        <p:spPr>
          <a:xfrm rot="16200000">
            <a:off x="5586932" y="4428332"/>
            <a:ext cx="890587" cy="717550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68024" name="RunningHead"/>
          <p:cNvSpPr txBox="1">
            <a:spLocks noChangeArrowheads="1"/>
          </p:cNvSpPr>
          <p:nvPr/>
        </p:nvSpPr>
        <p:spPr bwMode="gray">
          <a:xfrm>
            <a:off x="6861175" y="139700"/>
            <a:ext cx="2030413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" sz="1200" dirty="0">
                <a:solidFill>
                  <a:srgbClr val="000000"/>
                </a:solidFill>
              </a:rPr>
              <a:t>¿Estamos bien organizados? 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2337" name="Title 1"/>
          <p:cNvSpPr>
            <a:spLocks noGrp="1"/>
          </p:cNvSpPr>
          <p:nvPr>
            <p:ph type="title"/>
          </p:nvPr>
        </p:nvSpPr>
        <p:spPr>
          <a:xfrm>
            <a:off x="244476" y="804863"/>
            <a:ext cx="8150588" cy="664797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… con actividades enfocadas a generar economías de escala y otras tareas especializadas</a:t>
            </a:r>
          </a:p>
        </p:txBody>
      </p:sp>
      <p:sp>
        <p:nvSpPr>
          <p:cNvPr id="3" name="Rectangle 2"/>
          <p:cNvSpPr/>
          <p:nvPr/>
        </p:nvSpPr>
        <p:spPr>
          <a:xfrm>
            <a:off x="2519363" y="1773238"/>
            <a:ext cx="6408737" cy="1581972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113414" indent="-113414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b="1" dirty="0" smtClean="0">
                <a:solidFill>
                  <a:srgbClr val="000000"/>
                </a:solidFill>
                <a:cs typeface="Arial" pitchFamily="34" charset="0"/>
              </a:rPr>
              <a:t>Modelo de mínimos: 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Consejos para el desarrollo </a:t>
            </a:r>
            <a:r>
              <a:rPr lang="es-ES" sz="1400" dirty="0" smtClean="0">
                <a:solidFill>
                  <a:srgbClr val="000000"/>
                </a:solidFill>
                <a:cs typeface="Arial" pitchFamily="34" charset="0"/>
              </a:rPr>
              <a:t>interprovincial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, comunicación para compartir conocimiento y enriquecimiento mutuo, compartir experiencias e intercambio cultural (impactos tanto materiales como inmateriales)</a:t>
            </a: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.</a:t>
            </a:r>
            <a:endParaRPr lang="es-ES" sz="1400" dirty="0">
              <a:solidFill>
                <a:srgbClr val="000000"/>
              </a:solidFill>
              <a:cs typeface="Arial" pitchFamily="34" charset="0"/>
            </a:endParaRPr>
          </a:p>
          <a:p>
            <a:pPr marL="113414" indent="-113414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b="1" dirty="0" smtClean="0">
                <a:solidFill>
                  <a:srgbClr val="000000"/>
                </a:solidFill>
                <a:cs typeface="Arial" pitchFamily="34" charset="0"/>
              </a:rPr>
              <a:t>Modelo completo</a:t>
            </a:r>
            <a:r>
              <a:rPr lang="es-ES" sz="1400" dirty="0" smtClean="0">
                <a:solidFill>
                  <a:srgbClr val="000000"/>
                </a:solidFill>
                <a:cs typeface="Arial" pitchFamily="34" charset="0"/>
              </a:rPr>
              <a:t>: 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Centro Regional de competencias con significativa delegación de autoridad para temas específicos (centro de competencias, compras, servicios TIC, </a:t>
            </a:r>
            <a:r>
              <a:rPr lang="es-ES" sz="1400" dirty="0" smtClean="0">
                <a:solidFill>
                  <a:srgbClr val="000000"/>
                </a:solidFill>
                <a:cs typeface="Arial" pitchFamily="34" charset="0"/>
              </a:rPr>
              <a:t>publicaciones 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y comunicaciones…).</a:t>
            </a:r>
          </a:p>
        </p:txBody>
      </p:sp>
      <p:sp>
        <p:nvSpPr>
          <p:cNvPr id="4" name="AutoShape 3"/>
          <p:cNvSpPr>
            <a:spLocks noChangeArrowheads="1"/>
          </p:cNvSpPr>
          <p:nvPr/>
        </p:nvSpPr>
        <p:spPr bwMode="gray">
          <a:xfrm>
            <a:off x="179388" y="1808163"/>
            <a:ext cx="2346325" cy="1390650"/>
          </a:xfrm>
          <a:prstGeom prst="homePlate">
            <a:avLst>
              <a:gd name="adj" fmla="val 0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" sz="1600" b="1" i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Alcance</a:t>
            </a:r>
            <a:endParaRPr lang="es-ES" sz="1600" b="1" i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14600" y="3598863"/>
            <a:ext cx="6407150" cy="2679708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113414" indent="-113414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b="1" dirty="0">
                <a:solidFill>
                  <a:schemeClr val="tx1"/>
                </a:solidFill>
                <a:cs typeface="Arial" pitchFamily="34" charset="0"/>
              </a:rPr>
              <a:t>El </a:t>
            </a:r>
            <a:r>
              <a:rPr lang="es-ES" sz="1400" b="1" dirty="0" smtClean="0">
                <a:solidFill>
                  <a:schemeClr val="tx1"/>
                </a:solidFill>
                <a:cs typeface="Arial" pitchFamily="34" charset="0"/>
              </a:rPr>
              <a:t>Responsable</a:t>
            </a:r>
            <a:r>
              <a:rPr lang="es-ES" sz="1400" dirty="0" smtClean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es-ES" sz="1400" dirty="0">
                <a:solidFill>
                  <a:schemeClr val="tx1"/>
                </a:solidFill>
                <a:cs typeface="Arial" pitchFamily="34" charset="0"/>
              </a:rPr>
              <a:t>del </a:t>
            </a:r>
            <a:r>
              <a:rPr lang="es-ES" sz="1400" dirty="0" smtClean="0">
                <a:solidFill>
                  <a:schemeClr val="tx1"/>
                </a:solidFill>
                <a:cs typeface="Arial" pitchFamily="34" charset="0"/>
              </a:rPr>
              <a:t>Consejo Regional </a:t>
            </a:r>
            <a:r>
              <a:rPr lang="es-ES" sz="1400" dirty="0">
                <a:solidFill>
                  <a:schemeClr val="tx1"/>
                </a:solidFill>
                <a:cs typeface="Arial" pitchFamily="34" charset="0"/>
              </a:rPr>
              <a:t>de </a:t>
            </a:r>
            <a:r>
              <a:rPr lang="es-ES" sz="1400" dirty="0" smtClean="0">
                <a:solidFill>
                  <a:schemeClr val="tx1"/>
                </a:solidFill>
                <a:cs typeface="Arial" pitchFamily="34" charset="0"/>
              </a:rPr>
              <a:t>Misión </a:t>
            </a:r>
            <a:r>
              <a:rPr lang="es-ES" sz="1400" dirty="0">
                <a:solidFill>
                  <a:schemeClr val="tx1"/>
                </a:solidFill>
                <a:cs typeface="Arial" pitchFamily="34" charset="0"/>
              </a:rPr>
              <a:t>deberá ser elegido </a:t>
            </a:r>
            <a:r>
              <a:rPr lang="es-ES" sz="1400" dirty="0" smtClean="0">
                <a:solidFill>
                  <a:schemeClr val="tx1"/>
                </a:solidFill>
                <a:cs typeface="Arial" pitchFamily="34" charset="0"/>
              </a:rPr>
              <a:t>entre los </a:t>
            </a:r>
            <a:r>
              <a:rPr lang="es-ES" sz="1400" dirty="0">
                <a:solidFill>
                  <a:schemeClr val="tx1"/>
                </a:solidFill>
                <a:cs typeface="Arial" pitchFamily="34" charset="0"/>
              </a:rPr>
              <a:t>representantes de las Provincias y Asociaciones.</a:t>
            </a:r>
          </a:p>
          <a:p>
            <a:pPr marL="113414" indent="-113414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b="1" dirty="0" smtClean="0">
                <a:solidFill>
                  <a:srgbClr val="000000"/>
                </a:solidFill>
                <a:cs typeface="Arial" pitchFamily="34" charset="0"/>
              </a:rPr>
              <a:t>Son </a:t>
            </a: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miembros del Consejo Regional de Misión los </a:t>
            </a:r>
            <a:r>
              <a:rPr lang="es-ES" sz="1400" b="1" dirty="0" smtClean="0">
                <a:solidFill>
                  <a:srgbClr val="000000"/>
                </a:solidFill>
                <a:cs typeface="Arial" pitchFamily="34" charset="0"/>
              </a:rPr>
              <a:t>enlaces </a:t>
            </a: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del Consejo General </a:t>
            </a:r>
            <a:r>
              <a:rPr lang="es-ES" sz="1400" dirty="0" smtClean="0">
                <a:solidFill>
                  <a:srgbClr val="000000"/>
                </a:solidFill>
                <a:cs typeface="Arial" pitchFamily="34" charset="0"/>
              </a:rPr>
              <a:t>(para 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promover el acompañamiento de la vida y misión Marista y el enriquecimiento entre las distintas regiones).</a:t>
            </a:r>
          </a:p>
          <a:p>
            <a:pPr marL="113414" indent="-113414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b="1" dirty="0" smtClean="0">
                <a:solidFill>
                  <a:srgbClr val="000000"/>
                </a:solidFill>
                <a:cs typeface="Arial" pitchFamily="34" charset="0"/>
              </a:rPr>
              <a:t>Otros </a:t>
            </a: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miembros del Consejo Regional de Misión: </a:t>
            </a:r>
            <a:r>
              <a:rPr lang="es-ES" sz="1400" b="1" dirty="0" smtClean="0">
                <a:solidFill>
                  <a:srgbClr val="000000"/>
                </a:solidFill>
                <a:cs typeface="Arial" pitchFamily="34" charset="0"/>
              </a:rPr>
              <a:t>representantes </a:t>
            </a: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de los Consejos Provinciales </a:t>
            </a:r>
            <a:r>
              <a:rPr lang="es-ES" sz="1400" dirty="0">
                <a:solidFill>
                  <a:srgbClr val="000000"/>
                </a:solidFill>
                <a:cs typeface="Arial" panose="020B0604020202020204" pitchFamily="34" charset="0"/>
              </a:rPr>
              <a:t>(nombrados por los Provinciales) y de </a:t>
            </a:r>
            <a:r>
              <a:rPr lang="es-ES" sz="1400" dirty="0" smtClean="0">
                <a:solidFill>
                  <a:srgbClr val="000000"/>
                </a:solidFill>
                <a:cs typeface="Arial" panose="020B0604020202020204" pitchFamily="34" charset="0"/>
              </a:rPr>
              <a:t>las </a:t>
            </a:r>
            <a:r>
              <a:rPr lang="es-ES" sz="14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Asociaciones</a:t>
            </a:r>
            <a:r>
              <a:rPr lang="es-ES" sz="1400" dirty="0" smtClean="0">
                <a:solidFill>
                  <a:srgbClr val="000000"/>
                </a:solidFill>
                <a:cs typeface="Arial" panose="020B0604020202020204" pitchFamily="34" charset="0"/>
              </a:rPr>
              <a:t>.</a:t>
            </a:r>
            <a:endParaRPr lang="es-ES" sz="14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13414" indent="-113414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b="1" dirty="0">
                <a:solidFill>
                  <a:srgbClr val="000000"/>
                </a:solidFill>
                <a:cs typeface="Arial" panose="020B0604020202020204" pitchFamily="34" charset="0"/>
              </a:rPr>
              <a:t>La estrategia Regional </a:t>
            </a:r>
            <a:r>
              <a:rPr lang="es-ES" sz="1400" dirty="0">
                <a:solidFill>
                  <a:srgbClr val="000000"/>
                </a:solidFill>
                <a:cs typeface="Arial" panose="020B0604020202020204" pitchFamily="34" charset="0"/>
              </a:rPr>
              <a:t>deberá ser discutida periódicamente en el nivel Regional y dentro del Consejo </a:t>
            </a:r>
            <a:r>
              <a:rPr lang="es-ES" sz="1400" dirty="0" smtClean="0">
                <a:solidFill>
                  <a:srgbClr val="000000"/>
                </a:solidFill>
                <a:cs typeface="Arial" panose="020B0604020202020204" pitchFamily="34" charset="0"/>
              </a:rPr>
              <a:t>General de Misión.</a:t>
            </a:r>
            <a:endParaRPr lang="es-ES" sz="14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13414" indent="-113414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b="1" dirty="0" smtClean="0">
                <a:solidFill>
                  <a:srgbClr val="000000"/>
                </a:solidFill>
                <a:cs typeface="Arial" pitchFamily="34" charset="0"/>
              </a:rPr>
              <a:t>La planificación de la Misión de </a:t>
            </a: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las Provincias y las Asociaciones de Misión </a:t>
            </a:r>
            <a:r>
              <a:rPr lang="es-ES" sz="1400" dirty="0" smtClean="0">
                <a:solidFill>
                  <a:srgbClr val="000000"/>
                </a:solidFill>
                <a:cs typeface="Arial" pitchFamily="34" charset="0"/>
              </a:rPr>
              <a:t>necesita 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ser </a:t>
            </a:r>
            <a:r>
              <a:rPr lang="es-ES" sz="1400" dirty="0" smtClean="0">
                <a:solidFill>
                  <a:srgbClr val="000000"/>
                </a:solidFill>
                <a:cs typeface="Arial" pitchFamily="34" charset="0"/>
              </a:rPr>
              <a:t>discutida 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y </a:t>
            </a:r>
            <a:r>
              <a:rPr lang="es-ES" sz="1400" dirty="0" smtClean="0">
                <a:solidFill>
                  <a:srgbClr val="000000"/>
                </a:solidFill>
                <a:cs typeface="Arial" pitchFamily="34" charset="0"/>
              </a:rPr>
              <a:t>validada 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por el Consejo </a:t>
            </a:r>
            <a:r>
              <a:rPr lang="es-ES" sz="1400" dirty="0" smtClean="0">
                <a:solidFill>
                  <a:srgbClr val="000000"/>
                </a:solidFill>
                <a:cs typeface="Arial" pitchFamily="34" charset="0"/>
              </a:rPr>
              <a:t>Regional de Misión.</a:t>
            </a:r>
            <a:endParaRPr lang="es-E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AutoShape 3"/>
          <p:cNvSpPr>
            <a:spLocks noChangeArrowheads="1"/>
          </p:cNvSpPr>
          <p:nvPr/>
        </p:nvSpPr>
        <p:spPr bwMode="gray">
          <a:xfrm>
            <a:off x="173038" y="3616325"/>
            <a:ext cx="2346325" cy="2765425"/>
          </a:xfrm>
          <a:prstGeom prst="homePlate">
            <a:avLst>
              <a:gd name="adj" fmla="val 0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 i="1" dirty="0">
                <a:solidFill>
                  <a:srgbClr val="FFFFFF"/>
                </a:solidFill>
              </a:rPr>
              <a:t>Responsabilidades </a:t>
            </a:r>
            <a:r>
              <a:rPr lang="es-ES" sz="1600" b="1" i="1" dirty="0" smtClean="0">
                <a:solidFill>
                  <a:srgbClr val="FFFFFF"/>
                </a:solidFill>
              </a:rPr>
              <a:t>clave, gobernanza </a:t>
            </a:r>
            <a:r>
              <a:rPr lang="es-ES" sz="1600" b="1" i="1" dirty="0">
                <a:solidFill>
                  <a:srgbClr val="FFFFFF"/>
                </a:solidFill>
              </a:rPr>
              <a:t>y mecanismos de gestión</a:t>
            </a:r>
            <a:endParaRPr lang="en-US" sz="1600" b="1" i="1" dirty="0">
              <a:solidFill>
                <a:srgbClr val="FFFFFF"/>
              </a:solidFill>
            </a:endParaRPr>
          </a:p>
        </p:txBody>
      </p:sp>
      <p:sp>
        <p:nvSpPr>
          <p:cNvPr id="3342342" name="RunningHead"/>
          <p:cNvSpPr txBox="1">
            <a:spLocks noChangeArrowheads="1"/>
          </p:cNvSpPr>
          <p:nvPr/>
        </p:nvSpPr>
        <p:spPr bwMode="gray">
          <a:xfrm>
            <a:off x="6861175" y="139700"/>
            <a:ext cx="2030413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" sz="1200" dirty="0">
                <a:solidFill>
                  <a:srgbClr val="000000"/>
                </a:solidFill>
              </a:rPr>
              <a:t>¿Estamos bien organizados? 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2225" name="Title 1"/>
          <p:cNvSpPr txBox="1">
            <a:spLocks/>
          </p:cNvSpPr>
          <p:nvPr/>
        </p:nvSpPr>
        <p:spPr bwMode="auto">
          <a:xfrm>
            <a:off x="244475" y="765175"/>
            <a:ext cx="8640763" cy="33813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4400">
              <a:lnSpc>
                <a:spcPct val="90000"/>
              </a:lnSpc>
            </a:pPr>
            <a:r>
              <a:rPr lang="es-ES_tradnl" sz="2400">
                <a:solidFill>
                  <a:srgbClr val="000000"/>
                </a:solidFill>
              </a:rPr>
              <a:t>Esquema básico del Proyecto</a:t>
            </a:r>
          </a:p>
        </p:txBody>
      </p:sp>
      <p:pic>
        <p:nvPicPr>
          <p:cNvPr id="26" name="Picture 5"/>
          <p:cNvPicPr>
            <a:picLocks noChangeAspect="1" noChangeArrowheads="1"/>
          </p:cNvPicPr>
          <p:nvPr/>
        </p:nvPicPr>
        <p:blipFill>
          <a:blip r:embed="rId2"/>
          <a:srcRect l="2444" r="2444"/>
          <a:stretch>
            <a:fillRect/>
          </a:stretch>
        </p:blipFill>
        <p:spPr bwMode="auto">
          <a:xfrm>
            <a:off x="0" y="2736676"/>
            <a:ext cx="9144000" cy="1944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9" name="Grupo 42"/>
          <p:cNvGrpSpPr>
            <a:grpSpLocks/>
          </p:cNvGrpSpPr>
          <p:nvPr/>
        </p:nvGrpSpPr>
        <p:grpSpPr bwMode="auto">
          <a:xfrm>
            <a:off x="1198563" y="3270076"/>
            <a:ext cx="1935162" cy="2005012"/>
            <a:chOff x="1197913" y="2961297"/>
            <a:chExt cx="1935580" cy="2003705"/>
          </a:xfrm>
        </p:grpSpPr>
        <p:pic>
          <p:nvPicPr>
            <p:cNvPr id="3252252" name="Imagem 47"/>
            <p:cNvPicPr>
              <a:picLocks noChangeAspect="1"/>
            </p:cNvPicPr>
            <p:nvPr/>
          </p:nvPicPr>
          <p:blipFill>
            <a:blip r:embed="rId3"/>
            <a:srcRect l="75783" t="1994" r="13197" b="83583"/>
            <a:stretch>
              <a:fillRect/>
            </a:stretch>
          </p:blipFill>
          <p:spPr bwMode="auto">
            <a:xfrm>
              <a:off x="1749761" y="2961297"/>
              <a:ext cx="827078" cy="8117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52253" name="Retângulo 64"/>
            <p:cNvSpPr>
              <a:spLocks noChangeArrowheads="1"/>
            </p:cNvSpPr>
            <p:nvPr/>
          </p:nvSpPr>
          <p:spPr bwMode="auto">
            <a:xfrm>
              <a:off x="1197913" y="3875473"/>
              <a:ext cx="1935580" cy="10895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1289050">
                <a:lnSpc>
                  <a:spcPct val="90000"/>
                </a:lnSpc>
                <a:spcAft>
                  <a:spcPct val="35000"/>
                </a:spcAft>
              </a:pPr>
              <a:r>
                <a:rPr lang="es-ES_tradnl" dirty="0">
                  <a:solidFill>
                    <a:srgbClr val="1F497D"/>
                  </a:solidFill>
                  <a:latin typeface="Arial Narrow" pitchFamily="34" charset="0"/>
                </a:rPr>
                <a:t>Alineamiento estratégico y resultados esperados</a:t>
              </a:r>
            </a:p>
          </p:txBody>
        </p:sp>
      </p:grpSp>
      <p:sp>
        <p:nvSpPr>
          <p:cNvPr id="3252249" name="Retângulo 45"/>
          <p:cNvSpPr>
            <a:spLocks noChangeArrowheads="1"/>
          </p:cNvSpPr>
          <p:nvPr/>
        </p:nvSpPr>
        <p:spPr bwMode="auto">
          <a:xfrm>
            <a:off x="0" y="2129217"/>
            <a:ext cx="2000250" cy="9235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>
              <a:buClr>
                <a:srgbClr val="A0400B"/>
              </a:buClr>
              <a:buSzPct val="80000"/>
            </a:pPr>
            <a:r>
              <a:rPr lang="es-ES_tradnl" dirty="0">
                <a:solidFill>
                  <a:srgbClr val="003E69"/>
                </a:solidFill>
                <a:latin typeface="Arial Narrow" pitchFamily="34" charset="0"/>
              </a:rPr>
              <a:t>Infraestructura para la planificación de la comunicación</a:t>
            </a:r>
          </a:p>
        </p:txBody>
      </p:sp>
      <p:pic>
        <p:nvPicPr>
          <p:cNvPr id="3252250" name="Imagem 46"/>
          <p:cNvPicPr>
            <a:picLocks noChangeAspect="1"/>
          </p:cNvPicPr>
          <p:nvPr/>
        </p:nvPicPr>
        <p:blipFill>
          <a:blip r:embed="rId3"/>
          <a:srcRect l="75783" t="1994" r="13197" b="83583"/>
          <a:stretch>
            <a:fillRect/>
          </a:stretch>
        </p:blipFill>
        <p:spPr bwMode="auto">
          <a:xfrm>
            <a:off x="586586" y="3270896"/>
            <a:ext cx="827078" cy="81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52251" name="Retângulo 44"/>
          <p:cNvSpPr>
            <a:spLocks noChangeArrowheads="1"/>
          </p:cNvSpPr>
          <p:nvPr/>
        </p:nvSpPr>
        <p:spPr bwMode="auto">
          <a:xfrm>
            <a:off x="263854" y="1602804"/>
            <a:ext cx="1583995" cy="623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>
              <a:lnSpc>
                <a:spcPct val="85000"/>
              </a:lnSpc>
            </a:pPr>
            <a:r>
              <a:rPr lang="es-ES_tradnl" sz="2000" b="1" dirty="0" smtClean="0">
                <a:solidFill>
                  <a:schemeClr val="accent1"/>
                </a:solidFill>
                <a:latin typeface="Calibri" pitchFamily="34" charset="0"/>
              </a:rPr>
              <a:t>Situación actual</a:t>
            </a:r>
            <a:endParaRPr lang="es-ES_tradnl" sz="2000" b="1" dirty="0">
              <a:solidFill>
                <a:schemeClr val="accent1"/>
              </a:solidFill>
              <a:latin typeface="Calibri" pitchFamily="34" charset="0"/>
            </a:endParaRPr>
          </a:p>
        </p:txBody>
      </p:sp>
      <p:grpSp>
        <p:nvGrpSpPr>
          <p:cNvPr id="45" name="Grupo 43"/>
          <p:cNvGrpSpPr>
            <a:grpSpLocks/>
          </p:cNvGrpSpPr>
          <p:nvPr/>
        </p:nvGrpSpPr>
        <p:grpSpPr bwMode="auto">
          <a:xfrm>
            <a:off x="2724150" y="2128663"/>
            <a:ext cx="1266825" cy="1954213"/>
            <a:chOff x="2804585" y="2085961"/>
            <a:chExt cx="1186390" cy="1687098"/>
          </a:xfrm>
        </p:grpSpPr>
        <p:pic>
          <p:nvPicPr>
            <p:cNvPr id="3252247" name="Imagem 48"/>
            <p:cNvPicPr>
              <a:picLocks noChangeAspect="1"/>
            </p:cNvPicPr>
            <p:nvPr/>
          </p:nvPicPr>
          <p:blipFill>
            <a:blip r:embed="rId3"/>
            <a:srcRect l="75783" t="1994" r="13197" b="83583"/>
            <a:stretch>
              <a:fillRect/>
            </a:stretch>
          </p:blipFill>
          <p:spPr bwMode="auto">
            <a:xfrm>
              <a:off x="2984241" y="2961297"/>
              <a:ext cx="827078" cy="8117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52248" name="Retângulo 69"/>
            <p:cNvSpPr>
              <a:spLocks noChangeArrowheads="1"/>
            </p:cNvSpPr>
            <p:nvPr/>
          </p:nvSpPr>
          <p:spPr bwMode="auto">
            <a:xfrm>
              <a:off x="2804585" y="2085961"/>
              <a:ext cx="1186390" cy="11143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914400">
                <a:spcAft>
                  <a:spcPts val="700"/>
                </a:spcAft>
                <a:buClr>
                  <a:srgbClr val="A0400B"/>
                </a:buClr>
                <a:buSzPct val="80000"/>
              </a:pPr>
              <a:r>
                <a:rPr lang="es-ES_tradnl" dirty="0">
                  <a:solidFill>
                    <a:srgbClr val="1F497D"/>
                  </a:solidFill>
                  <a:latin typeface="Arial Narrow" pitchFamily="34" charset="0"/>
                </a:rPr>
                <a:t>Diagnóstico del contexto actual </a:t>
              </a:r>
            </a:p>
            <a:p>
              <a:pPr algn="ctr" defTabSz="914400">
                <a:spcAft>
                  <a:spcPts val="700"/>
                </a:spcAft>
                <a:buClr>
                  <a:srgbClr val="A0400B"/>
                </a:buClr>
                <a:buSzPct val="80000"/>
              </a:pPr>
              <a:endParaRPr lang="es-ES_tradnl" dirty="0">
                <a:solidFill>
                  <a:srgbClr val="003E69"/>
                </a:solidFill>
                <a:latin typeface="Arial Narrow" pitchFamily="34" charset="0"/>
              </a:endParaRPr>
            </a:p>
          </p:txBody>
        </p:sp>
      </p:grpSp>
      <p:grpSp>
        <p:nvGrpSpPr>
          <p:cNvPr id="48" name="Grupo 2055"/>
          <p:cNvGrpSpPr>
            <a:grpSpLocks/>
          </p:cNvGrpSpPr>
          <p:nvPr/>
        </p:nvGrpSpPr>
        <p:grpSpPr bwMode="auto">
          <a:xfrm>
            <a:off x="7412038" y="2949401"/>
            <a:ext cx="1541462" cy="1133475"/>
            <a:chOff x="7411453" y="2639959"/>
            <a:chExt cx="1542048" cy="1133100"/>
          </a:xfrm>
        </p:grpSpPr>
        <p:pic>
          <p:nvPicPr>
            <p:cNvPr id="49" name="Imagem 52"/>
            <p:cNvPicPr>
              <a:picLocks noChangeAspect="1"/>
            </p:cNvPicPr>
            <p:nvPr/>
          </p:nvPicPr>
          <p:blipFill rotWithShape="1">
            <a:blip r:embed="rId3"/>
            <a:srcRect l="45087" t="1995" r="43893" b="83583"/>
            <a:stretch/>
          </p:blipFill>
          <p:spPr>
            <a:xfrm>
              <a:off x="7792598" y="2960528"/>
              <a:ext cx="825814" cy="81253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3252246" name="Retângulo 71"/>
            <p:cNvSpPr>
              <a:spLocks noChangeArrowheads="1"/>
            </p:cNvSpPr>
            <p:nvPr/>
          </p:nvSpPr>
          <p:spPr bwMode="auto">
            <a:xfrm>
              <a:off x="7411453" y="2639959"/>
              <a:ext cx="1542048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914400">
                <a:spcAft>
                  <a:spcPts val="700"/>
                </a:spcAft>
                <a:buClr>
                  <a:srgbClr val="A0400B"/>
                </a:buClr>
                <a:buSzPct val="80000"/>
              </a:pPr>
              <a:r>
                <a:rPr lang="es-ES_tradnl" dirty="0">
                  <a:solidFill>
                    <a:srgbClr val="1F497D"/>
                  </a:solidFill>
                  <a:latin typeface="Arial Narrow" pitchFamily="34" charset="0"/>
                </a:rPr>
                <a:t>Implementación </a:t>
              </a:r>
              <a:endParaRPr lang="es-ES_tradnl" dirty="0">
                <a:solidFill>
                  <a:srgbClr val="003E69"/>
                </a:solidFill>
                <a:latin typeface="Arial Narrow" pitchFamily="34" charset="0"/>
              </a:endParaRPr>
            </a:p>
          </p:txBody>
        </p:sp>
      </p:grpSp>
      <p:grpSp>
        <p:nvGrpSpPr>
          <p:cNvPr id="51" name="Grupo 2048"/>
          <p:cNvGrpSpPr>
            <a:grpSpLocks/>
          </p:cNvGrpSpPr>
          <p:nvPr/>
        </p:nvGrpSpPr>
        <p:grpSpPr bwMode="auto">
          <a:xfrm>
            <a:off x="4989513" y="1871488"/>
            <a:ext cx="1779587" cy="1804988"/>
            <a:chOff x="5061859" y="2085961"/>
            <a:chExt cx="1485624" cy="1687098"/>
          </a:xfrm>
        </p:grpSpPr>
        <p:pic>
          <p:nvPicPr>
            <p:cNvPr id="52" name="Imagem 50"/>
            <p:cNvPicPr>
              <a:picLocks noChangeAspect="1"/>
            </p:cNvPicPr>
            <p:nvPr/>
          </p:nvPicPr>
          <p:blipFill rotWithShape="1">
            <a:blip r:embed="rId3"/>
            <a:srcRect l="44929" t="1995" r="44051" b="83583"/>
            <a:stretch/>
          </p:blipFill>
          <p:spPr>
            <a:xfrm>
              <a:off x="5390525" y="2961412"/>
              <a:ext cx="828292" cy="81164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3252244" name="Retângulo 70"/>
            <p:cNvSpPr>
              <a:spLocks noChangeArrowheads="1"/>
            </p:cNvSpPr>
            <p:nvPr/>
          </p:nvSpPr>
          <p:spPr bwMode="auto">
            <a:xfrm>
              <a:off x="5061859" y="2085961"/>
              <a:ext cx="1485624" cy="10183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266700">
                <a:lnSpc>
                  <a:spcPct val="90000"/>
                </a:lnSpc>
                <a:spcAft>
                  <a:spcPct val="35000"/>
                </a:spcAft>
              </a:pPr>
              <a:r>
                <a:rPr lang="es-ES_tradnl" dirty="0">
                  <a:solidFill>
                    <a:srgbClr val="1F497D"/>
                  </a:solidFill>
                  <a:latin typeface="Arial Narrow" pitchFamily="34" charset="0"/>
                </a:rPr>
                <a:t>Discusión y aprobación junto a los principales representantes</a:t>
              </a:r>
            </a:p>
          </p:txBody>
        </p:sp>
      </p:grpSp>
      <p:grpSp>
        <p:nvGrpSpPr>
          <p:cNvPr id="54" name="Grupo 2054"/>
          <p:cNvGrpSpPr>
            <a:grpSpLocks/>
          </p:cNvGrpSpPr>
          <p:nvPr/>
        </p:nvGrpSpPr>
        <p:grpSpPr bwMode="auto">
          <a:xfrm>
            <a:off x="6207125" y="3270076"/>
            <a:ext cx="1539875" cy="2374900"/>
            <a:chOff x="6207396" y="2961297"/>
            <a:chExt cx="1539827" cy="2374039"/>
          </a:xfrm>
        </p:grpSpPr>
        <p:pic>
          <p:nvPicPr>
            <p:cNvPr id="55" name="Imagem 51"/>
            <p:cNvPicPr>
              <a:picLocks noChangeAspect="1"/>
            </p:cNvPicPr>
            <p:nvPr/>
          </p:nvPicPr>
          <p:blipFill rotWithShape="1">
            <a:blip r:embed="rId3"/>
            <a:srcRect l="44929" t="1995" r="44051" b="83583"/>
            <a:stretch/>
          </p:blipFill>
          <p:spPr>
            <a:xfrm>
              <a:off x="6583622" y="2961297"/>
              <a:ext cx="827061" cy="81250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3252242" name="Retângulo 68"/>
            <p:cNvSpPr>
              <a:spLocks noChangeArrowheads="1"/>
            </p:cNvSpPr>
            <p:nvPr/>
          </p:nvSpPr>
          <p:spPr bwMode="auto">
            <a:xfrm>
              <a:off x="6207396" y="3996508"/>
              <a:ext cx="1539827" cy="13388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266700">
                <a:lnSpc>
                  <a:spcPct val="90000"/>
                </a:lnSpc>
                <a:spcAft>
                  <a:spcPct val="35000"/>
                </a:spcAft>
              </a:pPr>
              <a:r>
                <a:rPr lang="es-ES_tradnl" dirty="0">
                  <a:solidFill>
                    <a:srgbClr val="1F497D"/>
                  </a:solidFill>
                  <a:latin typeface="Arial Narrow" pitchFamily="34" charset="0"/>
                </a:rPr>
                <a:t>Diseñar un plan de acción para implementar  los principios y modelos </a:t>
              </a:r>
            </a:p>
          </p:txBody>
        </p:sp>
      </p:grpSp>
      <p:grpSp>
        <p:nvGrpSpPr>
          <p:cNvPr id="57" name="Grupo 2047"/>
          <p:cNvGrpSpPr>
            <a:grpSpLocks/>
          </p:cNvGrpSpPr>
          <p:nvPr/>
        </p:nvGrpSpPr>
        <p:grpSpPr bwMode="auto">
          <a:xfrm>
            <a:off x="3579813" y="3270076"/>
            <a:ext cx="1995487" cy="2193925"/>
            <a:chOff x="3579541" y="2961297"/>
            <a:chExt cx="1996069" cy="2192556"/>
          </a:xfrm>
        </p:grpSpPr>
        <p:pic>
          <p:nvPicPr>
            <p:cNvPr id="58" name="Imagem 49"/>
            <p:cNvPicPr>
              <a:picLocks noChangeAspect="1"/>
            </p:cNvPicPr>
            <p:nvPr/>
          </p:nvPicPr>
          <p:blipFill rotWithShape="1">
            <a:blip r:embed="rId3"/>
            <a:srcRect l="44987" t="1995" r="43993" b="83583"/>
            <a:stretch/>
          </p:blipFill>
          <p:spPr>
            <a:xfrm>
              <a:off x="4162323" y="2961297"/>
              <a:ext cx="827329" cy="81229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3252239" name="Retângulo 67"/>
            <p:cNvSpPr>
              <a:spLocks noChangeArrowheads="1"/>
            </p:cNvSpPr>
            <p:nvPr/>
          </p:nvSpPr>
          <p:spPr bwMode="auto">
            <a:xfrm>
              <a:off x="3579541" y="4313623"/>
              <a:ext cx="1996069" cy="8402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266700">
                <a:lnSpc>
                  <a:spcPct val="90000"/>
                </a:lnSpc>
                <a:spcAft>
                  <a:spcPct val="35000"/>
                </a:spcAft>
              </a:pPr>
              <a:r>
                <a:rPr lang="es-ES_tradnl" dirty="0">
                  <a:solidFill>
                    <a:srgbClr val="1F497D"/>
                  </a:solidFill>
                  <a:latin typeface="Arial Narrow" pitchFamily="34" charset="0"/>
                </a:rPr>
                <a:t>Diseño de principios y modelos alternativos</a:t>
              </a:r>
            </a:p>
          </p:txBody>
        </p:sp>
        <p:sp>
          <p:nvSpPr>
            <p:cNvPr id="3252240" name="Retângulo 76"/>
            <p:cNvSpPr>
              <a:spLocks noChangeArrowheads="1"/>
            </p:cNvSpPr>
            <p:nvPr/>
          </p:nvSpPr>
          <p:spPr bwMode="auto">
            <a:xfrm>
              <a:off x="3740480" y="3688026"/>
              <a:ext cx="1669720" cy="623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914400">
                <a:lnSpc>
                  <a:spcPct val="85000"/>
                </a:lnSpc>
              </a:pPr>
              <a:r>
                <a:rPr lang="es-ES_tradnl" sz="2000" b="1" dirty="0">
                  <a:solidFill>
                    <a:srgbClr val="427AA1"/>
                  </a:solidFill>
                  <a:latin typeface="Calibri" pitchFamily="34" charset="0"/>
                </a:rPr>
                <a:t>Situación Futura</a:t>
              </a:r>
            </a:p>
          </p:txBody>
        </p:sp>
      </p:grpSp>
      <p:sp>
        <p:nvSpPr>
          <p:cNvPr id="3252236" name="Retângulo 78"/>
          <p:cNvSpPr>
            <a:spLocks noChangeArrowheads="1"/>
          </p:cNvSpPr>
          <p:nvPr/>
        </p:nvSpPr>
        <p:spPr bwMode="auto">
          <a:xfrm>
            <a:off x="200025" y="5719588"/>
            <a:ext cx="4178022" cy="458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>
              <a:lnSpc>
                <a:spcPct val="85000"/>
              </a:lnSpc>
            </a:pPr>
            <a:r>
              <a:rPr lang="es-ES_tradnl" sz="2800" b="1" dirty="0" smtClean="0">
                <a:solidFill>
                  <a:schemeClr val="accent1"/>
                </a:solidFill>
                <a:latin typeface="Calibri" pitchFamily="34" charset="0"/>
              </a:rPr>
              <a:t>Gestión del cambio </a:t>
            </a:r>
            <a:endParaRPr lang="es-ES_tradnl" sz="2800" b="1" dirty="0">
              <a:solidFill>
                <a:schemeClr val="accent1"/>
              </a:solidFill>
              <a:latin typeface="Calibri" pitchFamily="34" charset="0"/>
            </a:endParaRPr>
          </a:p>
        </p:txBody>
      </p:sp>
      <p:sp>
        <p:nvSpPr>
          <p:cNvPr id="3252237" name="Retângulo 80"/>
          <p:cNvSpPr>
            <a:spLocks noChangeArrowheads="1"/>
          </p:cNvSpPr>
          <p:nvPr/>
        </p:nvSpPr>
        <p:spPr bwMode="auto">
          <a:xfrm>
            <a:off x="200025" y="6198257"/>
            <a:ext cx="5375275" cy="6151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>
              <a:spcAft>
                <a:spcPts val="700"/>
              </a:spcAft>
              <a:buClr>
                <a:srgbClr val="A0400B"/>
              </a:buClr>
              <a:buSzPct val="80000"/>
            </a:pPr>
            <a:r>
              <a:rPr lang="es-ES_tradnl" sz="1600" dirty="0" smtClean="0">
                <a:solidFill>
                  <a:schemeClr val="accent1"/>
                </a:solidFill>
                <a:latin typeface="Arial Narrow" pitchFamily="34" charset="0"/>
              </a:rPr>
              <a:t>Principales actores implicados: Superior General, Consejo General, Comisión Internacional, Provincias/Distritos, Secretariados..</a:t>
            </a:r>
            <a:r>
              <a:rPr lang="es-ES_tradnl" dirty="0" smtClean="0">
                <a:solidFill>
                  <a:schemeClr val="accent1"/>
                </a:solidFill>
                <a:latin typeface="Arial Narrow" pitchFamily="34" charset="0"/>
              </a:rPr>
              <a:t>.</a:t>
            </a:r>
            <a:endParaRPr lang="es-ES_tradnl" dirty="0">
              <a:solidFill>
                <a:schemeClr val="accent1"/>
              </a:solidFill>
              <a:latin typeface="Arial Narrow" pitchFamily="34" charset="0"/>
            </a:endParaRPr>
          </a:p>
        </p:txBody>
      </p:sp>
      <p:sp>
        <p:nvSpPr>
          <p:cNvPr id="3252235" name="Rectangle 5"/>
          <p:cNvSpPr txBox="1">
            <a:spLocks noChangeArrowheads="1"/>
          </p:cNvSpPr>
          <p:nvPr/>
        </p:nvSpPr>
        <p:spPr bwMode="auto">
          <a:xfrm>
            <a:off x="5667375" y="139700"/>
            <a:ext cx="3225800" cy="1698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>
                <a:solidFill>
                  <a:srgbClr val="000000"/>
                </a:solidFill>
              </a:rPr>
              <a:t>Información general y principios fundamentales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2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9039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2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9040" name="Rectangle 9"/>
          <p:cNvSpPr>
            <a:spLocks noChangeArrowheads="1"/>
          </p:cNvSpPr>
          <p:nvPr/>
        </p:nvSpPr>
        <p:spPr bwMode="gray">
          <a:xfrm>
            <a:off x="179388" y="1972781"/>
            <a:ext cx="1547812" cy="2827836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defTabSz="914400" eaLnBrk="0" hangingPunct="0">
              <a:lnSpc>
                <a:spcPct val="90000"/>
              </a:lnSpc>
            </a:pPr>
            <a:r>
              <a:rPr lang="es-ES" b="1">
                <a:solidFill>
                  <a:srgbClr val="FFFFFF"/>
                </a:solidFill>
              </a:rPr>
              <a:t>Regiones </a:t>
            </a:r>
            <a:endParaRPr lang="es-ES">
              <a:solidFill>
                <a:srgbClr val="FFFFFF"/>
              </a:solidFill>
            </a:endParaRPr>
          </a:p>
        </p:txBody>
      </p:sp>
      <p:sp>
        <p:nvSpPr>
          <p:cNvPr id="769041" name="Rectangle 9"/>
          <p:cNvSpPr>
            <a:spLocks noChangeArrowheads="1"/>
          </p:cNvSpPr>
          <p:nvPr/>
        </p:nvSpPr>
        <p:spPr bwMode="gray">
          <a:xfrm>
            <a:off x="179388" y="5297221"/>
            <a:ext cx="1547812" cy="1377950"/>
          </a:xfrm>
          <a:prstGeom prst="rect">
            <a:avLst/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defTabSz="914400" eaLnBrk="0" hangingPunct="0">
              <a:lnSpc>
                <a:spcPct val="90000"/>
              </a:lnSpc>
            </a:pPr>
            <a:r>
              <a:rPr lang="es-ES" b="1">
                <a:solidFill>
                  <a:srgbClr val="FFFFFF"/>
                </a:solidFill>
              </a:rPr>
              <a:t>Provincias</a:t>
            </a:r>
          </a:p>
        </p:txBody>
      </p:sp>
      <p:sp>
        <p:nvSpPr>
          <p:cNvPr id="769042" name="Title 2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4797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Para evitar las duplicaciones, las actividades serán asignadas a nivel provincial o regional</a:t>
            </a:r>
          </a:p>
        </p:txBody>
      </p:sp>
      <p:sp>
        <p:nvSpPr>
          <p:cNvPr id="769043" name="TextBox 8"/>
          <p:cNvSpPr txBox="1">
            <a:spLocks noChangeArrowheads="1"/>
          </p:cNvSpPr>
          <p:nvPr/>
        </p:nvSpPr>
        <p:spPr bwMode="auto">
          <a:xfrm>
            <a:off x="6981825" y="1534632"/>
            <a:ext cx="841375" cy="2206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" sz="1600">
                <a:solidFill>
                  <a:srgbClr val="000000"/>
                </a:solidFill>
                <a:latin typeface="Arial "/>
              </a:rPr>
              <a:t>Ejemplos</a:t>
            </a:r>
          </a:p>
        </p:txBody>
      </p:sp>
      <p:sp>
        <p:nvSpPr>
          <p:cNvPr id="769044" name="TextBox 9"/>
          <p:cNvSpPr txBox="1">
            <a:spLocks noChangeArrowheads="1"/>
          </p:cNvSpPr>
          <p:nvPr/>
        </p:nvSpPr>
        <p:spPr bwMode="auto">
          <a:xfrm>
            <a:off x="3196196" y="1574971"/>
            <a:ext cx="763029" cy="22159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" sz="1600" dirty="0" smtClean="0">
                <a:latin typeface="Arial "/>
              </a:rPr>
              <a:t>Criterios</a:t>
            </a:r>
            <a:endParaRPr lang="es-ES" sz="1600" dirty="0">
              <a:latin typeface="Arial 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2268538" y="1897063"/>
            <a:ext cx="2711450" cy="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6180138" y="1897063"/>
            <a:ext cx="2400300" cy="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ço Reservado para Conteúdo 2"/>
          <p:cNvSpPr txBox="1">
            <a:spLocks/>
          </p:cNvSpPr>
          <p:nvPr/>
        </p:nvSpPr>
        <p:spPr>
          <a:xfrm>
            <a:off x="1865313" y="1972782"/>
            <a:ext cx="3643312" cy="282783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txBody>
          <a:bodyPr lIns="0" tIns="0" rIns="0" bIns="0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9616" indent="-12961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Responsables de:</a:t>
            </a:r>
          </a:p>
          <a:p>
            <a:pPr marL="309639" indent="-18002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–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Actividades con beneficios clave desde la escala regional (acordado con las  Provincias).</a:t>
            </a:r>
          </a:p>
          <a:p>
            <a:pPr marL="309639" indent="-18002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–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Actividades con el principal enfoque en la coordinación /definición de estándares.</a:t>
            </a:r>
          </a:p>
          <a:p>
            <a:pPr marL="309639" indent="-18002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–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Actividades que las Provincias no pueden hacer (ej. debido al limitado número de hermanos, escasez de recursos, limitación de habilidades y competencias...)</a:t>
            </a:r>
          </a:p>
        </p:txBody>
      </p:sp>
      <p:sp>
        <p:nvSpPr>
          <p:cNvPr id="19" name="Espaço Reservado para Conteúdo 2"/>
          <p:cNvSpPr txBox="1">
            <a:spLocks/>
          </p:cNvSpPr>
          <p:nvPr/>
        </p:nvSpPr>
        <p:spPr>
          <a:xfrm>
            <a:off x="5651500" y="1972781"/>
            <a:ext cx="3240088" cy="2856073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txBody>
          <a:bodyPr lIns="0" tIns="0" rIns="0" bIns="0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9616" indent="-129616" fontAlgn="auto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Definición del enfoque de los presupuestos y metodología.</a:t>
            </a:r>
          </a:p>
          <a:p>
            <a:pPr marL="129616" indent="-129616" fontAlgn="auto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Negociación con categorías seleccionadas de proveedores (ej. aplicaciones TIC)</a:t>
            </a:r>
          </a:p>
          <a:p>
            <a:pPr marL="129616" indent="-129616" fontAlgn="auto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Diseño del </a:t>
            </a:r>
            <a:r>
              <a:rPr lang="es-ES" sz="1400" dirty="0">
                <a:solidFill>
                  <a:srgbClr val="000000"/>
                </a:solidFill>
              </a:rPr>
              <a:t>S</a:t>
            </a:r>
            <a:r>
              <a:rPr lang="es-ES" sz="1400" dirty="0" smtClean="0">
                <a:solidFill>
                  <a:srgbClr val="000000"/>
                </a:solidFill>
              </a:rPr>
              <a:t>istema TIC.</a:t>
            </a:r>
          </a:p>
          <a:p>
            <a:pPr marL="129616" indent="-129616" fontAlgn="auto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Actuales ejemplos:</a:t>
            </a:r>
          </a:p>
          <a:p>
            <a:pPr marL="270934" lvl="1" indent="-157520" fontAlgn="auto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itchFamily="34" charset="0"/>
              <a:buChar char="–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CIAP (inter-regional).</a:t>
            </a:r>
          </a:p>
          <a:p>
            <a:pPr marL="270934" lvl="1" indent="-157520" fontAlgn="auto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itchFamily="34" charset="0"/>
              <a:buChar char="–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CEM.</a:t>
            </a:r>
          </a:p>
          <a:p>
            <a:pPr marL="270934" lvl="1" indent="-157520" fontAlgn="auto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itchFamily="34" charset="0"/>
              <a:buChar char="–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CME.</a:t>
            </a:r>
          </a:p>
          <a:p>
            <a:pPr marL="270934" lvl="1" indent="-157520" fontAlgn="auto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itchFamily="34" charset="0"/>
              <a:buChar char="–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UMBRASIL.</a:t>
            </a:r>
          </a:p>
        </p:txBody>
      </p:sp>
      <p:sp>
        <p:nvSpPr>
          <p:cNvPr id="22" name="Espaço Reservado para Conteúdo 2"/>
          <p:cNvSpPr txBox="1">
            <a:spLocks/>
          </p:cNvSpPr>
          <p:nvPr/>
        </p:nvSpPr>
        <p:spPr>
          <a:xfrm>
            <a:off x="1879600" y="5297221"/>
            <a:ext cx="3629025" cy="137795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txBody>
          <a:bodyPr lIns="0" tIns="0" rIns="0" bIns="0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9616" indent="-12961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Actividades que permanecen:</a:t>
            </a:r>
          </a:p>
          <a:p>
            <a:pPr marL="309639" indent="-18002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–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Actividades desarrolladas localmente.</a:t>
            </a:r>
          </a:p>
          <a:p>
            <a:pPr marL="309639" indent="-18002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–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Formación de educadores.</a:t>
            </a:r>
          </a:p>
          <a:p>
            <a:pPr marL="309639" indent="-18002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–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Relaciones con el gobierno local.</a:t>
            </a:r>
          </a:p>
          <a:p>
            <a:pPr marL="309639" indent="-18002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–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Evangelización, pastoral…</a:t>
            </a:r>
          </a:p>
          <a:p>
            <a:pPr marL="309639" indent="-18002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–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Acompañamiento de las obras.</a:t>
            </a:r>
          </a:p>
        </p:txBody>
      </p:sp>
      <p:sp>
        <p:nvSpPr>
          <p:cNvPr id="23" name="Espaço Reservado para Conteúdo 2"/>
          <p:cNvSpPr txBox="1">
            <a:spLocks/>
          </p:cNvSpPr>
          <p:nvPr/>
        </p:nvSpPr>
        <p:spPr>
          <a:xfrm>
            <a:off x="5661025" y="5297221"/>
            <a:ext cx="3192463" cy="137795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txBody>
          <a:bodyPr lIns="0" tIns="0" rIns="0" bIns="0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9616" indent="-129616" fontAlgn="auto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Pastoral</a:t>
            </a:r>
          </a:p>
          <a:p>
            <a:pPr marL="129616" indent="-129616" fontAlgn="auto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Presupuesto operativo.</a:t>
            </a:r>
          </a:p>
          <a:p>
            <a:pPr marL="129616" indent="-129616" fontAlgn="auto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Compras (basadas en el marco del acuerdo regional).</a:t>
            </a:r>
          </a:p>
          <a:p>
            <a:pPr marL="129616" indent="-129616" fontAlgn="auto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  <a:defRPr/>
            </a:pPr>
            <a:r>
              <a:rPr lang="es-ES" sz="1400" dirty="0" smtClean="0">
                <a:solidFill>
                  <a:srgbClr val="000000"/>
                </a:solidFill>
              </a:rPr>
              <a:t>Implementación del Sistema TIC.</a:t>
            </a:r>
          </a:p>
          <a:p>
            <a:pPr marL="129616" indent="-129616" fontAlgn="auto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  <a:defRPr/>
            </a:pPr>
            <a:endParaRPr lang="es-ES" sz="1400" dirty="0" smtClean="0">
              <a:solidFill>
                <a:srgbClr val="000000"/>
              </a:solidFill>
            </a:endParaRPr>
          </a:p>
          <a:p>
            <a:pPr marL="129616" indent="-129616" fontAlgn="auto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  <a:defRPr/>
            </a:pPr>
            <a:endParaRPr lang="es-ES" sz="1400" dirty="0" smtClean="0">
              <a:solidFill>
                <a:srgbClr val="000000"/>
              </a:solidFill>
            </a:endParaRPr>
          </a:p>
        </p:txBody>
      </p:sp>
      <p:sp>
        <p:nvSpPr>
          <p:cNvPr id="4" name="Down Arrow 3"/>
          <p:cNvSpPr/>
          <p:nvPr/>
        </p:nvSpPr>
        <p:spPr>
          <a:xfrm flipV="1">
            <a:off x="4337844" y="4901112"/>
            <a:ext cx="2484438" cy="323850"/>
          </a:xfrm>
          <a:prstGeom prst="downArrow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69052" name="RunningHead"/>
          <p:cNvSpPr txBox="1">
            <a:spLocks noChangeArrowheads="1"/>
          </p:cNvSpPr>
          <p:nvPr/>
        </p:nvSpPr>
        <p:spPr bwMode="gray">
          <a:xfrm>
            <a:off x="6861175" y="139700"/>
            <a:ext cx="2030413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" sz="1200" dirty="0">
                <a:solidFill>
                  <a:srgbClr val="000000"/>
                </a:solidFill>
              </a:rPr>
              <a:t>¿Estamos bien organizados? 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5833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603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5834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44475" y="774700"/>
            <a:ext cx="8640763" cy="997196"/>
          </a:xfrm>
        </p:spPr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Para que los procesos de gobernanza de la Misión funcionen de forma más integrada y ‘global’, tendremos una planificación coordinada…</a:t>
            </a:r>
          </a:p>
        </p:txBody>
      </p:sp>
      <p:sp>
        <p:nvSpPr>
          <p:cNvPr id="28" name="Rectangle 27"/>
          <p:cNvSpPr/>
          <p:nvPr/>
        </p:nvSpPr>
        <p:spPr>
          <a:xfrm>
            <a:off x="5294313" y="2079625"/>
            <a:ext cx="3754437" cy="11144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7200" indent="-97200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>
                <a:solidFill>
                  <a:srgbClr val="000000"/>
                </a:solidFill>
              </a:rPr>
              <a:t>Definición de la visión estratégica de medio y largo plazo (prioridades para la Misión, pautas para </a:t>
            </a:r>
            <a:r>
              <a:rPr lang="es-ES" sz="1200" dirty="0" smtClean="0">
                <a:solidFill>
                  <a:srgbClr val="000000"/>
                </a:solidFill>
              </a:rPr>
              <a:t>la solidaridad</a:t>
            </a:r>
            <a:r>
              <a:rPr lang="es-ES" sz="1200" dirty="0">
                <a:solidFill>
                  <a:srgbClr val="000000"/>
                </a:solidFill>
              </a:rPr>
              <a:t>, nuevos Modelos para la Misión…) con evidencias claras de los objetivos</a:t>
            </a:r>
            <a:r>
              <a:rPr lang="es-ES_tradnl" sz="1200" dirty="0">
                <a:solidFill>
                  <a:srgbClr val="000000"/>
                </a:solidFill>
              </a:rPr>
              <a:t>.</a:t>
            </a:r>
          </a:p>
          <a:p>
            <a:pPr marL="97200" indent="-97200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>
                <a:solidFill>
                  <a:srgbClr val="000000"/>
                </a:solidFill>
              </a:rPr>
              <a:t>La Asamblea de Misión propone. El Capítulo General propone, evalúa y decide</a:t>
            </a:r>
            <a:r>
              <a:rPr lang="es-ES_tradnl" sz="1200" dirty="0">
                <a:solidFill>
                  <a:srgbClr val="000000"/>
                </a:solidFill>
              </a:rPr>
              <a:t>.</a:t>
            </a:r>
          </a:p>
          <a:p>
            <a:pPr marL="97200" indent="-97200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s-ES_tradnl" sz="1200" dirty="0">
              <a:solidFill>
                <a:srgbClr val="000000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5294313" y="3286125"/>
            <a:ext cx="3754437" cy="7921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7200" indent="-97200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</a:rPr>
              <a:t>Desarrollo de pautas detalladas.</a:t>
            </a:r>
          </a:p>
          <a:p>
            <a:pPr marL="97200" indent="-97200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>
                <a:solidFill>
                  <a:srgbClr val="000000"/>
                </a:solidFill>
              </a:rPr>
              <a:t>Asegurar una gobernanza efectiva del Instituto en su conjunto</a:t>
            </a:r>
            <a:r>
              <a:rPr lang="es-ES_tradnl" sz="1200" dirty="0">
                <a:solidFill>
                  <a:srgbClr val="000000"/>
                </a:solidFill>
              </a:rPr>
              <a:t>.</a:t>
            </a:r>
          </a:p>
          <a:p>
            <a:pPr marL="97200" indent="-97200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</a:rPr>
              <a:t>Movilización de personas.</a:t>
            </a:r>
          </a:p>
        </p:txBody>
      </p:sp>
      <p:sp>
        <p:nvSpPr>
          <p:cNvPr id="43" name="Rectangle 42"/>
          <p:cNvSpPr/>
          <p:nvPr/>
        </p:nvSpPr>
        <p:spPr>
          <a:xfrm>
            <a:off x="5294313" y="4170363"/>
            <a:ext cx="3754437" cy="13208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7200" indent="-97200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>
                <a:solidFill>
                  <a:srgbClr val="000000"/>
                </a:solidFill>
              </a:rPr>
              <a:t>Desarrollo de una estrategia que asegure la </a:t>
            </a:r>
            <a:r>
              <a:rPr lang="es-ES" sz="1200" dirty="0" smtClean="0">
                <a:solidFill>
                  <a:srgbClr val="000000"/>
                </a:solidFill>
              </a:rPr>
              <a:t>implementación </a:t>
            </a:r>
            <a:r>
              <a:rPr lang="es-ES" sz="1200" dirty="0">
                <a:solidFill>
                  <a:srgbClr val="000000"/>
                </a:solidFill>
              </a:rPr>
              <a:t>de las prioridades y que los resultados esperados se alcancen</a:t>
            </a:r>
            <a:r>
              <a:rPr lang="es-ES_tradnl" sz="1200" dirty="0">
                <a:solidFill>
                  <a:srgbClr val="000000"/>
                </a:solidFill>
              </a:rPr>
              <a:t>.</a:t>
            </a:r>
          </a:p>
          <a:p>
            <a:pPr marL="97200" indent="-97200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>
                <a:solidFill>
                  <a:srgbClr val="000000"/>
                </a:solidFill>
              </a:rPr>
              <a:t>Facilitar la innovación y el enriquecimiento entre las UA, así como la puesta en común de las buenas prácticas</a:t>
            </a:r>
            <a:r>
              <a:rPr lang="es-ES_tradnl" sz="1200" dirty="0">
                <a:solidFill>
                  <a:srgbClr val="000000"/>
                </a:solidFill>
              </a:rPr>
              <a:t>.  </a:t>
            </a:r>
          </a:p>
          <a:p>
            <a:pPr marL="97200" indent="-97200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>
                <a:solidFill>
                  <a:srgbClr val="000000"/>
                </a:solidFill>
              </a:rPr>
              <a:t>Validación de los Planes Locales</a:t>
            </a:r>
            <a:r>
              <a:rPr lang="es-ES_tradnl" sz="1200" dirty="0">
                <a:solidFill>
                  <a:srgbClr val="000000"/>
                </a:solidFill>
              </a:rPr>
              <a:t>.</a:t>
            </a:r>
          </a:p>
          <a:p>
            <a:pPr marL="97200" indent="-97200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s-ES_tradnl" sz="1200" dirty="0">
              <a:solidFill>
                <a:srgbClr val="000000"/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5314950" y="5583238"/>
            <a:ext cx="3752850" cy="11065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7200" indent="-97200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200" dirty="0">
                <a:solidFill>
                  <a:srgbClr val="000000"/>
                </a:solidFill>
              </a:rPr>
              <a:t>Desarrollo de objetivos (corto/medio plazo) del plan estratégico local y medios para </a:t>
            </a:r>
            <a:r>
              <a:rPr lang="es-ES" sz="1200" dirty="0" smtClean="0">
                <a:solidFill>
                  <a:srgbClr val="000000"/>
                </a:solidFill>
              </a:rPr>
              <a:t>lograrlos</a:t>
            </a:r>
            <a:r>
              <a:rPr lang="es-ES_tradnl" sz="1200" dirty="0" smtClean="0">
                <a:solidFill>
                  <a:srgbClr val="000000"/>
                </a:solidFill>
              </a:rPr>
              <a:t>:</a:t>
            </a:r>
            <a:endParaRPr lang="es-ES_tradnl" sz="1200" dirty="0">
              <a:solidFill>
                <a:srgbClr val="000000"/>
              </a:solidFill>
            </a:endParaRPr>
          </a:p>
          <a:p>
            <a:pPr marL="554400" lvl="1" indent="-97200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" sz="1100" dirty="0">
                <a:solidFill>
                  <a:srgbClr val="000000"/>
                </a:solidFill>
              </a:rPr>
              <a:t>Contenido: tareas específicas, responsabilidad</a:t>
            </a:r>
            <a:r>
              <a:rPr lang="es-ES" sz="1100" dirty="0" smtClean="0">
                <a:solidFill>
                  <a:srgbClr val="000000"/>
                </a:solidFill>
              </a:rPr>
              <a:t>, rendición de cuentas </a:t>
            </a:r>
            <a:r>
              <a:rPr lang="es-ES" sz="1100" dirty="0">
                <a:solidFill>
                  <a:srgbClr val="000000"/>
                </a:solidFill>
              </a:rPr>
              <a:t>presupuesto, plan de mitigación de riesgos, fecha de finalización, plan de evaluación</a:t>
            </a:r>
            <a:r>
              <a:rPr lang="es-ES_tradnl" sz="1100" dirty="0">
                <a:solidFill>
                  <a:srgbClr val="000000"/>
                </a:solidFill>
              </a:rPr>
              <a:t>…</a:t>
            </a:r>
          </a:p>
        </p:txBody>
      </p:sp>
      <p:sp>
        <p:nvSpPr>
          <p:cNvPr id="845839" name="TextBox 8"/>
          <p:cNvSpPr txBox="1">
            <a:spLocks noChangeArrowheads="1"/>
          </p:cNvSpPr>
          <p:nvPr/>
        </p:nvSpPr>
        <p:spPr bwMode="auto">
          <a:xfrm>
            <a:off x="1498600" y="1819275"/>
            <a:ext cx="588963" cy="195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_tradnl" sz="1400">
                <a:solidFill>
                  <a:srgbClr val="000000"/>
                </a:solidFill>
                <a:latin typeface="Arial "/>
              </a:rPr>
              <a:t>Niveles</a:t>
            </a:r>
          </a:p>
        </p:txBody>
      </p:sp>
      <p:sp>
        <p:nvSpPr>
          <p:cNvPr id="845840" name="TextBox 48"/>
          <p:cNvSpPr txBox="1">
            <a:spLocks noChangeArrowheads="1"/>
          </p:cNvSpPr>
          <p:nvPr/>
        </p:nvSpPr>
        <p:spPr bwMode="auto">
          <a:xfrm>
            <a:off x="6723063" y="1819275"/>
            <a:ext cx="936625" cy="195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_tradnl" sz="1400">
                <a:solidFill>
                  <a:srgbClr val="000000"/>
                </a:solidFill>
              </a:rPr>
              <a:t>Descripción</a:t>
            </a:r>
            <a:endParaRPr lang="es-ES_tradnl" sz="1400">
              <a:solidFill>
                <a:srgbClr val="000000"/>
              </a:solidFill>
              <a:latin typeface="Arial 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642938" y="2025650"/>
            <a:ext cx="2159000" cy="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3276602" y="2133600"/>
            <a:ext cx="1908174" cy="1060450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400" b="1" i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Marcar prioridades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276602" y="3286125"/>
            <a:ext cx="1908174" cy="792163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lnSpc>
                <a:spcPts val="192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400" b="1" i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Planificación </a:t>
            </a:r>
            <a:r>
              <a:rPr lang="es-ES" sz="1400" b="1" i="1" dirty="0" smtClean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estratégica de la Misión a </a:t>
            </a:r>
            <a:r>
              <a:rPr lang="es-ES" sz="1400" b="1" i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largo </a:t>
            </a:r>
            <a:r>
              <a:rPr lang="es-ES" sz="1400" b="1" i="1" dirty="0" smtClean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plazo</a:t>
            </a:r>
            <a:endParaRPr lang="es-ES_tradnl" sz="1400" b="1" i="1" dirty="0">
              <a:solidFill>
                <a:srgbClr val="FFFFFF"/>
              </a:solidFill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276602" y="4170363"/>
            <a:ext cx="1908174" cy="1306512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400" b="1" i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Estrategia Regional</a:t>
            </a:r>
          </a:p>
        </p:txBody>
      </p:sp>
      <p:sp>
        <p:nvSpPr>
          <p:cNvPr id="45" name="Rectangle 44"/>
          <p:cNvSpPr/>
          <p:nvPr/>
        </p:nvSpPr>
        <p:spPr>
          <a:xfrm>
            <a:off x="3276602" y="5581650"/>
            <a:ext cx="1908174" cy="1106533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400" b="1" i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Plan local con objetivos claros y </a:t>
            </a:r>
            <a:r>
              <a:rPr lang="es-ES" sz="1400" b="1" i="1" dirty="0" smtClean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coherentes</a:t>
            </a:r>
            <a:endParaRPr lang="es-ES_tradnl" sz="1400" b="1" i="1" dirty="0">
              <a:solidFill>
                <a:srgbClr val="FFFFFF"/>
              </a:solidFill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45846" name="TextBox 47"/>
          <p:cNvSpPr txBox="1">
            <a:spLocks noChangeArrowheads="1"/>
          </p:cNvSpPr>
          <p:nvPr/>
        </p:nvSpPr>
        <p:spPr bwMode="auto">
          <a:xfrm>
            <a:off x="3658284" y="1819275"/>
            <a:ext cx="1216025" cy="1952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_tradnl" sz="1400" dirty="0">
                <a:solidFill>
                  <a:srgbClr val="000000"/>
                </a:solidFill>
                <a:latin typeface="Arial "/>
              </a:rPr>
              <a:t>Objetivos clave</a:t>
            </a:r>
          </a:p>
        </p:txBody>
      </p:sp>
      <p:cxnSp>
        <p:nvCxnSpPr>
          <p:cNvPr id="50" name="Straight Connector 49"/>
          <p:cNvCxnSpPr/>
          <p:nvPr/>
        </p:nvCxnSpPr>
        <p:spPr>
          <a:xfrm>
            <a:off x="3371850" y="2025650"/>
            <a:ext cx="1812925" cy="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5294313" y="2025650"/>
            <a:ext cx="3754437" cy="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9"/>
          <p:cNvSpPr>
            <a:spLocks noChangeArrowheads="1"/>
          </p:cNvSpPr>
          <p:nvPr/>
        </p:nvSpPr>
        <p:spPr bwMode="gray">
          <a:xfrm>
            <a:off x="588963" y="2755900"/>
            <a:ext cx="2185987" cy="555625"/>
          </a:xfrm>
          <a:prstGeom prst="rect">
            <a:avLst/>
          </a:prstGeom>
          <a:solidFill>
            <a:schemeClr val="bg2"/>
          </a:solidFill>
          <a:ln w="6350" cap="flat" algn="ctr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lIns="72000" tIns="72000" rIns="72000" bIns="72000" anchor="ctr"/>
          <a:lstStyle/>
          <a:p>
            <a:pPr algn="ctr" defTabSz="914400"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_tradnl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samblea de Misión y Capitulo General</a:t>
            </a:r>
            <a:endParaRPr lang="es-ES_tradnl" sz="14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45850" name="Rectangle 9"/>
          <p:cNvSpPr>
            <a:spLocks noChangeArrowheads="1"/>
          </p:cNvSpPr>
          <p:nvPr/>
        </p:nvSpPr>
        <p:spPr bwMode="gray">
          <a:xfrm>
            <a:off x="588963" y="5308600"/>
            <a:ext cx="2212975" cy="857250"/>
          </a:xfrm>
          <a:prstGeom prst="rect">
            <a:avLst/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defTabSz="914400" eaLnBrk="0" hangingPunct="0">
              <a:lnSpc>
                <a:spcPct val="90000"/>
              </a:lnSpc>
            </a:pPr>
            <a:r>
              <a:rPr lang="es-ES_tradnl" sz="1400" b="1" dirty="0">
                <a:solidFill>
                  <a:srgbClr val="FFFFFF"/>
                </a:solidFill>
              </a:rPr>
              <a:t>Consejo </a:t>
            </a:r>
            <a:r>
              <a:rPr lang="es-ES_tradnl" sz="1400" b="1" dirty="0" smtClean="0">
                <a:solidFill>
                  <a:srgbClr val="FFFFFF"/>
                </a:solidFill>
              </a:rPr>
              <a:t>Provincial de Misión</a:t>
            </a:r>
            <a:endParaRPr lang="es-ES_tradnl" sz="1400" dirty="0">
              <a:solidFill>
                <a:srgbClr val="FFFFFF"/>
              </a:solidFill>
            </a:endParaRPr>
          </a:p>
        </p:txBody>
      </p:sp>
      <p:sp>
        <p:nvSpPr>
          <p:cNvPr id="34" name="Rectangle 9"/>
          <p:cNvSpPr>
            <a:spLocks noChangeArrowheads="1"/>
          </p:cNvSpPr>
          <p:nvPr/>
        </p:nvSpPr>
        <p:spPr bwMode="gray">
          <a:xfrm>
            <a:off x="673100" y="3248025"/>
            <a:ext cx="2017713" cy="625475"/>
          </a:xfrm>
          <a:prstGeom prst="rect">
            <a:avLst/>
          </a:prstGeom>
          <a:solidFill>
            <a:schemeClr val="bg2"/>
          </a:solidFill>
          <a:ln w="6350" cap="flat" algn="ctr">
            <a:noFill/>
            <a:miter lim="800000"/>
            <a:headEnd/>
            <a:tailEnd/>
          </a:ln>
          <a:effectLst>
            <a:outerShdw blurRad="50800" dist="38100" dir="2700015" rotWithShape="0">
              <a:schemeClr val="tx1">
                <a:alpha val="40000"/>
              </a:schemeClr>
            </a:outerShdw>
          </a:effectLst>
        </p:spPr>
        <p:txBody>
          <a:bodyPr lIns="72000" tIns="72000" rIns="72000" bIns="72000" anchor="ctr"/>
          <a:lstStyle/>
          <a:p>
            <a:pPr algn="ctr" defTabSz="914400"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_tradnl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nsejo de Misión </a:t>
            </a:r>
            <a:endParaRPr lang="es-ES_tradnl" sz="14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ight Arrow 34"/>
          <p:cNvSpPr/>
          <p:nvPr/>
        </p:nvSpPr>
        <p:spPr>
          <a:xfrm rot="16200000">
            <a:off x="1508919" y="4398169"/>
            <a:ext cx="3033712" cy="501650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2700000" scaled="1"/>
            <a:tileRect/>
          </a:gra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6" name="Right Arrow 35"/>
          <p:cNvSpPr/>
          <p:nvPr/>
        </p:nvSpPr>
        <p:spPr>
          <a:xfrm rot="5400000">
            <a:off x="-1241425" y="4387850"/>
            <a:ext cx="3033713" cy="500063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2700000" scaled="1"/>
            <a:tileRect/>
          </a:gra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45854" name="Rectangle 9"/>
          <p:cNvSpPr>
            <a:spLocks noChangeArrowheads="1"/>
          </p:cNvSpPr>
          <p:nvPr/>
        </p:nvSpPr>
        <p:spPr bwMode="gray">
          <a:xfrm>
            <a:off x="684213" y="4195763"/>
            <a:ext cx="2017712" cy="625475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 defTabSz="914400" eaLnBrk="0" hangingPunct="0">
              <a:lnSpc>
                <a:spcPct val="90000"/>
              </a:lnSpc>
            </a:pPr>
            <a:r>
              <a:rPr lang="es-ES_tradnl" sz="1400" b="1" dirty="0">
                <a:solidFill>
                  <a:srgbClr val="FFFFFF"/>
                </a:solidFill>
              </a:rPr>
              <a:t>Consejo </a:t>
            </a:r>
            <a:r>
              <a:rPr lang="es-ES_tradnl" sz="1400" b="1" dirty="0" smtClean="0">
                <a:solidFill>
                  <a:srgbClr val="FFFFFF"/>
                </a:solidFill>
              </a:rPr>
              <a:t>Regional de Misión</a:t>
            </a:r>
            <a:endParaRPr lang="es-ES_tradnl" sz="1400" b="1" dirty="0">
              <a:solidFill>
                <a:srgbClr val="FFFFFF"/>
              </a:solidFill>
            </a:endParaRPr>
          </a:p>
        </p:txBody>
      </p:sp>
      <p:sp>
        <p:nvSpPr>
          <p:cNvPr id="845855" name="RunningHead"/>
          <p:cNvSpPr txBox="1">
            <a:spLocks noChangeArrowheads="1"/>
          </p:cNvSpPr>
          <p:nvPr/>
        </p:nvSpPr>
        <p:spPr bwMode="gray">
          <a:xfrm>
            <a:off x="6862185" y="139700"/>
            <a:ext cx="2029403" cy="1661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" sz="1200" dirty="0">
                <a:solidFill>
                  <a:srgbClr val="000000"/>
                </a:solidFill>
              </a:rPr>
              <a:t>¿Estamos bien organizados? 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6857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70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6858" name="Title 1"/>
          <p:cNvSpPr>
            <a:spLocks noGrp="1"/>
          </p:cNvSpPr>
          <p:nvPr>
            <p:ph type="title"/>
          </p:nvPr>
        </p:nvSpPr>
        <p:spPr>
          <a:xfrm>
            <a:off x="244475" y="760413"/>
            <a:ext cx="8640763" cy="331787"/>
          </a:xfrm>
        </p:spPr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…que se aplique a todos los niveles…</a:t>
            </a:r>
          </a:p>
        </p:txBody>
      </p:sp>
      <p:sp>
        <p:nvSpPr>
          <p:cNvPr id="5" name="AutoShape 3"/>
          <p:cNvSpPr>
            <a:spLocks noChangeArrowheads="1"/>
          </p:cNvSpPr>
          <p:nvPr/>
        </p:nvSpPr>
        <p:spPr bwMode="gray">
          <a:xfrm>
            <a:off x="203200" y="2266950"/>
            <a:ext cx="2382838" cy="727075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  <a:extLst/>
        </p:spPr>
        <p:txBody>
          <a:bodyPr lIns="71120" tIns="71120" rIns="71120" bIns="71120" anchor="ctr"/>
          <a:lstStyle/>
          <a:p>
            <a:pPr defTabSz="914400"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_tradnl" sz="1600" b="1" i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Dirección estratégica para la Vida consagrada y la Misión</a:t>
            </a:r>
          </a:p>
        </p:txBody>
      </p:sp>
      <p:sp>
        <p:nvSpPr>
          <p:cNvPr id="6" name="AutoShape 3"/>
          <p:cNvSpPr>
            <a:spLocks noChangeArrowheads="1"/>
          </p:cNvSpPr>
          <p:nvPr/>
        </p:nvSpPr>
        <p:spPr bwMode="gray">
          <a:xfrm>
            <a:off x="203200" y="1522413"/>
            <a:ext cx="2382838" cy="601662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  <a:extLst/>
        </p:spPr>
        <p:txBody>
          <a:bodyPr lIns="71120" tIns="71120" rIns="71120" bIns="71120" anchor="ctr"/>
          <a:lstStyle/>
          <a:p>
            <a:pPr defTabSz="914400"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_tradnl" sz="1600" b="1" i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Pautas estratégicas </a:t>
            </a:r>
            <a:r>
              <a:rPr lang="es-ES_tradnl" sz="1600" b="1" i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a </a:t>
            </a:r>
            <a:r>
              <a:rPr lang="es-ES_tradnl" sz="1600" b="1" i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medio-largo plazo</a:t>
            </a:r>
          </a:p>
        </p:txBody>
      </p:sp>
      <p:sp>
        <p:nvSpPr>
          <p:cNvPr id="846861" name="TextBox 15"/>
          <p:cNvSpPr txBox="1">
            <a:spLocks noChangeArrowheads="1"/>
          </p:cNvSpPr>
          <p:nvPr/>
        </p:nvSpPr>
        <p:spPr bwMode="auto">
          <a:xfrm>
            <a:off x="3143250" y="3030538"/>
            <a:ext cx="2682875" cy="193675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_tradnl" sz="1400" b="1" i="1" dirty="0">
                <a:solidFill>
                  <a:srgbClr val="000000"/>
                </a:solidFill>
                <a:latin typeface="Arial "/>
              </a:rPr>
              <a:t>Desarrollado por</a:t>
            </a:r>
          </a:p>
        </p:txBody>
      </p:sp>
      <p:sp>
        <p:nvSpPr>
          <p:cNvPr id="846862" name="TextBox 16"/>
          <p:cNvSpPr txBox="1">
            <a:spLocks noChangeArrowheads="1"/>
          </p:cNvSpPr>
          <p:nvPr/>
        </p:nvSpPr>
        <p:spPr bwMode="auto">
          <a:xfrm>
            <a:off x="5214785" y="3039224"/>
            <a:ext cx="2078341" cy="193899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_tradnl" sz="1400" b="1" i="1" dirty="0">
                <a:solidFill>
                  <a:srgbClr val="000000"/>
                </a:solidFill>
                <a:latin typeface="Arial "/>
              </a:rPr>
              <a:t>Aprobado por </a:t>
            </a:r>
          </a:p>
        </p:txBody>
      </p:sp>
      <p:sp>
        <p:nvSpPr>
          <p:cNvPr id="846863" name="TextBox 22"/>
          <p:cNvSpPr txBox="1">
            <a:spLocks noChangeArrowheads="1"/>
          </p:cNvSpPr>
          <p:nvPr/>
        </p:nvSpPr>
        <p:spPr bwMode="auto">
          <a:xfrm>
            <a:off x="7247731" y="3038382"/>
            <a:ext cx="1512888" cy="193675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_tradnl" sz="1400" b="1" i="1" dirty="0">
                <a:solidFill>
                  <a:srgbClr val="000000"/>
                </a:solidFill>
                <a:latin typeface="Arial "/>
              </a:rPr>
              <a:t>Discutido con </a:t>
            </a:r>
          </a:p>
        </p:txBody>
      </p:sp>
      <p:sp>
        <p:nvSpPr>
          <p:cNvPr id="25" name="AutoShape 3"/>
          <p:cNvSpPr>
            <a:spLocks noChangeArrowheads="1"/>
          </p:cNvSpPr>
          <p:nvPr/>
        </p:nvSpPr>
        <p:spPr bwMode="gray">
          <a:xfrm>
            <a:off x="3773488" y="4470400"/>
            <a:ext cx="1360487" cy="927100"/>
          </a:xfrm>
          <a:prstGeom prst="homePlate">
            <a:avLst>
              <a:gd name="adj" fmla="val 0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xtLst/>
        </p:spPr>
        <p:txBody>
          <a:bodyPr lIns="71120" tIns="71120" rIns="71120" bIns="71120" anchor="ctr"/>
          <a:lstStyle/>
          <a:p>
            <a:pPr algn="ctr" defTabSz="914400"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_tradnl" sz="1600" b="1" i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Consejo Regional</a:t>
            </a:r>
          </a:p>
        </p:txBody>
      </p:sp>
      <p:sp>
        <p:nvSpPr>
          <p:cNvPr id="26" name="AutoShape 3"/>
          <p:cNvSpPr>
            <a:spLocks noChangeArrowheads="1"/>
          </p:cNvSpPr>
          <p:nvPr/>
        </p:nvSpPr>
        <p:spPr bwMode="gray">
          <a:xfrm>
            <a:off x="5573713" y="4475163"/>
            <a:ext cx="1360487" cy="928687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  <a:extLst/>
        </p:spPr>
        <p:txBody>
          <a:bodyPr lIns="0" tIns="71120" rIns="0" bIns="71120" anchor="ctr"/>
          <a:lstStyle/>
          <a:p>
            <a:pPr algn="ctr" defTabSz="914400"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_tradnl" sz="1600" b="1" i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Consejos General y Regional</a:t>
            </a:r>
          </a:p>
        </p:txBody>
      </p:sp>
      <p:sp>
        <p:nvSpPr>
          <p:cNvPr id="27" name="AutoShape 3"/>
          <p:cNvSpPr>
            <a:spLocks noChangeArrowheads="1"/>
          </p:cNvSpPr>
          <p:nvPr/>
        </p:nvSpPr>
        <p:spPr bwMode="gray">
          <a:xfrm>
            <a:off x="7280275" y="4470400"/>
            <a:ext cx="1447800" cy="927100"/>
          </a:xfrm>
          <a:prstGeom prst="homePlate">
            <a:avLst>
              <a:gd name="adj" fmla="val 0"/>
            </a:avLst>
          </a:prstGeom>
          <a:gradFill>
            <a:gsLst>
              <a:gs pos="8000">
                <a:srgbClr val="C00000"/>
              </a:gs>
              <a:gs pos="100000">
                <a:srgbClr val="00B050"/>
              </a:gs>
            </a:gsLst>
            <a:lin ang="2700000" scaled="1"/>
          </a:gradFill>
          <a:ln w="6350">
            <a:noFill/>
            <a:miter lim="800000"/>
            <a:headEnd/>
            <a:tailEnd/>
          </a:ln>
          <a:extLst/>
        </p:spPr>
        <p:txBody>
          <a:bodyPr lIns="71120" tIns="71120" rIns="71120" bIns="71120" anchor="ctr"/>
          <a:lstStyle/>
          <a:p>
            <a:pPr algn="ctr" defTabSz="914400"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_tradnl" sz="1600" b="1" i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CG / </a:t>
            </a:r>
            <a:r>
              <a:rPr lang="es-ES_tradnl" sz="1600" b="1" i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Consejo de Misión/ </a:t>
            </a:r>
            <a:r>
              <a:rPr lang="es-ES_tradnl" sz="1600" b="1" i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Provincias</a:t>
            </a:r>
          </a:p>
        </p:txBody>
      </p:sp>
      <p:sp>
        <p:nvSpPr>
          <p:cNvPr id="28" name="AutoShape 3"/>
          <p:cNvSpPr>
            <a:spLocks noChangeArrowheads="1"/>
          </p:cNvSpPr>
          <p:nvPr/>
        </p:nvSpPr>
        <p:spPr bwMode="gray">
          <a:xfrm>
            <a:off x="3773488" y="3390900"/>
            <a:ext cx="1360487" cy="927100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  <a:extLst/>
        </p:spPr>
        <p:txBody>
          <a:bodyPr lIns="71120" tIns="71120" rIns="71120" bIns="71120" anchor="ctr"/>
          <a:lstStyle/>
          <a:p>
            <a:pPr algn="ctr" defTabSz="914400"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_tradnl" sz="1600" b="1" i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Consejo de Misión </a:t>
            </a:r>
          </a:p>
        </p:txBody>
      </p:sp>
      <p:sp>
        <p:nvSpPr>
          <p:cNvPr id="29" name="AutoShape 3"/>
          <p:cNvSpPr>
            <a:spLocks noChangeArrowheads="1"/>
          </p:cNvSpPr>
          <p:nvPr/>
        </p:nvSpPr>
        <p:spPr bwMode="gray">
          <a:xfrm>
            <a:off x="5573713" y="3402013"/>
            <a:ext cx="1360487" cy="927100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  <a:extLst/>
        </p:spPr>
        <p:txBody>
          <a:bodyPr lIns="71120" tIns="71120" rIns="71120" bIns="71120" anchor="ctr"/>
          <a:lstStyle/>
          <a:p>
            <a:pPr algn="ctr" defTabSz="914400"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_tradnl" sz="1600" b="1" i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Consejo General</a:t>
            </a:r>
          </a:p>
        </p:txBody>
      </p:sp>
      <p:sp>
        <p:nvSpPr>
          <p:cNvPr id="30" name="AutoShape 3"/>
          <p:cNvSpPr>
            <a:spLocks noChangeArrowheads="1"/>
          </p:cNvSpPr>
          <p:nvPr/>
        </p:nvSpPr>
        <p:spPr bwMode="gray">
          <a:xfrm>
            <a:off x="7280275" y="3390900"/>
            <a:ext cx="1447800" cy="927100"/>
          </a:xfrm>
          <a:prstGeom prst="homePlate">
            <a:avLst>
              <a:gd name="adj" fmla="val 0"/>
            </a:avLst>
          </a:prstGeom>
          <a:gradFill>
            <a:gsLst>
              <a:gs pos="8000">
                <a:srgbClr val="C00000"/>
              </a:gs>
              <a:gs pos="68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2700000" scaled="1"/>
          </a:gradFill>
          <a:ln w="6350">
            <a:noFill/>
            <a:miter lim="800000"/>
            <a:headEnd/>
            <a:tailEnd/>
          </a:ln>
          <a:extLst/>
        </p:spPr>
        <p:txBody>
          <a:bodyPr lIns="71120" tIns="71120" rIns="71120" bIns="71120" anchor="ctr"/>
          <a:lstStyle/>
          <a:p>
            <a:pPr algn="ctr" defTabSz="914400"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_tradnl" sz="1600" b="1" i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Región</a:t>
            </a:r>
            <a:endParaRPr lang="es-ES_tradnl" sz="1600" b="1" i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2651125" y="1522413"/>
            <a:ext cx="6350000" cy="60166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113414" indent="-113414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  <a:cs typeface="Arial" pitchFamily="34" charset="0"/>
              </a:rPr>
              <a:t>El Capítulo General establece las </a:t>
            </a:r>
            <a:r>
              <a:rPr lang="es-ES_tradnl" sz="1200" b="1" dirty="0" smtClean="0">
                <a:solidFill>
                  <a:srgbClr val="000000"/>
                </a:solidFill>
                <a:cs typeface="Arial" pitchFamily="34" charset="0"/>
              </a:rPr>
              <a:t>pautas estratégicas a </a:t>
            </a:r>
            <a:r>
              <a:rPr lang="es-ES_tradnl" sz="1200" b="1" dirty="0">
                <a:solidFill>
                  <a:srgbClr val="000000"/>
                </a:solidFill>
                <a:cs typeface="Arial" pitchFamily="34" charset="0"/>
              </a:rPr>
              <a:t>medio y largo plazo </a:t>
            </a:r>
            <a:r>
              <a:rPr lang="es-ES_tradnl" sz="1200" dirty="0">
                <a:solidFill>
                  <a:srgbClr val="000000"/>
                </a:solidFill>
                <a:cs typeface="Arial" pitchFamily="34" charset="0"/>
              </a:rPr>
              <a:t>para la vida y Misión Marista, identificando objetivos detallados y marcando los plazos esperados. </a:t>
            </a:r>
          </a:p>
        </p:txBody>
      </p:sp>
      <p:sp>
        <p:nvSpPr>
          <p:cNvPr id="35" name="Rectangle 34"/>
          <p:cNvSpPr/>
          <p:nvPr/>
        </p:nvSpPr>
        <p:spPr>
          <a:xfrm>
            <a:off x="2638425" y="2266950"/>
            <a:ext cx="6350000" cy="60642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113414" indent="-113414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 smtClean="0">
                <a:solidFill>
                  <a:srgbClr val="000000"/>
                </a:solidFill>
                <a:cs typeface="Arial" pitchFamily="34" charset="0"/>
              </a:rPr>
              <a:t>Así mismo brinda </a:t>
            </a:r>
            <a:r>
              <a:rPr lang="es-ES_tradnl" sz="1200" dirty="0">
                <a:solidFill>
                  <a:srgbClr val="000000"/>
                </a:solidFill>
                <a:cs typeface="Arial" pitchFamily="34" charset="0"/>
              </a:rPr>
              <a:t>la </a:t>
            </a:r>
            <a:r>
              <a:rPr lang="es-ES_tradnl" sz="1200" b="1" dirty="0">
                <a:solidFill>
                  <a:srgbClr val="000000"/>
                </a:solidFill>
                <a:cs typeface="Arial" pitchFamily="34" charset="0"/>
              </a:rPr>
              <a:t>dirección estratégica para la vida consagrada y la Misión</a:t>
            </a:r>
            <a:r>
              <a:rPr lang="es-ES_tradnl" sz="1200" dirty="0">
                <a:solidFill>
                  <a:srgbClr val="000000"/>
                </a:solidFill>
                <a:cs typeface="Arial" pitchFamily="34" charset="0"/>
              </a:rPr>
              <a:t>, y delega la responsabilidad ejecutiva al Consejo de Misión.</a:t>
            </a:r>
          </a:p>
        </p:txBody>
      </p:sp>
      <p:sp>
        <p:nvSpPr>
          <p:cNvPr id="3" name="Isosceles Triangle 2"/>
          <p:cNvSpPr/>
          <p:nvPr/>
        </p:nvSpPr>
        <p:spPr>
          <a:xfrm rot="10800000">
            <a:off x="4451350" y="2841625"/>
            <a:ext cx="2305050" cy="152400"/>
          </a:xfrm>
          <a:prstGeom prst="triangl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6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" name="Isosceles Triangle 30"/>
          <p:cNvSpPr/>
          <p:nvPr/>
        </p:nvSpPr>
        <p:spPr>
          <a:xfrm rot="10800000">
            <a:off x="4451350" y="2085975"/>
            <a:ext cx="2305050" cy="152400"/>
          </a:xfrm>
          <a:prstGeom prst="triangl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6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AutoShape 3"/>
          <p:cNvSpPr>
            <a:spLocks noChangeArrowheads="1"/>
          </p:cNvSpPr>
          <p:nvPr/>
        </p:nvSpPr>
        <p:spPr bwMode="gray">
          <a:xfrm>
            <a:off x="684213" y="3390900"/>
            <a:ext cx="2159000" cy="927100"/>
          </a:xfrm>
          <a:prstGeom prst="homePlate">
            <a:avLst>
              <a:gd name="adj" fmla="val 19168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71120" tIns="71120" rIns="71120" bIns="71120" anchor="ctr"/>
          <a:lstStyle/>
          <a:p>
            <a:pPr defTabSz="914400"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_tradnl" sz="1600" b="1" i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Estrategia </a:t>
            </a:r>
            <a:r>
              <a:rPr lang="es-ES_tradnl" sz="1600" b="1" i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global para </a:t>
            </a:r>
            <a:r>
              <a:rPr lang="es-ES_tradnl" sz="1600" b="1" i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la </a:t>
            </a:r>
            <a:r>
              <a:rPr lang="es-ES_tradnl" sz="1600" b="1" i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Misión</a:t>
            </a:r>
            <a:endParaRPr lang="es-ES_tradnl" sz="1600" b="1" i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3" name="AutoShape 3"/>
          <p:cNvSpPr>
            <a:spLocks noChangeArrowheads="1"/>
          </p:cNvSpPr>
          <p:nvPr/>
        </p:nvSpPr>
        <p:spPr bwMode="gray">
          <a:xfrm>
            <a:off x="671513" y="4486275"/>
            <a:ext cx="2160587" cy="927100"/>
          </a:xfrm>
          <a:prstGeom prst="homePlate">
            <a:avLst>
              <a:gd name="adj" fmla="val 19168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lIns="71120" tIns="71120" rIns="71120" bIns="71120" anchor="ctr"/>
          <a:lstStyle/>
          <a:p>
            <a:pPr defTabSz="914400"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_tradnl" sz="1600" b="1" i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Estrategia regional</a:t>
            </a:r>
          </a:p>
        </p:txBody>
      </p:sp>
      <p:sp>
        <p:nvSpPr>
          <p:cNvPr id="19" name="AutoShape 3"/>
          <p:cNvSpPr>
            <a:spLocks noChangeArrowheads="1"/>
          </p:cNvSpPr>
          <p:nvPr/>
        </p:nvSpPr>
        <p:spPr bwMode="gray">
          <a:xfrm>
            <a:off x="3773488" y="5622925"/>
            <a:ext cx="1360487" cy="927100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 w="6350">
            <a:noFill/>
            <a:miter lim="800000"/>
            <a:headEnd/>
            <a:tailEnd/>
          </a:ln>
          <a:extLst/>
        </p:spPr>
        <p:txBody>
          <a:bodyPr lIns="71120" tIns="71120" rIns="71120" bIns="71120" anchor="ctr"/>
          <a:lstStyle/>
          <a:p>
            <a:pPr algn="ctr" defTabSz="914400"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_tradnl" sz="1600" b="1" i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Gobierno Provincial</a:t>
            </a:r>
          </a:p>
        </p:txBody>
      </p:sp>
      <p:sp>
        <p:nvSpPr>
          <p:cNvPr id="20" name="AutoShape 3"/>
          <p:cNvSpPr>
            <a:spLocks noChangeArrowheads="1"/>
          </p:cNvSpPr>
          <p:nvPr/>
        </p:nvSpPr>
        <p:spPr bwMode="gray">
          <a:xfrm>
            <a:off x="5573713" y="5622925"/>
            <a:ext cx="1360487" cy="927100"/>
          </a:xfrm>
          <a:prstGeom prst="homePlate">
            <a:avLst>
              <a:gd name="adj" fmla="val 0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xtLst/>
        </p:spPr>
        <p:txBody>
          <a:bodyPr lIns="71120" tIns="71120" rIns="71120" bIns="71120" anchor="ctr"/>
          <a:lstStyle/>
          <a:p>
            <a:pPr algn="ctr" defTabSz="914400"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_tradnl" sz="1600" b="1" i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Consejo Regional</a:t>
            </a:r>
          </a:p>
        </p:txBody>
      </p:sp>
      <p:sp>
        <p:nvSpPr>
          <p:cNvPr id="24" name="AutoShape 3"/>
          <p:cNvSpPr>
            <a:spLocks noChangeArrowheads="1"/>
          </p:cNvSpPr>
          <p:nvPr/>
        </p:nvSpPr>
        <p:spPr bwMode="gray">
          <a:xfrm>
            <a:off x="7280275" y="5622925"/>
            <a:ext cx="1447800" cy="927100"/>
          </a:xfrm>
          <a:prstGeom prst="homePlate">
            <a:avLst>
              <a:gd name="adj" fmla="val 0"/>
            </a:avLst>
          </a:prstGeom>
          <a:gradFill>
            <a:gsLst>
              <a:gs pos="8000">
                <a:schemeClr val="accent1"/>
              </a:gs>
              <a:gs pos="100000">
                <a:srgbClr val="00B050"/>
              </a:gs>
            </a:gsLst>
            <a:lin ang="2700000" scaled="1"/>
          </a:gradFill>
          <a:ln w="6350">
            <a:noFill/>
            <a:miter lim="800000"/>
            <a:headEnd/>
            <a:tailEnd/>
          </a:ln>
          <a:extLst/>
        </p:spPr>
        <p:txBody>
          <a:bodyPr lIns="36000" tIns="71120" rIns="36000" bIns="71120" anchor="ctr"/>
          <a:lstStyle/>
          <a:p>
            <a:pPr algn="ctr" defTabSz="914400"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_tradnl" sz="1600" b="1" i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Región / Asociaciones</a:t>
            </a:r>
          </a:p>
        </p:txBody>
      </p:sp>
      <p:sp>
        <p:nvSpPr>
          <p:cNvPr id="36" name="AutoShape 3"/>
          <p:cNvSpPr>
            <a:spLocks noChangeArrowheads="1"/>
          </p:cNvSpPr>
          <p:nvPr/>
        </p:nvSpPr>
        <p:spPr bwMode="gray">
          <a:xfrm>
            <a:off x="671513" y="5622925"/>
            <a:ext cx="2160587" cy="927100"/>
          </a:xfrm>
          <a:prstGeom prst="homePlate">
            <a:avLst>
              <a:gd name="adj" fmla="val 19168"/>
            </a:avLst>
          </a:prstGeom>
          <a:solidFill>
            <a:schemeClr val="tx2"/>
          </a:solidFill>
          <a:ln w="6350">
            <a:noFill/>
            <a:miter lim="800000"/>
            <a:headEnd/>
            <a:tailEnd/>
          </a:ln>
        </p:spPr>
        <p:txBody>
          <a:bodyPr lIns="71120" tIns="71120" rIns="71120" bIns="71120" anchor="ctr"/>
          <a:lstStyle/>
          <a:p>
            <a:pPr defTabSz="914400" eaLnBrk="0" fontAlgn="auto" hangingPunct="0">
              <a:lnSpc>
                <a:spcPct val="90000"/>
              </a:lnSpc>
              <a:spcAft>
                <a:spcPts val="0"/>
              </a:spcAft>
              <a:defRPr/>
            </a:pPr>
            <a:r>
              <a:rPr lang="es-ES_tradnl" sz="1600" b="1" i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Estrategia </a:t>
            </a:r>
            <a:r>
              <a:rPr lang="es-ES_tradnl" sz="1600" b="1" i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provincial</a:t>
            </a:r>
            <a:endParaRPr lang="es-ES_tradnl" sz="1600" b="1" i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4" name="Right Arrow 53"/>
          <p:cNvSpPr/>
          <p:nvPr/>
        </p:nvSpPr>
        <p:spPr>
          <a:xfrm rot="16200000">
            <a:off x="1577181" y="4647407"/>
            <a:ext cx="3033713" cy="501650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2700000" scaled="1"/>
            <a:tileRect/>
          </a:gra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5" name="Right Arrow 54"/>
          <p:cNvSpPr/>
          <p:nvPr/>
        </p:nvSpPr>
        <p:spPr>
          <a:xfrm rot="5400000">
            <a:off x="-1133474" y="4637087"/>
            <a:ext cx="3033712" cy="500063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2700000" scaled="1"/>
            <a:tileRect/>
          </a:gra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46882" name="RunningHead"/>
          <p:cNvSpPr txBox="1">
            <a:spLocks noChangeArrowheads="1"/>
          </p:cNvSpPr>
          <p:nvPr/>
        </p:nvSpPr>
        <p:spPr bwMode="gray">
          <a:xfrm>
            <a:off x="6862185" y="139700"/>
            <a:ext cx="2029403" cy="1661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" sz="1200" dirty="0">
                <a:solidFill>
                  <a:srgbClr val="000000"/>
                </a:solidFill>
              </a:rPr>
              <a:t>¿Estamos bien organizados? 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8481" name="Rectangle 1136"/>
          <p:cNvSpPr>
            <a:spLocks noGrp="1" noChangeAspect="1" noChangeArrowheads="1"/>
          </p:cNvSpPr>
          <p:nvPr>
            <p:ph type="title"/>
            <p:custDataLst>
              <p:tags r:id="rId1"/>
            </p:custDataLst>
          </p:nvPr>
        </p:nvSpPr>
        <p:spPr>
          <a:xfrm>
            <a:off x="244475" y="804863"/>
            <a:ext cx="8640763" cy="665162"/>
          </a:xfrm>
        </p:spPr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… y apoyada por procesos de gobernanza horizontal para facilitar la cooperación entre las regiones</a:t>
            </a:r>
          </a:p>
        </p:txBody>
      </p:sp>
      <p:grpSp>
        <p:nvGrpSpPr>
          <p:cNvPr id="3348482" name="Group 3"/>
          <p:cNvGrpSpPr>
            <a:grpSpLocks noChangeAspect="1"/>
          </p:cNvGrpSpPr>
          <p:nvPr/>
        </p:nvGrpSpPr>
        <p:grpSpPr bwMode="auto">
          <a:xfrm>
            <a:off x="244475" y="1820863"/>
            <a:ext cx="7115175" cy="3552825"/>
            <a:chOff x="185524" y="2060848"/>
            <a:chExt cx="8572193" cy="4280400"/>
          </a:xfrm>
        </p:grpSpPr>
        <p:grpSp>
          <p:nvGrpSpPr>
            <p:cNvPr id="3348545" name="Agrupar 11"/>
            <p:cNvGrpSpPr>
              <a:grpSpLocks/>
            </p:cNvGrpSpPr>
            <p:nvPr/>
          </p:nvGrpSpPr>
          <p:grpSpPr bwMode="auto">
            <a:xfrm>
              <a:off x="185524" y="2967387"/>
              <a:ext cx="8572193" cy="2417425"/>
              <a:chOff x="190712" y="2929753"/>
              <a:chExt cx="8572193" cy="2417425"/>
            </a:xfrm>
          </p:grpSpPr>
          <p:sp>
            <p:nvSpPr>
              <p:cNvPr id="3348796" name="TextBox 7"/>
              <p:cNvSpPr txBox="1">
                <a:spLocks noChangeArrowheads="1"/>
              </p:cNvSpPr>
              <p:nvPr/>
            </p:nvSpPr>
            <p:spPr bwMode="auto">
              <a:xfrm>
                <a:off x="190712" y="2931476"/>
                <a:ext cx="1031330" cy="233613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400">
                  <a:lnSpc>
                    <a:spcPct val="90000"/>
                  </a:lnSpc>
                  <a:spcBef>
                    <a:spcPts val="600"/>
                  </a:spcBef>
                  <a:buClr>
                    <a:srgbClr val="9B1717"/>
                  </a:buClr>
                </a:pPr>
                <a:r>
                  <a:rPr lang="es-ES_tradnl" sz="1400">
                    <a:solidFill>
                      <a:srgbClr val="000000"/>
                    </a:solidFill>
                    <a:latin typeface="Arial "/>
                  </a:rPr>
                  <a:t>Arco Norte</a:t>
                </a:r>
              </a:p>
            </p:txBody>
          </p:sp>
          <p:sp>
            <p:nvSpPr>
              <p:cNvPr id="3348797" name="TextBox 394"/>
              <p:cNvSpPr txBox="1">
                <a:spLocks noChangeArrowheads="1"/>
              </p:cNvSpPr>
              <p:nvPr/>
            </p:nvSpPr>
            <p:spPr bwMode="auto">
              <a:xfrm>
                <a:off x="719506" y="5109238"/>
                <a:ext cx="1646925" cy="237940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400">
                  <a:lnSpc>
                    <a:spcPct val="90000"/>
                  </a:lnSpc>
                  <a:spcBef>
                    <a:spcPts val="600"/>
                  </a:spcBef>
                  <a:buClr>
                    <a:srgbClr val="9B1717"/>
                  </a:buClr>
                </a:pPr>
                <a:r>
                  <a:rPr lang="es-ES_tradnl" sz="1400">
                    <a:solidFill>
                      <a:srgbClr val="000000"/>
                    </a:solidFill>
                    <a:latin typeface="Arial "/>
                  </a:rPr>
                  <a:t>Cono Sur - Brasil</a:t>
                </a:r>
              </a:p>
            </p:txBody>
          </p:sp>
          <p:sp>
            <p:nvSpPr>
              <p:cNvPr id="3348798" name="TextBox 397"/>
              <p:cNvSpPr txBox="1">
                <a:spLocks noChangeArrowheads="1"/>
              </p:cNvSpPr>
              <p:nvPr/>
            </p:nvSpPr>
            <p:spPr bwMode="auto">
              <a:xfrm>
                <a:off x="3789506" y="4717481"/>
                <a:ext cx="552360" cy="233613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400">
                  <a:lnSpc>
                    <a:spcPct val="90000"/>
                  </a:lnSpc>
                  <a:spcBef>
                    <a:spcPts val="600"/>
                  </a:spcBef>
                  <a:buClr>
                    <a:srgbClr val="9B1717"/>
                  </a:buClr>
                </a:pPr>
                <a:r>
                  <a:rPr lang="es-ES_tradnl" sz="1400">
                    <a:solidFill>
                      <a:srgbClr val="000000"/>
                    </a:solidFill>
                    <a:latin typeface="Arial "/>
                  </a:rPr>
                  <a:t>África</a:t>
                </a:r>
              </a:p>
            </p:txBody>
          </p:sp>
          <p:sp>
            <p:nvSpPr>
              <p:cNvPr id="3348799" name="TextBox 398"/>
              <p:cNvSpPr txBox="1">
                <a:spLocks noChangeArrowheads="1"/>
              </p:cNvSpPr>
              <p:nvPr/>
            </p:nvSpPr>
            <p:spPr bwMode="auto">
              <a:xfrm>
                <a:off x="3441897" y="2929753"/>
                <a:ext cx="695278" cy="233613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400">
                  <a:lnSpc>
                    <a:spcPct val="90000"/>
                  </a:lnSpc>
                  <a:spcBef>
                    <a:spcPts val="600"/>
                  </a:spcBef>
                  <a:buClr>
                    <a:srgbClr val="9B1717"/>
                  </a:buClr>
                </a:pPr>
                <a:r>
                  <a:rPr lang="es-ES_tradnl" sz="1400" dirty="0">
                    <a:solidFill>
                      <a:srgbClr val="000000"/>
                    </a:solidFill>
                    <a:latin typeface="Arial "/>
                  </a:rPr>
                  <a:t>Europa</a:t>
                </a:r>
              </a:p>
            </p:txBody>
          </p:sp>
          <p:sp>
            <p:nvSpPr>
              <p:cNvPr id="3348800" name="TextBox 399"/>
              <p:cNvSpPr txBox="1">
                <a:spLocks noChangeArrowheads="1"/>
              </p:cNvSpPr>
              <p:nvPr/>
            </p:nvSpPr>
            <p:spPr bwMode="auto">
              <a:xfrm>
                <a:off x="7393592" y="3759716"/>
                <a:ext cx="1369313" cy="233613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400">
                  <a:lnSpc>
                    <a:spcPct val="90000"/>
                  </a:lnSpc>
                  <a:spcBef>
                    <a:spcPts val="600"/>
                  </a:spcBef>
                  <a:buClr>
                    <a:srgbClr val="9B1717"/>
                  </a:buClr>
                </a:pPr>
                <a:r>
                  <a:rPr lang="es-ES_tradnl" sz="1400">
                    <a:solidFill>
                      <a:srgbClr val="000000"/>
                    </a:solidFill>
                    <a:latin typeface="Arial "/>
                  </a:rPr>
                  <a:t>Asia - Pacifico</a:t>
                </a:r>
              </a:p>
            </p:txBody>
          </p:sp>
        </p:grpSp>
        <p:grpSp>
          <p:nvGrpSpPr>
            <p:cNvPr id="3348546" name="Agrupar 391"/>
            <p:cNvGrpSpPr>
              <a:grpSpLocks/>
            </p:cNvGrpSpPr>
            <p:nvPr/>
          </p:nvGrpSpPr>
          <p:grpSpPr bwMode="auto">
            <a:xfrm>
              <a:off x="644522" y="2060848"/>
              <a:ext cx="8051405" cy="4280400"/>
              <a:chOff x="644522" y="2060848"/>
              <a:chExt cx="8051405" cy="4280400"/>
            </a:xfrm>
          </p:grpSpPr>
          <p:sp>
            <p:nvSpPr>
              <p:cNvPr id="3348547" name="Zimbabwe"/>
              <p:cNvSpPr>
                <a:spLocks/>
              </p:cNvSpPr>
              <p:nvPr/>
            </p:nvSpPr>
            <p:spPr bwMode="auto">
              <a:xfrm>
                <a:off x="4898137" y="5085360"/>
                <a:ext cx="208873" cy="221145"/>
              </a:xfrm>
              <a:custGeom>
                <a:avLst/>
                <a:gdLst>
                  <a:gd name="T0" fmla="*/ 50934863 w 575"/>
                  <a:gd name="T1" fmla="*/ 740448 h 514"/>
                  <a:gd name="T2" fmla="*/ 52122714 w 575"/>
                  <a:gd name="T3" fmla="*/ 5923587 h 514"/>
                  <a:gd name="T4" fmla="*/ 56608941 w 575"/>
                  <a:gd name="T5" fmla="*/ 6849040 h 514"/>
                  <a:gd name="T6" fmla="*/ 61491481 w 575"/>
                  <a:gd name="T7" fmla="*/ 8885382 h 514"/>
                  <a:gd name="T8" fmla="*/ 66373659 w 575"/>
                  <a:gd name="T9" fmla="*/ 12587622 h 514"/>
                  <a:gd name="T10" fmla="*/ 70596524 w 575"/>
                  <a:gd name="T11" fmla="*/ 13883084 h 514"/>
                  <a:gd name="T12" fmla="*/ 74159351 w 575"/>
                  <a:gd name="T13" fmla="*/ 16659876 h 514"/>
                  <a:gd name="T14" fmla="*/ 74027125 w 575"/>
                  <a:gd name="T15" fmla="*/ 21657578 h 514"/>
                  <a:gd name="T16" fmla="*/ 74159351 w 575"/>
                  <a:gd name="T17" fmla="*/ 28136607 h 514"/>
                  <a:gd name="T18" fmla="*/ 73631538 w 575"/>
                  <a:gd name="T19" fmla="*/ 35355661 h 514"/>
                  <a:gd name="T20" fmla="*/ 74291213 w 575"/>
                  <a:gd name="T21" fmla="*/ 39983785 h 514"/>
                  <a:gd name="T22" fmla="*/ 72971500 w 575"/>
                  <a:gd name="T23" fmla="*/ 44056035 h 514"/>
                  <a:gd name="T24" fmla="*/ 70728386 w 575"/>
                  <a:gd name="T25" fmla="*/ 47573271 h 514"/>
                  <a:gd name="T26" fmla="*/ 71915874 w 575"/>
                  <a:gd name="T27" fmla="*/ 50720068 h 514"/>
                  <a:gd name="T28" fmla="*/ 71520287 w 575"/>
                  <a:gd name="T29" fmla="*/ 55902775 h 514"/>
                  <a:gd name="T30" fmla="*/ 72443687 w 575"/>
                  <a:gd name="T31" fmla="*/ 58124133 h 514"/>
                  <a:gd name="T32" fmla="*/ 72707775 w 575"/>
                  <a:gd name="T33" fmla="*/ 62011379 h 514"/>
                  <a:gd name="T34" fmla="*/ 70860249 w 575"/>
                  <a:gd name="T35" fmla="*/ 66639503 h 514"/>
                  <a:gd name="T36" fmla="*/ 67297422 w 575"/>
                  <a:gd name="T37" fmla="*/ 70896757 h 514"/>
                  <a:gd name="T38" fmla="*/ 65845846 w 575"/>
                  <a:gd name="T39" fmla="*/ 77560791 h 514"/>
                  <a:gd name="T40" fmla="*/ 65582121 w 575"/>
                  <a:gd name="T41" fmla="*/ 80892592 h 514"/>
                  <a:gd name="T42" fmla="*/ 55157728 w 575"/>
                  <a:gd name="T43" fmla="*/ 95146112 h 514"/>
                  <a:gd name="T44" fmla="*/ 54629915 w 575"/>
                  <a:gd name="T45" fmla="*/ 94961108 h 514"/>
                  <a:gd name="T46" fmla="*/ 50803000 w 575"/>
                  <a:gd name="T47" fmla="*/ 93665216 h 514"/>
                  <a:gd name="T48" fmla="*/ 45260773 w 575"/>
                  <a:gd name="T49" fmla="*/ 94035225 h 514"/>
                  <a:gd name="T50" fmla="*/ 39586695 w 575"/>
                  <a:gd name="T51" fmla="*/ 91073862 h 514"/>
                  <a:gd name="T52" fmla="*/ 36947631 w 575"/>
                  <a:gd name="T53" fmla="*/ 91443871 h 514"/>
                  <a:gd name="T54" fmla="*/ 35627918 w 575"/>
                  <a:gd name="T55" fmla="*/ 90147979 h 514"/>
                  <a:gd name="T56" fmla="*/ 34176705 w 575"/>
                  <a:gd name="T57" fmla="*/ 86260734 h 514"/>
                  <a:gd name="T58" fmla="*/ 30086065 w 575"/>
                  <a:gd name="T59" fmla="*/ 83854385 h 514"/>
                  <a:gd name="T60" fmla="*/ 24543850 w 575"/>
                  <a:gd name="T61" fmla="*/ 82558493 h 514"/>
                  <a:gd name="T62" fmla="*/ 21904780 w 575"/>
                  <a:gd name="T63" fmla="*/ 75894890 h 514"/>
                  <a:gd name="T64" fmla="*/ 21904780 w 575"/>
                  <a:gd name="T65" fmla="*/ 67749960 h 514"/>
                  <a:gd name="T66" fmla="*/ 18605678 w 575"/>
                  <a:gd name="T67" fmla="*/ 65343611 h 514"/>
                  <a:gd name="T68" fmla="*/ 16098477 w 575"/>
                  <a:gd name="T69" fmla="*/ 60715917 h 514"/>
                  <a:gd name="T70" fmla="*/ 16098477 w 575"/>
                  <a:gd name="T71" fmla="*/ 60715917 h 514"/>
                  <a:gd name="T72" fmla="*/ 10820346 w 575"/>
                  <a:gd name="T73" fmla="*/ 56828672 h 514"/>
                  <a:gd name="T74" fmla="*/ 9896583 w 575"/>
                  <a:gd name="T75" fmla="*/ 55347762 h 514"/>
                  <a:gd name="T76" fmla="*/ 7785332 w 575"/>
                  <a:gd name="T77" fmla="*/ 52015530 h 514"/>
                  <a:gd name="T78" fmla="*/ 6597844 w 575"/>
                  <a:gd name="T79" fmla="*/ 45536931 h 514"/>
                  <a:gd name="T80" fmla="*/ 3562828 w 575"/>
                  <a:gd name="T81" fmla="*/ 39428341 h 514"/>
                  <a:gd name="T82" fmla="*/ 395951 w 575"/>
                  <a:gd name="T83" fmla="*/ 32394299 h 514"/>
                  <a:gd name="T84" fmla="*/ 791901 w 575"/>
                  <a:gd name="T85" fmla="*/ 30172954 h 514"/>
                  <a:gd name="T86" fmla="*/ 1715301 w 575"/>
                  <a:gd name="T87" fmla="*/ 30542963 h 514"/>
                  <a:gd name="T88" fmla="*/ 6201894 w 575"/>
                  <a:gd name="T89" fmla="*/ 32394299 h 514"/>
                  <a:gd name="T90" fmla="*/ 10952209 w 575"/>
                  <a:gd name="T91" fmla="*/ 32023859 h 514"/>
                  <a:gd name="T92" fmla="*/ 15834752 w 575"/>
                  <a:gd name="T93" fmla="*/ 32949312 h 514"/>
                  <a:gd name="T94" fmla="*/ 20189116 w 575"/>
                  <a:gd name="T95" fmla="*/ 27766168 h 514"/>
                  <a:gd name="T96" fmla="*/ 24279762 w 575"/>
                  <a:gd name="T97" fmla="*/ 20732126 h 514"/>
                  <a:gd name="T98" fmla="*/ 28634490 w 575"/>
                  <a:gd name="T99" fmla="*/ 16659876 h 514"/>
                  <a:gd name="T100" fmla="*/ 33252942 w 575"/>
                  <a:gd name="T101" fmla="*/ 13513075 h 514"/>
                  <a:gd name="T102" fmla="*/ 35760144 w 575"/>
                  <a:gd name="T103" fmla="*/ 6479031 h 514"/>
                  <a:gd name="T104" fmla="*/ 39322971 w 575"/>
                  <a:gd name="T105" fmla="*/ 2776789 h 514"/>
                  <a:gd name="T106" fmla="*/ 43809197 w 575"/>
                  <a:gd name="T107" fmla="*/ 1110458 h 514"/>
                  <a:gd name="T108" fmla="*/ 49879237 w 575"/>
                  <a:gd name="T109" fmla="*/ 925453 h 514"/>
                  <a:gd name="T110" fmla="*/ 50275188 w 575"/>
                  <a:gd name="T111" fmla="*/ 740448 h 514"/>
                  <a:gd name="T112" fmla="*/ 50934863 w 575"/>
                  <a:gd name="T113" fmla="*/ 740448 h 51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575"/>
                  <a:gd name="T172" fmla="*/ 0 h 514"/>
                  <a:gd name="T173" fmla="*/ 575 w 575"/>
                  <a:gd name="T174" fmla="*/ 514 h 514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575" h="514">
                    <a:moveTo>
                      <a:pt x="386" y="4"/>
                    </a:moveTo>
                    <a:cubicBezTo>
                      <a:pt x="388" y="14"/>
                      <a:pt x="378" y="36"/>
                      <a:pt x="395" y="32"/>
                    </a:cubicBezTo>
                    <a:cubicBezTo>
                      <a:pt x="407" y="32"/>
                      <a:pt x="419" y="32"/>
                      <a:pt x="429" y="37"/>
                    </a:cubicBezTo>
                    <a:cubicBezTo>
                      <a:pt x="444" y="25"/>
                      <a:pt x="452" y="46"/>
                      <a:pt x="466" y="48"/>
                    </a:cubicBezTo>
                    <a:cubicBezTo>
                      <a:pt x="483" y="45"/>
                      <a:pt x="487" y="69"/>
                      <a:pt x="503" y="68"/>
                    </a:cubicBezTo>
                    <a:cubicBezTo>
                      <a:pt x="514" y="67"/>
                      <a:pt x="525" y="70"/>
                      <a:pt x="535" y="75"/>
                    </a:cubicBezTo>
                    <a:cubicBezTo>
                      <a:pt x="548" y="77"/>
                      <a:pt x="547" y="96"/>
                      <a:pt x="562" y="90"/>
                    </a:cubicBezTo>
                    <a:cubicBezTo>
                      <a:pt x="575" y="96"/>
                      <a:pt x="547" y="107"/>
                      <a:pt x="561" y="117"/>
                    </a:cubicBezTo>
                    <a:cubicBezTo>
                      <a:pt x="566" y="128"/>
                      <a:pt x="568" y="141"/>
                      <a:pt x="562" y="152"/>
                    </a:cubicBezTo>
                    <a:cubicBezTo>
                      <a:pt x="573" y="165"/>
                      <a:pt x="554" y="177"/>
                      <a:pt x="558" y="191"/>
                    </a:cubicBezTo>
                    <a:cubicBezTo>
                      <a:pt x="560" y="200"/>
                      <a:pt x="558" y="208"/>
                      <a:pt x="563" y="216"/>
                    </a:cubicBezTo>
                    <a:cubicBezTo>
                      <a:pt x="560" y="224"/>
                      <a:pt x="544" y="228"/>
                      <a:pt x="553" y="238"/>
                    </a:cubicBezTo>
                    <a:cubicBezTo>
                      <a:pt x="556" y="252"/>
                      <a:pt x="530" y="241"/>
                      <a:pt x="536" y="257"/>
                    </a:cubicBezTo>
                    <a:cubicBezTo>
                      <a:pt x="528" y="267"/>
                      <a:pt x="553" y="262"/>
                      <a:pt x="545" y="274"/>
                    </a:cubicBezTo>
                    <a:cubicBezTo>
                      <a:pt x="545" y="284"/>
                      <a:pt x="532" y="295"/>
                      <a:pt x="542" y="302"/>
                    </a:cubicBezTo>
                    <a:cubicBezTo>
                      <a:pt x="538" y="311"/>
                      <a:pt x="541" y="317"/>
                      <a:pt x="549" y="314"/>
                    </a:cubicBezTo>
                    <a:cubicBezTo>
                      <a:pt x="552" y="321"/>
                      <a:pt x="556" y="327"/>
                      <a:pt x="551" y="335"/>
                    </a:cubicBezTo>
                    <a:cubicBezTo>
                      <a:pt x="547" y="343"/>
                      <a:pt x="538" y="349"/>
                      <a:pt x="537" y="360"/>
                    </a:cubicBezTo>
                    <a:cubicBezTo>
                      <a:pt x="529" y="370"/>
                      <a:pt x="523" y="380"/>
                      <a:pt x="510" y="383"/>
                    </a:cubicBezTo>
                    <a:cubicBezTo>
                      <a:pt x="506" y="395"/>
                      <a:pt x="514" y="411"/>
                      <a:pt x="499" y="419"/>
                    </a:cubicBezTo>
                    <a:cubicBezTo>
                      <a:pt x="493" y="426"/>
                      <a:pt x="511" y="438"/>
                      <a:pt x="497" y="437"/>
                    </a:cubicBezTo>
                    <a:cubicBezTo>
                      <a:pt x="471" y="463"/>
                      <a:pt x="445" y="489"/>
                      <a:pt x="418" y="514"/>
                    </a:cubicBezTo>
                    <a:cubicBezTo>
                      <a:pt x="416" y="514"/>
                      <a:pt x="415" y="513"/>
                      <a:pt x="414" y="513"/>
                    </a:cubicBezTo>
                    <a:cubicBezTo>
                      <a:pt x="404" y="511"/>
                      <a:pt x="395" y="507"/>
                      <a:pt x="385" y="506"/>
                    </a:cubicBezTo>
                    <a:cubicBezTo>
                      <a:pt x="371" y="506"/>
                      <a:pt x="357" y="509"/>
                      <a:pt x="343" y="508"/>
                    </a:cubicBezTo>
                    <a:cubicBezTo>
                      <a:pt x="328" y="504"/>
                      <a:pt x="316" y="493"/>
                      <a:pt x="300" y="492"/>
                    </a:cubicBezTo>
                    <a:cubicBezTo>
                      <a:pt x="293" y="494"/>
                      <a:pt x="286" y="495"/>
                      <a:pt x="280" y="494"/>
                    </a:cubicBezTo>
                    <a:cubicBezTo>
                      <a:pt x="276" y="493"/>
                      <a:pt x="272" y="491"/>
                      <a:pt x="270" y="487"/>
                    </a:cubicBezTo>
                    <a:cubicBezTo>
                      <a:pt x="257" y="488"/>
                      <a:pt x="254" y="476"/>
                      <a:pt x="259" y="466"/>
                    </a:cubicBezTo>
                    <a:cubicBezTo>
                      <a:pt x="250" y="462"/>
                      <a:pt x="238" y="459"/>
                      <a:pt x="228" y="453"/>
                    </a:cubicBezTo>
                    <a:cubicBezTo>
                      <a:pt x="214" y="454"/>
                      <a:pt x="201" y="448"/>
                      <a:pt x="186" y="446"/>
                    </a:cubicBezTo>
                    <a:cubicBezTo>
                      <a:pt x="182" y="433"/>
                      <a:pt x="176" y="420"/>
                      <a:pt x="166" y="410"/>
                    </a:cubicBezTo>
                    <a:cubicBezTo>
                      <a:pt x="165" y="395"/>
                      <a:pt x="175" y="377"/>
                      <a:pt x="166" y="366"/>
                    </a:cubicBezTo>
                    <a:cubicBezTo>
                      <a:pt x="156" y="361"/>
                      <a:pt x="133" y="372"/>
                      <a:pt x="141" y="353"/>
                    </a:cubicBezTo>
                    <a:cubicBezTo>
                      <a:pt x="142" y="338"/>
                      <a:pt x="133" y="334"/>
                      <a:pt x="122" y="328"/>
                    </a:cubicBezTo>
                    <a:cubicBezTo>
                      <a:pt x="122" y="328"/>
                      <a:pt x="122" y="328"/>
                      <a:pt x="122" y="328"/>
                    </a:cubicBezTo>
                    <a:cubicBezTo>
                      <a:pt x="106" y="328"/>
                      <a:pt x="95" y="314"/>
                      <a:pt x="82" y="307"/>
                    </a:cubicBezTo>
                    <a:cubicBezTo>
                      <a:pt x="80" y="304"/>
                      <a:pt x="79" y="302"/>
                      <a:pt x="75" y="299"/>
                    </a:cubicBezTo>
                    <a:cubicBezTo>
                      <a:pt x="70" y="293"/>
                      <a:pt x="58" y="293"/>
                      <a:pt x="59" y="281"/>
                    </a:cubicBezTo>
                    <a:cubicBezTo>
                      <a:pt x="55" y="269"/>
                      <a:pt x="49" y="259"/>
                      <a:pt x="50" y="246"/>
                    </a:cubicBezTo>
                    <a:cubicBezTo>
                      <a:pt x="36" y="238"/>
                      <a:pt x="41" y="221"/>
                      <a:pt x="27" y="213"/>
                    </a:cubicBezTo>
                    <a:cubicBezTo>
                      <a:pt x="17" y="201"/>
                      <a:pt x="14" y="186"/>
                      <a:pt x="3" y="175"/>
                    </a:cubicBezTo>
                    <a:cubicBezTo>
                      <a:pt x="0" y="170"/>
                      <a:pt x="2" y="164"/>
                      <a:pt x="6" y="163"/>
                    </a:cubicBezTo>
                    <a:cubicBezTo>
                      <a:pt x="8" y="162"/>
                      <a:pt x="10" y="163"/>
                      <a:pt x="13" y="165"/>
                    </a:cubicBezTo>
                    <a:cubicBezTo>
                      <a:pt x="25" y="167"/>
                      <a:pt x="43" y="158"/>
                      <a:pt x="47" y="175"/>
                    </a:cubicBezTo>
                    <a:cubicBezTo>
                      <a:pt x="59" y="182"/>
                      <a:pt x="71" y="163"/>
                      <a:pt x="83" y="173"/>
                    </a:cubicBezTo>
                    <a:cubicBezTo>
                      <a:pt x="96" y="177"/>
                      <a:pt x="107" y="187"/>
                      <a:pt x="120" y="178"/>
                    </a:cubicBezTo>
                    <a:cubicBezTo>
                      <a:pt x="137" y="178"/>
                      <a:pt x="141" y="159"/>
                      <a:pt x="153" y="150"/>
                    </a:cubicBezTo>
                    <a:cubicBezTo>
                      <a:pt x="166" y="139"/>
                      <a:pt x="178" y="127"/>
                      <a:pt x="184" y="112"/>
                    </a:cubicBezTo>
                    <a:cubicBezTo>
                      <a:pt x="190" y="98"/>
                      <a:pt x="206" y="97"/>
                      <a:pt x="217" y="90"/>
                    </a:cubicBezTo>
                    <a:cubicBezTo>
                      <a:pt x="227" y="82"/>
                      <a:pt x="240" y="78"/>
                      <a:pt x="252" y="73"/>
                    </a:cubicBezTo>
                    <a:cubicBezTo>
                      <a:pt x="273" y="72"/>
                      <a:pt x="268" y="49"/>
                      <a:pt x="271" y="35"/>
                    </a:cubicBezTo>
                    <a:cubicBezTo>
                      <a:pt x="276" y="25"/>
                      <a:pt x="291" y="24"/>
                      <a:pt x="298" y="15"/>
                    </a:cubicBezTo>
                    <a:cubicBezTo>
                      <a:pt x="309" y="10"/>
                      <a:pt x="321" y="7"/>
                      <a:pt x="332" y="6"/>
                    </a:cubicBezTo>
                    <a:cubicBezTo>
                      <a:pt x="347" y="0"/>
                      <a:pt x="363" y="6"/>
                      <a:pt x="378" y="5"/>
                    </a:cubicBezTo>
                    <a:cubicBezTo>
                      <a:pt x="379" y="5"/>
                      <a:pt x="380" y="5"/>
                      <a:pt x="381" y="4"/>
                    </a:cubicBezTo>
                    <a:lnTo>
                      <a:pt x="386" y="4"/>
                    </a:ln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48548" name="Zambia"/>
              <p:cNvSpPr>
                <a:spLocks/>
              </p:cNvSpPr>
              <p:nvPr/>
            </p:nvSpPr>
            <p:spPr bwMode="auto">
              <a:xfrm>
                <a:off x="4814447" y="4843353"/>
                <a:ext cx="320694" cy="322121"/>
              </a:xfrm>
              <a:custGeom>
                <a:avLst/>
                <a:gdLst>
                  <a:gd name="T0" fmla="*/ 23796803 w 882"/>
                  <a:gd name="T1" fmla="*/ 44070205 h 747"/>
                  <a:gd name="T2" fmla="*/ 33844127 w 882"/>
                  <a:gd name="T3" fmla="*/ 41652789 h 747"/>
                  <a:gd name="T4" fmla="*/ 36356229 w 882"/>
                  <a:gd name="T5" fmla="*/ 49276748 h 747"/>
                  <a:gd name="T6" fmla="*/ 45874875 w 882"/>
                  <a:gd name="T7" fmla="*/ 52809729 h 747"/>
                  <a:gd name="T8" fmla="*/ 52220408 w 882"/>
                  <a:gd name="T9" fmla="*/ 47975328 h 747"/>
                  <a:gd name="T10" fmla="*/ 58301958 w 882"/>
                  <a:gd name="T11" fmla="*/ 57086577 h 747"/>
                  <a:gd name="T12" fmla="*/ 64912179 w 882"/>
                  <a:gd name="T13" fmla="*/ 65826531 h 747"/>
                  <a:gd name="T14" fmla="*/ 70200356 w 882"/>
                  <a:gd name="T15" fmla="*/ 73078348 h 747"/>
                  <a:gd name="T16" fmla="*/ 76281542 w 882"/>
                  <a:gd name="T17" fmla="*/ 74194344 h 747"/>
                  <a:gd name="T18" fmla="*/ 77074914 w 882"/>
                  <a:gd name="T19" fmla="*/ 56156854 h 747"/>
                  <a:gd name="T20" fmla="*/ 73637453 w 882"/>
                  <a:gd name="T21" fmla="*/ 60061990 h 747"/>
                  <a:gd name="T22" fmla="*/ 65044529 w 882"/>
                  <a:gd name="T23" fmla="*/ 51880020 h 747"/>
                  <a:gd name="T24" fmla="*/ 65705551 w 882"/>
                  <a:gd name="T25" fmla="*/ 36446246 h 747"/>
                  <a:gd name="T26" fmla="*/ 67027595 w 882"/>
                  <a:gd name="T27" fmla="*/ 22313886 h 747"/>
                  <a:gd name="T28" fmla="*/ 67159582 w 882"/>
                  <a:gd name="T29" fmla="*/ 11900796 h 747"/>
                  <a:gd name="T30" fmla="*/ 83024113 w 882"/>
                  <a:gd name="T31" fmla="*/ 1115565 h 747"/>
                  <a:gd name="T32" fmla="*/ 88047954 w 882"/>
                  <a:gd name="T33" fmla="*/ 0 h 747"/>
                  <a:gd name="T34" fmla="*/ 95847893 w 882"/>
                  <a:gd name="T35" fmla="*/ 8739527 h 747"/>
                  <a:gd name="T36" fmla="*/ 102458114 w 882"/>
                  <a:gd name="T37" fmla="*/ 13574359 h 747"/>
                  <a:gd name="T38" fmla="*/ 108935986 w 882"/>
                  <a:gd name="T39" fmla="*/ 17479485 h 747"/>
                  <a:gd name="T40" fmla="*/ 109332672 w 882"/>
                  <a:gd name="T41" fmla="*/ 18780905 h 747"/>
                  <a:gd name="T42" fmla="*/ 112109110 w 882"/>
                  <a:gd name="T43" fmla="*/ 22871884 h 747"/>
                  <a:gd name="T44" fmla="*/ 114885185 w 882"/>
                  <a:gd name="T45" fmla="*/ 32169412 h 747"/>
                  <a:gd name="T46" fmla="*/ 112505433 w 882"/>
                  <a:gd name="T47" fmla="*/ 37561811 h 747"/>
                  <a:gd name="T48" fmla="*/ 110919052 w 882"/>
                  <a:gd name="T49" fmla="*/ 47789041 h 747"/>
                  <a:gd name="T50" fmla="*/ 112241096 w 882"/>
                  <a:gd name="T51" fmla="*/ 59318137 h 747"/>
                  <a:gd name="T52" fmla="*/ 108274964 w 882"/>
                  <a:gd name="T53" fmla="*/ 63409115 h 747"/>
                  <a:gd name="T54" fmla="*/ 106424247 w 882"/>
                  <a:gd name="T55" fmla="*/ 74751911 h 747"/>
                  <a:gd name="T56" fmla="*/ 105630875 w 882"/>
                  <a:gd name="T57" fmla="*/ 79586743 h 747"/>
                  <a:gd name="T58" fmla="*/ 109068336 w 882"/>
                  <a:gd name="T59" fmla="*/ 82933868 h 747"/>
                  <a:gd name="T60" fmla="*/ 99153003 w 882"/>
                  <a:gd name="T61" fmla="*/ 87396557 h 747"/>
                  <a:gd name="T62" fmla="*/ 86196874 w 882"/>
                  <a:gd name="T63" fmla="*/ 92789387 h 747"/>
                  <a:gd name="T64" fmla="*/ 81173397 w 882"/>
                  <a:gd name="T65" fmla="*/ 102086909 h 747"/>
                  <a:gd name="T66" fmla="*/ 80380025 w 882"/>
                  <a:gd name="T67" fmla="*/ 105061891 h 747"/>
                  <a:gd name="T68" fmla="*/ 69803670 w 882"/>
                  <a:gd name="T69" fmla="*/ 106921309 h 747"/>
                  <a:gd name="T70" fmla="*/ 63722485 w 882"/>
                  <a:gd name="T71" fmla="*/ 117706565 h 747"/>
                  <a:gd name="T72" fmla="*/ 54732511 w 882"/>
                  <a:gd name="T73" fmla="*/ 124958813 h 747"/>
                  <a:gd name="T74" fmla="*/ 46271561 w 882"/>
                  <a:gd name="T75" fmla="*/ 137231317 h 747"/>
                  <a:gd name="T76" fmla="*/ 36620565 w 882"/>
                  <a:gd name="T77" fmla="*/ 136673319 h 747"/>
                  <a:gd name="T78" fmla="*/ 31200038 w 882"/>
                  <a:gd name="T79" fmla="*/ 134442190 h 747"/>
                  <a:gd name="T80" fmla="*/ 29877994 w 882"/>
                  <a:gd name="T81" fmla="*/ 132954483 h 747"/>
                  <a:gd name="T82" fmla="*/ 19169648 w 882"/>
                  <a:gd name="T83" fmla="*/ 129979069 h 747"/>
                  <a:gd name="T84" fmla="*/ 13220449 w 882"/>
                  <a:gd name="T85" fmla="*/ 130909209 h 747"/>
                  <a:gd name="T86" fmla="*/ 3040776 w 882"/>
                  <a:gd name="T87" fmla="*/ 117520709 h 747"/>
                  <a:gd name="T88" fmla="*/ 793372 w 882"/>
                  <a:gd name="T89" fmla="*/ 66570385 h 747"/>
                  <a:gd name="T90" fmla="*/ 20359342 w 882"/>
                  <a:gd name="T91" fmla="*/ 66384098 h 747"/>
                  <a:gd name="T92" fmla="*/ 20491692 w 882"/>
                  <a:gd name="T93" fmla="*/ 51508309 h 747"/>
                  <a:gd name="T94" fmla="*/ 20888378 w 882"/>
                  <a:gd name="T95" fmla="*/ 38119809 h 747"/>
                  <a:gd name="T96" fmla="*/ 22342409 w 882"/>
                  <a:gd name="T97" fmla="*/ 39235373 h 747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882"/>
                  <a:gd name="T148" fmla="*/ 0 h 747"/>
                  <a:gd name="T149" fmla="*/ 882 w 882"/>
                  <a:gd name="T150" fmla="*/ 747 h 747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882" h="747">
                    <a:moveTo>
                      <a:pt x="169" y="211"/>
                    </a:moveTo>
                    <a:cubicBezTo>
                      <a:pt x="185" y="206"/>
                      <a:pt x="195" y="231"/>
                      <a:pt x="180" y="237"/>
                    </a:cubicBezTo>
                    <a:cubicBezTo>
                      <a:pt x="186" y="243"/>
                      <a:pt x="197" y="247"/>
                      <a:pt x="204" y="238"/>
                    </a:cubicBezTo>
                    <a:cubicBezTo>
                      <a:pt x="219" y="227"/>
                      <a:pt x="239" y="232"/>
                      <a:pt x="256" y="224"/>
                    </a:cubicBezTo>
                    <a:cubicBezTo>
                      <a:pt x="255" y="235"/>
                      <a:pt x="250" y="247"/>
                      <a:pt x="258" y="258"/>
                    </a:cubicBezTo>
                    <a:cubicBezTo>
                      <a:pt x="267" y="257"/>
                      <a:pt x="266" y="273"/>
                      <a:pt x="275" y="265"/>
                    </a:cubicBezTo>
                    <a:cubicBezTo>
                      <a:pt x="285" y="271"/>
                      <a:pt x="296" y="269"/>
                      <a:pt x="305" y="278"/>
                    </a:cubicBezTo>
                    <a:cubicBezTo>
                      <a:pt x="319" y="280"/>
                      <a:pt x="334" y="278"/>
                      <a:pt x="347" y="284"/>
                    </a:cubicBezTo>
                    <a:cubicBezTo>
                      <a:pt x="360" y="288"/>
                      <a:pt x="379" y="283"/>
                      <a:pt x="380" y="267"/>
                    </a:cubicBezTo>
                    <a:cubicBezTo>
                      <a:pt x="377" y="258"/>
                      <a:pt x="389" y="248"/>
                      <a:pt x="395" y="258"/>
                    </a:cubicBezTo>
                    <a:cubicBezTo>
                      <a:pt x="391" y="271"/>
                      <a:pt x="405" y="276"/>
                      <a:pt x="412" y="284"/>
                    </a:cubicBezTo>
                    <a:cubicBezTo>
                      <a:pt x="413" y="299"/>
                      <a:pt x="426" y="316"/>
                      <a:pt x="441" y="307"/>
                    </a:cubicBezTo>
                    <a:cubicBezTo>
                      <a:pt x="451" y="315"/>
                      <a:pt x="462" y="319"/>
                      <a:pt x="475" y="321"/>
                    </a:cubicBezTo>
                    <a:cubicBezTo>
                      <a:pt x="490" y="328"/>
                      <a:pt x="484" y="343"/>
                      <a:pt x="491" y="354"/>
                    </a:cubicBezTo>
                    <a:cubicBezTo>
                      <a:pt x="499" y="347"/>
                      <a:pt x="508" y="360"/>
                      <a:pt x="511" y="368"/>
                    </a:cubicBezTo>
                    <a:cubicBezTo>
                      <a:pt x="519" y="377"/>
                      <a:pt x="514" y="397"/>
                      <a:pt x="531" y="393"/>
                    </a:cubicBezTo>
                    <a:cubicBezTo>
                      <a:pt x="544" y="401"/>
                      <a:pt x="558" y="374"/>
                      <a:pt x="571" y="385"/>
                    </a:cubicBezTo>
                    <a:cubicBezTo>
                      <a:pt x="569" y="391"/>
                      <a:pt x="562" y="395"/>
                      <a:pt x="577" y="399"/>
                    </a:cubicBezTo>
                    <a:cubicBezTo>
                      <a:pt x="583" y="389"/>
                      <a:pt x="579" y="369"/>
                      <a:pt x="582" y="355"/>
                    </a:cubicBezTo>
                    <a:cubicBezTo>
                      <a:pt x="582" y="337"/>
                      <a:pt x="584" y="319"/>
                      <a:pt x="583" y="302"/>
                    </a:cubicBezTo>
                    <a:cubicBezTo>
                      <a:pt x="576" y="304"/>
                      <a:pt x="567" y="302"/>
                      <a:pt x="560" y="307"/>
                    </a:cubicBezTo>
                    <a:cubicBezTo>
                      <a:pt x="550" y="313"/>
                      <a:pt x="570" y="322"/>
                      <a:pt x="557" y="323"/>
                    </a:cubicBezTo>
                    <a:cubicBezTo>
                      <a:pt x="546" y="312"/>
                      <a:pt x="527" y="324"/>
                      <a:pt x="522" y="307"/>
                    </a:cubicBezTo>
                    <a:cubicBezTo>
                      <a:pt x="514" y="295"/>
                      <a:pt x="504" y="286"/>
                      <a:pt x="492" y="279"/>
                    </a:cubicBezTo>
                    <a:cubicBezTo>
                      <a:pt x="485" y="268"/>
                      <a:pt x="474" y="252"/>
                      <a:pt x="483" y="240"/>
                    </a:cubicBezTo>
                    <a:cubicBezTo>
                      <a:pt x="490" y="226"/>
                      <a:pt x="491" y="211"/>
                      <a:pt x="497" y="196"/>
                    </a:cubicBezTo>
                    <a:cubicBezTo>
                      <a:pt x="510" y="189"/>
                      <a:pt x="502" y="177"/>
                      <a:pt x="502" y="165"/>
                    </a:cubicBezTo>
                    <a:cubicBezTo>
                      <a:pt x="498" y="150"/>
                      <a:pt x="503" y="135"/>
                      <a:pt x="507" y="120"/>
                    </a:cubicBezTo>
                    <a:cubicBezTo>
                      <a:pt x="502" y="108"/>
                      <a:pt x="500" y="95"/>
                      <a:pt x="492" y="85"/>
                    </a:cubicBezTo>
                    <a:cubicBezTo>
                      <a:pt x="476" y="78"/>
                      <a:pt x="503" y="71"/>
                      <a:pt x="508" y="64"/>
                    </a:cubicBezTo>
                    <a:cubicBezTo>
                      <a:pt x="518" y="53"/>
                      <a:pt x="538" y="38"/>
                      <a:pt x="527" y="21"/>
                    </a:cubicBezTo>
                    <a:cubicBezTo>
                      <a:pt x="560" y="16"/>
                      <a:pt x="594" y="11"/>
                      <a:pt x="628" y="6"/>
                    </a:cubicBezTo>
                    <a:cubicBezTo>
                      <a:pt x="639" y="3"/>
                      <a:pt x="653" y="4"/>
                      <a:pt x="663" y="0"/>
                    </a:cubicBezTo>
                    <a:cubicBezTo>
                      <a:pt x="666" y="0"/>
                      <a:pt x="666" y="0"/>
                      <a:pt x="666" y="0"/>
                    </a:cubicBezTo>
                    <a:cubicBezTo>
                      <a:pt x="670" y="13"/>
                      <a:pt x="676" y="27"/>
                      <a:pt x="689" y="32"/>
                    </a:cubicBezTo>
                    <a:cubicBezTo>
                      <a:pt x="702" y="31"/>
                      <a:pt x="722" y="30"/>
                      <a:pt x="725" y="47"/>
                    </a:cubicBezTo>
                    <a:cubicBezTo>
                      <a:pt x="727" y="63"/>
                      <a:pt x="754" y="47"/>
                      <a:pt x="751" y="65"/>
                    </a:cubicBezTo>
                    <a:cubicBezTo>
                      <a:pt x="758" y="69"/>
                      <a:pt x="767" y="66"/>
                      <a:pt x="775" y="73"/>
                    </a:cubicBezTo>
                    <a:cubicBezTo>
                      <a:pt x="785" y="70"/>
                      <a:pt x="791" y="79"/>
                      <a:pt x="798" y="84"/>
                    </a:cubicBezTo>
                    <a:cubicBezTo>
                      <a:pt x="808" y="83"/>
                      <a:pt x="814" y="92"/>
                      <a:pt x="824" y="94"/>
                    </a:cubicBezTo>
                    <a:cubicBezTo>
                      <a:pt x="824" y="95"/>
                      <a:pt x="824" y="95"/>
                      <a:pt x="824" y="95"/>
                    </a:cubicBezTo>
                    <a:cubicBezTo>
                      <a:pt x="823" y="99"/>
                      <a:pt x="823" y="101"/>
                      <a:pt x="827" y="101"/>
                    </a:cubicBezTo>
                    <a:cubicBezTo>
                      <a:pt x="827" y="104"/>
                      <a:pt x="828" y="113"/>
                      <a:pt x="833" y="113"/>
                    </a:cubicBezTo>
                    <a:cubicBezTo>
                      <a:pt x="841" y="103"/>
                      <a:pt x="844" y="117"/>
                      <a:pt x="848" y="123"/>
                    </a:cubicBezTo>
                    <a:cubicBezTo>
                      <a:pt x="864" y="129"/>
                      <a:pt x="842" y="144"/>
                      <a:pt x="855" y="149"/>
                    </a:cubicBezTo>
                    <a:cubicBezTo>
                      <a:pt x="868" y="153"/>
                      <a:pt x="864" y="165"/>
                      <a:pt x="869" y="173"/>
                    </a:cubicBezTo>
                    <a:cubicBezTo>
                      <a:pt x="882" y="183"/>
                      <a:pt x="869" y="191"/>
                      <a:pt x="862" y="198"/>
                    </a:cubicBezTo>
                    <a:cubicBezTo>
                      <a:pt x="857" y="204"/>
                      <a:pt x="855" y="200"/>
                      <a:pt x="851" y="202"/>
                    </a:cubicBezTo>
                    <a:cubicBezTo>
                      <a:pt x="839" y="204"/>
                      <a:pt x="844" y="212"/>
                      <a:pt x="847" y="219"/>
                    </a:cubicBezTo>
                    <a:cubicBezTo>
                      <a:pt x="860" y="234"/>
                      <a:pt x="839" y="243"/>
                      <a:pt x="839" y="257"/>
                    </a:cubicBezTo>
                    <a:cubicBezTo>
                      <a:pt x="847" y="262"/>
                      <a:pt x="845" y="273"/>
                      <a:pt x="844" y="283"/>
                    </a:cubicBezTo>
                    <a:cubicBezTo>
                      <a:pt x="840" y="295"/>
                      <a:pt x="836" y="312"/>
                      <a:pt x="849" y="319"/>
                    </a:cubicBezTo>
                    <a:cubicBezTo>
                      <a:pt x="866" y="314"/>
                      <a:pt x="848" y="336"/>
                      <a:pt x="840" y="333"/>
                    </a:cubicBezTo>
                    <a:cubicBezTo>
                      <a:pt x="835" y="342"/>
                      <a:pt x="824" y="334"/>
                      <a:pt x="819" y="341"/>
                    </a:cubicBezTo>
                    <a:cubicBezTo>
                      <a:pt x="807" y="351"/>
                      <a:pt x="822" y="361"/>
                      <a:pt x="815" y="371"/>
                    </a:cubicBezTo>
                    <a:cubicBezTo>
                      <a:pt x="816" y="383"/>
                      <a:pt x="810" y="392"/>
                      <a:pt x="805" y="402"/>
                    </a:cubicBezTo>
                    <a:cubicBezTo>
                      <a:pt x="804" y="411"/>
                      <a:pt x="781" y="412"/>
                      <a:pt x="796" y="417"/>
                    </a:cubicBezTo>
                    <a:cubicBezTo>
                      <a:pt x="806" y="420"/>
                      <a:pt x="792" y="425"/>
                      <a:pt x="799" y="428"/>
                    </a:cubicBezTo>
                    <a:cubicBezTo>
                      <a:pt x="811" y="428"/>
                      <a:pt x="808" y="451"/>
                      <a:pt x="816" y="445"/>
                    </a:cubicBezTo>
                    <a:cubicBezTo>
                      <a:pt x="820" y="437"/>
                      <a:pt x="827" y="442"/>
                      <a:pt x="825" y="446"/>
                    </a:cubicBezTo>
                    <a:cubicBezTo>
                      <a:pt x="825" y="447"/>
                      <a:pt x="823" y="448"/>
                      <a:pt x="820" y="448"/>
                    </a:cubicBezTo>
                    <a:cubicBezTo>
                      <a:pt x="796" y="455"/>
                      <a:pt x="774" y="466"/>
                      <a:pt x="750" y="470"/>
                    </a:cubicBezTo>
                    <a:cubicBezTo>
                      <a:pt x="736" y="475"/>
                      <a:pt x="722" y="478"/>
                      <a:pt x="708" y="484"/>
                    </a:cubicBezTo>
                    <a:cubicBezTo>
                      <a:pt x="691" y="494"/>
                      <a:pt x="670" y="494"/>
                      <a:pt x="652" y="499"/>
                    </a:cubicBezTo>
                    <a:cubicBezTo>
                      <a:pt x="637" y="502"/>
                      <a:pt x="624" y="510"/>
                      <a:pt x="611" y="514"/>
                    </a:cubicBezTo>
                    <a:cubicBezTo>
                      <a:pt x="594" y="520"/>
                      <a:pt x="612" y="539"/>
                      <a:pt x="614" y="549"/>
                    </a:cubicBezTo>
                    <a:cubicBezTo>
                      <a:pt x="609" y="552"/>
                      <a:pt x="619" y="561"/>
                      <a:pt x="611" y="564"/>
                    </a:cubicBezTo>
                    <a:cubicBezTo>
                      <a:pt x="610" y="565"/>
                      <a:pt x="609" y="565"/>
                      <a:pt x="608" y="565"/>
                    </a:cubicBezTo>
                    <a:cubicBezTo>
                      <a:pt x="593" y="566"/>
                      <a:pt x="577" y="560"/>
                      <a:pt x="562" y="566"/>
                    </a:cubicBezTo>
                    <a:cubicBezTo>
                      <a:pt x="551" y="567"/>
                      <a:pt x="539" y="570"/>
                      <a:pt x="528" y="575"/>
                    </a:cubicBezTo>
                    <a:cubicBezTo>
                      <a:pt x="521" y="584"/>
                      <a:pt x="506" y="585"/>
                      <a:pt x="501" y="595"/>
                    </a:cubicBezTo>
                    <a:cubicBezTo>
                      <a:pt x="498" y="609"/>
                      <a:pt x="503" y="632"/>
                      <a:pt x="482" y="633"/>
                    </a:cubicBezTo>
                    <a:cubicBezTo>
                      <a:pt x="470" y="638"/>
                      <a:pt x="457" y="642"/>
                      <a:pt x="447" y="650"/>
                    </a:cubicBezTo>
                    <a:cubicBezTo>
                      <a:pt x="436" y="657"/>
                      <a:pt x="420" y="658"/>
                      <a:pt x="414" y="672"/>
                    </a:cubicBezTo>
                    <a:cubicBezTo>
                      <a:pt x="408" y="687"/>
                      <a:pt x="396" y="699"/>
                      <a:pt x="383" y="710"/>
                    </a:cubicBezTo>
                    <a:cubicBezTo>
                      <a:pt x="371" y="719"/>
                      <a:pt x="367" y="738"/>
                      <a:pt x="350" y="738"/>
                    </a:cubicBezTo>
                    <a:cubicBezTo>
                      <a:pt x="337" y="747"/>
                      <a:pt x="326" y="737"/>
                      <a:pt x="313" y="733"/>
                    </a:cubicBezTo>
                    <a:cubicBezTo>
                      <a:pt x="301" y="723"/>
                      <a:pt x="289" y="742"/>
                      <a:pt x="277" y="735"/>
                    </a:cubicBezTo>
                    <a:cubicBezTo>
                      <a:pt x="273" y="718"/>
                      <a:pt x="255" y="727"/>
                      <a:pt x="243" y="725"/>
                    </a:cubicBezTo>
                    <a:cubicBezTo>
                      <a:pt x="240" y="723"/>
                      <a:pt x="238" y="722"/>
                      <a:pt x="236" y="723"/>
                    </a:cubicBezTo>
                    <a:cubicBezTo>
                      <a:pt x="232" y="721"/>
                      <a:pt x="232" y="721"/>
                      <a:pt x="232" y="721"/>
                    </a:cubicBezTo>
                    <a:cubicBezTo>
                      <a:pt x="232" y="721"/>
                      <a:pt x="230" y="720"/>
                      <a:pt x="226" y="715"/>
                    </a:cubicBezTo>
                    <a:cubicBezTo>
                      <a:pt x="218" y="704"/>
                      <a:pt x="205" y="698"/>
                      <a:pt x="191" y="698"/>
                    </a:cubicBezTo>
                    <a:cubicBezTo>
                      <a:pt x="177" y="700"/>
                      <a:pt x="161" y="693"/>
                      <a:pt x="145" y="699"/>
                    </a:cubicBezTo>
                    <a:cubicBezTo>
                      <a:pt x="132" y="700"/>
                      <a:pt x="118" y="707"/>
                      <a:pt x="104" y="705"/>
                    </a:cubicBezTo>
                    <a:cubicBezTo>
                      <a:pt x="103" y="705"/>
                      <a:pt x="101" y="704"/>
                      <a:pt x="100" y="704"/>
                    </a:cubicBezTo>
                    <a:cubicBezTo>
                      <a:pt x="86" y="699"/>
                      <a:pt x="78" y="687"/>
                      <a:pt x="68" y="677"/>
                    </a:cubicBezTo>
                    <a:cubicBezTo>
                      <a:pt x="51" y="664"/>
                      <a:pt x="40" y="645"/>
                      <a:pt x="23" y="632"/>
                    </a:cubicBezTo>
                    <a:cubicBezTo>
                      <a:pt x="6" y="626"/>
                      <a:pt x="11" y="607"/>
                      <a:pt x="0" y="596"/>
                    </a:cubicBezTo>
                    <a:cubicBezTo>
                      <a:pt x="2" y="516"/>
                      <a:pt x="4" y="437"/>
                      <a:pt x="6" y="358"/>
                    </a:cubicBezTo>
                    <a:cubicBezTo>
                      <a:pt x="41" y="358"/>
                      <a:pt x="77" y="359"/>
                      <a:pt x="112" y="359"/>
                    </a:cubicBezTo>
                    <a:cubicBezTo>
                      <a:pt x="126" y="358"/>
                      <a:pt x="144" y="363"/>
                      <a:pt x="154" y="357"/>
                    </a:cubicBezTo>
                    <a:cubicBezTo>
                      <a:pt x="139" y="345"/>
                      <a:pt x="150" y="326"/>
                      <a:pt x="158" y="312"/>
                    </a:cubicBezTo>
                    <a:cubicBezTo>
                      <a:pt x="156" y="301"/>
                      <a:pt x="151" y="289"/>
                      <a:pt x="155" y="277"/>
                    </a:cubicBezTo>
                    <a:cubicBezTo>
                      <a:pt x="157" y="265"/>
                      <a:pt x="152" y="253"/>
                      <a:pt x="160" y="242"/>
                    </a:cubicBezTo>
                    <a:cubicBezTo>
                      <a:pt x="161" y="230"/>
                      <a:pt x="158" y="217"/>
                      <a:pt x="158" y="205"/>
                    </a:cubicBezTo>
                    <a:cubicBezTo>
                      <a:pt x="157" y="203"/>
                      <a:pt x="157" y="202"/>
                      <a:pt x="158" y="201"/>
                    </a:cubicBezTo>
                    <a:cubicBezTo>
                      <a:pt x="159" y="195"/>
                      <a:pt x="171" y="204"/>
                      <a:pt x="169" y="211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406" name="Yemen"/>
              <p:cNvSpPr>
                <a:spLocks/>
              </p:cNvSpPr>
              <p:nvPr/>
            </p:nvSpPr>
            <p:spPr bwMode="auto">
              <a:xfrm>
                <a:off x="5341846" y="3994487"/>
                <a:ext cx="265850" cy="172134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7" y="7"/>
                  </a:cxn>
                  <a:cxn ang="0">
                    <a:pos x="15" y="18"/>
                  </a:cxn>
                  <a:cxn ang="0">
                    <a:pos x="32" y="4"/>
                  </a:cxn>
                  <a:cxn ang="0">
                    <a:pos x="46" y="0"/>
                  </a:cxn>
                  <a:cxn ang="0">
                    <a:pos x="48" y="7"/>
                  </a:cxn>
                  <a:cxn ang="0">
                    <a:pos x="48" y="9"/>
                  </a:cxn>
                  <a:cxn ang="0">
                    <a:pos x="46" y="9"/>
                  </a:cxn>
                  <a:cxn ang="0">
                    <a:pos x="46" y="13"/>
                  </a:cxn>
                  <a:cxn ang="0">
                    <a:pos x="34" y="18"/>
                  </a:cxn>
                  <a:cxn ang="0">
                    <a:pos x="23" y="29"/>
                  </a:cxn>
                  <a:cxn ang="0">
                    <a:pos x="15" y="29"/>
                  </a:cxn>
                  <a:cxn ang="0">
                    <a:pos x="11" y="31"/>
                  </a:cxn>
                  <a:cxn ang="0">
                    <a:pos x="7" y="31"/>
                  </a:cxn>
                  <a:cxn ang="0">
                    <a:pos x="2" y="20"/>
                  </a:cxn>
                  <a:cxn ang="0">
                    <a:pos x="0" y="9"/>
                  </a:cxn>
                </a:cxnLst>
                <a:rect l="0" t="0" r="r" b="b"/>
                <a:pathLst>
                  <a:path w="48" h="31">
                    <a:moveTo>
                      <a:pt x="0" y="9"/>
                    </a:moveTo>
                    <a:lnTo>
                      <a:pt x="7" y="7"/>
                    </a:lnTo>
                    <a:lnTo>
                      <a:pt x="15" y="18"/>
                    </a:lnTo>
                    <a:lnTo>
                      <a:pt x="32" y="4"/>
                    </a:lnTo>
                    <a:lnTo>
                      <a:pt x="46" y="0"/>
                    </a:lnTo>
                    <a:lnTo>
                      <a:pt x="48" y="7"/>
                    </a:lnTo>
                    <a:lnTo>
                      <a:pt x="48" y="9"/>
                    </a:lnTo>
                    <a:lnTo>
                      <a:pt x="46" y="9"/>
                    </a:lnTo>
                    <a:lnTo>
                      <a:pt x="46" y="13"/>
                    </a:lnTo>
                    <a:lnTo>
                      <a:pt x="34" y="18"/>
                    </a:lnTo>
                    <a:lnTo>
                      <a:pt x="23" y="29"/>
                    </a:lnTo>
                    <a:lnTo>
                      <a:pt x="15" y="29"/>
                    </a:lnTo>
                    <a:lnTo>
                      <a:pt x="11" y="31"/>
                    </a:lnTo>
                    <a:lnTo>
                      <a:pt x="7" y="31"/>
                    </a:lnTo>
                    <a:lnTo>
                      <a:pt x="2" y="2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550" name="Vietnam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6874364" y="3833202"/>
                <a:ext cx="216352" cy="451449"/>
              </a:xfrm>
              <a:custGeom>
                <a:avLst/>
                <a:gdLst>
                  <a:gd name="T0" fmla="*/ 0 w 39"/>
                  <a:gd name="T1" fmla="*/ 11147 h 81"/>
                  <a:gd name="T2" fmla="*/ 22190 w 39"/>
                  <a:gd name="T3" fmla="*/ 61308 h 81"/>
                  <a:gd name="T4" fmla="*/ 55475 w 39"/>
                  <a:gd name="T5" fmla="*/ 83602 h 81"/>
                  <a:gd name="T6" fmla="*/ 66570 w 39"/>
                  <a:gd name="T7" fmla="*/ 100322 h 81"/>
                  <a:gd name="T8" fmla="*/ 55475 w 39"/>
                  <a:gd name="T9" fmla="*/ 111469 h 81"/>
                  <a:gd name="T10" fmla="*/ 116497 w 39"/>
                  <a:gd name="T11" fmla="*/ 183924 h 81"/>
                  <a:gd name="T12" fmla="*/ 116497 w 39"/>
                  <a:gd name="T13" fmla="*/ 200644 h 81"/>
                  <a:gd name="T14" fmla="*/ 149782 w 39"/>
                  <a:gd name="T15" fmla="*/ 234085 h 81"/>
                  <a:gd name="T16" fmla="*/ 171972 w 39"/>
                  <a:gd name="T17" fmla="*/ 261952 h 81"/>
                  <a:gd name="T18" fmla="*/ 171972 w 39"/>
                  <a:gd name="T19" fmla="*/ 334407 h 81"/>
                  <a:gd name="T20" fmla="*/ 138687 w 39"/>
                  <a:gd name="T21" fmla="*/ 373421 h 81"/>
                  <a:gd name="T22" fmla="*/ 116497 w 39"/>
                  <a:gd name="T23" fmla="*/ 384568 h 81"/>
                  <a:gd name="T24" fmla="*/ 88760 w 39"/>
                  <a:gd name="T25" fmla="*/ 401288 h 81"/>
                  <a:gd name="T26" fmla="*/ 105402 w 39"/>
                  <a:gd name="T27" fmla="*/ 423582 h 81"/>
                  <a:gd name="T28" fmla="*/ 105402 w 39"/>
                  <a:gd name="T29" fmla="*/ 451449 h 81"/>
                  <a:gd name="T30" fmla="*/ 149782 w 39"/>
                  <a:gd name="T31" fmla="*/ 434729 h 81"/>
                  <a:gd name="T32" fmla="*/ 149782 w 39"/>
                  <a:gd name="T33" fmla="*/ 401288 h 81"/>
                  <a:gd name="T34" fmla="*/ 171972 w 39"/>
                  <a:gd name="T35" fmla="*/ 401288 h 81"/>
                  <a:gd name="T36" fmla="*/ 216352 w 39"/>
                  <a:gd name="T37" fmla="*/ 373421 h 81"/>
                  <a:gd name="T38" fmla="*/ 216352 w 39"/>
                  <a:gd name="T39" fmla="*/ 300966 h 81"/>
                  <a:gd name="T40" fmla="*/ 194162 w 39"/>
                  <a:gd name="T41" fmla="*/ 250805 h 81"/>
                  <a:gd name="T42" fmla="*/ 105402 w 39"/>
                  <a:gd name="T43" fmla="*/ 150483 h 81"/>
                  <a:gd name="T44" fmla="*/ 88760 w 39"/>
                  <a:gd name="T45" fmla="*/ 133763 h 81"/>
                  <a:gd name="T46" fmla="*/ 105402 w 39"/>
                  <a:gd name="T47" fmla="*/ 100322 h 81"/>
                  <a:gd name="T48" fmla="*/ 116497 w 39"/>
                  <a:gd name="T49" fmla="*/ 61308 h 81"/>
                  <a:gd name="T50" fmla="*/ 149782 w 39"/>
                  <a:gd name="T51" fmla="*/ 50161 h 81"/>
                  <a:gd name="T52" fmla="*/ 116497 w 39"/>
                  <a:gd name="T53" fmla="*/ 22294 h 81"/>
                  <a:gd name="T54" fmla="*/ 105402 w 39"/>
                  <a:gd name="T55" fmla="*/ 11147 h 81"/>
                  <a:gd name="T56" fmla="*/ 66570 w 39"/>
                  <a:gd name="T57" fmla="*/ 0 h 81"/>
                  <a:gd name="T58" fmla="*/ 11095 w 39"/>
                  <a:gd name="T59" fmla="*/ 11147 h 81"/>
                  <a:gd name="T60" fmla="*/ 0 w 39"/>
                  <a:gd name="T61" fmla="*/ 11147 h 81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39"/>
                  <a:gd name="T94" fmla="*/ 0 h 81"/>
                  <a:gd name="T95" fmla="*/ 39 w 39"/>
                  <a:gd name="T96" fmla="*/ 81 h 81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39" h="81">
                    <a:moveTo>
                      <a:pt x="0" y="2"/>
                    </a:moveTo>
                    <a:lnTo>
                      <a:pt x="4" y="11"/>
                    </a:lnTo>
                    <a:lnTo>
                      <a:pt x="10" y="15"/>
                    </a:lnTo>
                    <a:lnTo>
                      <a:pt x="12" y="18"/>
                    </a:lnTo>
                    <a:lnTo>
                      <a:pt x="10" y="20"/>
                    </a:lnTo>
                    <a:lnTo>
                      <a:pt x="21" y="33"/>
                    </a:lnTo>
                    <a:lnTo>
                      <a:pt x="21" y="36"/>
                    </a:lnTo>
                    <a:lnTo>
                      <a:pt x="27" y="42"/>
                    </a:lnTo>
                    <a:lnTo>
                      <a:pt x="31" y="47"/>
                    </a:lnTo>
                    <a:lnTo>
                      <a:pt x="31" y="60"/>
                    </a:lnTo>
                    <a:lnTo>
                      <a:pt x="25" y="67"/>
                    </a:lnTo>
                    <a:lnTo>
                      <a:pt x="21" y="69"/>
                    </a:lnTo>
                    <a:lnTo>
                      <a:pt x="16" y="72"/>
                    </a:lnTo>
                    <a:lnTo>
                      <a:pt x="19" y="76"/>
                    </a:lnTo>
                    <a:lnTo>
                      <a:pt x="19" y="81"/>
                    </a:lnTo>
                    <a:lnTo>
                      <a:pt x="27" y="78"/>
                    </a:lnTo>
                    <a:lnTo>
                      <a:pt x="27" y="72"/>
                    </a:lnTo>
                    <a:lnTo>
                      <a:pt x="31" y="72"/>
                    </a:lnTo>
                    <a:lnTo>
                      <a:pt x="39" y="67"/>
                    </a:lnTo>
                    <a:lnTo>
                      <a:pt x="39" y="54"/>
                    </a:lnTo>
                    <a:lnTo>
                      <a:pt x="35" y="45"/>
                    </a:lnTo>
                    <a:lnTo>
                      <a:pt x="19" y="27"/>
                    </a:lnTo>
                    <a:lnTo>
                      <a:pt x="16" y="24"/>
                    </a:lnTo>
                    <a:lnTo>
                      <a:pt x="19" y="18"/>
                    </a:lnTo>
                    <a:lnTo>
                      <a:pt x="21" y="11"/>
                    </a:lnTo>
                    <a:lnTo>
                      <a:pt x="27" y="9"/>
                    </a:lnTo>
                    <a:lnTo>
                      <a:pt x="21" y="4"/>
                    </a:lnTo>
                    <a:lnTo>
                      <a:pt x="19" y="2"/>
                    </a:lnTo>
                    <a:lnTo>
                      <a:pt x="12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E8B8B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410" name="Venezuela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2337180" y="4183835"/>
                <a:ext cx="332789" cy="363394"/>
              </a:xfrm>
              <a:custGeom>
                <a:avLst/>
                <a:gdLst/>
                <a:ahLst/>
                <a:cxnLst>
                  <a:cxn ang="0">
                    <a:pos x="60" y="22"/>
                  </a:cxn>
                  <a:cxn ang="0">
                    <a:pos x="56" y="24"/>
                  </a:cxn>
                  <a:cxn ang="0">
                    <a:pos x="56" y="27"/>
                  </a:cxn>
                  <a:cxn ang="0">
                    <a:pos x="58" y="31"/>
                  </a:cxn>
                  <a:cxn ang="0">
                    <a:pos x="56" y="31"/>
                  </a:cxn>
                  <a:cxn ang="0">
                    <a:pos x="52" y="36"/>
                  </a:cxn>
                  <a:cxn ang="0">
                    <a:pos x="56" y="40"/>
                  </a:cxn>
                  <a:cxn ang="0">
                    <a:pos x="56" y="42"/>
                  </a:cxn>
                  <a:cxn ang="0">
                    <a:pos x="44" y="49"/>
                  </a:cxn>
                  <a:cxn ang="0">
                    <a:pos x="35" y="47"/>
                  </a:cxn>
                  <a:cxn ang="0">
                    <a:pos x="39" y="49"/>
                  </a:cxn>
                  <a:cxn ang="0">
                    <a:pos x="39" y="56"/>
                  </a:cxn>
                  <a:cxn ang="0">
                    <a:pos x="41" y="58"/>
                  </a:cxn>
                  <a:cxn ang="0">
                    <a:pos x="33" y="65"/>
                  </a:cxn>
                  <a:cxn ang="0">
                    <a:pos x="27" y="65"/>
                  </a:cxn>
                  <a:cxn ang="0">
                    <a:pos x="27" y="60"/>
                  </a:cxn>
                  <a:cxn ang="0">
                    <a:pos x="21" y="51"/>
                  </a:cxn>
                  <a:cxn ang="0">
                    <a:pos x="25" y="51"/>
                  </a:cxn>
                  <a:cxn ang="0">
                    <a:pos x="21" y="42"/>
                  </a:cxn>
                  <a:cxn ang="0">
                    <a:pos x="25" y="33"/>
                  </a:cxn>
                  <a:cxn ang="0">
                    <a:pos x="16" y="33"/>
                  </a:cxn>
                  <a:cxn ang="0">
                    <a:pos x="12" y="31"/>
                  </a:cxn>
                  <a:cxn ang="0">
                    <a:pos x="4" y="27"/>
                  </a:cxn>
                  <a:cxn ang="0">
                    <a:pos x="2" y="27"/>
                  </a:cxn>
                  <a:cxn ang="0">
                    <a:pos x="2" y="24"/>
                  </a:cxn>
                  <a:cxn ang="0">
                    <a:pos x="0" y="15"/>
                  </a:cxn>
                  <a:cxn ang="0">
                    <a:pos x="2" y="6"/>
                  </a:cxn>
                  <a:cxn ang="0">
                    <a:pos x="4" y="4"/>
                  </a:cxn>
                  <a:cxn ang="0">
                    <a:pos x="8" y="9"/>
                  </a:cxn>
                  <a:cxn ang="0">
                    <a:pos x="4" y="13"/>
                  </a:cxn>
                  <a:cxn ang="0">
                    <a:pos x="4" y="18"/>
                  </a:cxn>
                  <a:cxn ang="0">
                    <a:pos x="8" y="15"/>
                  </a:cxn>
                  <a:cxn ang="0">
                    <a:pos x="8" y="6"/>
                  </a:cxn>
                  <a:cxn ang="0">
                    <a:pos x="12" y="4"/>
                  </a:cxn>
                  <a:cxn ang="0">
                    <a:pos x="12" y="0"/>
                  </a:cxn>
                  <a:cxn ang="0">
                    <a:pos x="16" y="4"/>
                  </a:cxn>
                  <a:cxn ang="0">
                    <a:pos x="21" y="6"/>
                  </a:cxn>
                  <a:cxn ang="0">
                    <a:pos x="21" y="9"/>
                  </a:cxn>
                  <a:cxn ang="0">
                    <a:pos x="31" y="9"/>
                  </a:cxn>
                  <a:cxn ang="0">
                    <a:pos x="35" y="13"/>
                  </a:cxn>
                  <a:cxn ang="0">
                    <a:pos x="41" y="9"/>
                  </a:cxn>
                  <a:cxn ang="0">
                    <a:pos x="50" y="9"/>
                  </a:cxn>
                  <a:cxn ang="0">
                    <a:pos x="48" y="9"/>
                  </a:cxn>
                  <a:cxn ang="0">
                    <a:pos x="50" y="13"/>
                  </a:cxn>
                  <a:cxn ang="0">
                    <a:pos x="56" y="15"/>
                  </a:cxn>
                  <a:cxn ang="0">
                    <a:pos x="56" y="22"/>
                  </a:cxn>
                  <a:cxn ang="0">
                    <a:pos x="58" y="22"/>
                  </a:cxn>
                  <a:cxn ang="0">
                    <a:pos x="60" y="22"/>
                  </a:cxn>
                </a:cxnLst>
                <a:rect l="0" t="0" r="r" b="b"/>
                <a:pathLst>
                  <a:path w="60" h="65">
                    <a:moveTo>
                      <a:pt x="60" y="22"/>
                    </a:moveTo>
                    <a:lnTo>
                      <a:pt x="56" y="24"/>
                    </a:lnTo>
                    <a:lnTo>
                      <a:pt x="56" y="27"/>
                    </a:lnTo>
                    <a:lnTo>
                      <a:pt x="58" y="31"/>
                    </a:lnTo>
                    <a:lnTo>
                      <a:pt x="56" y="31"/>
                    </a:lnTo>
                    <a:lnTo>
                      <a:pt x="52" y="36"/>
                    </a:lnTo>
                    <a:lnTo>
                      <a:pt x="56" y="40"/>
                    </a:lnTo>
                    <a:lnTo>
                      <a:pt x="56" y="42"/>
                    </a:lnTo>
                    <a:lnTo>
                      <a:pt x="44" y="49"/>
                    </a:lnTo>
                    <a:lnTo>
                      <a:pt x="35" y="47"/>
                    </a:lnTo>
                    <a:lnTo>
                      <a:pt x="39" y="49"/>
                    </a:lnTo>
                    <a:lnTo>
                      <a:pt x="39" y="56"/>
                    </a:lnTo>
                    <a:lnTo>
                      <a:pt x="41" y="58"/>
                    </a:lnTo>
                    <a:lnTo>
                      <a:pt x="33" y="65"/>
                    </a:lnTo>
                    <a:lnTo>
                      <a:pt x="27" y="65"/>
                    </a:lnTo>
                    <a:lnTo>
                      <a:pt x="27" y="60"/>
                    </a:lnTo>
                    <a:lnTo>
                      <a:pt x="21" y="51"/>
                    </a:lnTo>
                    <a:lnTo>
                      <a:pt x="25" y="51"/>
                    </a:lnTo>
                    <a:lnTo>
                      <a:pt x="21" y="42"/>
                    </a:lnTo>
                    <a:lnTo>
                      <a:pt x="25" y="33"/>
                    </a:lnTo>
                    <a:lnTo>
                      <a:pt x="16" y="33"/>
                    </a:lnTo>
                    <a:lnTo>
                      <a:pt x="12" y="31"/>
                    </a:lnTo>
                    <a:lnTo>
                      <a:pt x="4" y="27"/>
                    </a:lnTo>
                    <a:lnTo>
                      <a:pt x="2" y="27"/>
                    </a:lnTo>
                    <a:lnTo>
                      <a:pt x="2" y="24"/>
                    </a:lnTo>
                    <a:lnTo>
                      <a:pt x="0" y="15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8" y="9"/>
                    </a:lnTo>
                    <a:lnTo>
                      <a:pt x="4" y="13"/>
                    </a:lnTo>
                    <a:lnTo>
                      <a:pt x="4" y="18"/>
                    </a:lnTo>
                    <a:lnTo>
                      <a:pt x="8" y="15"/>
                    </a:lnTo>
                    <a:lnTo>
                      <a:pt x="8" y="6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6" y="4"/>
                    </a:lnTo>
                    <a:lnTo>
                      <a:pt x="21" y="6"/>
                    </a:lnTo>
                    <a:lnTo>
                      <a:pt x="21" y="9"/>
                    </a:lnTo>
                    <a:lnTo>
                      <a:pt x="31" y="9"/>
                    </a:lnTo>
                    <a:lnTo>
                      <a:pt x="35" y="13"/>
                    </a:lnTo>
                    <a:lnTo>
                      <a:pt x="41" y="9"/>
                    </a:lnTo>
                    <a:lnTo>
                      <a:pt x="50" y="9"/>
                    </a:lnTo>
                    <a:lnTo>
                      <a:pt x="48" y="9"/>
                    </a:lnTo>
                    <a:lnTo>
                      <a:pt x="50" y="13"/>
                    </a:lnTo>
                    <a:lnTo>
                      <a:pt x="56" y="15"/>
                    </a:lnTo>
                    <a:lnTo>
                      <a:pt x="56" y="22"/>
                    </a:lnTo>
                    <a:lnTo>
                      <a:pt x="58" y="22"/>
                    </a:lnTo>
                    <a:lnTo>
                      <a:pt x="60" y="22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11" name="Vatican City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4521348" y="3158681"/>
                <a:ext cx="11475" cy="4972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4"/>
                  </a:cxn>
                  <a:cxn ang="0">
                    <a:pos x="2" y="9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lnTo>
                      <a:pt x="0" y="4"/>
                    </a:lnTo>
                    <a:lnTo>
                      <a:pt x="2" y="9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14" name="Uzbekistan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577094" y="3114690"/>
                <a:ext cx="437981" cy="262027"/>
              </a:xfrm>
              <a:custGeom>
                <a:avLst/>
                <a:gdLst/>
                <a:ahLst/>
                <a:cxnLst>
                  <a:cxn ang="0">
                    <a:pos x="54" y="45"/>
                  </a:cxn>
                  <a:cxn ang="0">
                    <a:pos x="61" y="47"/>
                  </a:cxn>
                  <a:cxn ang="0">
                    <a:pos x="63" y="43"/>
                  </a:cxn>
                  <a:cxn ang="0">
                    <a:pos x="61" y="36"/>
                  </a:cxn>
                  <a:cxn ang="0">
                    <a:pos x="58" y="34"/>
                  </a:cxn>
                  <a:cxn ang="0">
                    <a:pos x="63" y="34"/>
                  </a:cxn>
                  <a:cxn ang="0">
                    <a:pos x="63" y="27"/>
                  </a:cxn>
                  <a:cxn ang="0">
                    <a:pos x="69" y="25"/>
                  </a:cxn>
                  <a:cxn ang="0">
                    <a:pos x="69" y="29"/>
                  </a:cxn>
                  <a:cxn ang="0">
                    <a:pos x="75" y="29"/>
                  </a:cxn>
                  <a:cxn ang="0">
                    <a:pos x="79" y="27"/>
                  </a:cxn>
                  <a:cxn ang="0">
                    <a:pos x="71" y="20"/>
                  </a:cxn>
                  <a:cxn ang="0">
                    <a:pos x="71" y="25"/>
                  </a:cxn>
                  <a:cxn ang="0">
                    <a:pos x="67" y="20"/>
                  </a:cxn>
                  <a:cxn ang="0">
                    <a:pos x="61" y="25"/>
                  </a:cxn>
                  <a:cxn ang="0">
                    <a:pos x="52" y="25"/>
                  </a:cxn>
                  <a:cxn ang="0">
                    <a:pos x="52" y="20"/>
                  </a:cxn>
                  <a:cxn ang="0">
                    <a:pos x="48" y="20"/>
                  </a:cxn>
                  <a:cxn ang="0">
                    <a:pos x="46" y="16"/>
                  </a:cxn>
                  <a:cxn ang="0">
                    <a:pos x="40" y="9"/>
                  </a:cxn>
                  <a:cxn ang="0">
                    <a:pos x="29" y="11"/>
                  </a:cxn>
                  <a:cxn ang="0">
                    <a:pos x="13" y="0"/>
                  </a:cxn>
                  <a:cxn ang="0">
                    <a:pos x="0" y="2"/>
                  </a:cxn>
                  <a:cxn ang="0">
                    <a:pos x="6" y="25"/>
                  </a:cxn>
                  <a:cxn ang="0">
                    <a:pos x="8" y="25"/>
                  </a:cxn>
                  <a:cxn ang="0">
                    <a:pos x="8" y="20"/>
                  </a:cxn>
                  <a:cxn ang="0">
                    <a:pos x="13" y="16"/>
                  </a:cxn>
                  <a:cxn ang="0">
                    <a:pos x="15" y="16"/>
                  </a:cxn>
                  <a:cxn ang="0">
                    <a:pos x="21" y="18"/>
                  </a:cxn>
                  <a:cxn ang="0">
                    <a:pos x="23" y="25"/>
                  </a:cxn>
                  <a:cxn ang="0">
                    <a:pos x="31" y="25"/>
                  </a:cxn>
                  <a:cxn ang="0">
                    <a:pos x="35" y="29"/>
                  </a:cxn>
                  <a:cxn ang="0">
                    <a:pos x="48" y="38"/>
                  </a:cxn>
                  <a:cxn ang="0">
                    <a:pos x="54" y="43"/>
                  </a:cxn>
                  <a:cxn ang="0">
                    <a:pos x="54" y="45"/>
                  </a:cxn>
                </a:cxnLst>
                <a:rect l="0" t="0" r="r" b="b"/>
                <a:pathLst>
                  <a:path w="79" h="47">
                    <a:moveTo>
                      <a:pt x="54" y="45"/>
                    </a:moveTo>
                    <a:lnTo>
                      <a:pt x="61" y="47"/>
                    </a:lnTo>
                    <a:lnTo>
                      <a:pt x="63" y="43"/>
                    </a:lnTo>
                    <a:lnTo>
                      <a:pt x="61" y="36"/>
                    </a:lnTo>
                    <a:lnTo>
                      <a:pt x="58" y="34"/>
                    </a:lnTo>
                    <a:lnTo>
                      <a:pt x="63" y="34"/>
                    </a:lnTo>
                    <a:lnTo>
                      <a:pt x="63" y="27"/>
                    </a:lnTo>
                    <a:lnTo>
                      <a:pt x="69" y="25"/>
                    </a:lnTo>
                    <a:lnTo>
                      <a:pt x="69" y="29"/>
                    </a:lnTo>
                    <a:lnTo>
                      <a:pt x="75" y="29"/>
                    </a:lnTo>
                    <a:lnTo>
                      <a:pt x="79" y="27"/>
                    </a:lnTo>
                    <a:lnTo>
                      <a:pt x="71" y="20"/>
                    </a:lnTo>
                    <a:lnTo>
                      <a:pt x="71" y="25"/>
                    </a:lnTo>
                    <a:lnTo>
                      <a:pt x="67" y="20"/>
                    </a:lnTo>
                    <a:lnTo>
                      <a:pt x="61" y="25"/>
                    </a:lnTo>
                    <a:lnTo>
                      <a:pt x="52" y="25"/>
                    </a:lnTo>
                    <a:lnTo>
                      <a:pt x="52" y="20"/>
                    </a:lnTo>
                    <a:lnTo>
                      <a:pt x="48" y="20"/>
                    </a:lnTo>
                    <a:lnTo>
                      <a:pt x="46" y="16"/>
                    </a:lnTo>
                    <a:lnTo>
                      <a:pt x="40" y="9"/>
                    </a:lnTo>
                    <a:lnTo>
                      <a:pt x="29" y="11"/>
                    </a:lnTo>
                    <a:lnTo>
                      <a:pt x="13" y="0"/>
                    </a:lnTo>
                    <a:lnTo>
                      <a:pt x="0" y="2"/>
                    </a:lnTo>
                    <a:lnTo>
                      <a:pt x="6" y="25"/>
                    </a:lnTo>
                    <a:lnTo>
                      <a:pt x="8" y="25"/>
                    </a:lnTo>
                    <a:lnTo>
                      <a:pt x="8" y="20"/>
                    </a:lnTo>
                    <a:lnTo>
                      <a:pt x="13" y="16"/>
                    </a:lnTo>
                    <a:lnTo>
                      <a:pt x="15" y="16"/>
                    </a:lnTo>
                    <a:lnTo>
                      <a:pt x="21" y="18"/>
                    </a:lnTo>
                    <a:lnTo>
                      <a:pt x="23" y="25"/>
                    </a:lnTo>
                    <a:lnTo>
                      <a:pt x="31" y="25"/>
                    </a:lnTo>
                    <a:lnTo>
                      <a:pt x="35" y="29"/>
                    </a:lnTo>
                    <a:lnTo>
                      <a:pt x="48" y="38"/>
                    </a:lnTo>
                    <a:lnTo>
                      <a:pt x="54" y="43"/>
                    </a:lnTo>
                    <a:lnTo>
                      <a:pt x="54" y="4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554" name="Uruguay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796952" y="5549820"/>
                <a:ext cx="127592" cy="150483"/>
              </a:xfrm>
              <a:custGeom>
                <a:avLst/>
                <a:gdLst>
                  <a:gd name="T0" fmla="*/ 0 w 23"/>
                  <a:gd name="T1" fmla="*/ 111469 h 27"/>
                  <a:gd name="T2" fmla="*/ 0 w 23"/>
                  <a:gd name="T3" fmla="*/ 0 h 27"/>
                  <a:gd name="T4" fmla="*/ 22190 w 23"/>
                  <a:gd name="T5" fmla="*/ 0 h 27"/>
                  <a:gd name="T6" fmla="*/ 49927 w 23"/>
                  <a:gd name="T7" fmla="*/ 27867 h 27"/>
                  <a:gd name="T8" fmla="*/ 49927 w 23"/>
                  <a:gd name="T9" fmla="*/ 11147 h 27"/>
                  <a:gd name="T10" fmla="*/ 116497 w 23"/>
                  <a:gd name="T11" fmla="*/ 50161 h 27"/>
                  <a:gd name="T12" fmla="*/ 127592 w 23"/>
                  <a:gd name="T13" fmla="*/ 89175 h 27"/>
                  <a:gd name="T14" fmla="*/ 127592 w 23"/>
                  <a:gd name="T15" fmla="*/ 111469 h 27"/>
                  <a:gd name="T16" fmla="*/ 116497 w 23"/>
                  <a:gd name="T17" fmla="*/ 139336 h 27"/>
                  <a:gd name="T18" fmla="*/ 72117 w 23"/>
                  <a:gd name="T19" fmla="*/ 150483 h 27"/>
                  <a:gd name="T20" fmla="*/ 33285 w 23"/>
                  <a:gd name="T21" fmla="*/ 139336 h 27"/>
                  <a:gd name="T22" fmla="*/ 0 w 23"/>
                  <a:gd name="T23" fmla="*/ 111469 h 2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3"/>
                  <a:gd name="T37" fmla="*/ 0 h 27"/>
                  <a:gd name="T38" fmla="*/ 23 w 23"/>
                  <a:gd name="T39" fmla="*/ 27 h 2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3" h="27">
                    <a:moveTo>
                      <a:pt x="0" y="20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9" y="5"/>
                    </a:lnTo>
                    <a:lnTo>
                      <a:pt x="9" y="2"/>
                    </a:lnTo>
                    <a:lnTo>
                      <a:pt x="21" y="9"/>
                    </a:lnTo>
                    <a:lnTo>
                      <a:pt x="23" y="16"/>
                    </a:lnTo>
                    <a:lnTo>
                      <a:pt x="23" y="20"/>
                    </a:lnTo>
                    <a:lnTo>
                      <a:pt x="21" y="25"/>
                    </a:lnTo>
                    <a:lnTo>
                      <a:pt x="13" y="27"/>
                    </a:lnTo>
                    <a:lnTo>
                      <a:pt x="6" y="25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778025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418" name="USA"/>
              <p:cNvGrpSpPr/>
              <p:nvPr/>
            </p:nvGrpSpPr>
            <p:grpSpPr>
              <a:xfrm>
                <a:off x="644522" y="2350667"/>
                <a:ext cx="2047028" cy="1404506"/>
                <a:chOff x="644522" y="2331578"/>
                <a:chExt cx="2047028" cy="1404506"/>
              </a:xfrm>
              <a:solidFill>
                <a:srgbClr val="EF7A04"/>
              </a:solidFill>
            </p:grpSpPr>
            <p:sp>
              <p:nvSpPr>
                <p:cNvPr id="840" name="USA"/>
                <p:cNvSpPr>
                  <a:spLocks/>
                </p:cNvSpPr>
                <p:nvPr/>
              </p:nvSpPr>
              <p:spPr bwMode="auto">
                <a:xfrm>
                  <a:off x="794305" y="2632543"/>
                  <a:ext cx="49927" cy="2229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" y="4"/>
                    </a:cxn>
                    <a:cxn ang="0">
                      <a:pos x="9" y="0"/>
                    </a:cxn>
                    <a:cxn ang="0">
                      <a:pos x="4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9" h="4">
                      <a:moveTo>
                        <a:pt x="0" y="0"/>
                      </a:moveTo>
                      <a:lnTo>
                        <a:pt x="2" y="4"/>
                      </a:ln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41" name="USA"/>
                <p:cNvSpPr>
                  <a:spLocks/>
                </p:cNvSpPr>
                <p:nvPr/>
              </p:nvSpPr>
              <p:spPr bwMode="auto">
                <a:xfrm>
                  <a:off x="966278" y="2682705"/>
                  <a:ext cx="72117" cy="50161"/>
                </a:xfrm>
                <a:custGeom>
                  <a:avLst/>
                  <a:gdLst/>
                  <a:ahLst/>
                  <a:cxnLst>
                    <a:cxn ang="0">
                      <a:pos x="0" y="9"/>
                    </a:cxn>
                    <a:cxn ang="0">
                      <a:pos x="11" y="7"/>
                    </a:cxn>
                    <a:cxn ang="0">
                      <a:pos x="11" y="4"/>
                    </a:cxn>
                    <a:cxn ang="0">
                      <a:pos x="13" y="4"/>
                    </a:cxn>
                    <a:cxn ang="0">
                      <a:pos x="13" y="0"/>
                    </a:cxn>
                    <a:cxn ang="0">
                      <a:pos x="7" y="4"/>
                    </a:cxn>
                    <a:cxn ang="0">
                      <a:pos x="0" y="9"/>
                    </a:cxn>
                  </a:cxnLst>
                  <a:rect l="0" t="0" r="r" b="b"/>
                  <a:pathLst>
                    <a:path w="13" h="9">
                      <a:moveTo>
                        <a:pt x="0" y="9"/>
                      </a:moveTo>
                      <a:lnTo>
                        <a:pt x="11" y="7"/>
                      </a:lnTo>
                      <a:lnTo>
                        <a:pt x="11" y="4"/>
                      </a:lnTo>
                      <a:lnTo>
                        <a:pt x="13" y="4"/>
                      </a:lnTo>
                      <a:lnTo>
                        <a:pt x="13" y="0"/>
                      </a:lnTo>
                      <a:lnTo>
                        <a:pt x="7" y="4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42" name="USA"/>
                <p:cNvSpPr>
                  <a:spLocks/>
                </p:cNvSpPr>
                <p:nvPr/>
              </p:nvSpPr>
              <p:spPr bwMode="auto">
                <a:xfrm>
                  <a:off x="2475197" y="3245622"/>
                  <a:ext cx="55475" cy="11147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10" y="0"/>
                    </a:cxn>
                    <a:cxn ang="0">
                      <a:pos x="8" y="0"/>
                    </a:cxn>
                    <a:cxn ang="0">
                      <a:pos x="4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10" h="2">
                      <a:moveTo>
                        <a:pt x="0" y="2"/>
                      </a:move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4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43" name="USA"/>
                <p:cNvSpPr>
                  <a:spLocks/>
                </p:cNvSpPr>
                <p:nvPr/>
              </p:nvSpPr>
              <p:spPr bwMode="auto">
                <a:xfrm>
                  <a:off x="2336510" y="3072845"/>
                  <a:ext cx="22190" cy="2229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" y="4"/>
                    </a:cxn>
                    <a:cxn ang="0">
                      <a:pos x="4" y="0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" h="4">
                      <a:moveTo>
                        <a:pt x="0" y="0"/>
                      </a:moveTo>
                      <a:lnTo>
                        <a:pt x="2" y="4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44" name="USA"/>
                <p:cNvSpPr>
                  <a:spLocks/>
                </p:cNvSpPr>
                <p:nvPr/>
              </p:nvSpPr>
              <p:spPr bwMode="auto">
                <a:xfrm>
                  <a:off x="644522" y="2331578"/>
                  <a:ext cx="1009645" cy="490462"/>
                </a:xfrm>
                <a:custGeom>
                  <a:avLst/>
                  <a:gdLst/>
                  <a:ahLst/>
                  <a:cxnLst>
                    <a:cxn ang="0">
                      <a:pos x="134" y="54"/>
                    </a:cxn>
                    <a:cxn ang="0">
                      <a:pos x="134" y="61"/>
                    </a:cxn>
                    <a:cxn ang="0">
                      <a:pos x="146" y="63"/>
                    </a:cxn>
                    <a:cxn ang="0">
                      <a:pos x="146" y="79"/>
                    </a:cxn>
                    <a:cxn ang="0">
                      <a:pos x="140" y="85"/>
                    </a:cxn>
                    <a:cxn ang="0">
                      <a:pos x="138" y="79"/>
                    </a:cxn>
                    <a:cxn ang="0">
                      <a:pos x="138" y="76"/>
                    </a:cxn>
                    <a:cxn ang="0">
                      <a:pos x="132" y="81"/>
                    </a:cxn>
                    <a:cxn ang="0">
                      <a:pos x="132" y="76"/>
                    </a:cxn>
                    <a:cxn ang="0">
                      <a:pos x="138" y="72"/>
                    </a:cxn>
                    <a:cxn ang="0">
                      <a:pos x="140" y="70"/>
                    </a:cxn>
                    <a:cxn ang="0">
                      <a:pos x="138" y="67"/>
                    </a:cxn>
                    <a:cxn ang="0">
                      <a:pos x="127" y="61"/>
                    </a:cxn>
                    <a:cxn ang="0">
                      <a:pos x="125" y="58"/>
                    </a:cxn>
                    <a:cxn ang="0">
                      <a:pos x="109" y="52"/>
                    </a:cxn>
                    <a:cxn ang="0">
                      <a:pos x="94" y="58"/>
                    </a:cxn>
                    <a:cxn ang="0">
                      <a:pos x="71" y="61"/>
                    </a:cxn>
                    <a:cxn ang="0">
                      <a:pos x="69" y="63"/>
                    </a:cxn>
                    <a:cxn ang="0">
                      <a:pos x="36" y="79"/>
                    </a:cxn>
                    <a:cxn ang="0">
                      <a:pos x="50" y="70"/>
                    </a:cxn>
                    <a:cxn ang="0">
                      <a:pos x="50" y="63"/>
                    </a:cxn>
                    <a:cxn ang="0">
                      <a:pos x="46" y="58"/>
                    </a:cxn>
                    <a:cxn ang="0">
                      <a:pos x="40" y="47"/>
                    </a:cxn>
                    <a:cxn ang="0">
                      <a:pos x="71" y="38"/>
                    </a:cxn>
                    <a:cxn ang="0">
                      <a:pos x="71" y="34"/>
                    </a:cxn>
                    <a:cxn ang="0">
                      <a:pos x="63" y="29"/>
                    </a:cxn>
                    <a:cxn ang="0">
                      <a:pos x="77" y="25"/>
                    </a:cxn>
                    <a:cxn ang="0">
                      <a:pos x="77" y="25"/>
                    </a:cxn>
                    <a:cxn ang="0">
                      <a:pos x="86" y="20"/>
                    </a:cxn>
                    <a:cxn ang="0">
                      <a:pos x="86" y="16"/>
                    </a:cxn>
                    <a:cxn ang="0">
                      <a:pos x="100" y="11"/>
                    </a:cxn>
                    <a:cxn ang="0">
                      <a:pos x="140" y="0"/>
                    </a:cxn>
                    <a:cxn ang="0">
                      <a:pos x="142" y="2"/>
                    </a:cxn>
                    <a:cxn ang="0">
                      <a:pos x="177" y="4"/>
                    </a:cxn>
                    <a:cxn ang="0">
                      <a:pos x="154" y="31"/>
                    </a:cxn>
                  </a:cxnLst>
                  <a:rect l="0" t="0" r="r" b="b"/>
                  <a:pathLst>
                    <a:path w="182" h="88">
                      <a:moveTo>
                        <a:pt x="127" y="54"/>
                      </a:moveTo>
                      <a:lnTo>
                        <a:pt x="134" y="54"/>
                      </a:lnTo>
                      <a:lnTo>
                        <a:pt x="132" y="58"/>
                      </a:lnTo>
                      <a:lnTo>
                        <a:pt x="134" y="61"/>
                      </a:lnTo>
                      <a:lnTo>
                        <a:pt x="146" y="58"/>
                      </a:lnTo>
                      <a:lnTo>
                        <a:pt x="146" y="63"/>
                      </a:lnTo>
                      <a:lnTo>
                        <a:pt x="142" y="76"/>
                      </a:lnTo>
                      <a:lnTo>
                        <a:pt x="146" y="79"/>
                      </a:lnTo>
                      <a:lnTo>
                        <a:pt x="142" y="85"/>
                      </a:lnTo>
                      <a:lnTo>
                        <a:pt x="140" y="85"/>
                      </a:lnTo>
                      <a:lnTo>
                        <a:pt x="138" y="85"/>
                      </a:lnTo>
                      <a:lnTo>
                        <a:pt x="138" y="79"/>
                      </a:lnTo>
                      <a:lnTo>
                        <a:pt x="140" y="79"/>
                      </a:lnTo>
                      <a:lnTo>
                        <a:pt x="138" y="76"/>
                      </a:lnTo>
                      <a:lnTo>
                        <a:pt x="134" y="85"/>
                      </a:lnTo>
                      <a:lnTo>
                        <a:pt x="132" y="81"/>
                      </a:lnTo>
                      <a:lnTo>
                        <a:pt x="134" y="76"/>
                      </a:lnTo>
                      <a:lnTo>
                        <a:pt x="132" y="76"/>
                      </a:lnTo>
                      <a:lnTo>
                        <a:pt x="134" y="72"/>
                      </a:lnTo>
                      <a:lnTo>
                        <a:pt x="138" y="72"/>
                      </a:lnTo>
                      <a:lnTo>
                        <a:pt x="140" y="72"/>
                      </a:lnTo>
                      <a:lnTo>
                        <a:pt x="140" y="70"/>
                      </a:lnTo>
                      <a:lnTo>
                        <a:pt x="134" y="72"/>
                      </a:lnTo>
                      <a:lnTo>
                        <a:pt x="138" y="67"/>
                      </a:lnTo>
                      <a:lnTo>
                        <a:pt x="134" y="67"/>
                      </a:lnTo>
                      <a:lnTo>
                        <a:pt x="127" y="61"/>
                      </a:lnTo>
                      <a:lnTo>
                        <a:pt x="132" y="58"/>
                      </a:lnTo>
                      <a:lnTo>
                        <a:pt x="125" y="58"/>
                      </a:lnTo>
                      <a:lnTo>
                        <a:pt x="115" y="58"/>
                      </a:lnTo>
                      <a:lnTo>
                        <a:pt x="109" y="52"/>
                      </a:lnTo>
                      <a:lnTo>
                        <a:pt x="102" y="52"/>
                      </a:lnTo>
                      <a:lnTo>
                        <a:pt x="94" y="58"/>
                      </a:lnTo>
                      <a:lnTo>
                        <a:pt x="79" y="61"/>
                      </a:lnTo>
                      <a:lnTo>
                        <a:pt x="71" y="61"/>
                      </a:lnTo>
                      <a:lnTo>
                        <a:pt x="71" y="63"/>
                      </a:lnTo>
                      <a:lnTo>
                        <a:pt x="69" y="63"/>
                      </a:lnTo>
                      <a:lnTo>
                        <a:pt x="50" y="72"/>
                      </a:lnTo>
                      <a:lnTo>
                        <a:pt x="36" y="79"/>
                      </a:lnTo>
                      <a:lnTo>
                        <a:pt x="0" y="88"/>
                      </a:lnTo>
                      <a:lnTo>
                        <a:pt x="50" y="70"/>
                      </a:lnTo>
                      <a:lnTo>
                        <a:pt x="54" y="63"/>
                      </a:lnTo>
                      <a:lnTo>
                        <a:pt x="50" y="63"/>
                      </a:lnTo>
                      <a:lnTo>
                        <a:pt x="40" y="63"/>
                      </a:lnTo>
                      <a:lnTo>
                        <a:pt x="46" y="58"/>
                      </a:lnTo>
                      <a:lnTo>
                        <a:pt x="38" y="58"/>
                      </a:lnTo>
                      <a:lnTo>
                        <a:pt x="40" y="47"/>
                      </a:lnTo>
                      <a:lnTo>
                        <a:pt x="54" y="43"/>
                      </a:lnTo>
                      <a:lnTo>
                        <a:pt x="71" y="38"/>
                      </a:lnTo>
                      <a:lnTo>
                        <a:pt x="79" y="29"/>
                      </a:lnTo>
                      <a:lnTo>
                        <a:pt x="71" y="34"/>
                      </a:lnTo>
                      <a:lnTo>
                        <a:pt x="61" y="34"/>
                      </a:lnTo>
                      <a:lnTo>
                        <a:pt x="63" y="29"/>
                      </a:lnTo>
                      <a:lnTo>
                        <a:pt x="61" y="27"/>
                      </a:lnTo>
                      <a:lnTo>
                        <a:pt x="77" y="25"/>
                      </a:lnTo>
                      <a:lnTo>
                        <a:pt x="79" y="25"/>
                      </a:lnTo>
                      <a:lnTo>
                        <a:pt x="77" y="25"/>
                      </a:lnTo>
                      <a:lnTo>
                        <a:pt x="90" y="25"/>
                      </a:lnTo>
                      <a:lnTo>
                        <a:pt x="86" y="20"/>
                      </a:lnTo>
                      <a:lnTo>
                        <a:pt x="90" y="18"/>
                      </a:lnTo>
                      <a:lnTo>
                        <a:pt x="86" y="16"/>
                      </a:lnTo>
                      <a:lnTo>
                        <a:pt x="90" y="11"/>
                      </a:lnTo>
                      <a:lnTo>
                        <a:pt x="100" y="11"/>
                      </a:lnTo>
                      <a:lnTo>
                        <a:pt x="115" y="4"/>
                      </a:lnTo>
                      <a:lnTo>
                        <a:pt x="140" y="0"/>
                      </a:lnTo>
                      <a:lnTo>
                        <a:pt x="142" y="0"/>
                      </a:lnTo>
                      <a:lnTo>
                        <a:pt x="142" y="2"/>
                      </a:lnTo>
                      <a:lnTo>
                        <a:pt x="150" y="2"/>
                      </a:lnTo>
                      <a:lnTo>
                        <a:pt x="177" y="4"/>
                      </a:lnTo>
                      <a:lnTo>
                        <a:pt x="182" y="9"/>
                      </a:lnTo>
                      <a:lnTo>
                        <a:pt x="154" y="31"/>
                      </a:lnTo>
                      <a:lnTo>
                        <a:pt x="127" y="5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45" name="USA"/>
                <p:cNvSpPr>
                  <a:spLocks/>
                </p:cNvSpPr>
                <p:nvPr/>
              </p:nvSpPr>
              <p:spPr bwMode="auto">
                <a:xfrm>
                  <a:off x="1249200" y="2972523"/>
                  <a:ext cx="1442350" cy="763561"/>
                </a:xfrm>
                <a:custGeom>
                  <a:avLst/>
                  <a:gdLst/>
                  <a:ahLst/>
                  <a:cxnLst>
                    <a:cxn ang="0">
                      <a:pos x="110" y="112"/>
                    </a:cxn>
                    <a:cxn ang="0">
                      <a:pos x="121" y="112"/>
                    </a:cxn>
                    <a:cxn ang="0">
                      <a:pos x="125" y="117"/>
                    </a:cxn>
                    <a:cxn ang="0">
                      <a:pos x="135" y="117"/>
                    </a:cxn>
                    <a:cxn ang="0">
                      <a:pos x="135" y="110"/>
                    </a:cxn>
                    <a:cxn ang="0">
                      <a:pos x="150" y="108"/>
                    </a:cxn>
                    <a:cxn ang="0">
                      <a:pos x="152" y="112"/>
                    </a:cxn>
                    <a:cxn ang="0">
                      <a:pos x="164" y="117"/>
                    </a:cxn>
                    <a:cxn ang="0">
                      <a:pos x="166" y="137"/>
                    </a:cxn>
                    <a:cxn ang="0">
                      <a:pos x="173" y="135"/>
                    </a:cxn>
                    <a:cxn ang="0">
                      <a:pos x="173" y="103"/>
                    </a:cxn>
                    <a:cxn ang="0">
                      <a:pos x="204" y="81"/>
                    </a:cxn>
                    <a:cxn ang="0">
                      <a:pos x="204" y="69"/>
                    </a:cxn>
                    <a:cxn ang="0">
                      <a:pos x="206" y="60"/>
                    </a:cxn>
                    <a:cxn ang="0">
                      <a:pos x="208" y="65"/>
                    </a:cxn>
                    <a:cxn ang="0">
                      <a:pos x="212" y="56"/>
                    </a:cxn>
                    <a:cxn ang="0">
                      <a:pos x="217" y="56"/>
                    </a:cxn>
                    <a:cxn ang="0">
                      <a:pos x="235" y="47"/>
                    </a:cxn>
                    <a:cxn ang="0">
                      <a:pos x="240" y="42"/>
                    </a:cxn>
                    <a:cxn ang="0">
                      <a:pos x="237" y="42"/>
                    </a:cxn>
                    <a:cxn ang="0">
                      <a:pos x="244" y="31"/>
                    </a:cxn>
                    <a:cxn ang="0">
                      <a:pos x="256" y="27"/>
                    </a:cxn>
                    <a:cxn ang="0">
                      <a:pos x="256" y="22"/>
                    </a:cxn>
                    <a:cxn ang="0">
                      <a:pos x="254" y="9"/>
                    </a:cxn>
                    <a:cxn ang="0">
                      <a:pos x="240" y="24"/>
                    </a:cxn>
                    <a:cxn ang="0">
                      <a:pos x="221" y="27"/>
                    </a:cxn>
                    <a:cxn ang="0">
                      <a:pos x="204" y="33"/>
                    </a:cxn>
                    <a:cxn ang="0">
                      <a:pos x="189" y="42"/>
                    </a:cxn>
                    <a:cxn ang="0">
                      <a:pos x="189" y="33"/>
                    </a:cxn>
                    <a:cxn ang="0">
                      <a:pos x="187" y="31"/>
                    </a:cxn>
                    <a:cxn ang="0">
                      <a:pos x="189" y="22"/>
                    </a:cxn>
                    <a:cxn ang="0">
                      <a:pos x="177" y="24"/>
                    </a:cxn>
                    <a:cxn ang="0">
                      <a:pos x="169" y="40"/>
                    </a:cxn>
                    <a:cxn ang="0">
                      <a:pos x="164" y="42"/>
                    </a:cxn>
                    <a:cxn ang="0">
                      <a:pos x="166" y="33"/>
                    </a:cxn>
                    <a:cxn ang="0">
                      <a:pos x="169" y="27"/>
                    </a:cxn>
                    <a:cxn ang="0">
                      <a:pos x="189" y="18"/>
                    </a:cxn>
                    <a:cxn ang="0">
                      <a:pos x="187" y="15"/>
                    </a:cxn>
                    <a:cxn ang="0">
                      <a:pos x="177" y="15"/>
                    </a:cxn>
                    <a:cxn ang="0">
                      <a:pos x="173" y="15"/>
                    </a:cxn>
                    <a:cxn ang="0">
                      <a:pos x="164" y="15"/>
                    </a:cxn>
                    <a:cxn ang="0">
                      <a:pos x="158" y="15"/>
                    </a:cxn>
                    <a:cxn ang="0">
                      <a:pos x="173" y="6"/>
                    </a:cxn>
                    <a:cxn ang="0">
                      <a:pos x="152" y="0"/>
                    </a:cxn>
                    <a:cxn ang="0">
                      <a:pos x="37" y="0"/>
                    </a:cxn>
                    <a:cxn ang="0">
                      <a:pos x="33" y="9"/>
                    </a:cxn>
                    <a:cxn ang="0">
                      <a:pos x="33" y="6"/>
                    </a:cxn>
                    <a:cxn ang="0">
                      <a:pos x="25" y="6"/>
                    </a:cxn>
                    <a:cxn ang="0">
                      <a:pos x="8" y="38"/>
                    </a:cxn>
                    <a:cxn ang="0">
                      <a:pos x="2" y="51"/>
                    </a:cxn>
                    <a:cxn ang="0">
                      <a:pos x="0" y="58"/>
                    </a:cxn>
                    <a:cxn ang="0">
                      <a:pos x="0" y="65"/>
                    </a:cxn>
                    <a:cxn ang="0">
                      <a:pos x="2" y="74"/>
                    </a:cxn>
                    <a:cxn ang="0">
                      <a:pos x="2" y="83"/>
                    </a:cxn>
                    <a:cxn ang="0">
                      <a:pos x="10" y="90"/>
                    </a:cxn>
                    <a:cxn ang="0">
                      <a:pos x="14" y="94"/>
                    </a:cxn>
                    <a:cxn ang="0">
                      <a:pos x="39" y="103"/>
                    </a:cxn>
                    <a:cxn ang="0">
                      <a:pos x="64" y="108"/>
                    </a:cxn>
                    <a:cxn ang="0">
                      <a:pos x="68" y="117"/>
                    </a:cxn>
                    <a:cxn ang="0">
                      <a:pos x="73" y="110"/>
                    </a:cxn>
                    <a:cxn ang="0">
                      <a:pos x="85" y="133"/>
                    </a:cxn>
                    <a:cxn ang="0">
                      <a:pos x="93" y="130"/>
                    </a:cxn>
                  </a:cxnLst>
                  <a:rect l="0" t="0" r="r" b="b"/>
                  <a:pathLst>
                    <a:path w="260" h="137">
                      <a:moveTo>
                        <a:pt x="96" y="124"/>
                      </a:moveTo>
                      <a:lnTo>
                        <a:pt x="110" y="112"/>
                      </a:lnTo>
                      <a:lnTo>
                        <a:pt x="112" y="112"/>
                      </a:lnTo>
                      <a:lnTo>
                        <a:pt x="121" y="112"/>
                      </a:lnTo>
                      <a:lnTo>
                        <a:pt x="125" y="110"/>
                      </a:lnTo>
                      <a:lnTo>
                        <a:pt x="125" y="117"/>
                      </a:lnTo>
                      <a:lnTo>
                        <a:pt x="129" y="117"/>
                      </a:lnTo>
                      <a:lnTo>
                        <a:pt x="135" y="117"/>
                      </a:lnTo>
                      <a:lnTo>
                        <a:pt x="133" y="112"/>
                      </a:lnTo>
                      <a:lnTo>
                        <a:pt x="135" y="110"/>
                      </a:lnTo>
                      <a:lnTo>
                        <a:pt x="141" y="108"/>
                      </a:lnTo>
                      <a:lnTo>
                        <a:pt x="150" y="108"/>
                      </a:lnTo>
                      <a:lnTo>
                        <a:pt x="152" y="110"/>
                      </a:lnTo>
                      <a:lnTo>
                        <a:pt x="152" y="112"/>
                      </a:lnTo>
                      <a:lnTo>
                        <a:pt x="160" y="110"/>
                      </a:lnTo>
                      <a:lnTo>
                        <a:pt x="164" y="117"/>
                      </a:lnTo>
                      <a:lnTo>
                        <a:pt x="164" y="128"/>
                      </a:lnTo>
                      <a:lnTo>
                        <a:pt x="166" y="137"/>
                      </a:lnTo>
                      <a:lnTo>
                        <a:pt x="169" y="137"/>
                      </a:lnTo>
                      <a:lnTo>
                        <a:pt x="173" y="135"/>
                      </a:lnTo>
                      <a:lnTo>
                        <a:pt x="173" y="128"/>
                      </a:lnTo>
                      <a:lnTo>
                        <a:pt x="173" y="103"/>
                      </a:lnTo>
                      <a:lnTo>
                        <a:pt x="177" y="94"/>
                      </a:lnTo>
                      <a:lnTo>
                        <a:pt x="204" y="81"/>
                      </a:lnTo>
                      <a:lnTo>
                        <a:pt x="206" y="76"/>
                      </a:lnTo>
                      <a:lnTo>
                        <a:pt x="204" y="69"/>
                      </a:lnTo>
                      <a:lnTo>
                        <a:pt x="206" y="65"/>
                      </a:lnTo>
                      <a:lnTo>
                        <a:pt x="206" y="60"/>
                      </a:lnTo>
                      <a:lnTo>
                        <a:pt x="208" y="60"/>
                      </a:lnTo>
                      <a:lnTo>
                        <a:pt x="208" y="65"/>
                      </a:lnTo>
                      <a:lnTo>
                        <a:pt x="212" y="60"/>
                      </a:lnTo>
                      <a:lnTo>
                        <a:pt x="212" y="56"/>
                      </a:lnTo>
                      <a:lnTo>
                        <a:pt x="214" y="58"/>
                      </a:lnTo>
                      <a:lnTo>
                        <a:pt x="217" y="56"/>
                      </a:lnTo>
                      <a:lnTo>
                        <a:pt x="221" y="49"/>
                      </a:lnTo>
                      <a:lnTo>
                        <a:pt x="235" y="47"/>
                      </a:lnTo>
                      <a:lnTo>
                        <a:pt x="235" y="42"/>
                      </a:lnTo>
                      <a:lnTo>
                        <a:pt x="240" y="42"/>
                      </a:lnTo>
                      <a:lnTo>
                        <a:pt x="240" y="40"/>
                      </a:lnTo>
                      <a:lnTo>
                        <a:pt x="237" y="42"/>
                      </a:lnTo>
                      <a:lnTo>
                        <a:pt x="237" y="40"/>
                      </a:lnTo>
                      <a:lnTo>
                        <a:pt x="244" y="31"/>
                      </a:lnTo>
                      <a:lnTo>
                        <a:pt x="252" y="27"/>
                      </a:lnTo>
                      <a:lnTo>
                        <a:pt x="256" y="27"/>
                      </a:lnTo>
                      <a:lnTo>
                        <a:pt x="260" y="22"/>
                      </a:lnTo>
                      <a:lnTo>
                        <a:pt x="256" y="22"/>
                      </a:lnTo>
                      <a:lnTo>
                        <a:pt x="260" y="13"/>
                      </a:lnTo>
                      <a:lnTo>
                        <a:pt x="254" y="9"/>
                      </a:lnTo>
                      <a:lnTo>
                        <a:pt x="246" y="22"/>
                      </a:lnTo>
                      <a:lnTo>
                        <a:pt x="240" y="24"/>
                      </a:lnTo>
                      <a:lnTo>
                        <a:pt x="227" y="24"/>
                      </a:lnTo>
                      <a:lnTo>
                        <a:pt x="221" y="27"/>
                      </a:lnTo>
                      <a:lnTo>
                        <a:pt x="217" y="33"/>
                      </a:lnTo>
                      <a:lnTo>
                        <a:pt x="204" y="33"/>
                      </a:lnTo>
                      <a:lnTo>
                        <a:pt x="206" y="38"/>
                      </a:lnTo>
                      <a:lnTo>
                        <a:pt x="189" y="42"/>
                      </a:lnTo>
                      <a:lnTo>
                        <a:pt x="183" y="42"/>
                      </a:lnTo>
                      <a:lnTo>
                        <a:pt x="189" y="33"/>
                      </a:lnTo>
                      <a:lnTo>
                        <a:pt x="189" y="31"/>
                      </a:lnTo>
                      <a:lnTo>
                        <a:pt x="187" y="31"/>
                      </a:lnTo>
                      <a:lnTo>
                        <a:pt x="189" y="27"/>
                      </a:lnTo>
                      <a:lnTo>
                        <a:pt x="189" y="22"/>
                      </a:lnTo>
                      <a:lnTo>
                        <a:pt x="187" y="22"/>
                      </a:lnTo>
                      <a:lnTo>
                        <a:pt x="177" y="24"/>
                      </a:lnTo>
                      <a:lnTo>
                        <a:pt x="175" y="31"/>
                      </a:lnTo>
                      <a:lnTo>
                        <a:pt x="169" y="40"/>
                      </a:lnTo>
                      <a:lnTo>
                        <a:pt x="166" y="42"/>
                      </a:lnTo>
                      <a:lnTo>
                        <a:pt x="164" y="42"/>
                      </a:lnTo>
                      <a:lnTo>
                        <a:pt x="164" y="40"/>
                      </a:lnTo>
                      <a:lnTo>
                        <a:pt x="166" y="33"/>
                      </a:lnTo>
                      <a:lnTo>
                        <a:pt x="175" y="24"/>
                      </a:lnTo>
                      <a:lnTo>
                        <a:pt x="169" y="27"/>
                      </a:lnTo>
                      <a:lnTo>
                        <a:pt x="177" y="18"/>
                      </a:lnTo>
                      <a:lnTo>
                        <a:pt x="189" y="18"/>
                      </a:lnTo>
                      <a:lnTo>
                        <a:pt x="189" y="15"/>
                      </a:lnTo>
                      <a:lnTo>
                        <a:pt x="187" y="15"/>
                      </a:lnTo>
                      <a:lnTo>
                        <a:pt x="189" y="15"/>
                      </a:lnTo>
                      <a:lnTo>
                        <a:pt x="177" y="15"/>
                      </a:lnTo>
                      <a:lnTo>
                        <a:pt x="177" y="13"/>
                      </a:lnTo>
                      <a:lnTo>
                        <a:pt x="173" y="15"/>
                      </a:lnTo>
                      <a:lnTo>
                        <a:pt x="177" y="9"/>
                      </a:lnTo>
                      <a:lnTo>
                        <a:pt x="164" y="15"/>
                      </a:lnTo>
                      <a:lnTo>
                        <a:pt x="164" y="13"/>
                      </a:lnTo>
                      <a:lnTo>
                        <a:pt x="158" y="15"/>
                      </a:lnTo>
                      <a:lnTo>
                        <a:pt x="169" y="6"/>
                      </a:lnTo>
                      <a:lnTo>
                        <a:pt x="173" y="6"/>
                      </a:lnTo>
                      <a:lnTo>
                        <a:pt x="156" y="4"/>
                      </a:lnTo>
                      <a:lnTo>
                        <a:pt x="152" y="0"/>
                      </a:lnTo>
                      <a:lnTo>
                        <a:pt x="150" y="0"/>
                      </a:lnTo>
                      <a:lnTo>
                        <a:pt x="37" y="0"/>
                      </a:lnTo>
                      <a:lnTo>
                        <a:pt x="37" y="4"/>
                      </a:lnTo>
                      <a:lnTo>
                        <a:pt x="33" y="9"/>
                      </a:lnTo>
                      <a:lnTo>
                        <a:pt x="31" y="9"/>
                      </a:lnTo>
                      <a:lnTo>
                        <a:pt x="33" y="6"/>
                      </a:lnTo>
                      <a:lnTo>
                        <a:pt x="29" y="4"/>
                      </a:lnTo>
                      <a:lnTo>
                        <a:pt x="25" y="6"/>
                      </a:lnTo>
                      <a:lnTo>
                        <a:pt x="23" y="18"/>
                      </a:lnTo>
                      <a:lnTo>
                        <a:pt x="8" y="38"/>
                      </a:lnTo>
                      <a:lnTo>
                        <a:pt x="6" y="42"/>
                      </a:lnTo>
                      <a:lnTo>
                        <a:pt x="2" y="51"/>
                      </a:lnTo>
                      <a:lnTo>
                        <a:pt x="2" y="56"/>
                      </a:lnTo>
                      <a:lnTo>
                        <a:pt x="0" y="58"/>
                      </a:lnTo>
                      <a:lnTo>
                        <a:pt x="2" y="60"/>
                      </a:lnTo>
                      <a:lnTo>
                        <a:pt x="0" y="65"/>
                      </a:lnTo>
                      <a:lnTo>
                        <a:pt x="2" y="67"/>
                      </a:lnTo>
                      <a:lnTo>
                        <a:pt x="2" y="74"/>
                      </a:lnTo>
                      <a:lnTo>
                        <a:pt x="6" y="81"/>
                      </a:lnTo>
                      <a:lnTo>
                        <a:pt x="2" y="83"/>
                      </a:lnTo>
                      <a:lnTo>
                        <a:pt x="10" y="85"/>
                      </a:lnTo>
                      <a:lnTo>
                        <a:pt x="10" y="90"/>
                      </a:lnTo>
                      <a:lnTo>
                        <a:pt x="14" y="92"/>
                      </a:lnTo>
                      <a:lnTo>
                        <a:pt x="14" y="94"/>
                      </a:lnTo>
                      <a:lnTo>
                        <a:pt x="25" y="94"/>
                      </a:lnTo>
                      <a:lnTo>
                        <a:pt x="39" y="103"/>
                      </a:lnTo>
                      <a:lnTo>
                        <a:pt x="62" y="101"/>
                      </a:lnTo>
                      <a:lnTo>
                        <a:pt x="64" y="108"/>
                      </a:lnTo>
                      <a:lnTo>
                        <a:pt x="64" y="110"/>
                      </a:lnTo>
                      <a:lnTo>
                        <a:pt x="68" y="117"/>
                      </a:lnTo>
                      <a:lnTo>
                        <a:pt x="71" y="117"/>
                      </a:lnTo>
                      <a:lnTo>
                        <a:pt x="73" y="110"/>
                      </a:lnTo>
                      <a:lnTo>
                        <a:pt x="79" y="112"/>
                      </a:lnTo>
                      <a:lnTo>
                        <a:pt x="85" y="133"/>
                      </a:lnTo>
                      <a:lnTo>
                        <a:pt x="93" y="135"/>
                      </a:lnTo>
                      <a:lnTo>
                        <a:pt x="93" y="130"/>
                      </a:lnTo>
                      <a:lnTo>
                        <a:pt x="96" y="12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419" name="United Arab Emirates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5554143" y="3743936"/>
                <a:ext cx="139618" cy="89892"/>
              </a:xfrm>
              <a:custGeom>
                <a:avLst/>
                <a:gdLst/>
                <a:ahLst/>
                <a:cxnLst>
                  <a:cxn ang="0">
                    <a:pos x="25" y="2"/>
                  </a:cxn>
                  <a:cxn ang="0">
                    <a:pos x="25" y="7"/>
                  </a:cxn>
                  <a:cxn ang="0">
                    <a:pos x="23" y="9"/>
                  </a:cxn>
                  <a:cxn ang="0">
                    <a:pos x="23" y="11"/>
                  </a:cxn>
                  <a:cxn ang="0">
                    <a:pos x="19" y="11"/>
                  </a:cxn>
                  <a:cxn ang="0">
                    <a:pos x="17" y="11"/>
                  </a:cxn>
                  <a:cxn ang="0">
                    <a:pos x="17" y="16"/>
                  </a:cxn>
                  <a:cxn ang="0">
                    <a:pos x="12" y="16"/>
                  </a:cxn>
                  <a:cxn ang="0">
                    <a:pos x="10" y="16"/>
                  </a:cxn>
                  <a:cxn ang="0">
                    <a:pos x="8" y="16"/>
                  </a:cxn>
                  <a:cxn ang="0">
                    <a:pos x="4" y="16"/>
                  </a:cxn>
                  <a:cxn ang="0">
                    <a:pos x="2" y="16"/>
                  </a:cxn>
                  <a:cxn ang="0">
                    <a:pos x="0" y="16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4" y="11"/>
                  </a:cxn>
                  <a:cxn ang="0">
                    <a:pos x="8" y="9"/>
                  </a:cxn>
                  <a:cxn ang="0">
                    <a:pos x="12" y="9"/>
                  </a:cxn>
                  <a:cxn ang="0">
                    <a:pos x="23" y="0"/>
                  </a:cxn>
                  <a:cxn ang="0">
                    <a:pos x="23" y="2"/>
                  </a:cxn>
                  <a:cxn ang="0">
                    <a:pos x="25" y="2"/>
                  </a:cxn>
                </a:cxnLst>
                <a:rect l="0" t="0" r="r" b="b"/>
                <a:pathLst>
                  <a:path w="25" h="16">
                    <a:moveTo>
                      <a:pt x="25" y="2"/>
                    </a:moveTo>
                    <a:lnTo>
                      <a:pt x="25" y="7"/>
                    </a:lnTo>
                    <a:lnTo>
                      <a:pt x="23" y="9"/>
                    </a:lnTo>
                    <a:lnTo>
                      <a:pt x="23" y="11"/>
                    </a:lnTo>
                    <a:lnTo>
                      <a:pt x="19" y="11"/>
                    </a:lnTo>
                    <a:lnTo>
                      <a:pt x="17" y="11"/>
                    </a:lnTo>
                    <a:lnTo>
                      <a:pt x="17" y="16"/>
                    </a:lnTo>
                    <a:lnTo>
                      <a:pt x="12" y="16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2" y="16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4" y="11"/>
                    </a:lnTo>
                    <a:lnTo>
                      <a:pt x="8" y="9"/>
                    </a:lnTo>
                    <a:lnTo>
                      <a:pt x="12" y="9"/>
                    </a:lnTo>
                    <a:lnTo>
                      <a:pt x="23" y="0"/>
                    </a:lnTo>
                    <a:lnTo>
                      <a:pt x="23" y="2"/>
                    </a:lnTo>
                    <a:lnTo>
                      <a:pt x="25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23" name="Ukraine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777635" y="2890917"/>
                <a:ext cx="405467" cy="250550"/>
              </a:xfrm>
              <a:custGeom>
                <a:avLst/>
                <a:gdLst/>
                <a:ahLst/>
                <a:cxnLst>
                  <a:cxn ang="0">
                    <a:pos x="29" y="40"/>
                  </a:cxn>
                  <a:cxn ang="0">
                    <a:pos x="33" y="40"/>
                  </a:cxn>
                  <a:cxn ang="0">
                    <a:pos x="33" y="36"/>
                  </a:cxn>
                  <a:cxn ang="0">
                    <a:pos x="38" y="33"/>
                  </a:cxn>
                  <a:cxn ang="0">
                    <a:pos x="44" y="33"/>
                  </a:cxn>
                  <a:cxn ang="0">
                    <a:pos x="52" y="36"/>
                  </a:cxn>
                  <a:cxn ang="0">
                    <a:pos x="46" y="40"/>
                  </a:cxn>
                  <a:cxn ang="0">
                    <a:pos x="52" y="42"/>
                  </a:cxn>
                  <a:cxn ang="0">
                    <a:pos x="52" y="45"/>
                  </a:cxn>
                  <a:cxn ang="0">
                    <a:pos x="61" y="42"/>
                  </a:cxn>
                  <a:cxn ang="0">
                    <a:pos x="63" y="42"/>
                  </a:cxn>
                  <a:cxn ang="0">
                    <a:pos x="63" y="40"/>
                  </a:cxn>
                  <a:cxn ang="0">
                    <a:pos x="61" y="40"/>
                  </a:cxn>
                  <a:cxn ang="0">
                    <a:pos x="54" y="36"/>
                  </a:cxn>
                  <a:cxn ang="0">
                    <a:pos x="65" y="31"/>
                  </a:cxn>
                  <a:cxn ang="0">
                    <a:pos x="69" y="31"/>
                  </a:cxn>
                  <a:cxn ang="0">
                    <a:pos x="69" y="27"/>
                  </a:cxn>
                  <a:cxn ang="0">
                    <a:pos x="71" y="24"/>
                  </a:cxn>
                  <a:cxn ang="0">
                    <a:pos x="73" y="27"/>
                  </a:cxn>
                  <a:cxn ang="0">
                    <a:pos x="73" y="22"/>
                  </a:cxn>
                  <a:cxn ang="0">
                    <a:pos x="73" y="18"/>
                  </a:cxn>
                  <a:cxn ang="0">
                    <a:pos x="73" y="15"/>
                  </a:cxn>
                  <a:cxn ang="0">
                    <a:pos x="65" y="15"/>
                  </a:cxn>
                  <a:cxn ang="0">
                    <a:pos x="63" y="13"/>
                  </a:cxn>
                  <a:cxn ang="0">
                    <a:pos x="54" y="13"/>
                  </a:cxn>
                  <a:cxn ang="0">
                    <a:pos x="52" y="6"/>
                  </a:cxn>
                  <a:cxn ang="0">
                    <a:pos x="48" y="6"/>
                  </a:cxn>
                  <a:cxn ang="0">
                    <a:pos x="48" y="4"/>
                  </a:cxn>
                  <a:cxn ang="0">
                    <a:pos x="46" y="0"/>
                  </a:cxn>
                  <a:cxn ang="0">
                    <a:pos x="38" y="4"/>
                  </a:cxn>
                  <a:cxn ang="0">
                    <a:pos x="33" y="4"/>
                  </a:cxn>
                  <a:cxn ang="0">
                    <a:pos x="33" y="6"/>
                  </a:cxn>
                  <a:cxn ang="0">
                    <a:pos x="29" y="6"/>
                  </a:cxn>
                  <a:cxn ang="0">
                    <a:pos x="23" y="6"/>
                  </a:cxn>
                  <a:cxn ang="0">
                    <a:pos x="15" y="4"/>
                  </a:cxn>
                  <a:cxn ang="0">
                    <a:pos x="6" y="6"/>
                  </a:cxn>
                  <a:cxn ang="0">
                    <a:pos x="8" y="13"/>
                  </a:cxn>
                  <a:cxn ang="0">
                    <a:pos x="0" y="18"/>
                  </a:cxn>
                  <a:cxn ang="0">
                    <a:pos x="0" y="22"/>
                  </a:cxn>
                  <a:cxn ang="0">
                    <a:pos x="0" y="24"/>
                  </a:cxn>
                  <a:cxn ang="0">
                    <a:pos x="4" y="24"/>
                  </a:cxn>
                  <a:cxn ang="0">
                    <a:pos x="13" y="27"/>
                  </a:cxn>
                  <a:cxn ang="0">
                    <a:pos x="21" y="24"/>
                  </a:cxn>
                  <a:cxn ang="0">
                    <a:pos x="23" y="22"/>
                  </a:cxn>
                  <a:cxn ang="0">
                    <a:pos x="29" y="24"/>
                  </a:cxn>
                  <a:cxn ang="0">
                    <a:pos x="31" y="27"/>
                  </a:cxn>
                  <a:cxn ang="0">
                    <a:pos x="33" y="31"/>
                  </a:cxn>
                  <a:cxn ang="0">
                    <a:pos x="33" y="33"/>
                  </a:cxn>
                  <a:cxn ang="0">
                    <a:pos x="31" y="33"/>
                  </a:cxn>
                  <a:cxn ang="0">
                    <a:pos x="29" y="38"/>
                  </a:cxn>
                  <a:cxn ang="0">
                    <a:pos x="29" y="40"/>
                  </a:cxn>
                </a:cxnLst>
                <a:rect l="0" t="0" r="r" b="b"/>
                <a:pathLst>
                  <a:path w="73" h="45">
                    <a:moveTo>
                      <a:pt x="29" y="40"/>
                    </a:moveTo>
                    <a:lnTo>
                      <a:pt x="33" y="40"/>
                    </a:lnTo>
                    <a:lnTo>
                      <a:pt x="33" y="36"/>
                    </a:lnTo>
                    <a:lnTo>
                      <a:pt x="38" y="33"/>
                    </a:lnTo>
                    <a:lnTo>
                      <a:pt x="44" y="33"/>
                    </a:lnTo>
                    <a:lnTo>
                      <a:pt x="52" y="36"/>
                    </a:lnTo>
                    <a:lnTo>
                      <a:pt x="46" y="40"/>
                    </a:lnTo>
                    <a:lnTo>
                      <a:pt x="52" y="42"/>
                    </a:lnTo>
                    <a:lnTo>
                      <a:pt x="52" y="45"/>
                    </a:lnTo>
                    <a:lnTo>
                      <a:pt x="61" y="42"/>
                    </a:lnTo>
                    <a:lnTo>
                      <a:pt x="63" y="42"/>
                    </a:lnTo>
                    <a:lnTo>
                      <a:pt x="63" y="40"/>
                    </a:lnTo>
                    <a:lnTo>
                      <a:pt x="61" y="40"/>
                    </a:lnTo>
                    <a:lnTo>
                      <a:pt x="54" y="36"/>
                    </a:lnTo>
                    <a:lnTo>
                      <a:pt x="65" y="31"/>
                    </a:lnTo>
                    <a:lnTo>
                      <a:pt x="69" y="31"/>
                    </a:lnTo>
                    <a:lnTo>
                      <a:pt x="69" y="27"/>
                    </a:lnTo>
                    <a:lnTo>
                      <a:pt x="71" y="24"/>
                    </a:lnTo>
                    <a:lnTo>
                      <a:pt x="73" y="27"/>
                    </a:lnTo>
                    <a:lnTo>
                      <a:pt x="73" y="22"/>
                    </a:lnTo>
                    <a:lnTo>
                      <a:pt x="73" y="18"/>
                    </a:lnTo>
                    <a:lnTo>
                      <a:pt x="73" y="15"/>
                    </a:lnTo>
                    <a:lnTo>
                      <a:pt x="65" y="15"/>
                    </a:lnTo>
                    <a:lnTo>
                      <a:pt x="63" y="13"/>
                    </a:lnTo>
                    <a:lnTo>
                      <a:pt x="54" y="13"/>
                    </a:lnTo>
                    <a:lnTo>
                      <a:pt x="52" y="6"/>
                    </a:lnTo>
                    <a:lnTo>
                      <a:pt x="48" y="6"/>
                    </a:lnTo>
                    <a:lnTo>
                      <a:pt x="48" y="4"/>
                    </a:lnTo>
                    <a:lnTo>
                      <a:pt x="46" y="0"/>
                    </a:lnTo>
                    <a:lnTo>
                      <a:pt x="38" y="4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29" y="6"/>
                    </a:lnTo>
                    <a:lnTo>
                      <a:pt x="23" y="6"/>
                    </a:lnTo>
                    <a:lnTo>
                      <a:pt x="15" y="4"/>
                    </a:lnTo>
                    <a:lnTo>
                      <a:pt x="6" y="6"/>
                    </a:lnTo>
                    <a:lnTo>
                      <a:pt x="8" y="13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4" y="24"/>
                    </a:lnTo>
                    <a:lnTo>
                      <a:pt x="13" y="27"/>
                    </a:lnTo>
                    <a:lnTo>
                      <a:pt x="21" y="24"/>
                    </a:lnTo>
                    <a:lnTo>
                      <a:pt x="23" y="22"/>
                    </a:lnTo>
                    <a:lnTo>
                      <a:pt x="29" y="24"/>
                    </a:lnTo>
                    <a:lnTo>
                      <a:pt x="31" y="27"/>
                    </a:lnTo>
                    <a:lnTo>
                      <a:pt x="33" y="31"/>
                    </a:lnTo>
                    <a:lnTo>
                      <a:pt x="33" y="33"/>
                    </a:lnTo>
                    <a:lnTo>
                      <a:pt x="31" y="33"/>
                    </a:lnTo>
                    <a:lnTo>
                      <a:pt x="29" y="38"/>
                    </a:lnTo>
                    <a:lnTo>
                      <a:pt x="29" y="4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24" name="Uganda"/>
              <p:cNvSpPr>
                <a:spLocks/>
              </p:cNvSpPr>
              <p:nvPr/>
            </p:nvSpPr>
            <p:spPr bwMode="auto">
              <a:xfrm>
                <a:off x="5026270" y="4434385"/>
                <a:ext cx="149181" cy="189348"/>
              </a:xfrm>
              <a:custGeom>
                <a:avLst/>
                <a:gdLst>
                  <a:gd name="T0" fmla="*/ 94 w 409"/>
                  <a:gd name="T1" fmla="*/ 79 h 437"/>
                  <a:gd name="T2" fmla="*/ 98 w 409"/>
                  <a:gd name="T3" fmla="*/ 57 h 437"/>
                  <a:gd name="T4" fmla="*/ 98 w 409"/>
                  <a:gd name="T5" fmla="*/ 55 h 437"/>
                  <a:gd name="T6" fmla="*/ 101 w 409"/>
                  <a:gd name="T7" fmla="*/ 49 h 437"/>
                  <a:gd name="T8" fmla="*/ 143 w 409"/>
                  <a:gd name="T9" fmla="*/ 42 h 437"/>
                  <a:gd name="T10" fmla="*/ 176 w 409"/>
                  <a:gd name="T11" fmla="*/ 41 h 437"/>
                  <a:gd name="T12" fmla="*/ 197 w 409"/>
                  <a:gd name="T13" fmla="*/ 53 h 437"/>
                  <a:gd name="T14" fmla="*/ 239 w 409"/>
                  <a:gd name="T15" fmla="*/ 35 h 437"/>
                  <a:gd name="T16" fmla="*/ 270 w 409"/>
                  <a:gd name="T17" fmla="*/ 35 h 437"/>
                  <a:gd name="T18" fmla="*/ 310 w 409"/>
                  <a:gd name="T19" fmla="*/ 21 h 437"/>
                  <a:gd name="T20" fmla="*/ 330 w 409"/>
                  <a:gd name="T21" fmla="*/ 0 h 437"/>
                  <a:gd name="T22" fmla="*/ 330 w 409"/>
                  <a:gd name="T23" fmla="*/ 0 h 437"/>
                  <a:gd name="T24" fmla="*/ 345 w 409"/>
                  <a:gd name="T25" fmla="*/ 26 h 437"/>
                  <a:gd name="T26" fmla="*/ 346 w 409"/>
                  <a:gd name="T27" fmla="*/ 34 h 437"/>
                  <a:gd name="T28" fmla="*/ 361 w 409"/>
                  <a:gd name="T29" fmla="*/ 39 h 437"/>
                  <a:gd name="T30" fmla="*/ 365 w 409"/>
                  <a:gd name="T31" fmla="*/ 73 h 437"/>
                  <a:gd name="T32" fmla="*/ 377 w 409"/>
                  <a:gd name="T33" fmla="*/ 99 h 437"/>
                  <a:gd name="T34" fmla="*/ 392 w 409"/>
                  <a:gd name="T35" fmla="*/ 120 h 437"/>
                  <a:gd name="T36" fmla="*/ 399 w 409"/>
                  <a:gd name="T37" fmla="*/ 141 h 437"/>
                  <a:gd name="T38" fmla="*/ 408 w 409"/>
                  <a:gd name="T39" fmla="*/ 185 h 437"/>
                  <a:gd name="T40" fmla="*/ 393 w 409"/>
                  <a:gd name="T41" fmla="*/ 218 h 437"/>
                  <a:gd name="T42" fmla="*/ 386 w 409"/>
                  <a:gd name="T43" fmla="*/ 231 h 437"/>
                  <a:gd name="T44" fmla="*/ 366 w 409"/>
                  <a:gd name="T45" fmla="*/ 257 h 437"/>
                  <a:gd name="T46" fmla="*/ 343 w 409"/>
                  <a:gd name="T47" fmla="*/ 282 h 437"/>
                  <a:gd name="T48" fmla="*/ 330 w 409"/>
                  <a:gd name="T49" fmla="*/ 326 h 437"/>
                  <a:gd name="T50" fmla="*/ 327 w 409"/>
                  <a:gd name="T51" fmla="*/ 367 h 437"/>
                  <a:gd name="T52" fmla="*/ 325 w 409"/>
                  <a:gd name="T53" fmla="*/ 400 h 437"/>
                  <a:gd name="T54" fmla="*/ 324 w 409"/>
                  <a:gd name="T55" fmla="*/ 401 h 437"/>
                  <a:gd name="T56" fmla="*/ 244 w 409"/>
                  <a:gd name="T57" fmla="*/ 400 h 437"/>
                  <a:gd name="T58" fmla="*/ 92 w 409"/>
                  <a:gd name="T59" fmla="*/ 400 h 437"/>
                  <a:gd name="T60" fmla="*/ 70 w 409"/>
                  <a:gd name="T61" fmla="*/ 405 h 437"/>
                  <a:gd name="T62" fmla="*/ 60 w 409"/>
                  <a:gd name="T63" fmla="*/ 407 h 437"/>
                  <a:gd name="T64" fmla="*/ 27 w 409"/>
                  <a:gd name="T65" fmla="*/ 433 h 437"/>
                  <a:gd name="T66" fmla="*/ 5 w 409"/>
                  <a:gd name="T67" fmla="*/ 428 h 437"/>
                  <a:gd name="T68" fmla="*/ 4 w 409"/>
                  <a:gd name="T69" fmla="*/ 424 h 437"/>
                  <a:gd name="T70" fmla="*/ 7 w 409"/>
                  <a:gd name="T71" fmla="*/ 388 h 437"/>
                  <a:gd name="T72" fmla="*/ 10 w 409"/>
                  <a:gd name="T73" fmla="*/ 346 h 437"/>
                  <a:gd name="T74" fmla="*/ 21 w 409"/>
                  <a:gd name="T75" fmla="*/ 309 h 437"/>
                  <a:gd name="T76" fmla="*/ 31 w 409"/>
                  <a:gd name="T77" fmla="*/ 271 h 437"/>
                  <a:gd name="T78" fmla="*/ 51 w 409"/>
                  <a:gd name="T79" fmla="*/ 240 h 437"/>
                  <a:gd name="T80" fmla="*/ 78 w 409"/>
                  <a:gd name="T81" fmla="*/ 220 h 437"/>
                  <a:gd name="T82" fmla="*/ 119 w 409"/>
                  <a:gd name="T83" fmla="*/ 179 h 437"/>
                  <a:gd name="T84" fmla="*/ 124 w 409"/>
                  <a:gd name="T85" fmla="*/ 153 h 437"/>
                  <a:gd name="T86" fmla="*/ 111 w 409"/>
                  <a:gd name="T87" fmla="*/ 143 h 437"/>
                  <a:gd name="T88" fmla="*/ 94 w 409"/>
                  <a:gd name="T89" fmla="*/ 138 h 437"/>
                  <a:gd name="T90" fmla="*/ 97 w 409"/>
                  <a:gd name="T91" fmla="*/ 110 h 437"/>
                  <a:gd name="T92" fmla="*/ 94 w 409"/>
                  <a:gd name="T93" fmla="*/ 79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09" h="437">
                    <a:moveTo>
                      <a:pt x="94" y="79"/>
                    </a:moveTo>
                    <a:cubicBezTo>
                      <a:pt x="95" y="74"/>
                      <a:pt x="111" y="55"/>
                      <a:pt x="98" y="57"/>
                    </a:cubicBezTo>
                    <a:cubicBezTo>
                      <a:pt x="98" y="55"/>
                      <a:pt x="98" y="55"/>
                      <a:pt x="98" y="55"/>
                    </a:cubicBezTo>
                    <a:cubicBezTo>
                      <a:pt x="99" y="55"/>
                      <a:pt x="100" y="53"/>
                      <a:pt x="101" y="49"/>
                    </a:cubicBezTo>
                    <a:cubicBezTo>
                      <a:pt x="110" y="35"/>
                      <a:pt x="130" y="28"/>
                      <a:pt x="143" y="42"/>
                    </a:cubicBezTo>
                    <a:cubicBezTo>
                      <a:pt x="156" y="50"/>
                      <a:pt x="168" y="22"/>
                      <a:pt x="176" y="41"/>
                    </a:cubicBezTo>
                    <a:cubicBezTo>
                      <a:pt x="179" y="48"/>
                      <a:pt x="189" y="55"/>
                      <a:pt x="197" y="53"/>
                    </a:cubicBezTo>
                    <a:cubicBezTo>
                      <a:pt x="200" y="34"/>
                      <a:pt x="225" y="38"/>
                      <a:pt x="239" y="35"/>
                    </a:cubicBezTo>
                    <a:cubicBezTo>
                      <a:pt x="250" y="31"/>
                      <a:pt x="261" y="22"/>
                      <a:pt x="270" y="35"/>
                    </a:cubicBezTo>
                    <a:cubicBezTo>
                      <a:pt x="286" y="39"/>
                      <a:pt x="301" y="36"/>
                      <a:pt x="310" y="21"/>
                    </a:cubicBezTo>
                    <a:cubicBezTo>
                      <a:pt x="317" y="14"/>
                      <a:pt x="324" y="7"/>
                      <a:pt x="330" y="0"/>
                    </a:cubicBezTo>
                    <a:cubicBezTo>
                      <a:pt x="330" y="0"/>
                      <a:pt x="330" y="0"/>
                      <a:pt x="330" y="0"/>
                    </a:cubicBezTo>
                    <a:cubicBezTo>
                      <a:pt x="342" y="4"/>
                      <a:pt x="332" y="29"/>
                      <a:pt x="345" y="26"/>
                    </a:cubicBezTo>
                    <a:cubicBezTo>
                      <a:pt x="350" y="28"/>
                      <a:pt x="340" y="31"/>
                      <a:pt x="346" y="34"/>
                    </a:cubicBezTo>
                    <a:cubicBezTo>
                      <a:pt x="353" y="34"/>
                      <a:pt x="354" y="40"/>
                      <a:pt x="361" y="39"/>
                    </a:cubicBezTo>
                    <a:cubicBezTo>
                      <a:pt x="373" y="48"/>
                      <a:pt x="356" y="62"/>
                      <a:pt x="365" y="73"/>
                    </a:cubicBezTo>
                    <a:cubicBezTo>
                      <a:pt x="366" y="83"/>
                      <a:pt x="378" y="87"/>
                      <a:pt x="377" y="99"/>
                    </a:cubicBezTo>
                    <a:cubicBezTo>
                      <a:pt x="384" y="105"/>
                      <a:pt x="393" y="108"/>
                      <a:pt x="392" y="120"/>
                    </a:cubicBezTo>
                    <a:cubicBezTo>
                      <a:pt x="398" y="125"/>
                      <a:pt x="405" y="133"/>
                      <a:pt x="399" y="141"/>
                    </a:cubicBezTo>
                    <a:cubicBezTo>
                      <a:pt x="404" y="155"/>
                      <a:pt x="408" y="169"/>
                      <a:pt x="408" y="185"/>
                    </a:cubicBezTo>
                    <a:cubicBezTo>
                      <a:pt x="409" y="198"/>
                      <a:pt x="398" y="207"/>
                      <a:pt x="393" y="218"/>
                    </a:cubicBezTo>
                    <a:cubicBezTo>
                      <a:pt x="396" y="225"/>
                      <a:pt x="395" y="232"/>
                      <a:pt x="386" y="231"/>
                    </a:cubicBezTo>
                    <a:cubicBezTo>
                      <a:pt x="374" y="236"/>
                      <a:pt x="368" y="245"/>
                      <a:pt x="366" y="257"/>
                    </a:cubicBezTo>
                    <a:cubicBezTo>
                      <a:pt x="358" y="266"/>
                      <a:pt x="351" y="274"/>
                      <a:pt x="343" y="282"/>
                    </a:cubicBezTo>
                    <a:cubicBezTo>
                      <a:pt x="346" y="300"/>
                      <a:pt x="321" y="309"/>
                      <a:pt x="330" y="326"/>
                    </a:cubicBezTo>
                    <a:cubicBezTo>
                      <a:pt x="334" y="340"/>
                      <a:pt x="326" y="353"/>
                      <a:pt x="327" y="367"/>
                    </a:cubicBezTo>
                    <a:cubicBezTo>
                      <a:pt x="325" y="377"/>
                      <a:pt x="331" y="392"/>
                      <a:pt x="325" y="400"/>
                    </a:cubicBezTo>
                    <a:cubicBezTo>
                      <a:pt x="325" y="400"/>
                      <a:pt x="325" y="400"/>
                      <a:pt x="324" y="401"/>
                    </a:cubicBezTo>
                    <a:cubicBezTo>
                      <a:pt x="298" y="400"/>
                      <a:pt x="271" y="401"/>
                      <a:pt x="244" y="400"/>
                    </a:cubicBezTo>
                    <a:cubicBezTo>
                      <a:pt x="193" y="400"/>
                      <a:pt x="143" y="400"/>
                      <a:pt x="92" y="400"/>
                    </a:cubicBezTo>
                    <a:cubicBezTo>
                      <a:pt x="86" y="406"/>
                      <a:pt x="78" y="405"/>
                      <a:pt x="70" y="405"/>
                    </a:cubicBezTo>
                    <a:cubicBezTo>
                      <a:pt x="67" y="405"/>
                      <a:pt x="63" y="405"/>
                      <a:pt x="60" y="407"/>
                    </a:cubicBezTo>
                    <a:cubicBezTo>
                      <a:pt x="53" y="418"/>
                      <a:pt x="40" y="437"/>
                      <a:pt x="27" y="433"/>
                    </a:cubicBezTo>
                    <a:cubicBezTo>
                      <a:pt x="28" y="418"/>
                      <a:pt x="10" y="432"/>
                      <a:pt x="5" y="428"/>
                    </a:cubicBezTo>
                    <a:cubicBezTo>
                      <a:pt x="5" y="427"/>
                      <a:pt x="4" y="426"/>
                      <a:pt x="4" y="424"/>
                    </a:cubicBezTo>
                    <a:cubicBezTo>
                      <a:pt x="3" y="412"/>
                      <a:pt x="0" y="398"/>
                      <a:pt x="7" y="388"/>
                    </a:cubicBezTo>
                    <a:cubicBezTo>
                      <a:pt x="7" y="374"/>
                      <a:pt x="9" y="360"/>
                      <a:pt x="10" y="346"/>
                    </a:cubicBezTo>
                    <a:cubicBezTo>
                      <a:pt x="14" y="334"/>
                      <a:pt x="10" y="317"/>
                      <a:pt x="21" y="309"/>
                    </a:cubicBezTo>
                    <a:cubicBezTo>
                      <a:pt x="22" y="294"/>
                      <a:pt x="35" y="286"/>
                      <a:pt x="31" y="271"/>
                    </a:cubicBezTo>
                    <a:cubicBezTo>
                      <a:pt x="26" y="253"/>
                      <a:pt x="55" y="259"/>
                      <a:pt x="51" y="240"/>
                    </a:cubicBezTo>
                    <a:cubicBezTo>
                      <a:pt x="56" y="230"/>
                      <a:pt x="74" y="234"/>
                      <a:pt x="78" y="220"/>
                    </a:cubicBezTo>
                    <a:cubicBezTo>
                      <a:pt x="88" y="203"/>
                      <a:pt x="109" y="196"/>
                      <a:pt x="119" y="179"/>
                    </a:cubicBezTo>
                    <a:cubicBezTo>
                      <a:pt x="125" y="171"/>
                      <a:pt x="137" y="160"/>
                      <a:pt x="124" y="153"/>
                    </a:cubicBezTo>
                    <a:cubicBezTo>
                      <a:pt x="124" y="144"/>
                      <a:pt x="112" y="153"/>
                      <a:pt x="111" y="143"/>
                    </a:cubicBezTo>
                    <a:cubicBezTo>
                      <a:pt x="106" y="136"/>
                      <a:pt x="97" y="152"/>
                      <a:pt x="94" y="138"/>
                    </a:cubicBezTo>
                    <a:cubicBezTo>
                      <a:pt x="82" y="135"/>
                      <a:pt x="94" y="118"/>
                      <a:pt x="97" y="110"/>
                    </a:cubicBezTo>
                    <a:cubicBezTo>
                      <a:pt x="105" y="98"/>
                      <a:pt x="83" y="91"/>
                      <a:pt x="94" y="7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25" name="Tadzhikistane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5898408" y="3254311"/>
                <a:ext cx="189345" cy="122406"/>
              </a:xfrm>
              <a:custGeom>
                <a:avLst/>
                <a:gdLst/>
                <a:ahLst/>
                <a:cxnLst>
                  <a:cxn ang="0">
                    <a:pos x="5" y="22"/>
                  </a:cxn>
                  <a:cxn ang="0">
                    <a:pos x="11" y="20"/>
                  </a:cxn>
                  <a:cxn ang="0">
                    <a:pos x="13" y="20"/>
                  </a:cxn>
                  <a:cxn ang="0">
                    <a:pos x="17" y="13"/>
                  </a:cxn>
                  <a:cxn ang="0">
                    <a:pos x="19" y="18"/>
                  </a:cxn>
                  <a:cxn ang="0">
                    <a:pos x="21" y="22"/>
                  </a:cxn>
                  <a:cxn ang="0">
                    <a:pos x="28" y="20"/>
                  </a:cxn>
                  <a:cxn ang="0">
                    <a:pos x="34" y="20"/>
                  </a:cxn>
                  <a:cxn ang="0">
                    <a:pos x="34" y="13"/>
                  </a:cxn>
                  <a:cxn ang="0">
                    <a:pos x="30" y="13"/>
                  </a:cxn>
                  <a:cxn ang="0">
                    <a:pos x="28" y="11"/>
                  </a:cxn>
                  <a:cxn ang="0">
                    <a:pos x="28" y="9"/>
                  </a:cxn>
                  <a:cxn ang="0">
                    <a:pos x="19" y="11"/>
                  </a:cxn>
                  <a:cxn ang="0">
                    <a:pos x="17" y="9"/>
                  </a:cxn>
                  <a:cxn ang="0">
                    <a:pos x="9" y="9"/>
                  </a:cxn>
                  <a:cxn ang="0">
                    <a:pos x="9" y="4"/>
                  </a:cxn>
                  <a:cxn ang="0">
                    <a:pos x="11" y="4"/>
                  </a:cxn>
                  <a:cxn ang="0">
                    <a:pos x="13" y="4"/>
                  </a:cxn>
                  <a:cxn ang="0">
                    <a:pos x="11" y="4"/>
                  </a:cxn>
                  <a:cxn ang="0">
                    <a:pos x="11" y="0"/>
                  </a:cxn>
                  <a:cxn ang="0">
                    <a:pos x="5" y="2"/>
                  </a:cxn>
                  <a:cxn ang="0">
                    <a:pos x="5" y="4"/>
                  </a:cxn>
                  <a:cxn ang="0">
                    <a:pos x="5" y="9"/>
                  </a:cxn>
                  <a:cxn ang="0">
                    <a:pos x="0" y="9"/>
                  </a:cxn>
                  <a:cxn ang="0">
                    <a:pos x="3" y="11"/>
                  </a:cxn>
                  <a:cxn ang="0">
                    <a:pos x="5" y="18"/>
                  </a:cxn>
                  <a:cxn ang="0">
                    <a:pos x="3" y="22"/>
                  </a:cxn>
                  <a:cxn ang="0">
                    <a:pos x="5" y="22"/>
                  </a:cxn>
                </a:cxnLst>
                <a:rect l="0" t="0" r="r" b="b"/>
                <a:pathLst>
                  <a:path w="34" h="22">
                    <a:moveTo>
                      <a:pt x="5" y="22"/>
                    </a:moveTo>
                    <a:lnTo>
                      <a:pt x="11" y="20"/>
                    </a:lnTo>
                    <a:lnTo>
                      <a:pt x="13" y="20"/>
                    </a:lnTo>
                    <a:lnTo>
                      <a:pt x="17" y="13"/>
                    </a:lnTo>
                    <a:lnTo>
                      <a:pt x="19" y="18"/>
                    </a:lnTo>
                    <a:lnTo>
                      <a:pt x="21" y="22"/>
                    </a:lnTo>
                    <a:lnTo>
                      <a:pt x="28" y="20"/>
                    </a:lnTo>
                    <a:lnTo>
                      <a:pt x="34" y="20"/>
                    </a:lnTo>
                    <a:lnTo>
                      <a:pt x="34" y="13"/>
                    </a:lnTo>
                    <a:lnTo>
                      <a:pt x="30" y="13"/>
                    </a:lnTo>
                    <a:lnTo>
                      <a:pt x="28" y="11"/>
                    </a:lnTo>
                    <a:lnTo>
                      <a:pt x="28" y="9"/>
                    </a:lnTo>
                    <a:lnTo>
                      <a:pt x="19" y="11"/>
                    </a:lnTo>
                    <a:lnTo>
                      <a:pt x="17" y="9"/>
                    </a:lnTo>
                    <a:lnTo>
                      <a:pt x="9" y="9"/>
                    </a:lnTo>
                    <a:lnTo>
                      <a:pt x="9" y="4"/>
                    </a:lnTo>
                    <a:lnTo>
                      <a:pt x="11" y="4"/>
                    </a:lnTo>
                    <a:lnTo>
                      <a:pt x="13" y="4"/>
                    </a:lnTo>
                    <a:lnTo>
                      <a:pt x="11" y="4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5" y="9"/>
                    </a:lnTo>
                    <a:lnTo>
                      <a:pt x="0" y="9"/>
                    </a:lnTo>
                    <a:lnTo>
                      <a:pt x="3" y="11"/>
                    </a:lnTo>
                    <a:lnTo>
                      <a:pt x="5" y="18"/>
                    </a:lnTo>
                    <a:lnTo>
                      <a:pt x="3" y="22"/>
                    </a:lnTo>
                    <a:lnTo>
                      <a:pt x="5" y="2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560" name="Turks- und Caicosinseln"/>
              <p:cNvSpPr>
                <a:spLocks/>
              </p:cNvSpPr>
              <p:nvPr/>
            </p:nvSpPr>
            <p:spPr bwMode="auto">
              <a:xfrm>
                <a:off x="7770519" y="4538757"/>
                <a:ext cx="16176" cy="18359"/>
              </a:xfrm>
              <a:custGeom>
                <a:avLst/>
                <a:gdLst>
                  <a:gd name="T0" fmla="*/ 5236133 w 43"/>
                  <a:gd name="T1" fmla="*/ 4010374 h 43"/>
                  <a:gd name="T2" fmla="*/ 5802293 w 43"/>
                  <a:gd name="T3" fmla="*/ 5104229 h 43"/>
                  <a:gd name="T4" fmla="*/ 5236133 w 43"/>
                  <a:gd name="T5" fmla="*/ 6379965 h 43"/>
                  <a:gd name="T6" fmla="*/ 4811419 w 43"/>
                  <a:gd name="T7" fmla="*/ 7656131 h 43"/>
                  <a:gd name="T8" fmla="*/ 3254762 w 43"/>
                  <a:gd name="T9" fmla="*/ 7838440 h 43"/>
                  <a:gd name="T10" fmla="*/ 2264264 w 43"/>
                  <a:gd name="T11" fmla="*/ 7291512 h 43"/>
                  <a:gd name="T12" fmla="*/ 1415212 w 43"/>
                  <a:gd name="T13" fmla="*/ 6562274 h 43"/>
                  <a:gd name="T14" fmla="*/ 707606 w 43"/>
                  <a:gd name="T15" fmla="*/ 5651156 h 43"/>
                  <a:gd name="T16" fmla="*/ 566160 w 43"/>
                  <a:gd name="T17" fmla="*/ 4374993 h 43"/>
                  <a:gd name="T18" fmla="*/ 141446 w 43"/>
                  <a:gd name="T19" fmla="*/ 3098828 h 43"/>
                  <a:gd name="T20" fmla="*/ 566160 w 43"/>
                  <a:gd name="T21" fmla="*/ 2004974 h 43"/>
                  <a:gd name="T22" fmla="*/ 1131944 w 43"/>
                  <a:gd name="T23" fmla="*/ 911546 h 43"/>
                  <a:gd name="T24" fmla="*/ 1839550 w 43"/>
                  <a:gd name="T25" fmla="*/ 546927 h 43"/>
                  <a:gd name="T26" fmla="*/ 2971869 w 43"/>
                  <a:gd name="T27" fmla="*/ 546927 h 43"/>
                  <a:gd name="T28" fmla="*/ 3820922 w 43"/>
                  <a:gd name="T29" fmla="*/ 729237 h 43"/>
                  <a:gd name="T30" fmla="*/ 4669973 w 43"/>
                  <a:gd name="T31" fmla="*/ 1276164 h 43"/>
                  <a:gd name="T32" fmla="*/ 4811419 w 43"/>
                  <a:gd name="T33" fmla="*/ 2551901 h 43"/>
                  <a:gd name="T34" fmla="*/ 4953241 w 43"/>
                  <a:gd name="T35" fmla="*/ 2734210 h 43"/>
                  <a:gd name="T36" fmla="*/ 5236133 w 43"/>
                  <a:gd name="T37" fmla="*/ 4010374 h 4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3"/>
                  <a:gd name="T58" fmla="*/ 0 h 43"/>
                  <a:gd name="T59" fmla="*/ 43 w 43"/>
                  <a:gd name="T60" fmla="*/ 43 h 4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3" h="43">
                    <a:moveTo>
                      <a:pt x="37" y="22"/>
                    </a:moveTo>
                    <a:cubicBezTo>
                      <a:pt x="38" y="24"/>
                      <a:pt x="43" y="24"/>
                      <a:pt x="41" y="28"/>
                    </a:cubicBezTo>
                    <a:cubicBezTo>
                      <a:pt x="40" y="30"/>
                      <a:pt x="38" y="33"/>
                      <a:pt x="37" y="35"/>
                    </a:cubicBezTo>
                    <a:cubicBezTo>
                      <a:pt x="37" y="37"/>
                      <a:pt x="38" y="41"/>
                      <a:pt x="34" y="42"/>
                    </a:cubicBezTo>
                    <a:cubicBezTo>
                      <a:pt x="31" y="42"/>
                      <a:pt x="27" y="43"/>
                      <a:pt x="23" y="43"/>
                    </a:cubicBezTo>
                    <a:cubicBezTo>
                      <a:pt x="21" y="42"/>
                      <a:pt x="18" y="43"/>
                      <a:pt x="16" y="40"/>
                    </a:cubicBezTo>
                    <a:cubicBezTo>
                      <a:pt x="14" y="38"/>
                      <a:pt x="11" y="38"/>
                      <a:pt x="10" y="36"/>
                    </a:cubicBezTo>
                    <a:cubicBezTo>
                      <a:pt x="8" y="34"/>
                      <a:pt x="5" y="34"/>
                      <a:pt x="5" y="31"/>
                    </a:cubicBezTo>
                    <a:cubicBezTo>
                      <a:pt x="3" y="29"/>
                      <a:pt x="3" y="27"/>
                      <a:pt x="4" y="24"/>
                    </a:cubicBezTo>
                    <a:cubicBezTo>
                      <a:pt x="4" y="22"/>
                      <a:pt x="2" y="19"/>
                      <a:pt x="1" y="17"/>
                    </a:cubicBezTo>
                    <a:cubicBezTo>
                      <a:pt x="0" y="15"/>
                      <a:pt x="1" y="12"/>
                      <a:pt x="4" y="11"/>
                    </a:cubicBezTo>
                    <a:cubicBezTo>
                      <a:pt x="7" y="10"/>
                      <a:pt x="6" y="6"/>
                      <a:pt x="8" y="5"/>
                    </a:cubicBezTo>
                    <a:cubicBezTo>
                      <a:pt x="10" y="5"/>
                      <a:pt x="12" y="4"/>
                      <a:pt x="13" y="3"/>
                    </a:cubicBezTo>
                    <a:cubicBezTo>
                      <a:pt x="16" y="2"/>
                      <a:pt x="19" y="0"/>
                      <a:pt x="21" y="3"/>
                    </a:cubicBezTo>
                    <a:cubicBezTo>
                      <a:pt x="23" y="4"/>
                      <a:pt x="25" y="3"/>
                      <a:pt x="27" y="4"/>
                    </a:cubicBezTo>
                    <a:cubicBezTo>
                      <a:pt x="29" y="5"/>
                      <a:pt x="31" y="6"/>
                      <a:pt x="33" y="7"/>
                    </a:cubicBezTo>
                    <a:cubicBezTo>
                      <a:pt x="35" y="9"/>
                      <a:pt x="34" y="12"/>
                      <a:pt x="34" y="14"/>
                    </a:cubicBezTo>
                    <a:cubicBezTo>
                      <a:pt x="34" y="14"/>
                      <a:pt x="35" y="14"/>
                      <a:pt x="35" y="15"/>
                    </a:cubicBezTo>
                    <a:cubicBezTo>
                      <a:pt x="35" y="17"/>
                      <a:pt x="36" y="20"/>
                      <a:pt x="37" y="22"/>
                    </a:cubicBezTo>
                    <a:close/>
                  </a:path>
                </a:pathLst>
              </a:custGeom>
              <a:solidFill>
                <a:schemeClr val="bg2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 lIns="71120" tIns="71120" rIns="71120" bIns="71120"/>
              <a:lstStyle/>
              <a:p>
                <a:endParaRPr lang="it-IT"/>
              </a:p>
            </p:txBody>
          </p:sp>
          <p:sp>
            <p:nvSpPr>
              <p:cNvPr id="431" name="Turkmenistan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5521628" y="3202670"/>
                <a:ext cx="353828" cy="240988"/>
              </a:xfrm>
              <a:custGeom>
                <a:avLst/>
                <a:gdLst/>
                <a:ahLst/>
                <a:cxnLst>
                  <a:cxn ang="0">
                    <a:pos x="16" y="9"/>
                  </a:cxn>
                  <a:cxn ang="0">
                    <a:pos x="18" y="9"/>
                  </a:cxn>
                  <a:cxn ang="0">
                    <a:pos x="18" y="4"/>
                  </a:cxn>
                  <a:cxn ang="0">
                    <a:pos x="23" y="0"/>
                  </a:cxn>
                  <a:cxn ang="0">
                    <a:pos x="25" y="0"/>
                  </a:cxn>
                  <a:cxn ang="0">
                    <a:pos x="31" y="2"/>
                  </a:cxn>
                  <a:cxn ang="0">
                    <a:pos x="33" y="9"/>
                  </a:cxn>
                  <a:cxn ang="0">
                    <a:pos x="41" y="9"/>
                  </a:cxn>
                  <a:cxn ang="0">
                    <a:pos x="45" y="13"/>
                  </a:cxn>
                  <a:cxn ang="0">
                    <a:pos x="58" y="22"/>
                  </a:cxn>
                  <a:cxn ang="0">
                    <a:pos x="64" y="27"/>
                  </a:cxn>
                  <a:cxn ang="0">
                    <a:pos x="64" y="29"/>
                  </a:cxn>
                  <a:cxn ang="0">
                    <a:pos x="62" y="29"/>
                  </a:cxn>
                  <a:cxn ang="0">
                    <a:pos x="58" y="29"/>
                  </a:cxn>
                  <a:cxn ang="0">
                    <a:pos x="58" y="36"/>
                  </a:cxn>
                  <a:cxn ang="0">
                    <a:pos x="54" y="38"/>
                  </a:cxn>
                  <a:cxn ang="0">
                    <a:pos x="50" y="43"/>
                  </a:cxn>
                  <a:cxn ang="0">
                    <a:pos x="45" y="38"/>
                  </a:cxn>
                  <a:cxn ang="0">
                    <a:pos x="45" y="36"/>
                  </a:cxn>
                  <a:cxn ang="0">
                    <a:pos x="23" y="22"/>
                  </a:cxn>
                  <a:cxn ang="0">
                    <a:pos x="16" y="27"/>
                  </a:cxn>
                  <a:cxn ang="0">
                    <a:pos x="10" y="29"/>
                  </a:cxn>
                  <a:cxn ang="0">
                    <a:pos x="8" y="20"/>
                  </a:cxn>
                  <a:cxn ang="0">
                    <a:pos x="6" y="13"/>
                  </a:cxn>
                  <a:cxn ang="0">
                    <a:pos x="2" y="13"/>
                  </a:cxn>
                  <a:cxn ang="0">
                    <a:pos x="2" y="11"/>
                  </a:cxn>
                  <a:cxn ang="0">
                    <a:pos x="8" y="11"/>
                  </a:cxn>
                  <a:cxn ang="0">
                    <a:pos x="8" y="9"/>
                  </a:cxn>
                  <a:cxn ang="0">
                    <a:pos x="6" y="4"/>
                  </a:cxn>
                  <a:cxn ang="0">
                    <a:pos x="2" y="4"/>
                  </a:cxn>
                  <a:cxn ang="0">
                    <a:pos x="2" y="9"/>
                  </a:cxn>
                  <a:cxn ang="0">
                    <a:pos x="0" y="4"/>
                  </a:cxn>
                  <a:cxn ang="0">
                    <a:pos x="2" y="2"/>
                  </a:cxn>
                  <a:cxn ang="0">
                    <a:pos x="6" y="2"/>
                  </a:cxn>
                  <a:cxn ang="0">
                    <a:pos x="14" y="9"/>
                  </a:cxn>
                  <a:cxn ang="0">
                    <a:pos x="16" y="9"/>
                  </a:cxn>
                </a:cxnLst>
                <a:rect l="0" t="0" r="r" b="b"/>
                <a:pathLst>
                  <a:path w="64" h="43">
                    <a:moveTo>
                      <a:pt x="16" y="9"/>
                    </a:moveTo>
                    <a:lnTo>
                      <a:pt x="18" y="9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5" y="0"/>
                    </a:lnTo>
                    <a:lnTo>
                      <a:pt x="31" y="2"/>
                    </a:lnTo>
                    <a:lnTo>
                      <a:pt x="33" y="9"/>
                    </a:lnTo>
                    <a:lnTo>
                      <a:pt x="41" y="9"/>
                    </a:lnTo>
                    <a:lnTo>
                      <a:pt x="45" y="13"/>
                    </a:lnTo>
                    <a:lnTo>
                      <a:pt x="58" y="22"/>
                    </a:lnTo>
                    <a:lnTo>
                      <a:pt x="64" y="27"/>
                    </a:lnTo>
                    <a:lnTo>
                      <a:pt x="64" y="29"/>
                    </a:lnTo>
                    <a:lnTo>
                      <a:pt x="62" y="29"/>
                    </a:lnTo>
                    <a:lnTo>
                      <a:pt x="58" y="29"/>
                    </a:lnTo>
                    <a:lnTo>
                      <a:pt x="58" y="36"/>
                    </a:lnTo>
                    <a:lnTo>
                      <a:pt x="54" y="38"/>
                    </a:lnTo>
                    <a:lnTo>
                      <a:pt x="50" y="43"/>
                    </a:lnTo>
                    <a:lnTo>
                      <a:pt x="45" y="38"/>
                    </a:lnTo>
                    <a:lnTo>
                      <a:pt x="45" y="36"/>
                    </a:lnTo>
                    <a:lnTo>
                      <a:pt x="23" y="22"/>
                    </a:lnTo>
                    <a:lnTo>
                      <a:pt x="16" y="27"/>
                    </a:lnTo>
                    <a:lnTo>
                      <a:pt x="10" y="29"/>
                    </a:lnTo>
                    <a:lnTo>
                      <a:pt x="8" y="20"/>
                    </a:lnTo>
                    <a:lnTo>
                      <a:pt x="6" y="13"/>
                    </a:lnTo>
                    <a:lnTo>
                      <a:pt x="2" y="13"/>
                    </a:lnTo>
                    <a:lnTo>
                      <a:pt x="2" y="11"/>
                    </a:lnTo>
                    <a:lnTo>
                      <a:pt x="8" y="11"/>
                    </a:lnTo>
                    <a:lnTo>
                      <a:pt x="8" y="9"/>
                    </a:lnTo>
                    <a:lnTo>
                      <a:pt x="6" y="4"/>
                    </a:lnTo>
                    <a:lnTo>
                      <a:pt x="2" y="4"/>
                    </a:lnTo>
                    <a:lnTo>
                      <a:pt x="2" y="9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6" y="2"/>
                    </a:lnTo>
                    <a:lnTo>
                      <a:pt x="14" y="9"/>
                    </a:lnTo>
                    <a:lnTo>
                      <a:pt x="16" y="9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35" name="Turkey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894301" y="3214146"/>
                <a:ext cx="460933" cy="200824"/>
              </a:xfrm>
              <a:custGeom>
                <a:avLst/>
                <a:gdLst/>
                <a:ahLst/>
                <a:cxnLst>
                  <a:cxn ang="0">
                    <a:pos x="73" y="7"/>
                  </a:cxn>
                  <a:cxn ang="0">
                    <a:pos x="73" y="2"/>
                  </a:cxn>
                  <a:cxn ang="0">
                    <a:pos x="67" y="2"/>
                  </a:cxn>
                  <a:cxn ang="0">
                    <a:pos x="58" y="7"/>
                  </a:cxn>
                  <a:cxn ang="0">
                    <a:pos x="48" y="7"/>
                  </a:cxn>
                  <a:cxn ang="0">
                    <a:pos x="35" y="0"/>
                  </a:cxn>
                  <a:cxn ang="0">
                    <a:pos x="31" y="0"/>
                  </a:cxn>
                  <a:cxn ang="0">
                    <a:pos x="23" y="7"/>
                  </a:cxn>
                  <a:cxn ang="0">
                    <a:pos x="17" y="7"/>
                  </a:cxn>
                  <a:cxn ang="0">
                    <a:pos x="10" y="7"/>
                  </a:cxn>
                  <a:cxn ang="0">
                    <a:pos x="8" y="2"/>
                  </a:cxn>
                  <a:cxn ang="0">
                    <a:pos x="0" y="2"/>
                  </a:cxn>
                  <a:cxn ang="0">
                    <a:pos x="0" y="9"/>
                  </a:cxn>
                  <a:cxn ang="0">
                    <a:pos x="2" y="9"/>
                  </a:cxn>
                  <a:cxn ang="0">
                    <a:pos x="0" y="11"/>
                  </a:cxn>
                  <a:cxn ang="0">
                    <a:pos x="4" y="7"/>
                  </a:cxn>
                  <a:cxn ang="0">
                    <a:pos x="10" y="7"/>
                  </a:cxn>
                  <a:cxn ang="0">
                    <a:pos x="12" y="9"/>
                  </a:cxn>
                  <a:cxn ang="0">
                    <a:pos x="10" y="9"/>
                  </a:cxn>
                  <a:cxn ang="0">
                    <a:pos x="12" y="11"/>
                  </a:cxn>
                  <a:cxn ang="0">
                    <a:pos x="2" y="11"/>
                  </a:cxn>
                  <a:cxn ang="0">
                    <a:pos x="0" y="11"/>
                  </a:cxn>
                  <a:cxn ang="0">
                    <a:pos x="0" y="16"/>
                  </a:cxn>
                  <a:cxn ang="0">
                    <a:pos x="2" y="16"/>
                  </a:cxn>
                  <a:cxn ang="0">
                    <a:pos x="4" y="20"/>
                  </a:cxn>
                  <a:cxn ang="0">
                    <a:pos x="2" y="20"/>
                  </a:cxn>
                  <a:cxn ang="0">
                    <a:pos x="4" y="25"/>
                  </a:cxn>
                  <a:cxn ang="0">
                    <a:pos x="4" y="27"/>
                  </a:cxn>
                  <a:cxn ang="0">
                    <a:pos x="8" y="27"/>
                  </a:cxn>
                  <a:cxn ang="0">
                    <a:pos x="4" y="29"/>
                  </a:cxn>
                  <a:cxn ang="0">
                    <a:pos x="10" y="29"/>
                  </a:cxn>
                  <a:cxn ang="0">
                    <a:pos x="8" y="29"/>
                  </a:cxn>
                  <a:cxn ang="0">
                    <a:pos x="17" y="34"/>
                  </a:cxn>
                  <a:cxn ang="0">
                    <a:pos x="19" y="34"/>
                  </a:cxn>
                  <a:cxn ang="0">
                    <a:pos x="23" y="29"/>
                  </a:cxn>
                  <a:cxn ang="0">
                    <a:pos x="25" y="29"/>
                  </a:cxn>
                  <a:cxn ang="0">
                    <a:pos x="31" y="36"/>
                  </a:cxn>
                  <a:cxn ang="0">
                    <a:pos x="33" y="34"/>
                  </a:cxn>
                  <a:cxn ang="0">
                    <a:pos x="40" y="29"/>
                  </a:cxn>
                  <a:cxn ang="0">
                    <a:pos x="42" y="34"/>
                  </a:cxn>
                  <a:cxn ang="0">
                    <a:pos x="44" y="29"/>
                  </a:cxn>
                  <a:cxn ang="0">
                    <a:pos x="44" y="36"/>
                  </a:cxn>
                  <a:cxn ang="0">
                    <a:pos x="48" y="34"/>
                  </a:cxn>
                  <a:cxn ang="0">
                    <a:pos x="48" y="29"/>
                  </a:cxn>
                  <a:cxn ang="0">
                    <a:pos x="56" y="29"/>
                  </a:cxn>
                  <a:cxn ang="0">
                    <a:pos x="58" y="29"/>
                  </a:cxn>
                  <a:cxn ang="0">
                    <a:pos x="65" y="29"/>
                  </a:cxn>
                  <a:cxn ang="0">
                    <a:pos x="73" y="27"/>
                  </a:cxn>
                  <a:cxn ang="0">
                    <a:pos x="75" y="27"/>
                  </a:cxn>
                  <a:cxn ang="0">
                    <a:pos x="83" y="27"/>
                  </a:cxn>
                  <a:cxn ang="0">
                    <a:pos x="79" y="16"/>
                  </a:cxn>
                  <a:cxn ang="0">
                    <a:pos x="81" y="11"/>
                  </a:cxn>
                  <a:cxn ang="0">
                    <a:pos x="75" y="11"/>
                  </a:cxn>
                  <a:cxn ang="0">
                    <a:pos x="73" y="9"/>
                  </a:cxn>
                  <a:cxn ang="0">
                    <a:pos x="73" y="7"/>
                  </a:cxn>
                </a:cxnLst>
                <a:rect l="0" t="0" r="r" b="b"/>
                <a:pathLst>
                  <a:path w="83" h="36">
                    <a:moveTo>
                      <a:pt x="73" y="7"/>
                    </a:moveTo>
                    <a:lnTo>
                      <a:pt x="73" y="2"/>
                    </a:lnTo>
                    <a:lnTo>
                      <a:pt x="67" y="2"/>
                    </a:lnTo>
                    <a:lnTo>
                      <a:pt x="58" y="7"/>
                    </a:lnTo>
                    <a:lnTo>
                      <a:pt x="48" y="7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23" y="7"/>
                    </a:lnTo>
                    <a:lnTo>
                      <a:pt x="17" y="7"/>
                    </a:lnTo>
                    <a:lnTo>
                      <a:pt x="10" y="7"/>
                    </a:lnTo>
                    <a:lnTo>
                      <a:pt x="8" y="2"/>
                    </a:lnTo>
                    <a:lnTo>
                      <a:pt x="0" y="2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0" y="11"/>
                    </a:lnTo>
                    <a:lnTo>
                      <a:pt x="4" y="7"/>
                    </a:lnTo>
                    <a:lnTo>
                      <a:pt x="10" y="7"/>
                    </a:lnTo>
                    <a:lnTo>
                      <a:pt x="12" y="9"/>
                    </a:lnTo>
                    <a:lnTo>
                      <a:pt x="10" y="9"/>
                    </a:lnTo>
                    <a:lnTo>
                      <a:pt x="12" y="11"/>
                    </a:lnTo>
                    <a:lnTo>
                      <a:pt x="2" y="11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2" y="20"/>
                    </a:lnTo>
                    <a:lnTo>
                      <a:pt x="4" y="25"/>
                    </a:lnTo>
                    <a:lnTo>
                      <a:pt x="4" y="27"/>
                    </a:lnTo>
                    <a:lnTo>
                      <a:pt x="8" y="27"/>
                    </a:lnTo>
                    <a:lnTo>
                      <a:pt x="4" y="29"/>
                    </a:lnTo>
                    <a:lnTo>
                      <a:pt x="10" y="29"/>
                    </a:lnTo>
                    <a:lnTo>
                      <a:pt x="8" y="29"/>
                    </a:lnTo>
                    <a:lnTo>
                      <a:pt x="17" y="34"/>
                    </a:lnTo>
                    <a:lnTo>
                      <a:pt x="19" y="34"/>
                    </a:lnTo>
                    <a:lnTo>
                      <a:pt x="23" y="29"/>
                    </a:lnTo>
                    <a:lnTo>
                      <a:pt x="25" y="29"/>
                    </a:lnTo>
                    <a:lnTo>
                      <a:pt x="31" y="36"/>
                    </a:lnTo>
                    <a:lnTo>
                      <a:pt x="33" y="34"/>
                    </a:lnTo>
                    <a:lnTo>
                      <a:pt x="40" y="29"/>
                    </a:lnTo>
                    <a:lnTo>
                      <a:pt x="42" y="34"/>
                    </a:lnTo>
                    <a:lnTo>
                      <a:pt x="44" y="29"/>
                    </a:lnTo>
                    <a:lnTo>
                      <a:pt x="44" y="36"/>
                    </a:lnTo>
                    <a:lnTo>
                      <a:pt x="48" y="34"/>
                    </a:lnTo>
                    <a:lnTo>
                      <a:pt x="48" y="29"/>
                    </a:lnTo>
                    <a:lnTo>
                      <a:pt x="56" y="29"/>
                    </a:lnTo>
                    <a:lnTo>
                      <a:pt x="58" y="29"/>
                    </a:lnTo>
                    <a:lnTo>
                      <a:pt x="65" y="29"/>
                    </a:lnTo>
                    <a:lnTo>
                      <a:pt x="73" y="27"/>
                    </a:lnTo>
                    <a:lnTo>
                      <a:pt x="75" y="27"/>
                    </a:lnTo>
                    <a:lnTo>
                      <a:pt x="83" y="27"/>
                    </a:lnTo>
                    <a:lnTo>
                      <a:pt x="79" y="16"/>
                    </a:lnTo>
                    <a:lnTo>
                      <a:pt x="81" y="11"/>
                    </a:lnTo>
                    <a:lnTo>
                      <a:pt x="75" y="11"/>
                    </a:lnTo>
                    <a:lnTo>
                      <a:pt x="73" y="9"/>
                    </a:lnTo>
                    <a:lnTo>
                      <a:pt x="73" y="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436" name="Tunesia"/>
              <p:cNvGrpSpPr/>
              <p:nvPr/>
            </p:nvGrpSpPr>
            <p:grpSpPr>
              <a:xfrm>
                <a:off x="4448040" y="3376285"/>
                <a:ext cx="98459" cy="221979"/>
                <a:chOff x="2070100" y="2238375"/>
                <a:chExt cx="222250" cy="422275"/>
              </a:xfrm>
              <a:solidFill>
                <a:schemeClr val="accent3"/>
              </a:solidFill>
            </p:grpSpPr>
            <p:sp>
              <p:nvSpPr>
                <p:cNvPr id="837" name="Tunesia"/>
                <p:cNvSpPr>
                  <a:spLocks/>
                </p:cNvSpPr>
                <p:nvPr/>
              </p:nvSpPr>
              <p:spPr bwMode="auto">
                <a:xfrm>
                  <a:off x="2070100" y="2238375"/>
                  <a:ext cx="222250" cy="422275"/>
                </a:xfrm>
                <a:custGeom>
                  <a:avLst/>
                  <a:gdLst>
                    <a:gd name="T0" fmla="*/ 264 w 271"/>
                    <a:gd name="T1" fmla="*/ 307 h 514"/>
                    <a:gd name="T2" fmla="*/ 261 w 271"/>
                    <a:gd name="T3" fmla="*/ 339 h 514"/>
                    <a:gd name="T4" fmla="*/ 258 w 271"/>
                    <a:gd name="T5" fmla="*/ 360 h 514"/>
                    <a:gd name="T6" fmla="*/ 220 w 271"/>
                    <a:gd name="T7" fmla="*/ 378 h 514"/>
                    <a:gd name="T8" fmla="*/ 199 w 271"/>
                    <a:gd name="T9" fmla="*/ 400 h 514"/>
                    <a:gd name="T10" fmla="*/ 175 w 271"/>
                    <a:gd name="T11" fmla="*/ 416 h 514"/>
                    <a:gd name="T12" fmla="*/ 177 w 271"/>
                    <a:gd name="T13" fmla="*/ 465 h 514"/>
                    <a:gd name="T14" fmla="*/ 148 w 271"/>
                    <a:gd name="T15" fmla="*/ 505 h 514"/>
                    <a:gd name="T16" fmla="*/ 126 w 271"/>
                    <a:gd name="T17" fmla="*/ 511 h 514"/>
                    <a:gd name="T18" fmla="*/ 123 w 271"/>
                    <a:gd name="T19" fmla="*/ 504 h 514"/>
                    <a:gd name="T20" fmla="*/ 99 w 271"/>
                    <a:gd name="T21" fmla="*/ 378 h 514"/>
                    <a:gd name="T22" fmla="*/ 53 w 271"/>
                    <a:gd name="T23" fmla="*/ 345 h 514"/>
                    <a:gd name="T24" fmla="*/ 46 w 271"/>
                    <a:gd name="T25" fmla="*/ 315 h 514"/>
                    <a:gd name="T26" fmla="*/ 15 w 271"/>
                    <a:gd name="T27" fmla="*/ 291 h 514"/>
                    <a:gd name="T28" fmla="*/ 3 w 271"/>
                    <a:gd name="T29" fmla="*/ 241 h 514"/>
                    <a:gd name="T30" fmla="*/ 28 w 271"/>
                    <a:gd name="T31" fmla="*/ 209 h 514"/>
                    <a:gd name="T32" fmla="*/ 58 w 271"/>
                    <a:gd name="T33" fmla="*/ 180 h 514"/>
                    <a:gd name="T34" fmla="*/ 60 w 271"/>
                    <a:gd name="T35" fmla="*/ 167 h 514"/>
                    <a:gd name="T36" fmla="*/ 62 w 271"/>
                    <a:gd name="T37" fmla="*/ 143 h 514"/>
                    <a:gd name="T38" fmla="*/ 61 w 271"/>
                    <a:gd name="T39" fmla="*/ 111 h 514"/>
                    <a:gd name="T40" fmla="*/ 70 w 271"/>
                    <a:gd name="T41" fmla="*/ 63 h 514"/>
                    <a:gd name="T42" fmla="*/ 63 w 271"/>
                    <a:gd name="T43" fmla="*/ 53 h 514"/>
                    <a:gd name="T44" fmla="*/ 76 w 271"/>
                    <a:gd name="T45" fmla="*/ 38 h 514"/>
                    <a:gd name="T46" fmla="*/ 89 w 271"/>
                    <a:gd name="T47" fmla="*/ 27 h 514"/>
                    <a:gd name="T48" fmla="*/ 88 w 271"/>
                    <a:gd name="T49" fmla="*/ 26 h 514"/>
                    <a:gd name="T50" fmla="*/ 103 w 271"/>
                    <a:gd name="T51" fmla="*/ 20 h 514"/>
                    <a:gd name="T52" fmla="*/ 132 w 271"/>
                    <a:gd name="T53" fmla="*/ 5 h 514"/>
                    <a:gd name="T54" fmla="*/ 159 w 271"/>
                    <a:gd name="T55" fmla="*/ 1 h 514"/>
                    <a:gd name="T56" fmla="*/ 189 w 271"/>
                    <a:gd name="T57" fmla="*/ 8 h 514"/>
                    <a:gd name="T58" fmla="*/ 192 w 271"/>
                    <a:gd name="T59" fmla="*/ 19 h 514"/>
                    <a:gd name="T60" fmla="*/ 194 w 271"/>
                    <a:gd name="T61" fmla="*/ 32 h 514"/>
                    <a:gd name="T62" fmla="*/ 201 w 271"/>
                    <a:gd name="T63" fmla="*/ 40 h 514"/>
                    <a:gd name="T64" fmla="*/ 212 w 271"/>
                    <a:gd name="T65" fmla="*/ 37 h 514"/>
                    <a:gd name="T66" fmla="*/ 230 w 271"/>
                    <a:gd name="T67" fmla="*/ 25 h 514"/>
                    <a:gd name="T68" fmla="*/ 242 w 271"/>
                    <a:gd name="T69" fmla="*/ 21 h 514"/>
                    <a:gd name="T70" fmla="*/ 247 w 271"/>
                    <a:gd name="T71" fmla="*/ 34 h 514"/>
                    <a:gd name="T72" fmla="*/ 233 w 271"/>
                    <a:gd name="T73" fmla="*/ 58 h 514"/>
                    <a:gd name="T74" fmla="*/ 214 w 271"/>
                    <a:gd name="T75" fmla="*/ 67 h 514"/>
                    <a:gd name="T76" fmla="*/ 207 w 271"/>
                    <a:gd name="T77" fmla="*/ 79 h 514"/>
                    <a:gd name="T78" fmla="*/ 209 w 271"/>
                    <a:gd name="T79" fmla="*/ 99 h 514"/>
                    <a:gd name="T80" fmla="*/ 216 w 271"/>
                    <a:gd name="T81" fmla="*/ 109 h 514"/>
                    <a:gd name="T82" fmla="*/ 228 w 271"/>
                    <a:gd name="T83" fmla="*/ 114 h 514"/>
                    <a:gd name="T84" fmla="*/ 239 w 271"/>
                    <a:gd name="T85" fmla="*/ 124 h 514"/>
                    <a:gd name="T86" fmla="*/ 243 w 271"/>
                    <a:gd name="T87" fmla="*/ 147 h 514"/>
                    <a:gd name="T88" fmla="*/ 239 w 271"/>
                    <a:gd name="T89" fmla="*/ 159 h 514"/>
                    <a:gd name="T90" fmla="*/ 222 w 271"/>
                    <a:gd name="T91" fmla="*/ 189 h 514"/>
                    <a:gd name="T92" fmla="*/ 194 w 271"/>
                    <a:gd name="T93" fmla="*/ 208 h 514"/>
                    <a:gd name="T94" fmla="*/ 180 w 271"/>
                    <a:gd name="T95" fmla="*/ 216 h 514"/>
                    <a:gd name="T96" fmla="*/ 174 w 271"/>
                    <a:gd name="T97" fmla="*/ 226 h 514"/>
                    <a:gd name="T98" fmla="*/ 168 w 271"/>
                    <a:gd name="T99" fmla="*/ 234 h 514"/>
                    <a:gd name="T100" fmla="*/ 158 w 271"/>
                    <a:gd name="T101" fmla="*/ 234 h 514"/>
                    <a:gd name="T102" fmla="*/ 160 w 271"/>
                    <a:gd name="T103" fmla="*/ 251 h 514"/>
                    <a:gd name="T104" fmla="*/ 169 w 271"/>
                    <a:gd name="T105" fmla="*/ 260 h 514"/>
                    <a:gd name="T106" fmla="*/ 195 w 271"/>
                    <a:gd name="T107" fmla="*/ 265 h 514"/>
                    <a:gd name="T108" fmla="*/ 204 w 271"/>
                    <a:gd name="T109" fmla="*/ 277 h 514"/>
                    <a:gd name="T110" fmla="*/ 221 w 271"/>
                    <a:gd name="T111" fmla="*/ 271 h 514"/>
                    <a:gd name="T112" fmla="*/ 227 w 271"/>
                    <a:gd name="T113" fmla="*/ 288 h 514"/>
                    <a:gd name="T114" fmla="*/ 232 w 271"/>
                    <a:gd name="T115" fmla="*/ 300 h 514"/>
                    <a:gd name="T116" fmla="*/ 245 w 271"/>
                    <a:gd name="T117" fmla="*/ 299 h 514"/>
                    <a:gd name="T118" fmla="*/ 264 w 271"/>
                    <a:gd name="T119" fmla="*/ 307 h 5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271" h="514">
                      <a:moveTo>
                        <a:pt x="264" y="307"/>
                      </a:moveTo>
                      <a:cubicBezTo>
                        <a:pt x="261" y="319"/>
                        <a:pt x="261" y="326"/>
                        <a:pt x="261" y="339"/>
                      </a:cubicBezTo>
                      <a:cubicBezTo>
                        <a:pt x="265" y="346"/>
                        <a:pt x="271" y="356"/>
                        <a:pt x="258" y="360"/>
                      </a:cubicBezTo>
                      <a:cubicBezTo>
                        <a:pt x="246" y="366"/>
                        <a:pt x="230" y="370"/>
                        <a:pt x="220" y="378"/>
                      </a:cubicBezTo>
                      <a:cubicBezTo>
                        <a:pt x="215" y="389"/>
                        <a:pt x="200" y="387"/>
                        <a:pt x="199" y="400"/>
                      </a:cubicBezTo>
                      <a:cubicBezTo>
                        <a:pt x="192" y="410"/>
                        <a:pt x="178" y="402"/>
                        <a:pt x="175" y="416"/>
                      </a:cubicBezTo>
                      <a:cubicBezTo>
                        <a:pt x="159" y="429"/>
                        <a:pt x="180" y="449"/>
                        <a:pt x="177" y="465"/>
                      </a:cubicBezTo>
                      <a:cubicBezTo>
                        <a:pt x="172" y="481"/>
                        <a:pt x="159" y="493"/>
                        <a:pt x="148" y="505"/>
                      </a:cubicBezTo>
                      <a:cubicBezTo>
                        <a:pt x="142" y="505"/>
                        <a:pt x="131" y="514"/>
                        <a:pt x="126" y="511"/>
                      </a:cubicBezTo>
                      <a:cubicBezTo>
                        <a:pt x="124" y="511"/>
                        <a:pt x="123" y="508"/>
                        <a:pt x="123" y="504"/>
                      </a:cubicBezTo>
                      <a:cubicBezTo>
                        <a:pt x="115" y="462"/>
                        <a:pt x="107" y="420"/>
                        <a:pt x="99" y="378"/>
                      </a:cubicBezTo>
                      <a:cubicBezTo>
                        <a:pt x="84" y="367"/>
                        <a:pt x="68" y="356"/>
                        <a:pt x="53" y="345"/>
                      </a:cubicBezTo>
                      <a:cubicBezTo>
                        <a:pt x="52" y="335"/>
                        <a:pt x="54" y="323"/>
                        <a:pt x="46" y="315"/>
                      </a:cubicBezTo>
                      <a:cubicBezTo>
                        <a:pt x="42" y="300"/>
                        <a:pt x="23" y="301"/>
                        <a:pt x="15" y="291"/>
                      </a:cubicBezTo>
                      <a:cubicBezTo>
                        <a:pt x="19" y="273"/>
                        <a:pt x="0" y="260"/>
                        <a:pt x="3" y="241"/>
                      </a:cubicBezTo>
                      <a:cubicBezTo>
                        <a:pt x="2" y="223"/>
                        <a:pt x="25" y="225"/>
                        <a:pt x="28" y="209"/>
                      </a:cubicBezTo>
                      <a:cubicBezTo>
                        <a:pt x="39" y="201"/>
                        <a:pt x="58" y="198"/>
                        <a:pt x="58" y="180"/>
                      </a:cubicBezTo>
                      <a:cubicBezTo>
                        <a:pt x="57" y="175"/>
                        <a:pt x="56" y="170"/>
                        <a:pt x="60" y="167"/>
                      </a:cubicBezTo>
                      <a:cubicBezTo>
                        <a:pt x="61" y="157"/>
                        <a:pt x="77" y="148"/>
                        <a:pt x="62" y="143"/>
                      </a:cubicBezTo>
                      <a:cubicBezTo>
                        <a:pt x="62" y="132"/>
                        <a:pt x="70" y="121"/>
                        <a:pt x="61" y="111"/>
                      </a:cubicBezTo>
                      <a:cubicBezTo>
                        <a:pt x="60" y="94"/>
                        <a:pt x="69" y="79"/>
                        <a:pt x="70" y="63"/>
                      </a:cubicBezTo>
                      <a:cubicBezTo>
                        <a:pt x="67" y="59"/>
                        <a:pt x="54" y="59"/>
                        <a:pt x="63" y="53"/>
                      </a:cubicBezTo>
                      <a:cubicBezTo>
                        <a:pt x="70" y="52"/>
                        <a:pt x="82" y="47"/>
                        <a:pt x="76" y="38"/>
                      </a:cubicBezTo>
                      <a:cubicBezTo>
                        <a:pt x="83" y="34"/>
                        <a:pt x="93" y="41"/>
                        <a:pt x="89" y="27"/>
                      </a:cubicBezTo>
                      <a:cubicBezTo>
                        <a:pt x="88" y="26"/>
                        <a:pt x="88" y="26"/>
                        <a:pt x="88" y="26"/>
                      </a:cubicBezTo>
                      <a:cubicBezTo>
                        <a:pt x="94" y="26"/>
                        <a:pt x="100" y="25"/>
                        <a:pt x="103" y="20"/>
                      </a:cubicBezTo>
                      <a:cubicBezTo>
                        <a:pt x="112" y="13"/>
                        <a:pt x="122" y="9"/>
                        <a:pt x="132" y="5"/>
                      </a:cubicBezTo>
                      <a:cubicBezTo>
                        <a:pt x="141" y="2"/>
                        <a:pt x="150" y="1"/>
                        <a:pt x="159" y="1"/>
                      </a:cubicBezTo>
                      <a:cubicBezTo>
                        <a:pt x="170" y="0"/>
                        <a:pt x="179" y="5"/>
                        <a:pt x="189" y="8"/>
                      </a:cubicBezTo>
                      <a:cubicBezTo>
                        <a:pt x="187" y="10"/>
                        <a:pt x="190" y="16"/>
                        <a:pt x="192" y="19"/>
                      </a:cubicBezTo>
                      <a:cubicBezTo>
                        <a:pt x="195" y="23"/>
                        <a:pt x="197" y="27"/>
                        <a:pt x="194" y="32"/>
                      </a:cubicBezTo>
                      <a:cubicBezTo>
                        <a:pt x="192" y="37"/>
                        <a:pt x="197" y="38"/>
                        <a:pt x="201" y="40"/>
                      </a:cubicBezTo>
                      <a:cubicBezTo>
                        <a:pt x="205" y="43"/>
                        <a:pt x="208" y="39"/>
                        <a:pt x="212" y="37"/>
                      </a:cubicBezTo>
                      <a:cubicBezTo>
                        <a:pt x="219" y="36"/>
                        <a:pt x="225" y="31"/>
                        <a:pt x="230" y="25"/>
                      </a:cubicBezTo>
                      <a:cubicBezTo>
                        <a:pt x="232" y="20"/>
                        <a:pt x="237" y="21"/>
                        <a:pt x="242" y="21"/>
                      </a:cubicBezTo>
                      <a:cubicBezTo>
                        <a:pt x="244" y="25"/>
                        <a:pt x="245" y="30"/>
                        <a:pt x="247" y="34"/>
                      </a:cubicBezTo>
                      <a:cubicBezTo>
                        <a:pt x="242" y="41"/>
                        <a:pt x="238" y="50"/>
                        <a:pt x="233" y="58"/>
                      </a:cubicBezTo>
                      <a:cubicBezTo>
                        <a:pt x="227" y="60"/>
                        <a:pt x="219" y="62"/>
                        <a:pt x="214" y="67"/>
                      </a:cubicBezTo>
                      <a:cubicBezTo>
                        <a:pt x="209" y="69"/>
                        <a:pt x="208" y="74"/>
                        <a:pt x="207" y="79"/>
                      </a:cubicBezTo>
                      <a:cubicBezTo>
                        <a:pt x="204" y="85"/>
                        <a:pt x="208" y="92"/>
                        <a:pt x="209" y="99"/>
                      </a:cubicBezTo>
                      <a:cubicBezTo>
                        <a:pt x="210" y="102"/>
                        <a:pt x="212" y="108"/>
                        <a:pt x="216" y="109"/>
                      </a:cubicBezTo>
                      <a:cubicBezTo>
                        <a:pt x="220" y="110"/>
                        <a:pt x="227" y="108"/>
                        <a:pt x="228" y="114"/>
                      </a:cubicBezTo>
                      <a:cubicBezTo>
                        <a:pt x="228" y="119"/>
                        <a:pt x="234" y="121"/>
                        <a:pt x="239" y="124"/>
                      </a:cubicBezTo>
                      <a:cubicBezTo>
                        <a:pt x="240" y="132"/>
                        <a:pt x="240" y="140"/>
                        <a:pt x="243" y="147"/>
                      </a:cubicBezTo>
                      <a:cubicBezTo>
                        <a:pt x="246" y="152"/>
                        <a:pt x="241" y="155"/>
                        <a:pt x="239" y="159"/>
                      </a:cubicBezTo>
                      <a:cubicBezTo>
                        <a:pt x="234" y="169"/>
                        <a:pt x="230" y="181"/>
                        <a:pt x="222" y="189"/>
                      </a:cubicBezTo>
                      <a:cubicBezTo>
                        <a:pt x="213" y="196"/>
                        <a:pt x="205" y="204"/>
                        <a:pt x="194" y="208"/>
                      </a:cubicBezTo>
                      <a:cubicBezTo>
                        <a:pt x="190" y="212"/>
                        <a:pt x="186" y="216"/>
                        <a:pt x="180" y="216"/>
                      </a:cubicBezTo>
                      <a:cubicBezTo>
                        <a:pt x="175" y="217"/>
                        <a:pt x="175" y="223"/>
                        <a:pt x="174" y="226"/>
                      </a:cubicBezTo>
                      <a:cubicBezTo>
                        <a:pt x="172" y="230"/>
                        <a:pt x="175" y="237"/>
                        <a:pt x="168" y="234"/>
                      </a:cubicBezTo>
                      <a:cubicBezTo>
                        <a:pt x="165" y="234"/>
                        <a:pt x="157" y="228"/>
                        <a:pt x="158" y="234"/>
                      </a:cubicBezTo>
                      <a:cubicBezTo>
                        <a:pt x="158" y="240"/>
                        <a:pt x="158" y="246"/>
                        <a:pt x="160" y="251"/>
                      </a:cubicBezTo>
                      <a:cubicBezTo>
                        <a:pt x="160" y="257"/>
                        <a:pt x="166" y="258"/>
                        <a:pt x="169" y="260"/>
                      </a:cubicBezTo>
                      <a:cubicBezTo>
                        <a:pt x="176" y="267"/>
                        <a:pt x="187" y="269"/>
                        <a:pt x="195" y="265"/>
                      </a:cubicBezTo>
                      <a:cubicBezTo>
                        <a:pt x="197" y="270"/>
                        <a:pt x="200" y="274"/>
                        <a:pt x="204" y="277"/>
                      </a:cubicBezTo>
                      <a:cubicBezTo>
                        <a:pt x="209" y="275"/>
                        <a:pt x="214" y="270"/>
                        <a:pt x="221" y="271"/>
                      </a:cubicBezTo>
                      <a:cubicBezTo>
                        <a:pt x="223" y="277"/>
                        <a:pt x="226" y="282"/>
                        <a:pt x="227" y="288"/>
                      </a:cubicBezTo>
                      <a:cubicBezTo>
                        <a:pt x="229" y="292"/>
                        <a:pt x="228" y="297"/>
                        <a:pt x="232" y="300"/>
                      </a:cubicBezTo>
                      <a:cubicBezTo>
                        <a:pt x="236" y="301"/>
                        <a:pt x="241" y="300"/>
                        <a:pt x="245" y="299"/>
                      </a:cubicBezTo>
                      <a:cubicBezTo>
                        <a:pt x="251" y="304"/>
                        <a:pt x="258" y="304"/>
                        <a:pt x="264" y="307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38" name="Tunesia"/>
                <p:cNvSpPr>
                  <a:spLocks/>
                </p:cNvSpPr>
                <p:nvPr/>
              </p:nvSpPr>
              <p:spPr bwMode="auto">
                <a:xfrm>
                  <a:off x="2268538" y="2389188"/>
                  <a:ext cx="11113" cy="9525"/>
                </a:xfrm>
                <a:custGeom>
                  <a:avLst/>
                  <a:gdLst>
                    <a:gd name="T0" fmla="*/ 1 w 7"/>
                    <a:gd name="T1" fmla="*/ 5 h 6"/>
                    <a:gd name="T2" fmla="*/ 1 w 7"/>
                    <a:gd name="T3" fmla="*/ 6 h 6"/>
                    <a:gd name="T4" fmla="*/ 0 w 7"/>
                    <a:gd name="T5" fmla="*/ 6 h 6"/>
                    <a:gd name="T6" fmla="*/ 0 w 7"/>
                    <a:gd name="T7" fmla="*/ 5 h 6"/>
                    <a:gd name="T8" fmla="*/ 0 w 7"/>
                    <a:gd name="T9" fmla="*/ 5 h 6"/>
                    <a:gd name="T10" fmla="*/ 0 w 7"/>
                    <a:gd name="T11" fmla="*/ 4 h 6"/>
                    <a:gd name="T12" fmla="*/ 1 w 7"/>
                    <a:gd name="T13" fmla="*/ 4 h 6"/>
                    <a:gd name="T14" fmla="*/ 1 w 7"/>
                    <a:gd name="T15" fmla="*/ 4 h 6"/>
                    <a:gd name="T16" fmla="*/ 1 w 7"/>
                    <a:gd name="T17" fmla="*/ 4 h 6"/>
                    <a:gd name="T18" fmla="*/ 1 w 7"/>
                    <a:gd name="T19" fmla="*/ 3 h 6"/>
                    <a:gd name="T20" fmla="*/ 2 w 7"/>
                    <a:gd name="T21" fmla="*/ 3 h 6"/>
                    <a:gd name="T22" fmla="*/ 2 w 7"/>
                    <a:gd name="T23" fmla="*/ 3 h 6"/>
                    <a:gd name="T24" fmla="*/ 2 w 7"/>
                    <a:gd name="T25" fmla="*/ 2 h 6"/>
                    <a:gd name="T26" fmla="*/ 2 w 7"/>
                    <a:gd name="T27" fmla="*/ 3 h 6"/>
                    <a:gd name="T28" fmla="*/ 3 w 7"/>
                    <a:gd name="T29" fmla="*/ 3 h 6"/>
                    <a:gd name="T30" fmla="*/ 3 w 7"/>
                    <a:gd name="T31" fmla="*/ 3 h 6"/>
                    <a:gd name="T32" fmla="*/ 3 w 7"/>
                    <a:gd name="T33" fmla="*/ 2 h 6"/>
                    <a:gd name="T34" fmla="*/ 3 w 7"/>
                    <a:gd name="T35" fmla="*/ 2 h 6"/>
                    <a:gd name="T36" fmla="*/ 3 w 7"/>
                    <a:gd name="T37" fmla="*/ 2 h 6"/>
                    <a:gd name="T38" fmla="*/ 3 w 7"/>
                    <a:gd name="T39" fmla="*/ 1 h 6"/>
                    <a:gd name="T40" fmla="*/ 3 w 7"/>
                    <a:gd name="T41" fmla="*/ 1 h 6"/>
                    <a:gd name="T42" fmla="*/ 4 w 7"/>
                    <a:gd name="T43" fmla="*/ 1 h 6"/>
                    <a:gd name="T44" fmla="*/ 4 w 7"/>
                    <a:gd name="T45" fmla="*/ 1 h 6"/>
                    <a:gd name="T46" fmla="*/ 5 w 7"/>
                    <a:gd name="T47" fmla="*/ 0 h 6"/>
                    <a:gd name="T48" fmla="*/ 5 w 7"/>
                    <a:gd name="T49" fmla="*/ 0 h 6"/>
                    <a:gd name="T50" fmla="*/ 5 w 7"/>
                    <a:gd name="T51" fmla="*/ 0 h 6"/>
                    <a:gd name="T52" fmla="*/ 6 w 7"/>
                    <a:gd name="T53" fmla="*/ 0 h 6"/>
                    <a:gd name="T54" fmla="*/ 6 w 7"/>
                    <a:gd name="T55" fmla="*/ 0 h 6"/>
                    <a:gd name="T56" fmla="*/ 6 w 7"/>
                    <a:gd name="T57" fmla="*/ 1 h 6"/>
                    <a:gd name="T58" fmla="*/ 7 w 7"/>
                    <a:gd name="T59" fmla="*/ 1 h 6"/>
                    <a:gd name="T60" fmla="*/ 7 w 7"/>
                    <a:gd name="T61" fmla="*/ 1 h 6"/>
                    <a:gd name="T62" fmla="*/ 6 w 7"/>
                    <a:gd name="T63" fmla="*/ 1 h 6"/>
                    <a:gd name="T64" fmla="*/ 6 w 7"/>
                    <a:gd name="T65" fmla="*/ 1 h 6"/>
                    <a:gd name="T66" fmla="*/ 6 w 7"/>
                    <a:gd name="T67" fmla="*/ 1 h 6"/>
                    <a:gd name="T68" fmla="*/ 6 w 7"/>
                    <a:gd name="T69" fmla="*/ 1 h 6"/>
                    <a:gd name="T70" fmla="*/ 6 w 7"/>
                    <a:gd name="T71" fmla="*/ 2 h 6"/>
                    <a:gd name="T72" fmla="*/ 6 w 7"/>
                    <a:gd name="T73" fmla="*/ 2 h 6"/>
                    <a:gd name="T74" fmla="*/ 6 w 7"/>
                    <a:gd name="T75" fmla="*/ 2 h 6"/>
                    <a:gd name="T76" fmla="*/ 6 w 7"/>
                    <a:gd name="T77" fmla="*/ 3 h 6"/>
                    <a:gd name="T78" fmla="*/ 6 w 7"/>
                    <a:gd name="T79" fmla="*/ 3 h 6"/>
                    <a:gd name="T80" fmla="*/ 6 w 7"/>
                    <a:gd name="T81" fmla="*/ 3 h 6"/>
                    <a:gd name="T82" fmla="*/ 5 w 7"/>
                    <a:gd name="T83" fmla="*/ 3 h 6"/>
                    <a:gd name="T84" fmla="*/ 5 w 7"/>
                    <a:gd name="T85" fmla="*/ 4 h 6"/>
                    <a:gd name="T86" fmla="*/ 5 w 7"/>
                    <a:gd name="T87" fmla="*/ 4 h 6"/>
                    <a:gd name="T88" fmla="*/ 4 w 7"/>
                    <a:gd name="T89" fmla="*/ 4 h 6"/>
                    <a:gd name="T90" fmla="*/ 3 w 7"/>
                    <a:gd name="T91" fmla="*/ 4 h 6"/>
                    <a:gd name="T92" fmla="*/ 3 w 7"/>
                    <a:gd name="T93" fmla="*/ 4 h 6"/>
                    <a:gd name="T94" fmla="*/ 3 w 7"/>
                    <a:gd name="T95" fmla="*/ 4 h 6"/>
                    <a:gd name="T96" fmla="*/ 2 w 7"/>
                    <a:gd name="T97" fmla="*/ 4 h 6"/>
                    <a:gd name="T98" fmla="*/ 2 w 7"/>
                    <a:gd name="T99" fmla="*/ 5 h 6"/>
                    <a:gd name="T100" fmla="*/ 2 w 7"/>
                    <a:gd name="T101" fmla="*/ 5 h 6"/>
                    <a:gd name="T102" fmla="*/ 1 w 7"/>
                    <a:gd name="T103" fmla="*/ 5 h 6"/>
                    <a:gd name="T104" fmla="*/ 1 w 7"/>
                    <a:gd name="T105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7" h="6">
                      <a:moveTo>
                        <a:pt x="1" y="5"/>
                      </a:moveTo>
                      <a:lnTo>
                        <a:pt x="1" y="5"/>
                      </a:lnTo>
                      <a:lnTo>
                        <a:pt x="1" y="6"/>
                      </a:lnTo>
                      <a:lnTo>
                        <a:pt x="1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1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5" y="3"/>
                      </a:lnTo>
                      <a:lnTo>
                        <a:pt x="5" y="3"/>
                      </a:lnTo>
                      <a:lnTo>
                        <a:pt x="5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lnTo>
                        <a:pt x="5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39" name="Tunesia"/>
                <p:cNvSpPr>
                  <a:spLocks/>
                </p:cNvSpPr>
                <p:nvPr/>
              </p:nvSpPr>
              <p:spPr bwMode="auto">
                <a:xfrm>
                  <a:off x="2238375" y="2443163"/>
                  <a:ext cx="12700" cy="12700"/>
                </a:xfrm>
                <a:custGeom>
                  <a:avLst/>
                  <a:gdLst>
                    <a:gd name="T0" fmla="*/ 7 w 8"/>
                    <a:gd name="T1" fmla="*/ 2 h 8"/>
                    <a:gd name="T2" fmla="*/ 8 w 8"/>
                    <a:gd name="T3" fmla="*/ 4 h 8"/>
                    <a:gd name="T4" fmla="*/ 8 w 8"/>
                    <a:gd name="T5" fmla="*/ 7 h 8"/>
                    <a:gd name="T6" fmla="*/ 5 w 8"/>
                    <a:gd name="T7" fmla="*/ 8 h 8"/>
                    <a:gd name="T8" fmla="*/ 1 w 8"/>
                    <a:gd name="T9" fmla="*/ 7 h 8"/>
                    <a:gd name="T10" fmla="*/ 0 w 8"/>
                    <a:gd name="T11" fmla="*/ 3 h 8"/>
                    <a:gd name="T12" fmla="*/ 2 w 8"/>
                    <a:gd name="T13" fmla="*/ 1 h 8"/>
                    <a:gd name="T14" fmla="*/ 4 w 8"/>
                    <a:gd name="T15" fmla="*/ 0 h 8"/>
                    <a:gd name="T16" fmla="*/ 6 w 8"/>
                    <a:gd name="T17" fmla="*/ 1 h 8"/>
                    <a:gd name="T18" fmla="*/ 6 w 8"/>
                    <a:gd name="T19" fmla="*/ 0 h 8"/>
                    <a:gd name="T20" fmla="*/ 7 w 8"/>
                    <a:gd name="T21" fmla="*/ 1 h 8"/>
                    <a:gd name="T22" fmla="*/ 6 w 8"/>
                    <a:gd name="T23" fmla="*/ 1 h 8"/>
                    <a:gd name="T24" fmla="*/ 7 w 8"/>
                    <a:gd name="T25" fmla="*/ 2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" h="8">
                      <a:moveTo>
                        <a:pt x="7" y="2"/>
                      </a:moveTo>
                      <a:lnTo>
                        <a:pt x="8" y="4"/>
                      </a:lnTo>
                      <a:lnTo>
                        <a:pt x="8" y="7"/>
                      </a:lnTo>
                      <a:lnTo>
                        <a:pt x="5" y="8"/>
                      </a:lnTo>
                      <a:lnTo>
                        <a:pt x="1" y="7"/>
                      </a:lnTo>
                      <a:lnTo>
                        <a:pt x="0" y="3"/>
                      </a:lnTo>
                      <a:lnTo>
                        <a:pt x="2" y="1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6" y="0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7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437" name="Trinidad and Tobago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625979" y="4218261"/>
                <a:ext cx="21039" cy="38252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4" y="7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0" y="5"/>
                  </a:cxn>
                  <a:cxn ang="0">
                    <a:pos x="0" y="7"/>
                  </a:cxn>
                </a:cxnLst>
                <a:rect l="0" t="0" r="r" b="b"/>
                <a:pathLst>
                  <a:path w="4" h="7">
                    <a:moveTo>
                      <a:pt x="0" y="7"/>
                    </a:moveTo>
                    <a:lnTo>
                      <a:pt x="4" y="7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38" name="Togo"/>
              <p:cNvSpPr>
                <a:spLocks/>
              </p:cNvSpPr>
              <p:nvPr/>
            </p:nvSpPr>
            <p:spPr bwMode="auto">
              <a:xfrm>
                <a:off x="4217247" y="4208698"/>
                <a:ext cx="51640" cy="166397"/>
              </a:xfrm>
              <a:custGeom>
                <a:avLst/>
                <a:gdLst>
                  <a:gd name="T0" fmla="*/ 29 w 145"/>
                  <a:gd name="T1" fmla="*/ 128 h 389"/>
                  <a:gd name="T2" fmla="*/ 34 w 145"/>
                  <a:gd name="T3" fmla="*/ 120 h 389"/>
                  <a:gd name="T4" fmla="*/ 32 w 145"/>
                  <a:gd name="T5" fmla="*/ 116 h 389"/>
                  <a:gd name="T6" fmla="*/ 37 w 145"/>
                  <a:gd name="T7" fmla="*/ 106 h 389"/>
                  <a:gd name="T8" fmla="*/ 40 w 145"/>
                  <a:gd name="T9" fmla="*/ 72 h 389"/>
                  <a:gd name="T10" fmla="*/ 27 w 145"/>
                  <a:gd name="T11" fmla="*/ 53 h 389"/>
                  <a:gd name="T12" fmla="*/ 13 w 145"/>
                  <a:gd name="T13" fmla="*/ 26 h 389"/>
                  <a:gd name="T14" fmla="*/ 9 w 145"/>
                  <a:gd name="T15" fmla="*/ 4 h 389"/>
                  <a:gd name="T16" fmla="*/ 5 w 145"/>
                  <a:gd name="T17" fmla="*/ 1 h 389"/>
                  <a:gd name="T18" fmla="*/ 5 w 145"/>
                  <a:gd name="T19" fmla="*/ 0 h 389"/>
                  <a:gd name="T20" fmla="*/ 14 w 145"/>
                  <a:gd name="T21" fmla="*/ 2 h 389"/>
                  <a:gd name="T22" fmla="*/ 57 w 145"/>
                  <a:gd name="T23" fmla="*/ 15 h 389"/>
                  <a:gd name="T24" fmla="*/ 84 w 145"/>
                  <a:gd name="T25" fmla="*/ 12 h 389"/>
                  <a:gd name="T26" fmla="*/ 84 w 145"/>
                  <a:gd name="T27" fmla="*/ 12 h 389"/>
                  <a:gd name="T28" fmla="*/ 72 w 145"/>
                  <a:gd name="T29" fmla="*/ 58 h 389"/>
                  <a:gd name="T30" fmla="*/ 106 w 145"/>
                  <a:gd name="T31" fmla="*/ 84 h 389"/>
                  <a:gd name="T32" fmla="*/ 114 w 145"/>
                  <a:gd name="T33" fmla="*/ 127 h 389"/>
                  <a:gd name="T34" fmla="*/ 131 w 145"/>
                  <a:gd name="T35" fmla="*/ 167 h 389"/>
                  <a:gd name="T36" fmla="*/ 131 w 145"/>
                  <a:gd name="T37" fmla="*/ 206 h 389"/>
                  <a:gd name="T38" fmla="*/ 130 w 145"/>
                  <a:gd name="T39" fmla="*/ 253 h 389"/>
                  <a:gd name="T40" fmla="*/ 129 w 145"/>
                  <a:gd name="T41" fmla="*/ 298 h 389"/>
                  <a:gd name="T42" fmla="*/ 123 w 145"/>
                  <a:gd name="T43" fmla="*/ 318 h 389"/>
                  <a:gd name="T44" fmla="*/ 130 w 145"/>
                  <a:gd name="T45" fmla="*/ 350 h 389"/>
                  <a:gd name="T46" fmla="*/ 131 w 145"/>
                  <a:gd name="T47" fmla="*/ 374 h 389"/>
                  <a:gd name="T48" fmla="*/ 128 w 145"/>
                  <a:gd name="T49" fmla="*/ 375 h 389"/>
                  <a:gd name="T50" fmla="*/ 129 w 145"/>
                  <a:gd name="T51" fmla="*/ 378 h 389"/>
                  <a:gd name="T52" fmla="*/ 129 w 145"/>
                  <a:gd name="T53" fmla="*/ 379 h 389"/>
                  <a:gd name="T54" fmla="*/ 122 w 145"/>
                  <a:gd name="T55" fmla="*/ 381 h 389"/>
                  <a:gd name="T56" fmla="*/ 97 w 145"/>
                  <a:gd name="T57" fmla="*/ 389 h 389"/>
                  <a:gd name="T58" fmla="*/ 97 w 145"/>
                  <a:gd name="T59" fmla="*/ 389 h 389"/>
                  <a:gd name="T60" fmla="*/ 80 w 145"/>
                  <a:gd name="T61" fmla="*/ 370 h 389"/>
                  <a:gd name="T62" fmla="*/ 59 w 145"/>
                  <a:gd name="T63" fmla="*/ 347 h 389"/>
                  <a:gd name="T64" fmla="*/ 47 w 145"/>
                  <a:gd name="T65" fmla="*/ 328 h 389"/>
                  <a:gd name="T66" fmla="*/ 52 w 145"/>
                  <a:gd name="T67" fmla="*/ 314 h 389"/>
                  <a:gd name="T68" fmla="*/ 48 w 145"/>
                  <a:gd name="T69" fmla="*/ 284 h 389"/>
                  <a:gd name="T70" fmla="*/ 54 w 145"/>
                  <a:gd name="T71" fmla="*/ 249 h 389"/>
                  <a:gd name="T72" fmla="*/ 62 w 145"/>
                  <a:gd name="T73" fmla="*/ 218 h 389"/>
                  <a:gd name="T74" fmla="*/ 40 w 145"/>
                  <a:gd name="T75" fmla="*/ 181 h 389"/>
                  <a:gd name="T76" fmla="*/ 45 w 145"/>
                  <a:gd name="T77" fmla="*/ 159 h 389"/>
                  <a:gd name="T78" fmla="*/ 42 w 145"/>
                  <a:gd name="T79" fmla="*/ 126 h 389"/>
                  <a:gd name="T80" fmla="*/ 29 w 145"/>
                  <a:gd name="T81" fmla="*/ 128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5" h="389">
                    <a:moveTo>
                      <a:pt x="29" y="128"/>
                    </a:moveTo>
                    <a:cubicBezTo>
                      <a:pt x="40" y="127"/>
                      <a:pt x="21" y="120"/>
                      <a:pt x="34" y="120"/>
                    </a:cubicBezTo>
                    <a:cubicBezTo>
                      <a:pt x="40" y="120"/>
                      <a:pt x="34" y="117"/>
                      <a:pt x="32" y="116"/>
                    </a:cubicBezTo>
                    <a:cubicBezTo>
                      <a:pt x="29" y="110"/>
                      <a:pt x="43" y="116"/>
                      <a:pt x="37" y="106"/>
                    </a:cubicBezTo>
                    <a:cubicBezTo>
                      <a:pt x="38" y="93"/>
                      <a:pt x="44" y="84"/>
                      <a:pt x="40" y="72"/>
                    </a:cubicBezTo>
                    <a:cubicBezTo>
                      <a:pt x="47" y="62"/>
                      <a:pt x="32" y="57"/>
                      <a:pt x="27" y="53"/>
                    </a:cubicBezTo>
                    <a:cubicBezTo>
                      <a:pt x="23" y="42"/>
                      <a:pt x="0" y="40"/>
                      <a:pt x="13" y="26"/>
                    </a:cubicBezTo>
                    <a:cubicBezTo>
                      <a:pt x="15" y="18"/>
                      <a:pt x="25" y="0"/>
                      <a:pt x="9" y="4"/>
                    </a:cubicBezTo>
                    <a:cubicBezTo>
                      <a:pt x="7" y="4"/>
                      <a:pt x="6" y="2"/>
                      <a:pt x="5" y="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8" y="1"/>
                      <a:pt x="11" y="2"/>
                      <a:pt x="14" y="2"/>
                    </a:cubicBezTo>
                    <a:cubicBezTo>
                      <a:pt x="28" y="7"/>
                      <a:pt x="45" y="7"/>
                      <a:pt x="57" y="15"/>
                    </a:cubicBezTo>
                    <a:cubicBezTo>
                      <a:pt x="64" y="9"/>
                      <a:pt x="77" y="15"/>
                      <a:pt x="84" y="12"/>
                    </a:cubicBezTo>
                    <a:cubicBezTo>
                      <a:pt x="84" y="12"/>
                      <a:pt x="84" y="12"/>
                      <a:pt x="84" y="12"/>
                    </a:cubicBezTo>
                    <a:cubicBezTo>
                      <a:pt x="80" y="28"/>
                      <a:pt x="71" y="41"/>
                      <a:pt x="72" y="58"/>
                    </a:cubicBezTo>
                    <a:cubicBezTo>
                      <a:pt x="81" y="69"/>
                      <a:pt x="95" y="75"/>
                      <a:pt x="106" y="84"/>
                    </a:cubicBezTo>
                    <a:cubicBezTo>
                      <a:pt x="122" y="92"/>
                      <a:pt x="109" y="115"/>
                      <a:pt x="114" y="127"/>
                    </a:cubicBezTo>
                    <a:cubicBezTo>
                      <a:pt x="113" y="144"/>
                      <a:pt x="134" y="150"/>
                      <a:pt x="131" y="167"/>
                    </a:cubicBezTo>
                    <a:cubicBezTo>
                      <a:pt x="131" y="180"/>
                      <a:pt x="130" y="193"/>
                      <a:pt x="131" y="206"/>
                    </a:cubicBezTo>
                    <a:cubicBezTo>
                      <a:pt x="130" y="221"/>
                      <a:pt x="131" y="238"/>
                      <a:pt x="130" y="253"/>
                    </a:cubicBezTo>
                    <a:cubicBezTo>
                      <a:pt x="130" y="268"/>
                      <a:pt x="131" y="283"/>
                      <a:pt x="129" y="298"/>
                    </a:cubicBezTo>
                    <a:cubicBezTo>
                      <a:pt x="129" y="305"/>
                      <a:pt x="132" y="317"/>
                      <a:pt x="123" y="318"/>
                    </a:cubicBezTo>
                    <a:cubicBezTo>
                      <a:pt x="131" y="329"/>
                      <a:pt x="119" y="342"/>
                      <a:pt x="130" y="350"/>
                    </a:cubicBezTo>
                    <a:cubicBezTo>
                      <a:pt x="138" y="357"/>
                      <a:pt x="145" y="372"/>
                      <a:pt x="131" y="374"/>
                    </a:cubicBezTo>
                    <a:cubicBezTo>
                      <a:pt x="128" y="375"/>
                      <a:pt x="128" y="375"/>
                      <a:pt x="128" y="375"/>
                    </a:cubicBezTo>
                    <a:cubicBezTo>
                      <a:pt x="129" y="378"/>
                      <a:pt x="129" y="378"/>
                      <a:pt x="129" y="378"/>
                    </a:cubicBezTo>
                    <a:cubicBezTo>
                      <a:pt x="129" y="379"/>
                      <a:pt x="129" y="379"/>
                      <a:pt x="129" y="379"/>
                    </a:cubicBezTo>
                    <a:cubicBezTo>
                      <a:pt x="127" y="380"/>
                      <a:pt x="125" y="380"/>
                      <a:pt x="122" y="381"/>
                    </a:cubicBezTo>
                    <a:cubicBezTo>
                      <a:pt x="114" y="383"/>
                      <a:pt x="105" y="386"/>
                      <a:pt x="97" y="389"/>
                    </a:cubicBezTo>
                    <a:cubicBezTo>
                      <a:pt x="97" y="389"/>
                      <a:pt x="97" y="389"/>
                      <a:pt x="97" y="389"/>
                    </a:cubicBezTo>
                    <a:cubicBezTo>
                      <a:pt x="96" y="378"/>
                      <a:pt x="81" y="379"/>
                      <a:pt x="80" y="370"/>
                    </a:cubicBezTo>
                    <a:cubicBezTo>
                      <a:pt x="70" y="365"/>
                      <a:pt x="59" y="358"/>
                      <a:pt x="59" y="347"/>
                    </a:cubicBezTo>
                    <a:cubicBezTo>
                      <a:pt x="52" y="343"/>
                      <a:pt x="54" y="333"/>
                      <a:pt x="47" y="328"/>
                    </a:cubicBezTo>
                    <a:cubicBezTo>
                      <a:pt x="50" y="321"/>
                      <a:pt x="42" y="316"/>
                      <a:pt x="52" y="314"/>
                    </a:cubicBezTo>
                    <a:cubicBezTo>
                      <a:pt x="50" y="304"/>
                      <a:pt x="64" y="285"/>
                      <a:pt x="48" y="284"/>
                    </a:cubicBezTo>
                    <a:cubicBezTo>
                      <a:pt x="40" y="272"/>
                      <a:pt x="59" y="263"/>
                      <a:pt x="54" y="249"/>
                    </a:cubicBezTo>
                    <a:cubicBezTo>
                      <a:pt x="54" y="238"/>
                      <a:pt x="49" y="223"/>
                      <a:pt x="62" y="218"/>
                    </a:cubicBezTo>
                    <a:cubicBezTo>
                      <a:pt x="65" y="200"/>
                      <a:pt x="38" y="198"/>
                      <a:pt x="40" y="181"/>
                    </a:cubicBezTo>
                    <a:cubicBezTo>
                      <a:pt x="53" y="179"/>
                      <a:pt x="46" y="167"/>
                      <a:pt x="45" y="159"/>
                    </a:cubicBezTo>
                    <a:cubicBezTo>
                      <a:pt x="49" y="149"/>
                      <a:pt x="59" y="128"/>
                      <a:pt x="42" y="126"/>
                    </a:cubicBezTo>
                    <a:cubicBezTo>
                      <a:pt x="38" y="126"/>
                      <a:pt x="30" y="136"/>
                      <a:pt x="29" y="128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566" name="Thailand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6768962" y="3916803"/>
                <a:ext cx="210804" cy="468169"/>
              </a:xfrm>
              <a:custGeom>
                <a:avLst/>
                <a:gdLst>
                  <a:gd name="T0" fmla="*/ 105402 w 38"/>
                  <a:gd name="T1" fmla="*/ 440302 h 84"/>
                  <a:gd name="T2" fmla="*/ 116497 w 38"/>
                  <a:gd name="T3" fmla="*/ 451449 h 84"/>
                  <a:gd name="T4" fmla="*/ 116497 w 38"/>
                  <a:gd name="T5" fmla="*/ 468169 h 84"/>
                  <a:gd name="T6" fmla="*/ 127592 w 38"/>
                  <a:gd name="T7" fmla="*/ 468169 h 84"/>
                  <a:gd name="T8" fmla="*/ 149782 w 38"/>
                  <a:gd name="T9" fmla="*/ 451449 h 84"/>
                  <a:gd name="T10" fmla="*/ 127592 w 38"/>
                  <a:gd name="T11" fmla="*/ 440302 h 84"/>
                  <a:gd name="T12" fmla="*/ 105402 w 38"/>
                  <a:gd name="T13" fmla="*/ 418008 h 84"/>
                  <a:gd name="T14" fmla="*/ 83212 w 38"/>
                  <a:gd name="T15" fmla="*/ 351127 h 84"/>
                  <a:gd name="T16" fmla="*/ 66570 w 38"/>
                  <a:gd name="T17" fmla="*/ 351127 h 84"/>
                  <a:gd name="T18" fmla="*/ 66570 w 38"/>
                  <a:gd name="T19" fmla="*/ 317686 h 84"/>
                  <a:gd name="T20" fmla="*/ 83212 w 38"/>
                  <a:gd name="T21" fmla="*/ 267525 h 84"/>
                  <a:gd name="T22" fmla="*/ 66570 w 38"/>
                  <a:gd name="T23" fmla="*/ 239658 h 84"/>
                  <a:gd name="T24" fmla="*/ 105402 w 38"/>
                  <a:gd name="T25" fmla="*/ 239658 h 84"/>
                  <a:gd name="T26" fmla="*/ 105402 w 38"/>
                  <a:gd name="T27" fmla="*/ 250805 h 84"/>
                  <a:gd name="T28" fmla="*/ 127592 w 38"/>
                  <a:gd name="T29" fmla="*/ 250805 h 84"/>
                  <a:gd name="T30" fmla="*/ 149782 w 38"/>
                  <a:gd name="T31" fmla="*/ 267525 h 84"/>
                  <a:gd name="T32" fmla="*/ 127592 w 38"/>
                  <a:gd name="T33" fmla="*/ 239658 h 84"/>
                  <a:gd name="T34" fmla="*/ 149782 w 38"/>
                  <a:gd name="T35" fmla="*/ 200644 h 84"/>
                  <a:gd name="T36" fmla="*/ 210804 w 38"/>
                  <a:gd name="T37" fmla="*/ 200644 h 84"/>
                  <a:gd name="T38" fmla="*/ 210804 w 38"/>
                  <a:gd name="T39" fmla="*/ 167203 h 84"/>
                  <a:gd name="T40" fmla="*/ 194162 w 38"/>
                  <a:gd name="T41" fmla="*/ 128189 h 84"/>
                  <a:gd name="T42" fmla="*/ 171972 w 38"/>
                  <a:gd name="T43" fmla="*/ 100322 h 84"/>
                  <a:gd name="T44" fmla="*/ 149782 w 38"/>
                  <a:gd name="T45" fmla="*/ 66881 h 84"/>
                  <a:gd name="T46" fmla="*/ 127592 w 38"/>
                  <a:gd name="T47" fmla="*/ 78028 h 84"/>
                  <a:gd name="T48" fmla="*/ 116497 w 38"/>
                  <a:gd name="T49" fmla="*/ 66881 h 84"/>
                  <a:gd name="T50" fmla="*/ 83212 w 38"/>
                  <a:gd name="T51" fmla="*/ 78028 h 84"/>
                  <a:gd name="T52" fmla="*/ 83212 w 38"/>
                  <a:gd name="T53" fmla="*/ 27867 h 84"/>
                  <a:gd name="T54" fmla="*/ 66570 w 38"/>
                  <a:gd name="T55" fmla="*/ 16720 h 84"/>
                  <a:gd name="T56" fmla="*/ 55475 w 38"/>
                  <a:gd name="T57" fmla="*/ 0 h 84"/>
                  <a:gd name="T58" fmla="*/ 0 w 38"/>
                  <a:gd name="T59" fmla="*/ 27867 h 84"/>
                  <a:gd name="T60" fmla="*/ 0 w 38"/>
                  <a:gd name="T61" fmla="*/ 66881 h 84"/>
                  <a:gd name="T62" fmla="*/ 33285 w 38"/>
                  <a:gd name="T63" fmla="*/ 128189 h 84"/>
                  <a:gd name="T64" fmla="*/ 22190 w 38"/>
                  <a:gd name="T65" fmla="*/ 178350 h 84"/>
                  <a:gd name="T66" fmla="*/ 55475 w 38"/>
                  <a:gd name="T67" fmla="*/ 200644 h 84"/>
                  <a:gd name="T68" fmla="*/ 66570 w 38"/>
                  <a:gd name="T69" fmla="*/ 267525 h 84"/>
                  <a:gd name="T70" fmla="*/ 33285 w 38"/>
                  <a:gd name="T71" fmla="*/ 351127 h 84"/>
                  <a:gd name="T72" fmla="*/ 33285 w 38"/>
                  <a:gd name="T73" fmla="*/ 367847 h 84"/>
                  <a:gd name="T74" fmla="*/ 55475 w 38"/>
                  <a:gd name="T75" fmla="*/ 401288 h 84"/>
                  <a:gd name="T76" fmla="*/ 55475 w 38"/>
                  <a:gd name="T77" fmla="*/ 390141 h 84"/>
                  <a:gd name="T78" fmla="*/ 105402 w 38"/>
                  <a:gd name="T79" fmla="*/ 451449 h 84"/>
                  <a:gd name="T80" fmla="*/ 105402 w 38"/>
                  <a:gd name="T81" fmla="*/ 440302 h 84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8"/>
                  <a:gd name="T124" fmla="*/ 0 h 84"/>
                  <a:gd name="T125" fmla="*/ 38 w 38"/>
                  <a:gd name="T126" fmla="*/ 84 h 84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8" h="84">
                    <a:moveTo>
                      <a:pt x="19" y="79"/>
                    </a:moveTo>
                    <a:lnTo>
                      <a:pt x="21" y="81"/>
                    </a:lnTo>
                    <a:lnTo>
                      <a:pt x="21" y="84"/>
                    </a:lnTo>
                    <a:lnTo>
                      <a:pt x="23" y="84"/>
                    </a:lnTo>
                    <a:lnTo>
                      <a:pt x="27" y="81"/>
                    </a:lnTo>
                    <a:lnTo>
                      <a:pt x="23" y="79"/>
                    </a:lnTo>
                    <a:lnTo>
                      <a:pt x="19" y="75"/>
                    </a:lnTo>
                    <a:lnTo>
                      <a:pt x="15" y="63"/>
                    </a:lnTo>
                    <a:lnTo>
                      <a:pt x="12" y="63"/>
                    </a:lnTo>
                    <a:lnTo>
                      <a:pt x="12" y="57"/>
                    </a:lnTo>
                    <a:lnTo>
                      <a:pt x="15" y="48"/>
                    </a:lnTo>
                    <a:lnTo>
                      <a:pt x="12" y="43"/>
                    </a:lnTo>
                    <a:lnTo>
                      <a:pt x="19" y="43"/>
                    </a:lnTo>
                    <a:lnTo>
                      <a:pt x="19" y="45"/>
                    </a:lnTo>
                    <a:lnTo>
                      <a:pt x="23" y="45"/>
                    </a:lnTo>
                    <a:lnTo>
                      <a:pt x="27" y="48"/>
                    </a:lnTo>
                    <a:lnTo>
                      <a:pt x="23" y="43"/>
                    </a:lnTo>
                    <a:lnTo>
                      <a:pt x="27" y="36"/>
                    </a:lnTo>
                    <a:lnTo>
                      <a:pt x="38" y="36"/>
                    </a:lnTo>
                    <a:lnTo>
                      <a:pt x="38" y="30"/>
                    </a:lnTo>
                    <a:lnTo>
                      <a:pt x="35" y="23"/>
                    </a:lnTo>
                    <a:lnTo>
                      <a:pt x="31" y="18"/>
                    </a:lnTo>
                    <a:lnTo>
                      <a:pt x="27" y="12"/>
                    </a:lnTo>
                    <a:lnTo>
                      <a:pt x="23" y="14"/>
                    </a:lnTo>
                    <a:lnTo>
                      <a:pt x="21" y="12"/>
                    </a:lnTo>
                    <a:lnTo>
                      <a:pt x="15" y="14"/>
                    </a:lnTo>
                    <a:lnTo>
                      <a:pt x="15" y="5"/>
                    </a:lnTo>
                    <a:lnTo>
                      <a:pt x="12" y="3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0" y="12"/>
                    </a:lnTo>
                    <a:lnTo>
                      <a:pt x="6" y="23"/>
                    </a:lnTo>
                    <a:lnTo>
                      <a:pt x="4" y="32"/>
                    </a:lnTo>
                    <a:lnTo>
                      <a:pt x="10" y="36"/>
                    </a:lnTo>
                    <a:lnTo>
                      <a:pt x="12" y="48"/>
                    </a:lnTo>
                    <a:lnTo>
                      <a:pt x="6" y="63"/>
                    </a:lnTo>
                    <a:lnTo>
                      <a:pt x="6" y="66"/>
                    </a:lnTo>
                    <a:lnTo>
                      <a:pt x="10" y="72"/>
                    </a:lnTo>
                    <a:lnTo>
                      <a:pt x="10" y="70"/>
                    </a:lnTo>
                    <a:lnTo>
                      <a:pt x="19" y="81"/>
                    </a:lnTo>
                    <a:lnTo>
                      <a:pt x="19" y="79"/>
                    </a:lnTo>
                    <a:close/>
                  </a:path>
                </a:pathLst>
              </a:custGeom>
              <a:solidFill>
                <a:srgbClr val="EE8B8B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440" name="Tanzania"/>
              <p:cNvGrpSpPr/>
              <p:nvPr/>
            </p:nvGrpSpPr>
            <p:grpSpPr>
              <a:xfrm>
                <a:off x="5018398" y="4607187"/>
                <a:ext cx="296080" cy="358004"/>
                <a:chOff x="5018398" y="4588098"/>
                <a:chExt cx="296080" cy="358004"/>
              </a:xfrm>
              <a:solidFill>
                <a:srgbClr val="5DD4F1"/>
              </a:solidFill>
            </p:grpSpPr>
            <p:sp>
              <p:nvSpPr>
                <p:cNvPr id="833" name="Tanzania"/>
                <p:cNvSpPr>
                  <a:spLocks/>
                </p:cNvSpPr>
                <p:nvPr/>
              </p:nvSpPr>
              <p:spPr bwMode="auto">
                <a:xfrm>
                  <a:off x="5297599" y="4719116"/>
                  <a:ext cx="7033" cy="18359"/>
                </a:xfrm>
                <a:custGeom>
                  <a:avLst/>
                  <a:gdLst>
                    <a:gd name="T0" fmla="*/ 3 w 19"/>
                    <a:gd name="T1" fmla="*/ 34 h 43"/>
                    <a:gd name="T2" fmla="*/ 4 w 19"/>
                    <a:gd name="T3" fmla="*/ 33 h 43"/>
                    <a:gd name="T4" fmla="*/ 5 w 19"/>
                    <a:gd name="T5" fmla="*/ 31 h 43"/>
                    <a:gd name="T6" fmla="*/ 6 w 19"/>
                    <a:gd name="T7" fmla="*/ 30 h 43"/>
                    <a:gd name="T8" fmla="*/ 10 w 19"/>
                    <a:gd name="T9" fmla="*/ 29 h 43"/>
                    <a:gd name="T10" fmla="*/ 10 w 19"/>
                    <a:gd name="T11" fmla="*/ 27 h 43"/>
                    <a:gd name="T12" fmla="*/ 4 w 19"/>
                    <a:gd name="T13" fmla="*/ 25 h 43"/>
                    <a:gd name="T14" fmla="*/ 4 w 19"/>
                    <a:gd name="T15" fmla="*/ 24 h 43"/>
                    <a:gd name="T16" fmla="*/ 9 w 19"/>
                    <a:gd name="T17" fmla="*/ 23 h 43"/>
                    <a:gd name="T18" fmla="*/ 7 w 19"/>
                    <a:gd name="T19" fmla="*/ 18 h 43"/>
                    <a:gd name="T20" fmla="*/ 6 w 19"/>
                    <a:gd name="T21" fmla="*/ 15 h 43"/>
                    <a:gd name="T22" fmla="*/ 6 w 19"/>
                    <a:gd name="T23" fmla="*/ 13 h 43"/>
                    <a:gd name="T24" fmla="*/ 5 w 19"/>
                    <a:gd name="T25" fmla="*/ 10 h 43"/>
                    <a:gd name="T26" fmla="*/ 6 w 19"/>
                    <a:gd name="T27" fmla="*/ 7 h 43"/>
                    <a:gd name="T28" fmla="*/ 5 w 19"/>
                    <a:gd name="T29" fmla="*/ 4 h 43"/>
                    <a:gd name="T30" fmla="*/ 5 w 19"/>
                    <a:gd name="T31" fmla="*/ 0 h 43"/>
                    <a:gd name="T32" fmla="*/ 9 w 19"/>
                    <a:gd name="T33" fmla="*/ 2 h 43"/>
                    <a:gd name="T34" fmla="*/ 13 w 19"/>
                    <a:gd name="T35" fmla="*/ 5 h 43"/>
                    <a:gd name="T36" fmla="*/ 15 w 19"/>
                    <a:gd name="T37" fmla="*/ 6 h 43"/>
                    <a:gd name="T38" fmla="*/ 17 w 19"/>
                    <a:gd name="T39" fmla="*/ 4 h 43"/>
                    <a:gd name="T40" fmla="*/ 19 w 19"/>
                    <a:gd name="T41" fmla="*/ 2 h 43"/>
                    <a:gd name="T42" fmla="*/ 19 w 19"/>
                    <a:gd name="T43" fmla="*/ 8 h 43"/>
                    <a:gd name="T44" fmla="*/ 16 w 19"/>
                    <a:gd name="T45" fmla="*/ 13 h 43"/>
                    <a:gd name="T46" fmla="*/ 16 w 19"/>
                    <a:gd name="T47" fmla="*/ 18 h 43"/>
                    <a:gd name="T48" fmla="*/ 18 w 19"/>
                    <a:gd name="T49" fmla="*/ 18 h 43"/>
                    <a:gd name="T50" fmla="*/ 17 w 19"/>
                    <a:gd name="T51" fmla="*/ 26 h 43"/>
                    <a:gd name="T52" fmla="*/ 15 w 19"/>
                    <a:gd name="T53" fmla="*/ 33 h 43"/>
                    <a:gd name="T54" fmla="*/ 13 w 19"/>
                    <a:gd name="T55" fmla="*/ 38 h 43"/>
                    <a:gd name="T56" fmla="*/ 13 w 19"/>
                    <a:gd name="T57" fmla="*/ 38 h 43"/>
                    <a:gd name="T58" fmla="*/ 13 w 19"/>
                    <a:gd name="T59" fmla="*/ 38 h 43"/>
                    <a:gd name="T60" fmla="*/ 11 w 19"/>
                    <a:gd name="T61" fmla="*/ 38 h 43"/>
                    <a:gd name="T62" fmla="*/ 8 w 19"/>
                    <a:gd name="T63" fmla="*/ 43 h 43"/>
                    <a:gd name="T64" fmla="*/ 4 w 19"/>
                    <a:gd name="T65" fmla="*/ 42 h 43"/>
                    <a:gd name="T66" fmla="*/ 1 w 19"/>
                    <a:gd name="T67" fmla="*/ 38 h 43"/>
                    <a:gd name="T68" fmla="*/ 3 w 19"/>
                    <a:gd name="T69" fmla="*/ 34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9" h="43">
                      <a:moveTo>
                        <a:pt x="3" y="34"/>
                      </a:moveTo>
                      <a:cubicBezTo>
                        <a:pt x="5" y="35"/>
                        <a:pt x="5" y="33"/>
                        <a:pt x="4" y="33"/>
                      </a:cubicBezTo>
                      <a:cubicBezTo>
                        <a:pt x="3" y="31"/>
                        <a:pt x="4" y="30"/>
                        <a:pt x="5" y="31"/>
                      </a:cubicBezTo>
                      <a:cubicBezTo>
                        <a:pt x="6" y="31"/>
                        <a:pt x="7" y="30"/>
                        <a:pt x="6" y="30"/>
                      </a:cubicBezTo>
                      <a:cubicBezTo>
                        <a:pt x="5" y="27"/>
                        <a:pt x="9" y="28"/>
                        <a:pt x="10" y="29"/>
                      </a:cubicBezTo>
                      <a:cubicBezTo>
                        <a:pt x="11" y="29"/>
                        <a:pt x="11" y="27"/>
                        <a:pt x="10" y="27"/>
                      </a:cubicBezTo>
                      <a:cubicBezTo>
                        <a:pt x="8" y="26"/>
                        <a:pt x="6" y="25"/>
                        <a:pt x="4" y="25"/>
                      </a:cubicBezTo>
                      <a:cubicBezTo>
                        <a:pt x="2" y="24"/>
                        <a:pt x="3" y="23"/>
                        <a:pt x="4" y="24"/>
                      </a:cubicBezTo>
                      <a:cubicBezTo>
                        <a:pt x="6" y="24"/>
                        <a:pt x="8" y="25"/>
                        <a:pt x="9" y="23"/>
                      </a:cubicBezTo>
                      <a:cubicBezTo>
                        <a:pt x="10" y="21"/>
                        <a:pt x="7" y="20"/>
                        <a:pt x="7" y="18"/>
                      </a:cubicBezTo>
                      <a:cubicBezTo>
                        <a:pt x="5" y="18"/>
                        <a:pt x="5" y="15"/>
                        <a:pt x="6" y="15"/>
                      </a:cubicBezTo>
                      <a:cubicBezTo>
                        <a:pt x="8" y="14"/>
                        <a:pt x="8" y="13"/>
                        <a:pt x="6" y="13"/>
                      </a:cubicBezTo>
                      <a:cubicBezTo>
                        <a:pt x="5" y="12"/>
                        <a:pt x="5" y="11"/>
                        <a:pt x="5" y="10"/>
                      </a:cubicBezTo>
                      <a:cubicBezTo>
                        <a:pt x="4" y="9"/>
                        <a:pt x="4" y="7"/>
                        <a:pt x="6" y="7"/>
                      </a:cubicBezTo>
                      <a:cubicBezTo>
                        <a:pt x="8" y="7"/>
                        <a:pt x="5" y="5"/>
                        <a:pt x="5" y="4"/>
                      </a:cubicBezTo>
                      <a:cubicBezTo>
                        <a:pt x="4" y="3"/>
                        <a:pt x="5" y="1"/>
                        <a:pt x="5" y="0"/>
                      </a:cubicBezTo>
                      <a:cubicBezTo>
                        <a:pt x="6" y="1"/>
                        <a:pt x="7" y="2"/>
                        <a:pt x="9" y="2"/>
                      </a:cubicBezTo>
                      <a:cubicBezTo>
                        <a:pt x="11" y="2"/>
                        <a:pt x="12" y="4"/>
                        <a:pt x="13" y="5"/>
                      </a:cubicBezTo>
                      <a:cubicBezTo>
                        <a:pt x="14" y="6"/>
                        <a:pt x="15" y="8"/>
                        <a:pt x="15" y="6"/>
                      </a:cubicBezTo>
                      <a:cubicBezTo>
                        <a:pt x="15" y="4"/>
                        <a:pt x="17" y="5"/>
                        <a:pt x="17" y="4"/>
                      </a:cubicBezTo>
                      <a:cubicBezTo>
                        <a:pt x="17" y="3"/>
                        <a:pt x="19" y="0"/>
                        <a:pt x="19" y="2"/>
                      </a:cubicBezTo>
                      <a:cubicBezTo>
                        <a:pt x="19" y="4"/>
                        <a:pt x="19" y="6"/>
                        <a:pt x="19" y="8"/>
                      </a:cubicBezTo>
                      <a:cubicBezTo>
                        <a:pt x="18" y="10"/>
                        <a:pt x="16" y="11"/>
                        <a:pt x="16" y="13"/>
                      </a:cubicBezTo>
                      <a:cubicBezTo>
                        <a:pt x="16" y="14"/>
                        <a:pt x="15" y="16"/>
                        <a:pt x="16" y="18"/>
                      </a:cubicBezTo>
                      <a:cubicBezTo>
                        <a:pt x="17" y="19"/>
                        <a:pt x="17" y="16"/>
                        <a:pt x="18" y="18"/>
                      </a:cubicBezTo>
                      <a:cubicBezTo>
                        <a:pt x="17" y="21"/>
                        <a:pt x="17" y="23"/>
                        <a:pt x="17" y="26"/>
                      </a:cubicBezTo>
                      <a:cubicBezTo>
                        <a:pt x="17" y="28"/>
                        <a:pt x="16" y="30"/>
                        <a:pt x="15" y="33"/>
                      </a:cubicBezTo>
                      <a:cubicBezTo>
                        <a:pt x="15" y="35"/>
                        <a:pt x="12" y="36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3" y="38"/>
                        <a:pt x="13" y="38"/>
                        <a:pt x="13" y="38"/>
                      </a:cubicBezTo>
                      <a:cubicBezTo>
                        <a:pt x="14" y="39"/>
                        <a:pt x="11" y="40"/>
                        <a:pt x="11" y="38"/>
                      </a:cubicBezTo>
                      <a:cubicBezTo>
                        <a:pt x="10" y="40"/>
                        <a:pt x="10" y="43"/>
                        <a:pt x="8" y="43"/>
                      </a:cubicBezTo>
                      <a:cubicBezTo>
                        <a:pt x="7" y="41"/>
                        <a:pt x="5" y="42"/>
                        <a:pt x="4" y="42"/>
                      </a:cubicBezTo>
                      <a:cubicBezTo>
                        <a:pt x="2" y="42"/>
                        <a:pt x="0" y="40"/>
                        <a:pt x="1" y="38"/>
                      </a:cubicBezTo>
                      <a:cubicBezTo>
                        <a:pt x="1" y="37"/>
                        <a:pt x="1" y="34"/>
                        <a:pt x="3" y="34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34" name="Tanzania"/>
                <p:cNvSpPr>
                  <a:spLocks/>
                </p:cNvSpPr>
                <p:nvPr/>
              </p:nvSpPr>
              <p:spPr bwMode="auto">
                <a:xfrm>
                  <a:off x="5294083" y="4810077"/>
                  <a:ext cx="9143" cy="12517"/>
                </a:xfrm>
                <a:custGeom>
                  <a:avLst/>
                  <a:gdLst>
                    <a:gd name="T0" fmla="*/ 0 w 25"/>
                    <a:gd name="T1" fmla="*/ 24 h 28"/>
                    <a:gd name="T2" fmla="*/ 3 w 25"/>
                    <a:gd name="T3" fmla="*/ 22 h 28"/>
                    <a:gd name="T4" fmla="*/ 7 w 25"/>
                    <a:gd name="T5" fmla="*/ 18 h 28"/>
                    <a:gd name="T6" fmla="*/ 9 w 25"/>
                    <a:gd name="T7" fmla="*/ 15 h 28"/>
                    <a:gd name="T8" fmla="*/ 11 w 25"/>
                    <a:gd name="T9" fmla="*/ 13 h 28"/>
                    <a:gd name="T10" fmla="*/ 15 w 25"/>
                    <a:gd name="T11" fmla="*/ 12 h 28"/>
                    <a:gd name="T12" fmla="*/ 16 w 25"/>
                    <a:gd name="T13" fmla="*/ 11 h 28"/>
                    <a:gd name="T14" fmla="*/ 15 w 25"/>
                    <a:gd name="T15" fmla="*/ 10 h 28"/>
                    <a:gd name="T16" fmla="*/ 19 w 25"/>
                    <a:gd name="T17" fmla="*/ 8 h 28"/>
                    <a:gd name="T18" fmla="*/ 21 w 25"/>
                    <a:gd name="T19" fmla="*/ 4 h 28"/>
                    <a:gd name="T20" fmla="*/ 24 w 25"/>
                    <a:gd name="T21" fmla="*/ 1 h 28"/>
                    <a:gd name="T22" fmla="*/ 24 w 25"/>
                    <a:gd name="T23" fmla="*/ 5 h 28"/>
                    <a:gd name="T24" fmla="*/ 21 w 25"/>
                    <a:gd name="T25" fmla="*/ 13 h 28"/>
                    <a:gd name="T26" fmla="*/ 19 w 25"/>
                    <a:gd name="T27" fmla="*/ 16 h 28"/>
                    <a:gd name="T28" fmla="*/ 18 w 25"/>
                    <a:gd name="T29" fmla="*/ 20 h 28"/>
                    <a:gd name="T30" fmla="*/ 15 w 25"/>
                    <a:gd name="T31" fmla="*/ 21 h 28"/>
                    <a:gd name="T32" fmla="*/ 11 w 25"/>
                    <a:gd name="T33" fmla="*/ 23 h 28"/>
                    <a:gd name="T34" fmla="*/ 10 w 25"/>
                    <a:gd name="T35" fmla="*/ 26 h 28"/>
                    <a:gd name="T36" fmla="*/ 9 w 25"/>
                    <a:gd name="T37" fmla="*/ 26 h 28"/>
                    <a:gd name="T38" fmla="*/ 3 w 25"/>
                    <a:gd name="T39" fmla="*/ 27 h 28"/>
                    <a:gd name="T40" fmla="*/ 0 w 25"/>
                    <a:gd name="T41" fmla="*/ 24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5" h="28">
                      <a:moveTo>
                        <a:pt x="0" y="24"/>
                      </a:moveTo>
                      <a:cubicBezTo>
                        <a:pt x="0" y="23"/>
                        <a:pt x="3" y="23"/>
                        <a:pt x="3" y="22"/>
                      </a:cubicBezTo>
                      <a:cubicBezTo>
                        <a:pt x="4" y="21"/>
                        <a:pt x="6" y="20"/>
                        <a:pt x="7" y="18"/>
                      </a:cubicBezTo>
                      <a:cubicBezTo>
                        <a:pt x="8" y="18"/>
                        <a:pt x="10" y="16"/>
                        <a:pt x="9" y="15"/>
                      </a:cubicBezTo>
                      <a:cubicBezTo>
                        <a:pt x="8" y="13"/>
                        <a:pt x="10" y="13"/>
                        <a:pt x="11" y="13"/>
                      </a:cubicBezTo>
                      <a:cubicBezTo>
                        <a:pt x="12" y="13"/>
                        <a:pt x="14" y="13"/>
                        <a:pt x="15" y="12"/>
                      </a:cubicBezTo>
                      <a:cubicBezTo>
                        <a:pt x="15" y="12"/>
                        <a:pt x="17" y="11"/>
                        <a:pt x="16" y="11"/>
                      </a:cubicBezTo>
                      <a:cubicBezTo>
                        <a:pt x="15" y="11"/>
                        <a:pt x="13" y="11"/>
                        <a:pt x="15" y="10"/>
                      </a:cubicBezTo>
                      <a:cubicBezTo>
                        <a:pt x="16" y="9"/>
                        <a:pt x="17" y="8"/>
                        <a:pt x="19" y="8"/>
                      </a:cubicBezTo>
                      <a:cubicBezTo>
                        <a:pt x="20" y="7"/>
                        <a:pt x="20" y="5"/>
                        <a:pt x="21" y="4"/>
                      </a:cubicBezTo>
                      <a:cubicBezTo>
                        <a:pt x="23" y="3"/>
                        <a:pt x="22" y="0"/>
                        <a:pt x="24" y="1"/>
                      </a:cubicBezTo>
                      <a:cubicBezTo>
                        <a:pt x="25" y="2"/>
                        <a:pt x="24" y="4"/>
                        <a:pt x="24" y="5"/>
                      </a:cubicBezTo>
                      <a:cubicBezTo>
                        <a:pt x="23" y="8"/>
                        <a:pt x="22" y="11"/>
                        <a:pt x="21" y="13"/>
                      </a:cubicBezTo>
                      <a:cubicBezTo>
                        <a:pt x="20" y="14"/>
                        <a:pt x="19" y="15"/>
                        <a:pt x="19" y="16"/>
                      </a:cubicBezTo>
                      <a:cubicBezTo>
                        <a:pt x="19" y="18"/>
                        <a:pt x="19" y="19"/>
                        <a:pt x="18" y="20"/>
                      </a:cubicBezTo>
                      <a:cubicBezTo>
                        <a:pt x="17" y="21"/>
                        <a:pt x="16" y="22"/>
                        <a:pt x="15" y="21"/>
                      </a:cubicBezTo>
                      <a:cubicBezTo>
                        <a:pt x="13" y="20"/>
                        <a:pt x="12" y="22"/>
                        <a:pt x="11" y="23"/>
                      </a:cubicBezTo>
                      <a:cubicBezTo>
                        <a:pt x="10" y="24"/>
                        <a:pt x="11" y="25"/>
                        <a:pt x="10" y="26"/>
                      </a:cubicBezTo>
                      <a:cubicBezTo>
                        <a:pt x="10" y="26"/>
                        <a:pt x="10" y="26"/>
                        <a:pt x="9" y="26"/>
                      </a:cubicBezTo>
                      <a:cubicBezTo>
                        <a:pt x="8" y="27"/>
                        <a:pt x="5" y="28"/>
                        <a:pt x="3" y="27"/>
                      </a:cubicBezTo>
                      <a:cubicBezTo>
                        <a:pt x="2" y="26"/>
                        <a:pt x="1" y="25"/>
                        <a:pt x="0" y="24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35" name="Tanzania"/>
                <p:cNvSpPr>
                  <a:spLocks/>
                </p:cNvSpPr>
                <p:nvPr/>
              </p:nvSpPr>
              <p:spPr bwMode="auto">
                <a:xfrm>
                  <a:off x="5285643" y="4746655"/>
                  <a:ext cx="9846" cy="25035"/>
                </a:xfrm>
                <a:custGeom>
                  <a:avLst/>
                  <a:gdLst>
                    <a:gd name="T0" fmla="*/ 18 w 28"/>
                    <a:gd name="T1" fmla="*/ 36 h 59"/>
                    <a:gd name="T2" fmla="*/ 21 w 28"/>
                    <a:gd name="T3" fmla="*/ 36 h 59"/>
                    <a:gd name="T4" fmla="*/ 23 w 28"/>
                    <a:gd name="T5" fmla="*/ 32 h 59"/>
                    <a:gd name="T6" fmla="*/ 25 w 28"/>
                    <a:gd name="T7" fmla="*/ 44 h 59"/>
                    <a:gd name="T8" fmla="*/ 27 w 28"/>
                    <a:gd name="T9" fmla="*/ 53 h 59"/>
                    <a:gd name="T10" fmla="*/ 20 w 28"/>
                    <a:gd name="T11" fmla="*/ 57 h 59"/>
                    <a:gd name="T12" fmla="*/ 17 w 28"/>
                    <a:gd name="T13" fmla="*/ 51 h 59"/>
                    <a:gd name="T14" fmla="*/ 16 w 28"/>
                    <a:gd name="T15" fmla="*/ 45 h 59"/>
                    <a:gd name="T16" fmla="*/ 16 w 28"/>
                    <a:gd name="T17" fmla="*/ 49 h 59"/>
                    <a:gd name="T18" fmla="*/ 13 w 28"/>
                    <a:gd name="T19" fmla="*/ 47 h 59"/>
                    <a:gd name="T20" fmla="*/ 9 w 28"/>
                    <a:gd name="T21" fmla="*/ 40 h 59"/>
                    <a:gd name="T22" fmla="*/ 6 w 28"/>
                    <a:gd name="T23" fmla="*/ 44 h 59"/>
                    <a:gd name="T24" fmla="*/ 3 w 28"/>
                    <a:gd name="T25" fmla="*/ 41 h 59"/>
                    <a:gd name="T26" fmla="*/ 0 w 28"/>
                    <a:gd name="T27" fmla="*/ 34 h 59"/>
                    <a:gd name="T28" fmla="*/ 2 w 28"/>
                    <a:gd name="T29" fmla="*/ 27 h 59"/>
                    <a:gd name="T30" fmla="*/ 0 w 28"/>
                    <a:gd name="T31" fmla="*/ 16 h 59"/>
                    <a:gd name="T32" fmla="*/ 1 w 28"/>
                    <a:gd name="T33" fmla="*/ 14 h 59"/>
                    <a:gd name="T34" fmla="*/ 3 w 28"/>
                    <a:gd name="T35" fmla="*/ 12 h 59"/>
                    <a:gd name="T36" fmla="*/ 8 w 28"/>
                    <a:gd name="T37" fmla="*/ 6 h 59"/>
                    <a:gd name="T38" fmla="*/ 10 w 28"/>
                    <a:gd name="T39" fmla="*/ 0 h 59"/>
                    <a:gd name="T40" fmla="*/ 13 w 28"/>
                    <a:gd name="T41" fmla="*/ 7 h 59"/>
                    <a:gd name="T42" fmla="*/ 13 w 28"/>
                    <a:gd name="T43" fmla="*/ 15 h 59"/>
                    <a:gd name="T44" fmla="*/ 16 w 28"/>
                    <a:gd name="T45" fmla="*/ 24 h 59"/>
                    <a:gd name="T46" fmla="*/ 17 w 28"/>
                    <a:gd name="T47" fmla="*/ 30 h 59"/>
                    <a:gd name="T48" fmla="*/ 18 w 28"/>
                    <a:gd name="T49" fmla="*/ 36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8" h="59">
                      <a:moveTo>
                        <a:pt x="18" y="36"/>
                      </a:moveTo>
                      <a:cubicBezTo>
                        <a:pt x="19" y="39"/>
                        <a:pt x="20" y="34"/>
                        <a:pt x="21" y="36"/>
                      </a:cubicBezTo>
                      <a:cubicBezTo>
                        <a:pt x="25" y="37"/>
                        <a:pt x="21" y="32"/>
                        <a:pt x="23" y="32"/>
                      </a:cubicBezTo>
                      <a:cubicBezTo>
                        <a:pt x="25" y="36"/>
                        <a:pt x="25" y="40"/>
                        <a:pt x="25" y="44"/>
                      </a:cubicBezTo>
                      <a:cubicBezTo>
                        <a:pt x="25" y="47"/>
                        <a:pt x="28" y="50"/>
                        <a:pt x="27" y="53"/>
                      </a:cubicBezTo>
                      <a:cubicBezTo>
                        <a:pt x="27" y="56"/>
                        <a:pt x="23" y="59"/>
                        <a:pt x="20" y="57"/>
                      </a:cubicBezTo>
                      <a:cubicBezTo>
                        <a:pt x="18" y="55"/>
                        <a:pt x="17" y="53"/>
                        <a:pt x="17" y="51"/>
                      </a:cubicBezTo>
                      <a:cubicBezTo>
                        <a:pt x="16" y="49"/>
                        <a:pt x="17" y="46"/>
                        <a:pt x="16" y="45"/>
                      </a:cubicBezTo>
                      <a:cubicBezTo>
                        <a:pt x="13" y="45"/>
                        <a:pt x="16" y="48"/>
                        <a:pt x="16" y="49"/>
                      </a:cubicBezTo>
                      <a:cubicBezTo>
                        <a:pt x="14" y="52"/>
                        <a:pt x="13" y="48"/>
                        <a:pt x="13" y="47"/>
                      </a:cubicBezTo>
                      <a:cubicBezTo>
                        <a:pt x="11" y="45"/>
                        <a:pt x="10" y="43"/>
                        <a:pt x="9" y="40"/>
                      </a:cubicBezTo>
                      <a:cubicBezTo>
                        <a:pt x="6" y="40"/>
                        <a:pt x="5" y="43"/>
                        <a:pt x="6" y="44"/>
                      </a:cubicBezTo>
                      <a:cubicBezTo>
                        <a:pt x="5" y="47"/>
                        <a:pt x="3" y="43"/>
                        <a:pt x="3" y="41"/>
                      </a:cubicBezTo>
                      <a:cubicBezTo>
                        <a:pt x="0" y="40"/>
                        <a:pt x="1" y="37"/>
                        <a:pt x="0" y="34"/>
                      </a:cubicBezTo>
                      <a:cubicBezTo>
                        <a:pt x="0" y="32"/>
                        <a:pt x="2" y="29"/>
                        <a:pt x="2" y="27"/>
                      </a:cubicBezTo>
                      <a:cubicBezTo>
                        <a:pt x="0" y="23"/>
                        <a:pt x="0" y="20"/>
                        <a:pt x="0" y="16"/>
                      </a:cubicBezTo>
                      <a:cubicBezTo>
                        <a:pt x="0" y="15"/>
                        <a:pt x="0" y="15"/>
                        <a:pt x="1" y="14"/>
                      </a:cubicBezTo>
                      <a:cubicBezTo>
                        <a:pt x="1" y="14"/>
                        <a:pt x="3" y="14"/>
                        <a:pt x="3" y="12"/>
                      </a:cubicBezTo>
                      <a:cubicBezTo>
                        <a:pt x="5" y="11"/>
                        <a:pt x="8" y="9"/>
                        <a:pt x="8" y="6"/>
                      </a:cubicBezTo>
                      <a:cubicBezTo>
                        <a:pt x="9" y="4"/>
                        <a:pt x="7" y="0"/>
                        <a:pt x="10" y="0"/>
                      </a:cubicBezTo>
                      <a:cubicBezTo>
                        <a:pt x="12" y="2"/>
                        <a:pt x="13" y="5"/>
                        <a:pt x="13" y="7"/>
                      </a:cubicBezTo>
                      <a:cubicBezTo>
                        <a:pt x="13" y="10"/>
                        <a:pt x="12" y="13"/>
                        <a:pt x="13" y="15"/>
                      </a:cubicBezTo>
                      <a:cubicBezTo>
                        <a:pt x="14" y="18"/>
                        <a:pt x="15" y="21"/>
                        <a:pt x="16" y="24"/>
                      </a:cubicBezTo>
                      <a:cubicBezTo>
                        <a:pt x="18" y="26"/>
                        <a:pt x="17" y="28"/>
                        <a:pt x="17" y="30"/>
                      </a:cubicBezTo>
                      <a:cubicBezTo>
                        <a:pt x="18" y="32"/>
                        <a:pt x="16" y="35"/>
                        <a:pt x="18" y="36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36" name="Tanzania"/>
                <p:cNvSpPr>
                  <a:spLocks/>
                </p:cNvSpPr>
                <p:nvPr/>
              </p:nvSpPr>
              <p:spPr bwMode="auto">
                <a:xfrm>
                  <a:off x="5018398" y="4588098"/>
                  <a:ext cx="296080" cy="358004"/>
                </a:xfrm>
                <a:custGeom>
                  <a:avLst/>
                  <a:gdLst>
                    <a:gd name="T0" fmla="*/ 114 w 814"/>
                    <a:gd name="T1" fmla="*/ 0 h 831"/>
                    <a:gd name="T2" fmla="*/ 346 w 814"/>
                    <a:gd name="T3" fmla="*/ 1 h 831"/>
                    <a:gd name="T4" fmla="*/ 350 w 814"/>
                    <a:gd name="T5" fmla="*/ 0 h 831"/>
                    <a:gd name="T6" fmla="*/ 609 w 814"/>
                    <a:gd name="T7" fmla="*/ 148 h 831"/>
                    <a:gd name="T8" fmla="*/ 630 w 814"/>
                    <a:gd name="T9" fmla="*/ 196 h 831"/>
                    <a:gd name="T10" fmla="*/ 747 w 814"/>
                    <a:gd name="T11" fmla="*/ 292 h 831"/>
                    <a:gd name="T12" fmla="*/ 743 w 814"/>
                    <a:gd name="T13" fmla="*/ 307 h 831"/>
                    <a:gd name="T14" fmla="*/ 712 w 814"/>
                    <a:gd name="T15" fmla="*/ 393 h 831"/>
                    <a:gd name="T16" fmla="*/ 729 w 814"/>
                    <a:gd name="T17" fmla="*/ 428 h 831"/>
                    <a:gd name="T18" fmla="*/ 756 w 814"/>
                    <a:gd name="T19" fmla="*/ 458 h 831"/>
                    <a:gd name="T20" fmla="*/ 752 w 814"/>
                    <a:gd name="T21" fmla="*/ 490 h 831"/>
                    <a:gd name="T22" fmla="*/ 750 w 814"/>
                    <a:gd name="T23" fmla="*/ 526 h 831"/>
                    <a:gd name="T24" fmla="*/ 744 w 814"/>
                    <a:gd name="T25" fmla="*/ 555 h 831"/>
                    <a:gd name="T26" fmla="*/ 745 w 814"/>
                    <a:gd name="T27" fmla="*/ 592 h 831"/>
                    <a:gd name="T28" fmla="*/ 750 w 814"/>
                    <a:gd name="T29" fmla="*/ 614 h 831"/>
                    <a:gd name="T30" fmla="*/ 762 w 814"/>
                    <a:gd name="T31" fmla="*/ 656 h 831"/>
                    <a:gd name="T32" fmla="*/ 772 w 814"/>
                    <a:gd name="T33" fmla="*/ 682 h 831"/>
                    <a:gd name="T34" fmla="*/ 788 w 814"/>
                    <a:gd name="T35" fmla="*/ 706 h 831"/>
                    <a:gd name="T36" fmla="*/ 810 w 814"/>
                    <a:gd name="T37" fmla="*/ 725 h 831"/>
                    <a:gd name="T38" fmla="*/ 813 w 814"/>
                    <a:gd name="T39" fmla="*/ 729 h 831"/>
                    <a:gd name="T40" fmla="*/ 805 w 814"/>
                    <a:gd name="T41" fmla="*/ 738 h 831"/>
                    <a:gd name="T42" fmla="*/ 751 w 814"/>
                    <a:gd name="T43" fmla="*/ 769 h 831"/>
                    <a:gd name="T44" fmla="*/ 661 w 814"/>
                    <a:gd name="T45" fmla="*/ 803 h 831"/>
                    <a:gd name="T46" fmla="*/ 595 w 814"/>
                    <a:gd name="T47" fmla="*/ 820 h 831"/>
                    <a:gd name="T48" fmla="*/ 537 w 814"/>
                    <a:gd name="T49" fmla="*/ 816 h 831"/>
                    <a:gd name="T50" fmla="*/ 479 w 814"/>
                    <a:gd name="T51" fmla="*/ 807 h 831"/>
                    <a:gd name="T52" fmla="*/ 405 w 814"/>
                    <a:gd name="T53" fmla="*/ 809 h 831"/>
                    <a:gd name="T54" fmla="*/ 386 w 814"/>
                    <a:gd name="T55" fmla="*/ 782 h 831"/>
                    <a:gd name="T56" fmla="*/ 377 w 814"/>
                    <a:gd name="T57" fmla="*/ 691 h 831"/>
                    <a:gd name="T58" fmla="*/ 335 w 814"/>
                    <a:gd name="T59" fmla="*/ 665 h 831"/>
                    <a:gd name="T60" fmla="*/ 269 w 814"/>
                    <a:gd name="T61" fmla="*/ 642 h 831"/>
                    <a:gd name="T62" fmla="*/ 237 w 814"/>
                    <a:gd name="T63" fmla="*/ 632 h 831"/>
                    <a:gd name="T64" fmla="*/ 190 w 814"/>
                    <a:gd name="T65" fmla="*/ 613 h 831"/>
                    <a:gd name="T66" fmla="*/ 128 w 814"/>
                    <a:gd name="T67" fmla="*/ 580 h 831"/>
                    <a:gd name="T68" fmla="*/ 102 w 814"/>
                    <a:gd name="T69" fmla="*/ 548 h 831"/>
                    <a:gd name="T70" fmla="*/ 82 w 814"/>
                    <a:gd name="T71" fmla="*/ 499 h 831"/>
                    <a:gd name="T72" fmla="*/ 23 w 814"/>
                    <a:gd name="T73" fmla="*/ 412 h 831"/>
                    <a:gd name="T74" fmla="*/ 15 w 814"/>
                    <a:gd name="T75" fmla="*/ 330 h 831"/>
                    <a:gd name="T76" fmla="*/ 11 w 814"/>
                    <a:gd name="T77" fmla="*/ 263 h 831"/>
                    <a:gd name="T78" fmla="*/ 37 w 814"/>
                    <a:gd name="T79" fmla="*/ 261 h 831"/>
                    <a:gd name="T80" fmla="*/ 85 w 814"/>
                    <a:gd name="T81" fmla="*/ 209 h 831"/>
                    <a:gd name="T82" fmla="*/ 118 w 814"/>
                    <a:gd name="T83" fmla="*/ 161 h 831"/>
                    <a:gd name="T84" fmla="*/ 90 w 814"/>
                    <a:gd name="T85" fmla="*/ 146 h 831"/>
                    <a:gd name="T86" fmla="*/ 97 w 814"/>
                    <a:gd name="T87" fmla="*/ 109 h 831"/>
                    <a:gd name="T88" fmla="*/ 97 w 814"/>
                    <a:gd name="T89" fmla="*/ 108 h 831"/>
                    <a:gd name="T90" fmla="*/ 99 w 814"/>
                    <a:gd name="T91" fmla="*/ 106 h 831"/>
                    <a:gd name="T92" fmla="*/ 119 w 814"/>
                    <a:gd name="T93" fmla="*/ 102 h 831"/>
                    <a:gd name="T94" fmla="*/ 119 w 814"/>
                    <a:gd name="T95" fmla="*/ 102 h 831"/>
                    <a:gd name="T96" fmla="*/ 105 w 814"/>
                    <a:gd name="T97" fmla="*/ 29 h 831"/>
                    <a:gd name="T98" fmla="*/ 92 w 814"/>
                    <a:gd name="T99" fmla="*/ 5 h 8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814" h="831">
                      <a:moveTo>
                        <a:pt x="92" y="5"/>
                      </a:moveTo>
                      <a:cubicBezTo>
                        <a:pt x="100" y="5"/>
                        <a:pt x="108" y="6"/>
                        <a:pt x="114" y="0"/>
                      </a:cubicBezTo>
                      <a:cubicBezTo>
                        <a:pt x="165" y="0"/>
                        <a:pt x="215" y="0"/>
                        <a:pt x="266" y="0"/>
                      </a:cubicBezTo>
                      <a:cubicBezTo>
                        <a:pt x="293" y="1"/>
                        <a:pt x="320" y="0"/>
                        <a:pt x="346" y="1"/>
                      </a:cubicBezTo>
                      <a:cubicBezTo>
                        <a:pt x="347" y="0"/>
                        <a:pt x="347" y="0"/>
                        <a:pt x="347" y="0"/>
                      </a:cubicBezTo>
                      <a:cubicBezTo>
                        <a:pt x="350" y="0"/>
                        <a:pt x="350" y="0"/>
                        <a:pt x="350" y="0"/>
                      </a:cubicBezTo>
                      <a:cubicBezTo>
                        <a:pt x="365" y="2"/>
                        <a:pt x="376" y="14"/>
                        <a:pt x="390" y="20"/>
                      </a:cubicBezTo>
                      <a:cubicBezTo>
                        <a:pt x="463" y="62"/>
                        <a:pt x="536" y="106"/>
                        <a:pt x="609" y="148"/>
                      </a:cubicBezTo>
                      <a:cubicBezTo>
                        <a:pt x="623" y="152"/>
                        <a:pt x="632" y="166"/>
                        <a:pt x="628" y="180"/>
                      </a:cubicBezTo>
                      <a:cubicBezTo>
                        <a:pt x="619" y="185"/>
                        <a:pt x="619" y="194"/>
                        <a:pt x="630" y="196"/>
                      </a:cubicBezTo>
                      <a:cubicBezTo>
                        <a:pt x="635" y="209"/>
                        <a:pt x="648" y="215"/>
                        <a:pt x="658" y="224"/>
                      </a:cubicBezTo>
                      <a:cubicBezTo>
                        <a:pt x="684" y="244"/>
                        <a:pt x="721" y="271"/>
                        <a:pt x="747" y="292"/>
                      </a:cubicBezTo>
                      <a:cubicBezTo>
                        <a:pt x="747" y="292"/>
                        <a:pt x="747" y="292"/>
                        <a:pt x="747" y="292"/>
                      </a:cubicBezTo>
                      <a:cubicBezTo>
                        <a:pt x="746" y="297"/>
                        <a:pt x="744" y="302"/>
                        <a:pt x="743" y="307"/>
                      </a:cubicBezTo>
                      <a:cubicBezTo>
                        <a:pt x="740" y="319"/>
                        <a:pt x="738" y="331"/>
                        <a:pt x="732" y="341"/>
                      </a:cubicBezTo>
                      <a:cubicBezTo>
                        <a:pt x="727" y="359"/>
                        <a:pt x="720" y="376"/>
                        <a:pt x="712" y="393"/>
                      </a:cubicBezTo>
                      <a:cubicBezTo>
                        <a:pt x="712" y="401"/>
                        <a:pt x="713" y="409"/>
                        <a:pt x="715" y="417"/>
                      </a:cubicBezTo>
                      <a:cubicBezTo>
                        <a:pt x="719" y="421"/>
                        <a:pt x="724" y="425"/>
                        <a:pt x="729" y="428"/>
                      </a:cubicBezTo>
                      <a:cubicBezTo>
                        <a:pt x="734" y="431"/>
                        <a:pt x="738" y="435"/>
                        <a:pt x="740" y="440"/>
                      </a:cubicBezTo>
                      <a:cubicBezTo>
                        <a:pt x="743" y="447"/>
                        <a:pt x="752" y="451"/>
                        <a:pt x="756" y="458"/>
                      </a:cubicBezTo>
                      <a:cubicBezTo>
                        <a:pt x="758" y="465"/>
                        <a:pt x="764" y="471"/>
                        <a:pt x="763" y="479"/>
                      </a:cubicBezTo>
                      <a:cubicBezTo>
                        <a:pt x="758" y="481"/>
                        <a:pt x="755" y="486"/>
                        <a:pt x="752" y="490"/>
                      </a:cubicBezTo>
                      <a:cubicBezTo>
                        <a:pt x="750" y="497"/>
                        <a:pt x="751" y="505"/>
                        <a:pt x="748" y="513"/>
                      </a:cubicBezTo>
                      <a:cubicBezTo>
                        <a:pt x="745" y="517"/>
                        <a:pt x="748" y="522"/>
                        <a:pt x="750" y="526"/>
                      </a:cubicBezTo>
                      <a:cubicBezTo>
                        <a:pt x="749" y="533"/>
                        <a:pt x="752" y="539"/>
                        <a:pt x="750" y="546"/>
                      </a:cubicBezTo>
                      <a:cubicBezTo>
                        <a:pt x="749" y="550"/>
                        <a:pt x="751" y="557"/>
                        <a:pt x="744" y="555"/>
                      </a:cubicBezTo>
                      <a:cubicBezTo>
                        <a:pt x="739" y="554"/>
                        <a:pt x="740" y="561"/>
                        <a:pt x="738" y="565"/>
                      </a:cubicBezTo>
                      <a:cubicBezTo>
                        <a:pt x="739" y="574"/>
                        <a:pt x="742" y="583"/>
                        <a:pt x="745" y="592"/>
                      </a:cubicBezTo>
                      <a:cubicBezTo>
                        <a:pt x="746" y="597"/>
                        <a:pt x="751" y="600"/>
                        <a:pt x="753" y="604"/>
                      </a:cubicBezTo>
                      <a:cubicBezTo>
                        <a:pt x="755" y="609"/>
                        <a:pt x="744" y="609"/>
                        <a:pt x="750" y="614"/>
                      </a:cubicBezTo>
                      <a:cubicBezTo>
                        <a:pt x="753" y="620"/>
                        <a:pt x="758" y="627"/>
                        <a:pt x="761" y="634"/>
                      </a:cubicBezTo>
                      <a:cubicBezTo>
                        <a:pt x="767" y="640"/>
                        <a:pt x="764" y="649"/>
                        <a:pt x="762" y="656"/>
                      </a:cubicBezTo>
                      <a:cubicBezTo>
                        <a:pt x="765" y="660"/>
                        <a:pt x="770" y="662"/>
                        <a:pt x="771" y="667"/>
                      </a:cubicBezTo>
                      <a:cubicBezTo>
                        <a:pt x="773" y="672"/>
                        <a:pt x="770" y="678"/>
                        <a:pt x="772" y="682"/>
                      </a:cubicBezTo>
                      <a:cubicBezTo>
                        <a:pt x="777" y="686"/>
                        <a:pt x="775" y="691"/>
                        <a:pt x="775" y="696"/>
                      </a:cubicBezTo>
                      <a:cubicBezTo>
                        <a:pt x="777" y="701"/>
                        <a:pt x="783" y="703"/>
                        <a:pt x="788" y="706"/>
                      </a:cubicBezTo>
                      <a:cubicBezTo>
                        <a:pt x="791" y="710"/>
                        <a:pt x="793" y="715"/>
                        <a:pt x="795" y="719"/>
                      </a:cubicBezTo>
                      <a:cubicBezTo>
                        <a:pt x="800" y="721"/>
                        <a:pt x="806" y="722"/>
                        <a:pt x="810" y="725"/>
                      </a:cubicBezTo>
                      <a:cubicBezTo>
                        <a:pt x="812" y="726"/>
                        <a:pt x="813" y="727"/>
                        <a:pt x="814" y="729"/>
                      </a:cubicBezTo>
                      <a:cubicBezTo>
                        <a:pt x="813" y="729"/>
                        <a:pt x="813" y="729"/>
                        <a:pt x="813" y="729"/>
                      </a:cubicBezTo>
                      <a:cubicBezTo>
                        <a:pt x="807" y="737"/>
                        <a:pt x="807" y="737"/>
                        <a:pt x="807" y="737"/>
                      </a:cubicBezTo>
                      <a:cubicBezTo>
                        <a:pt x="805" y="738"/>
                        <a:pt x="805" y="738"/>
                        <a:pt x="805" y="738"/>
                      </a:cubicBezTo>
                      <a:cubicBezTo>
                        <a:pt x="795" y="743"/>
                        <a:pt x="786" y="749"/>
                        <a:pt x="778" y="757"/>
                      </a:cubicBezTo>
                      <a:cubicBezTo>
                        <a:pt x="768" y="760"/>
                        <a:pt x="761" y="767"/>
                        <a:pt x="751" y="769"/>
                      </a:cubicBezTo>
                      <a:cubicBezTo>
                        <a:pt x="734" y="770"/>
                        <a:pt x="724" y="791"/>
                        <a:pt x="706" y="785"/>
                      </a:cubicBezTo>
                      <a:cubicBezTo>
                        <a:pt x="689" y="785"/>
                        <a:pt x="675" y="795"/>
                        <a:pt x="661" y="803"/>
                      </a:cubicBezTo>
                      <a:cubicBezTo>
                        <a:pt x="649" y="796"/>
                        <a:pt x="636" y="785"/>
                        <a:pt x="620" y="794"/>
                      </a:cubicBezTo>
                      <a:cubicBezTo>
                        <a:pt x="613" y="804"/>
                        <a:pt x="612" y="819"/>
                        <a:pt x="595" y="820"/>
                      </a:cubicBezTo>
                      <a:cubicBezTo>
                        <a:pt x="586" y="827"/>
                        <a:pt x="576" y="824"/>
                        <a:pt x="566" y="822"/>
                      </a:cubicBezTo>
                      <a:cubicBezTo>
                        <a:pt x="557" y="817"/>
                        <a:pt x="548" y="809"/>
                        <a:pt x="537" y="816"/>
                      </a:cubicBezTo>
                      <a:cubicBezTo>
                        <a:pt x="530" y="831"/>
                        <a:pt x="516" y="820"/>
                        <a:pt x="505" y="822"/>
                      </a:cubicBezTo>
                      <a:cubicBezTo>
                        <a:pt x="490" y="828"/>
                        <a:pt x="494" y="806"/>
                        <a:pt x="479" y="807"/>
                      </a:cubicBezTo>
                      <a:cubicBezTo>
                        <a:pt x="470" y="789"/>
                        <a:pt x="458" y="813"/>
                        <a:pt x="447" y="813"/>
                      </a:cubicBezTo>
                      <a:cubicBezTo>
                        <a:pt x="433" y="809"/>
                        <a:pt x="418" y="814"/>
                        <a:pt x="405" y="809"/>
                      </a:cubicBezTo>
                      <a:cubicBezTo>
                        <a:pt x="405" y="808"/>
                        <a:pt x="404" y="808"/>
                        <a:pt x="404" y="808"/>
                      </a:cubicBezTo>
                      <a:cubicBezTo>
                        <a:pt x="404" y="793"/>
                        <a:pt x="388" y="795"/>
                        <a:pt x="386" y="782"/>
                      </a:cubicBezTo>
                      <a:cubicBezTo>
                        <a:pt x="372" y="771"/>
                        <a:pt x="387" y="757"/>
                        <a:pt x="385" y="744"/>
                      </a:cubicBezTo>
                      <a:cubicBezTo>
                        <a:pt x="377" y="728"/>
                        <a:pt x="382" y="709"/>
                        <a:pt x="377" y="691"/>
                      </a:cubicBezTo>
                      <a:cubicBezTo>
                        <a:pt x="370" y="676"/>
                        <a:pt x="358" y="664"/>
                        <a:pt x="347" y="652"/>
                      </a:cubicBezTo>
                      <a:cubicBezTo>
                        <a:pt x="335" y="645"/>
                        <a:pt x="339" y="661"/>
                        <a:pt x="335" y="665"/>
                      </a:cubicBezTo>
                      <a:cubicBezTo>
                        <a:pt x="325" y="656"/>
                        <a:pt x="311" y="659"/>
                        <a:pt x="299" y="659"/>
                      </a:cubicBezTo>
                      <a:cubicBezTo>
                        <a:pt x="294" y="643"/>
                        <a:pt x="276" y="656"/>
                        <a:pt x="269" y="642"/>
                      </a:cubicBezTo>
                      <a:cubicBezTo>
                        <a:pt x="267" y="643"/>
                        <a:pt x="265" y="642"/>
                        <a:pt x="263" y="642"/>
                      </a:cubicBezTo>
                      <a:cubicBezTo>
                        <a:pt x="253" y="640"/>
                        <a:pt x="247" y="631"/>
                        <a:pt x="237" y="632"/>
                      </a:cubicBezTo>
                      <a:cubicBezTo>
                        <a:pt x="230" y="627"/>
                        <a:pt x="224" y="618"/>
                        <a:pt x="214" y="621"/>
                      </a:cubicBezTo>
                      <a:cubicBezTo>
                        <a:pt x="206" y="614"/>
                        <a:pt x="197" y="617"/>
                        <a:pt x="190" y="613"/>
                      </a:cubicBezTo>
                      <a:cubicBezTo>
                        <a:pt x="193" y="595"/>
                        <a:pt x="166" y="611"/>
                        <a:pt x="164" y="595"/>
                      </a:cubicBezTo>
                      <a:cubicBezTo>
                        <a:pt x="161" y="578"/>
                        <a:pt x="141" y="579"/>
                        <a:pt x="128" y="580"/>
                      </a:cubicBezTo>
                      <a:cubicBezTo>
                        <a:pt x="115" y="575"/>
                        <a:pt x="109" y="561"/>
                        <a:pt x="105" y="548"/>
                      </a:cubicBezTo>
                      <a:cubicBezTo>
                        <a:pt x="102" y="548"/>
                        <a:pt x="102" y="548"/>
                        <a:pt x="102" y="548"/>
                      </a:cubicBezTo>
                      <a:cubicBezTo>
                        <a:pt x="102" y="547"/>
                        <a:pt x="103" y="547"/>
                        <a:pt x="104" y="547"/>
                      </a:cubicBezTo>
                      <a:cubicBezTo>
                        <a:pt x="104" y="529"/>
                        <a:pt x="88" y="516"/>
                        <a:pt x="82" y="499"/>
                      </a:cubicBezTo>
                      <a:cubicBezTo>
                        <a:pt x="81" y="479"/>
                        <a:pt x="71" y="459"/>
                        <a:pt x="55" y="445"/>
                      </a:cubicBezTo>
                      <a:cubicBezTo>
                        <a:pt x="41" y="438"/>
                        <a:pt x="27" y="429"/>
                        <a:pt x="23" y="412"/>
                      </a:cubicBezTo>
                      <a:cubicBezTo>
                        <a:pt x="15" y="399"/>
                        <a:pt x="9" y="378"/>
                        <a:pt x="23" y="366"/>
                      </a:cubicBezTo>
                      <a:cubicBezTo>
                        <a:pt x="29" y="354"/>
                        <a:pt x="17" y="342"/>
                        <a:pt x="15" y="330"/>
                      </a:cubicBezTo>
                      <a:cubicBezTo>
                        <a:pt x="14" y="319"/>
                        <a:pt x="6" y="311"/>
                        <a:pt x="5" y="300"/>
                      </a:cubicBezTo>
                      <a:cubicBezTo>
                        <a:pt x="0" y="287"/>
                        <a:pt x="14" y="276"/>
                        <a:pt x="11" y="263"/>
                      </a:cubicBezTo>
                      <a:cubicBezTo>
                        <a:pt x="12" y="261"/>
                        <a:pt x="12" y="261"/>
                        <a:pt x="12" y="261"/>
                      </a:cubicBezTo>
                      <a:cubicBezTo>
                        <a:pt x="18" y="265"/>
                        <a:pt x="31" y="263"/>
                        <a:pt x="37" y="261"/>
                      </a:cubicBezTo>
                      <a:cubicBezTo>
                        <a:pt x="46" y="254"/>
                        <a:pt x="58" y="250"/>
                        <a:pt x="64" y="238"/>
                      </a:cubicBezTo>
                      <a:cubicBezTo>
                        <a:pt x="71" y="229"/>
                        <a:pt x="76" y="212"/>
                        <a:pt x="85" y="209"/>
                      </a:cubicBezTo>
                      <a:cubicBezTo>
                        <a:pt x="82" y="194"/>
                        <a:pt x="100" y="192"/>
                        <a:pt x="104" y="182"/>
                      </a:cubicBezTo>
                      <a:cubicBezTo>
                        <a:pt x="103" y="174"/>
                        <a:pt x="126" y="175"/>
                        <a:pt x="118" y="161"/>
                      </a:cubicBezTo>
                      <a:cubicBezTo>
                        <a:pt x="114" y="155"/>
                        <a:pt x="121" y="149"/>
                        <a:pt x="112" y="152"/>
                      </a:cubicBezTo>
                      <a:cubicBezTo>
                        <a:pt x="104" y="147"/>
                        <a:pt x="83" y="146"/>
                        <a:pt x="90" y="146"/>
                      </a:cubicBezTo>
                      <a:cubicBezTo>
                        <a:pt x="85" y="138"/>
                        <a:pt x="91" y="128"/>
                        <a:pt x="93" y="127"/>
                      </a:cubicBezTo>
                      <a:cubicBezTo>
                        <a:pt x="84" y="129"/>
                        <a:pt x="97" y="110"/>
                        <a:pt x="97" y="109"/>
                      </a:cubicBezTo>
                      <a:cubicBezTo>
                        <a:pt x="97" y="109"/>
                        <a:pt x="97" y="109"/>
                        <a:pt x="97" y="109"/>
                      </a:cubicBezTo>
                      <a:cubicBezTo>
                        <a:pt x="97" y="108"/>
                        <a:pt x="97" y="108"/>
                        <a:pt x="97" y="108"/>
                      </a:cubicBezTo>
                      <a:cubicBezTo>
                        <a:pt x="99" y="107"/>
                        <a:pt x="99" y="107"/>
                        <a:pt x="99" y="107"/>
                      </a:cubicBezTo>
                      <a:cubicBezTo>
                        <a:pt x="99" y="106"/>
                        <a:pt x="99" y="106"/>
                        <a:pt x="99" y="106"/>
                      </a:cubicBezTo>
                      <a:cubicBezTo>
                        <a:pt x="105" y="105"/>
                        <a:pt x="115" y="103"/>
                        <a:pt x="119" y="102"/>
                      </a:cubicBezTo>
                      <a:cubicBezTo>
                        <a:pt x="119" y="102"/>
                        <a:pt x="119" y="102"/>
                        <a:pt x="119" y="102"/>
                      </a:cubicBezTo>
                      <a:cubicBezTo>
                        <a:pt x="119" y="102"/>
                        <a:pt x="120" y="102"/>
                        <a:pt x="120" y="102"/>
                      </a:cubicBezTo>
                      <a:cubicBezTo>
                        <a:pt x="120" y="102"/>
                        <a:pt x="119" y="102"/>
                        <a:pt x="119" y="102"/>
                      </a:cubicBezTo>
                      <a:cubicBezTo>
                        <a:pt x="120" y="91"/>
                        <a:pt x="124" y="80"/>
                        <a:pt x="117" y="69"/>
                      </a:cubicBezTo>
                      <a:cubicBezTo>
                        <a:pt x="120" y="55"/>
                        <a:pt x="116" y="37"/>
                        <a:pt x="105" y="29"/>
                      </a:cubicBezTo>
                      <a:cubicBezTo>
                        <a:pt x="96" y="25"/>
                        <a:pt x="95" y="14"/>
                        <a:pt x="91" y="7"/>
                      </a:cubicBezTo>
                      <a:cubicBezTo>
                        <a:pt x="92" y="5"/>
                        <a:pt x="92" y="5"/>
                        <a:pt x="92" y="5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443" name="Taiwan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7323281" y="3755412"/>
                <a:ext cx="34426" cy="99455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2" y="16"/>
                  </a:cxn>
                  <a:cxn ang="0">
                    <a:pos x="6" y="18"/>
                  </a:cxn>
                  <a:cxn ang="0">
                    <a:pos x="6" y="0"/>
                  </a:cxn>
                  <a:cxn ang="0">
                    <a:pos x="2" y="5"/>
                  </a:cxn>
                  <a:cxn ang="0">
                    <a:pos x="0" y="7"/>
                  </a:cxn>
                  <a:cxn ang="0">
                    <a:pos x="0" y="9"/>
                  </a:cxn>
                </a:cxnLst>
                <a:rect l="0" t="0" r="r" b="b"/>
                <a:pathLst>
                  <a:path w="6" h="18">
                    <a:moveTo>
                      <a:pt x="0" y="9"/>
                    </a:moveTo>
                    <a:lnTo>
                      <a:pt x="2" y="16"/>
                    </a:lnTo>
                    <a:lnTo>
                      <a:pt x="6" y="18"/>
                    </a:lnTo>
                    <a:lnTo>
                      <a:pt x="6" y="0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569" name="Syria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5137997" y="3365033"/>
                <a:ext cx="160877" cy="178350"/>
              </a:xfrm>
              <a:custGeom>
                <a:avLst/>
                <a:gdLst>
                  <a:gd name="T0" fmla="*/ 160877 w 29"/>
                  <a:gd name="T1" fmla="*/ 0 h 32"/>
                  <a:gd name="T2" fmla="*/ 116497 w 29"/>
                  <a:gd name="T3" fmla="*/ 11147 h 32"/>
                  <a:gd name="T4" fmla="*/ 77665 w 29"/>
                  <a:gd name="T5" fmla="*/ 11147 h 32"/>
                  <a:gd name="T6" fmla="*/ 66570 w 29"/>
                  <a:gd name="T7" fmla="*/ 11147 h 32"/>
                  <a:gd name="T8" fmla="*/ 22190 w 29"/>
                  <a:gd name="T9" fmla="*/ 11147 h 32"/>
                  <a:gd name="T10" fmla="*/ 22190 w 29"/>
                  <a:gd name="T11" fmla="*/ 39014 h 32"/>
                  <a:gd name="T12" fmla="*/ 0 w 29"/>
                  <a:gd name="T13" fmla="*/ 50161 h 32"/>
                  <a:gd name="T14" fmla="*/ 0 w 29"/>
                  <a:gd name="T15" fmla="*/ 100322 h 32"/>
                  <a:gd name="T16" fmla="*/ 22190 w 29"/>
                  <a:gd name="T17" fmla="*/ 100322 h 32"/>
                  <a:gd name="T18" fmla="*/ 0 w 29"/>
                  <a:gd name="T19" fmla="*/ 139336 h 32"/>
                  <a:gd name="T20" fmla="*/ 0 w 29"/>
                  <a:gd name="T21" fmla="*/ 150483 h 32"/>
                  <a:gd name="T22" fmla="*/ 22190 w 29"/>
                  <a:gd name="T23" fmla="*/ 178350 h 32"/>
                  <a:gd name="T24" fmla="*/ 77665 w 29"/>
                  <a:gd name="T25" fmla="*/ 139336 h 32"/>
                  <a:gd name="T26" fmla="*/ 127592 w 29"/>
                  <a:gd name="T27" fmla="*/ 100322 h 32"/>
                  <a:gd name="T28" fmla="*/ 127592 w 29"/>
                  <a:gd name="T29" fmla="*/ 39014 h 32"/>
                  <a:gd name="T30" fmla="*/ 138687 w 29"/>
                  <a:gd name="T31" fmla="*/ 27867 h 32"/>
                  <a:gd name="T32" fmla="*/ 160877 w 29"/>
                  <a:gd name="T33" fmla="*/ 0 h 32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9"/>
                  <a:gd name="T52" fmla="*/ 0 h 32"/>
                  <a:gd name="T53" fmla="*/ 29 w 29"/>
                  <a:gd name="T54" fmla="*/ 32 h 32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9" h="32">
                    <a:moveTo>
                      <a:pt x="29" y="0"/>
                    </a:moveTo>
                    <a:lnTo>
                      <a:pt x="21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4" y="2"/>
                    </a:lnTo>
                    <a:lnTo>
                      <a:pt x="4" y="7"/>
                    </a:lnTo>
                    <a:lnTo>
                      <a:pt x="0" y="9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0" y="25"/>
                    </a:lnTo>
                    <a:lnTo>
                      <a:pt x="0" y="27"/>
                    </a:lnTo>
                    <a:lnTo>
                      <a:pt x="4" y="32"/>
                    </a:lnTo>
                    <a:lnTo>
                      <a:pt x="14" y="25"/>
                    </a:lnTo>
                    <a:lnTo>
                      <a:pt x="23" y="18"/>
                    </a:lnTo>
                    <a:lnTo>
                      <a:pt x="23" y="7"/>
                    </a:lnTo>
                    <a:lnTo>
                      <a:pt x="25" y="5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48570" name="Switzerland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05727" y="3041773"/>
                <a:ext cx="105402" cy="50161"/>
              </a:xfrm>
              <a:custGeom>
                <a:avLst/>
                <a:gdLst>
                  <a:gd name="T0" fmla="*/ 22190 w 19"/>
                  <a:gd name="T1" fmla="*/ 50161 h 9"/>
                  <a:gd name="T2" fmla="*/ 11095 w 19"/>
                  <a:gd name="T3" fmla="*/ 33441 h 9"/>
                  <a:gd name="T4" fmla="*/ 11095 w 19"/>
                  <a:gd name="T5" fmla="*/ 50161 h 9"/>
                  <a:gd name="T6" fmla="*/ 0 w 19"/>
                  <a:gd name="T7" fmla="*/ 33441 h 9"/>
                  <a:gd name="T8" fmla="*/ 22190 w 19"/>
                  <a:gd name="T9" fmla="*/ 0 h 9"/>
                  <a:gd name="T10" fmla="*/ 49927 w 19"/>
                  <a:gd name="T11" fmla="*/ 0 h 9"/>
                  <a:gd name="T12" fmla="*/ 94307 w 19"/>
                  <a:gd name="T13" fmla="*/ 0 h 9"/>
                  <a:gd name="T14" fmla="*/ 94307 w 19"/>
                  <a:gd name="T15" fmla="*/ 22294 h 9"/>
                  <a:gd name="T16" fmla="*/ 105402 w 19"/>
                  <a:gd name="T17" fmla="*/ 22294 h 9"/>
                  <a:gd name="T18" fmla="*/ 94307 w 19"/>
                  <a:gd name="T19" fmla="*/ 33441 h 9"/>
                  <a:gd name="T20" fmla="*/ 72117 w 19"/>
                  <a:gd name="T21" fmla="*/ 33441 h 9"/>
                  <a:gd name="T22" fmla="*/ 72117 w 19"/>
                  <a:gd name="T23" fmla="*/ 50161 h 9"/>
                  <a:gd name="T24" fmla="*/ 61022 w 19"/>
                  <a:gd name="T25" fmla="*/ 33441 h 9"/>
                  <a:gd name="T26" fmla="*/ 38832 w 19"/>
                  <a:gd name="T27" fmla="*/ 50161 h 9"/>
                  <a:gd name="T28" fmla="*/ 22190 w 19"/>
                  <a:gd name="T29" fmla="*/ 50161 h 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9"/>
                  <a:gd name="T46" fmla="*/ 0 h 9"/>
                  <a:gd name="T47" fmla="*/ 19 w 19"/>
                  <a:gd name="T48" fmla="*/ 9 h 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9" h="9">
                    <a:moveTo>
                      <a:pt x="4" y="9"/>
                    </a:moveTo>
                    <a:lnTo>
                      <a:pt x="2" y="6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17" y="0"/>
                    </a:lnTo>
                    <a:lnTo>
                      <a:pt x="17" y="4"/>
                    </a:lnTo>
                    <a:lnTo>
                      <a:pt x="19" y="4"/>
                    </a:lnTo>
                    <a:lnTo>
                      <a:pt x="17" y="6"/>
                    </a:lnTo>
                    <a:lnTo>
                      <a:pt x="13" y="6"/>
                    </a:lnTo>
                    <a:lnTo>
                      <a:pt x="13" y="9"/>
                    </a:lnTo>
                    <a:lnTo>
                      <a:pt x="11" y="6"/>
                    </a:lnTo>
                    <a:lnTo>
                      <a:pt x="7" y="9"/>
                    </a:lnTo>
                    <a:lnTo>
                      <a:pt x="4" y="9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447" name="Sweden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2824" y="2412766"/>
                <a:ext cx="244811" cy="390171"/>
              </a:xfrm>
              <a:custGeom>
                <a:avLst/>
                <a:gdLst/>
                <a:ahLst/>
                <a:cxnLst>
                  <a:cxn ang="0">
                    <a:pos x="2" y="47"/>
                  </a:cxn>
                  <a:cxn ang="0">
                    <a:pos x="4" y="47"/>
                  </a:cxn>
                  <a:cxn ang="0">
                    <a:pos x="2" y="41"/>
                  </a:cxn>
                  <a:cxn ang="0">
                    <a:pos x="4" y="41"/>
                  </a:cxn>
                  <a:cxn ang="0">
                    <a:pos x="2" y="32"/>
                  </a:cxn>
                  <a:cxn ang="0">
                    <a:pos x="2" y="25"/>
                  </a:cxn>
                  <a:cxn ang="0">
                    <a:pos x="11" y="25"/>
                  </a:cxn>
                  <a:cxn ang="0">
                    <a:pos x="9" y="23"/>
                  </a:cxn>
                  <a:cxn ang="0">
                    <a:pos x="11" y="14"/>
                  </a:cxn>
                  <a:cxn ang="0">
                    <a:pos x="17" y="9"/>
                  </a:cxn>
                  <a:cxn ang="0">
                    <a:pos x="19" y="5"/>
                  </a:cxn>
                  <a:cxn ang="0">
                    <a:pos x="21" y="5"/>
                  </a:cxn>
                  <a:cxn ang="0">
                    <a:pos x="25" y="0"/>
                  </a:cxn>
                  <a:cxn ang="0">
                    <a:pos x="29" y="5"/>
                  </a:cxn>
                  <a:cxn ang="0">
                    <a:pos x="29" y="0"/>
                  </a:cxn>
                  <a:cxn ang="0">
                    <a:pos x="42" y="5"/>
                  </a:cxn>
                  <a:cxn ang="0">
                    <a:pos x="44" y="16"/>
                  </a:cxn>
                  <a:cxn ang="0">
                    <a:pos x="40" y="16"/>
                  </a:cxn>
                  <a:cxn ang="0">
                    <a:pos x="36" y="23"/>
                  </a:cxn>
                  <a:cxn ang="0">
                    <a:pos x="21" y="34"/>
                  </a:cxn>
                  <a:cxn ang="0">
                    <a:pos x="21" y="41"/>
                  </a:cxn>
                  <a:cxn ang="0">
                    <a:pos x="27" y="47"/>
                  </a:cxn>
                  <a:cxn ang="0">
                    <a:pos x="25" y="50"/>
                  </a:cxn>
                  <a:cxn ang="0">
                    <a:pos x="27" y="50"/>
                  </a:cxn>
                  <a:cxn ang="0">
                    <a:pos x="21" y="52"/>
                  </a:cxn>
                  <a:cxn ang="0">
                    <a:pos x="19" y="65"/>
                  </a:cxn>
                  <a:cxn ang="0">
                    <a:pos x="13" y="65"/>
                  </a:cxn>
                  <a:cxn ang="0">
                    <a:pos x="11" y="70"/>
                  </a:cxn>
                  <a:cxn ang="0">
                    <a:pos x="9" y="70"/>
                  </a:cxn>
                  <a:cxn ang="0">
                    <a:pos x="4" y="65"/>
                  </a:cxn>
                  <a:cxn ang="0">
                    <a:pos x="0" y="50"/>
                  </a:cxn>
                  <a:cxn ang="0">
                    <a:pos x="2" y="47"/>
                  </a:cxn>
                </a:cxnLst>
                <a:rect l="0" t="0" r="r" b="b"/>
                <a:pathLst>
                  <a:path w="44" h="70">
                    <a:moveTo>
                      <a:pt x="2" y="47"/>
                    </a:moveTo>
                    <a:lnTo>
                      <a:pt x="4" y="47"/>
                    </a:lnTo>
                    <a:lnTo>
                      <a:pt x="2" y="41"/>
                    </a:lnTo>
                    <a:lnTo>
                      <a:pt x="4" y="41"/>
                    </a:lnTo>
                    <a:lnTo>
                      <a:pt x="2" y="32"/>
                    </a:lnTo>
                    <a:lnTo>
                      <a:pt x="2" y="25"/>
                    </a:lnTo>
                    <a:lnTo>
                      <a:pt x="11" y="25"/>
                    </a:lnTo>
                    <a:lnTo>
                      <a:pt x="9" y="23"/>
                    </a:lnTo>
                    <a:lnTo>
                      <a:pt x="11" y="14"/>
                    </a:lnTo>
                    <a:lnTo>
                      <a:pt x="17" y="9"/>
                    </a:lnTo>
                    <a:lnTo>
                      <a:pt x="19" y="5"/>
                    </a:lnTo>
                    <a:lnTo>
                      <a:pt x="21" y="5"/>
                    </a:lnTo>
                    <a:lnTo>
                      <a:pt x="25" y="0"/>
                    </a:lnTo>
                    <a:lnTo>
                      <a:pt x="29" y="5"/>
                    </a:lnTo>
                    <a:lnTo>
                      <a:pt x="29" y="0"/>
                    </a:lnTo>
                    <a:lnTo>
                      <a:pt x="42" y="5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36" y="23"/>
                    </a:lnTo>
                    <a:lnTo>
                      <a:pt x="21" y="34"/>
                    </a:lnTo>
                    <a:lnTo>
                      <a:pt x="21" y="41"/>
                    </a:lnTo>
                    <a:lnTo>
                      <a:pt x="27" y="47"/>
                    </a:lnTo>
                    <a:lnTo>
                      <a:pt x="25" y="50"/>
                    </a:lnTo>
                    <a:lnTo>
                      <a:pt x="27" y="50"/>
                    </a:lnTo>
                    <a:lnTo>
                      <a:pt x="21" y="52"/>
                    </a:lnTo>
                    <a:lnTo>
                      <a:pt x="19" y="65"/>
                    </a:lnTo>
                    <a:lnTo>
                      <a:pt x="13" y="65"/>
                    </a:lnTo>
                    <a:lnTo>
                      <a:pt x="11" y="70"/>
                    </a:lnTo>
                    <a:lnTo>
                      <a:pt x="9" y="70"/>
                    </a:lnTo>
                    <a:lnTo>
                      <a:pt x="4" y="65"/>
                    </a:lnTo>
                    <a:lnTo>
                      <a:pt x="0" y="50"/>
                    </a:lnTo>
                    <a:lnTo>
                      <a:pt x="2" y="4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50" name="Swaziland"/>
              <p:cNvSpPr>
                <a:spLocks/>
              </p:cNvSpPr>
              <p:nvPr/>
            </p:nvSpPr>
            <p:spPr bwMode="auto">
              <a:xfrm>
                <a:off x="5024357" y="5413636"/>
                <a:ext cx="38252" cy="51641"/>
              </a:xfrm>
              <a:custGeom>
                <a:avLst/>
                <a:gdLst>
                  <a:gd name="T0" fmla="*/ 60 w 105"/>
                  <a:gd name="T1" fmla="*/ 9 h 123"/>
                  <a:gd name="T2" fmla="*/ 85 w 105"/>
                  <a:gd name="T3" fmla="*/ 22 h 123"/>
                  <a:gd name="T4" fmla="*/ 87 w 105"/>
                  <a:gd name="T5" fmla="*/ 22 h 123"/>
                  <a:gd name="T6" fmla="*/ 93 w 105"/>
                  <a:gd name="T7" fmla="*/ 61 h 123"/>
                  <a:gd name="T8" fmla="*/ 88 w 105"/>
                  <a:gd name="T9" fmla="*/ 87 h 123"/>
                  <a:gd name="T10" fmla="*/ 85 w 105"/>
                  <a:gd name="T11" fmla="*/ 86 h 123"/>
                  <a:gd name="T12" fmla="*/ 76 w 105"/>
                  <a:gd name="T13" fmla="*/ 122 h 123"/>
                  <a:gd name="T14" fmla="*/ 39 w 105"/>
                  <a:gd name="T15" fmla="*/ 119 h 123"/>
                  <a:gd name="T16" fmla="*/ 14 w 105"/>
                  <a:gd name="T17" fmla="*/ 101 h 123"/>
                  <a:gd name="T18" fmla="*/ 1 w 105"/>
                  <a:gd name="T19" fmla="*/ 80 h 123"/>
                  <a:gd name="T20" fmla="*/ 12 w 105"/>
                  <a:gd name="T21" fmla="*/ 45 h 123"/>
                  <a:gd name="T22" fmla="*/ 34 w 105"/>
                  <a:gd name="T23" fmla="*/ 14 h 123"/>
                  <a:gd name="T24" fmla="*/ 60 w 105"/>
                  <a:gd name="T25" fmla="*/ 9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5" h="123">
                    <a:moveTo>
                      <a:pt x="60" y="9"/>
                    </a:moveTo>
                    <a:cubicBezTo>
                      <a:pt x="67" y="13"/>
                      <a:pt x="78" y="27"/>
                      <a:pt x="85" y="22"/>
                    </a:cubicBezTo>
                    <a:cubicBezTo>
                      <a:pt x="87" y="22"/>
                      <a:pt x="87" y="22"/>
                      <a:pt x="87" y="22"/>
                    </a:cubicBezTo>
                    <a:cubicBezTo>
                      <a:pt x="105" y="29"/>
                      <a:pt x="85" y="48"/>
                      <a:pt x="93" y="61"/>
                    </a:cubicBezTo>
                    <a:cubicBezTo>
                      <a:pt x="92" y="68"/>
                      <a:pt x="96" y="86"/>
                      <a:pt x="88" y="87"/>
                    </a:cubicBezTo>
                    <a:cubicBezTo>
                      <a:pt x="87" y="87"/>
                      <a:pt x="86" y="87"/>
                      <a:pt x="85" y="86"/>
                    </a:cubicBezTo>
                    <a:cubicBezTo>
                      <a:pt x="78" y="97"/>
                      <a:pt x="79" y="111"/>
                      <a:pt x="76" y="122"/>
                    </a:cubicBezTo>
                    <a:cubicBezTo>
                      <a:pt x="64" y="122"/>
                      <a:pt x="50" y="123"/>
                      <a:pt x="39" y="119"/>
                    </a:cubicBezTo>
                    <a:cubicBezTo>
                      <a:pt x="28" y="116"/>
                      <a:pt x="20" y="109"/>
                      <a:pt x="14" y="101"/>
                    </a:cubicBezTo>
                    <a:cubicBezTo>
                      <a:pt x="10" y="93"/>
                      <a:pt x="12" y="79"/>
                      <a:pt x="1" y="80"/>
                    </a:cubicBezTo>
                    <a:cubicBezTo>
                      <a:pt x="3" y="68"/>
                      <a:pt x="0" y="53"/>
                      <a:pt x="12" y="45"/>
                    </a:cubicBezTo>
                    <a:cubicBezTo>
                      <a:pt x="22" y="37"/>
                      <a:pt x="25" y="23"/>
                      <a:pt x="34" y="14"/>
                    </a:cubicBezTo>
                    <a:cubicBezTo>
                      <a:pt x="40" y="6"/>
                      <a:pt x="52" y="0"/>
                      <a:pt x="60" y="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51" name="Suriname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2731172" y="4384657"/>
                <a:ext cx="87979" cy="12240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2" y="0"/>
                  </a:cxn>
                  <a:cxn ang="0">
                    <a:pos x="2" y="0"/>
                  </a:cxn>
                  <a:cxn ang="0">
                    <a:pos x="0" y="11"/>
                  </a:cxn>
                  <a:cxn ang="0">
                    <a:pos x="4" y="22"/>
                  </a:cxn>
                  <a:cxn ang="0">
                    <a:pos x="8" y="22"/>
                  </a:cxn>
                  <a:cxn ang="0">
                    <a:pos x="8" y="20"/>
                  </a:cxn>
                  <a:cxn ang="0">
                    <a:pos x="16" y="22"/>
                  </a:cxn>
                  <a:cxn ang="0">
                    <a:pos x="16" y="13"/>
                  </a:cxn>
                  <a:cxn ang="0">
                    <a:pos x="16" y="6"/>
                  </a:cxn>
                  <a:cxn ang="0">
                    <a:pos x="16" y="4"/>
                  </a:cxn>
                  <a:cxn ang="0">
                    <a:pos x="16" y="0"/>
                  </a:cxn>
                </a:cxnLst>
                <a:rect l="0" t="0" r="r" b="b"/>
                <a:pathLst>
                  <a:path w="16" h="22">
                    <a:moveTo>
                      <a:pt x="16" y="0"/>
                    </a:moveTo>
                    <a:lnTo>
                      <a:pt x="12" y="0"/>
                    </a:lnTo>
                    <a:lnTo>
                      <a:pt x="2" y="0"/>
                    </a:lnTo>
                    <a:lnTo>
                      <a:pt x="0" y="11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16" y="22"/>
                    </a:lnTo>
                    <a:lnTo>
                      <a:pt x="16" y="13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3348574" name="Sudan"/>
              <p:cNvGrpSpPr>
                <a:grpSpLocks/>
              </p:cNvGrpSpPr>
              <p:nvPr/>
            </p:nvGrpSpPr>
            <p:grpSpPr bwMode="auto">
              <a:xfrm>
                <a:off x="4812503" y="3818527"/>
                <a:ext cx="435163" cy="640117"/>
                <a:chOff x="4812503" y="3799438"/>
                <a:chExt cx="435163" cy="640117"/>
              </a:xfrm>
            </p:grpSpPr>
            <p:sp>
              <p:nvSpPr>
                <p:cNvPr id="831" name="Sudan"/>
                <p:cNvSpPr>
                  <a:spLocks/>
                </p:cNvSpPr>
                <p:nvPr/>
              </p:nvSpPr>
              <p:spPr bwMode="auto">
                <a:xfrm>
                  <a:off x="4877089" y="4160920"/>
                  <a:ext cx="304100" cy="279240"/>
                </a:xfrm>
                <a:custGeom>
                  <a:avLst/>
                  <a:gdLst>
                    <a:gd name="T0" fmla="*/ 773 w 833"/>
                    <a:gd name="T1" fmla="*/ 556 h 647"/>
                    <a:gd name="T2" fmla="*/ 741 w 833"/>
                    <a:gd name="T3" fmla="*/ 591 h 647"/>
                    <a:gd name="T4" fmla="*/ 681 w 833"/>
                    <a:gd name="T5" fmla="*/ 626 h 647"/>
                    <a:gd name="T6" fmla="*/ 608 w 833"/>
                    <a:gd name="T7" fmla="*/ 644 h 647"/>
                    <a:gd name="T8" fmla="*/ 554 w 833"/>
                    <a:gd name="T9" fmla="*/ 633 h 647"/>
                    <a:gd name="T10" fmla="*/ 509 w 833"/>
                    <a:gd name="T11" fmla="*/ 646 h 647"/>
                    <a:gd name="T12" fmla="*/ 480 w 833"/>
                    <a:gd name="T13" fmla="*/ 619 h 647"/>
                    <a:gd name="T14" fmla="*/ 428 w 833"/>
                    <a:gd name="T15" fmla="*/ 579 h 647"/>
                    <a:gd name="T16" fmla="*/ 382 w 833"/>
                    <a:gd name="T17" fmla="*/ 582 h 647"/>
                    <a:gd name="T18" fmla="*/ 325 w 833"/>
                    <a:gd name="T19" fmla="*/ 588 h 647"/>
                    <a:gd name="T20" fmla="*/ 291 w 833"/>
                    <a:gd name="T21" fmla="*/ 567 h 647"/>
                    <a:gd name="T22" fmla="*/ 252 w 833"/>
                    <a:gd name="T23" fmla="*/ 533 h 647"/>
                    <a:gd name="T24" fmla="*/ 244 w 833"/>
                    <a:gd name="T25" fmla="*/ 521 h 647"/>
                    <a:gd name="T26" fmla="*/ 207 w 833"/>
                    <a:gd name="T27" fmla="*/ 467 h 647"/>
                    <a:gd name="T28" fmla="*/ 181 w 833"/>
                    <a:gd name="T29" fmla="*/ 445 h 647"/>
                    <a:gd name="T30" fmla="*/ 153 w 833"/>
                    <a:gd name="T31" fmla="*/ 399 h 647"/>
                    <a:gd name="T32" fmla="*/ 86 w 833"/>
                    <a:gd name="T33" fmla="*/ 348 h 647"/>
                    <a:gd name="T34" fmla="*/ 65 w 833"/>
                    <a:gd name="T35" fmla="*/ 311 h 647"/>
                    <a:gd name="T36" fmla="*/ 0 w 833"/>
                    <a:gd name="T37" fmla="*/ 276 h 647"/>
                    <a:gd name="T38" fmla="*/ 7 w 833"/>
                    <a:gd name="T39" fmla="*/ 256 h 647"/>
                    <a:gd name="T40" fmla="*/ 35 w 833"/>
                    <a:gd name="T41" fmla="*/ 224 h 647"/>
                    <a:gd name="T42" fmla="*/ 47 w 833"/>
                    <a:gd name="T43" fmla="*/ 204 h 647"/>
                    <a:gd name="T44" fmla="*/ 59 w 833"/>
                    <a:gd name="T45" fmla="*/ 174 h 647"/>
                    <a:gd name="T46" fmla="*/ 127 w 833"/>
                    <a:gd name="T47" fmla="*/ 134 h 647"/>
                    <a:gd name="T48" fmla="*/ 155 w 833"/>
                    <a:gd name="T49" fmla="*/ 168 h 647"/>
                    <a:gd name="T50" fmla="*/ 197 w 833"/>
                    <a:gd name="T51" fmla="*/ 204 h 647"/>
                    <a:gd name="T52" fmla="*/ 281 w 833"/>
                    <a:gd name="T53" fmla="*/ 198 h 647"/>
                    <a:gd name="T54" fmla="*/ 349 w 833"/>
                    <a:gd name="T55" fmla="*/ 214 h 647"/>
                    <a:gd name="T56" fmla="*/ 403 w 833"/>
                    <a:gd name="T57" fmla="*/ 184 h 647"/>
                    <a:gd name="T58" fmla="*/ 431 w 833"/>
                    <a:gd name="T59" fmla="*/ 142 h 647"/>
                    <a:gd name="T60" fmla="*/ 527 w 833"/>
                    <a:gd name="T61" fmla="*/ 184 h 647"/>
                    <a:gd name="T62" fmla="*/ 581 w 833"/>
                    <a:gd name="T63" fmla="*/ 118 h 647"/>
                    <a:gd name="T64" fmla="*/ 615 w 833"/>
                    <a:gd name="T65" fmla="*/ 70 h 647"/>
                    <a:gd name="T66" fmla="*/ 595 w 833"/>
                    <a:gd name="T67" fmla="*/ 22 h 647"/>
                    <a:gd name="T68" fmla="*/ 637 w 833"/>
                    <a:gd name="T69" fmla="*/ 0 h 647"/>
                    <a:gd name="T70" fmla="*/ 671 w 833"/>
                    <a:gd name="T71" fmla="*/ 50 h 647"/>
                    <a:gd name="T72" fmla="*/ 701 w 833"/>
                    <a:gd name="T73" fmla="*/ 122 h 647"/>
                    <a:gd name="T74" fmla="*/ 725 w 833"/>
                    <a:gd name="T75" fmla="*/ 154 h 647"/>
                    <a:gd name="T76" fmla="*/ 723 w 833"/>
                    <a:gd name="T77" fmla="*/ 190 h 647"/>
                    <a:gd name="T78" fmla="*/ 737 w 833"/>
                    <a:gd name="T79" fmla="*/ 202 h 647"/>
                    <a:gd name="T80" fmla="*/ 741 w 833"/>
                    <a:gd name="T81" fmla="*/ 226 h 647"/>
                    <a:gd name="T82" fmla="*/ 707 w 833"/>
                    <a:gd name="T83" fmla="*/ 268 h 647"/>
                    <a:gd name="T84" fmla="*/ 662 w 833"/>
                    <a:gd name="T85" fmla="*/ 304 h 647"/>
                    <a:gd name="T86" fmla="*/ 725 w 833"/>
                    <a:gd name="T87" fmla="*/ 338 h 647"/>
                    <a:gd name="T88" fmla="*/ 773 w 833"/>
                    <a:gd name="T89" fmla="*/ 387 h 647"/>
                    <a:gd name="T90" fmla="*/ 811 w 833"/>
                    <a:gd name="T91" fmla="*/ 455 h 647"/>
                    <a:gd name="T92" fmla="*/ 833 w 833"/>
                    <a:gd name="T93" fmla="*/ 492 h 6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833" h="647">
                      <a:moveTo>
                        <a:pt x="772" y="555"/>
                      </a:moveTo>
                      <a:cubicBezTo>
                        <a:pt x="773" y="556"/>
                        <a:pt x="773" y="556"/>
                        <a:pt x="773" y="556"/>
                      </a:cubicBezTo>
                      <a:cubicBezTo>
                        <a:pt x="772" y="558"/>
                        <a:pt x="771" y="559"/>
                        <a:pt x="770" y="561"/>
                      </a:cubicBezTo>
                      <a:cubicBezTo>
                        <a:pt x="760" y="571"/>
                        <a:pt x="751" y="581"/>
                        <a:pt x="741" y="591"/>
                      </a:cubicBezTo>
                      <a:cubicBezTo>
                        <a:pt x="735" y="598"/>
                        <a:pt x="728" y="605"/>
                        <a:pt x="721" y="612"/>
                      </a:cubicBezTo>
                      <a:cubicBezTo>
                        <a:pt x="712" y="627"/>
                        <a:pt x="697" y="630"/>
                        <a:pt x="681" y="626"/>
                      </a:cubicBezTo>
                      <a:cubicBezTo>
                        <a:pt x="672" y="613"/>
                        <a:pt x="661" y="622"/>
                        <a:pt x="650" y="626"/>
                      </a:cubicBezTo>
                      <a:cubicBezTo>
                        <a:pt x="636" y="629"/>
                        <a:pt x="611" y="625"/>
                        <a:pt x="608" y="644"/>
                      </a:cubicBezTo>
                      <a:cubicBezTo>
                        <a:pt x="600" y="646"/>
                        <a:pt x="590" y="639"/>
                        <a:pt x="587" y="632"/>
                      </a:cubicBezTo>
                      <a:cubicBezTo>
                        <a:pt x="579" y="613"/>
                        <a:pt x="567" y="641"/>
                        <a:pt x="554" y="633"/>
                      </a:cubicBezTo>
                      <a:cubicBezTo>
                        <a:pt x="541" y="619"/>
                        <a:pt x="521" y="626"/>
                        <a:pt x="512" y="640"/>
                      </a:cubicBezTo>
                      <a:cubicBezTo>
                        <a:pt x="511" y="644"/>
                        <a:pt x="510" y="646"/>
                        <a:pt x="509" y="646"/>
                      </a:cubicBezTo>
                      <a:cubicBezTo>
                        <a:pt x="506" y="646"/>
                        <a:pt x="504" y="630"/>
                        <a:pt x="496" y="637"/>
                      </a:cubicBezTo>
                      <a:cubicBezTo>
                        <a:pt x="480" y="647"/>
                        <a:pt x="493" y="620"/>
                        <a:pt x="480" y="619"/>
                      </a:cubicBezTo>
                      <a:cubicBezTo>
                        <a:pt x="462" y="617"/>
                        <a:pt x="454" y="604"/>
                        <a:pt x="443" y="593"/>
                      </a:cubicBezTo>
                      <a:cubicBezTo>
                        <a:pt x="441" y="583"/>
                        <a:pt x="432" y="586"/>
                        <a:pt x="428" y="579"/>
                      </a:cubicBezTo>
                      <a:cubicBezTo>
                        <a:pt x="433" y="565"/>
                        <a:pt x="417" y="560"/>
                        <a:pt x="406" y="559"/>
                      </a:cubicBezTo>
                      <a:cubicBezTo>
                        <a:pt x="401" y="565"/>
                        <a:pt x="395" y="585"/>
                        <a:pt x="382" y="582"/>
                      </a:cubicBezTo>
                      <a:cubicBezTo>
                        <a:pt x="374" y="570"/>
                        <a:pt x="358" y="577"/>
                        <a:pt x="350" y="568"/>
                      </a:cubicBezTo>
                      <a:cubicBezTo>
                        <a:pt x="343" y="576"/>
                        <a:pt x="334" y="583"/>
                        <a:pt x="325" y="588"/>
                      </a:cubicBezTo>
                      <a:cubicBezTo>
                        <a:pt x="329" y="594"/>
                        <a:pt x="307" y="586"/>
                        <a:pt x="303" y="578"/>
                      </a:cubicBezTo>
                      <a:cubicBezTo>
                        <a:pt x="294" y="580"/>
                        <a:pt x="299" y="567"/>
                        <a:pt x="291" y="567"/>
                      </a:cubicBezTo>
                      <a:cubicBezTo>
                        <a:pt x="278" y="573"/>
                        <a:pt x="278" y="556"/>
                        <a:pt x="273" y="551"/>
                      </a:cubicBezTo>
                      <a:cubicBezTo>
                        <a:pt x="269" y="541"/>
                        <a:pt x="258" y="542"/>
                        <a:pt x="252" y="533"/>
                      </a:cubicBezTo>
                      <a:cubicBezTo>
                        <a:pt x="251" y="531"/>
                        <a:pt x="251" y="531"/>
                        <a:pt x="251" y="531"/>
                      </a:cubicBezTo>
                      <a:cubicBezTo>
                        <a:pt x="253" y="531"/>
                        <a:pt x="249" y="522"/>
                        <a:pt x="244" y="521"/>
                      </a:cubicBezTo>
                      <a:cubicBezTo>
                        <a:pt x="231" y="513"/>
                        <a:pt x="240" y="496"/>
                        <a:pt x="235" y="488"/>
                      </a:cubicBezTo>
                      <a:cubicBezTo>
                        <a:pt x="232" y="475"/>
                        <a:pt x="217" y="471"/>
                        <a:pt x="207" y="467"/>
                      </a:cubicBezTo>
                      <a:cubicBezTo>
                        <a:pt x="202" y="454"/>
                        <a:pt x="187" y="462"/>
                        <a:pt x="181" y="453"/>
                      </a:cubicBezTo>
                      <a:cubicBezTo>
                        <a:pt x="172" y="453"/>
                        <a:pt x="177" y="449"/>
                        <a:pt x="181" y="445"/>
                      </a:cubicBezTo>
                      <a:cubicBezTo>
                        <a:pt x="178" y="435"/>
                        <a:pt x="157" y="432"/>
                        <a:pt x="166" y="419"/>
                      </a:cubicBezTo>
                      <a:cubicBezTo>
                        <a:pt x="178" y="407"/>
                        <a:pt x="159" y="406"/>
                        <a:pt x="153" y="399"/>
                      </a:cubicBezTo>
                      <a:cubicBezTo>
                        <a:pt x="146" y="388"/>
                        <a:pt x="138" y="380"/>
                        <a:pt x="126" y="373"/>
                      </a:cubicBezTo>
                      <a:cubicBezTo>
                        <a:pt x="112" y="366"/>
                        <a:pt x="95" y="362"/>
                        <a:pt x="86" y="348"/>
                      </a:cubicBezTo>
                      <a:cubicBezTo>
                        <a:pt x="71" y="343"/>
                        <a:pt x="87" y="337"/>
                        <a:pt x="87" y="330"/>
                      </a:cubicBezTo>
                      <a:cubicBezTo>
                        <a:pt x="88" y="315"/>
                        <a:pt x="72" y="318"/>
                        <a:pt x="65" y="311"/>
                      </a:cubicBezTo>
                      <a:cubicBezTo>
                        <a:pt x="60" y="298"/>
                        <a:pt x="47" y="289"/>
                        <a:pt x="33" y="293"/>
                      </a:cubicBezTo>
                      <a:cubicBezTo>
                        <a:pt x="23" y="285"/>
                        <a:pt x="1" y="294"/>
                        <a:pt x="0" y="276"/>
                      </a:cubicBezTo>
                      <a:cubicBezTo>
                        <a:pt x="5" y="271"/>
                        <a:pt x="11" y="259"/>
                        <a:pt x="4" y="256"/>
                      </a:cubicBezTo>
                      <a:cubicBezTo>
                        <a:pt x="7" y="256"/>
                        <a:pt x="7" y="256"/>
                        <a:pt x="7" y="256"/>
                      </a:cubicBezTo>
                      <a:cubicBezTo>
                        <a:pt x="35" y="242"/>
                        <a:pt x="35" y="242"/>
                        <a:pt x="35" y="242"/>
                      </a:cubicBezTo>
                      <a:cubicBezTo>
                        <a:pt x="35" y="224"/>
                        <a:pt x="35" y="224"/>
                        <a:pt x="35" y="224"/>
                      </a:cubicBezTo>
                      <a:cubicBezTo>
                        <a:pt x="35" y="208"/>
                        <a:pt x="35" y="208"/>
                        <a:pt x="35" y="208"/>
                      </a:cubicBezTo>
                      <a:cubicBezTo>
                        <a:pt x="47" y="204"/>
                        <a:pt x="47" y="204"/>
                        <a:pt x="47" y="204"/>
                      </a:cubicBezTo>
                      <a:cubicBezTo>
                        <a:pt x="47" y="178"/>
                        <a:pt x="47" y="178"/>
                        <a:pt x="47" y="178"/>
                      </a:cubicBezTo>
                      <a:cubicBezTo>
                        <a:pt x="59" y="174"/>
                        <a:pt x="59" y="174"/>
                        <a:pt x="59" y="174"/>
                      </a:cubicBezTo>
                      <a:cubicBezTo>
                        <a:pt x="69" y="146"/>
                        <a:pt x="69" y="146"/>
                        <a:pt x="69" y="146"/>
                      </a:cubicBezTo>
                      <a:cubicBezTo>
                        <a:pt x="127" y="134"/>
                        <a:pt x="127" y="134"/>
                        <a:pt x="127" y="134"/>
                      </a:cubicBezTo>
                      <a:cubicBezTo>
                        <a:pt x="137" y="152"/>
                        <a:pt x="137" y="152"/>
                        <a:pt x="137" y="152"/>
                      </a:cubicBezTo>
                      <a:cubicBezTo>
                        <a:pt x="155" y="168"/>
                        <a:pt x="155" y="168"/>
                        <a:pt x="155" y="168"/>
                      </a:cubicBezTo>
                      <a:cubicBezTo>
                        <a:pt x="167" y="198"/>
                        <a:pt x="167" y="198"/>
                        <a:pt x="167" y="198"/>
                      </a:cubicBezTo>
                      <a:cubicBezTo>
                        <a:pt x="197" y="204"/>
                        <a:pt x="197" y="204"/>
                        <a:pt x="197" y="204"/>
                      </a:cubicBezTo>
                      <a:cubicBezTo>
                        <a:pt x="211" y="192"/>
                        <a:pt x="211" y="192"/>
                        <a:pt x="211" y="192"/>
                      </a:cubicBezTo>
                      <a:cubicBezTo>
                        <a:pt x="281" y="198"/>
                        <a:pt x="281" y="198"/>
                        <a:pt x="281" y="198"/>
                      </a:cubicBezTo>
                      <a:cubicBezTo>
                        <a:pt x="289" y="212"/>
                        <a:pt x="289" y="212"/>
                        <a:pt x="289" y="212"/>
                      </a:cubicBezTo>
                      <a:cubicBezTo>
                        <a:pt x="349" y="214"/>
                        <a:pt x="349" y="214"/>
                        <a:pt x="349" y="214"/>
                      </a:cubicBezTo>
                      <a:cubicBezTo>
                        <a:pt x="367" y="188"/>
                        <a:pt x="367" y="188"/>
                        <a:pt x="367" y="188"/>
                      </a:cubicBezTo>
                      <a:cubicBezTo>
                        <a:pt x="403" y="184"/>
                        <a:pt x="403" y="184"/>
                        <a:pt x="403" y="184"/>
                      </a:cubicBezTo>
                      <a:cubicBezTo>
                        <a:pt x="405" y="166"/>
                        <a:pt x="405" y="166"/>
                        <a:pt x="405" y="166"/>
                      </a:cubicBezTo>
                      <a:cubicBezTo>
                        <a:pt x="431" y="142"/>
                        <a:pt x="431" y="142"/>
                        <a:pt x="431" y="142"/>
                      </a:cubicBezTo>
                      <a:cubicBezTo>
                        <a:pt x="495" y="182"/>
                        <a:pt x="495" y="182"/>
                        <a:pt x="495" y="182"/>
                      </a:cubicBezTo>
                      <a:cubicBezTo>
                        <a:pt x="527" y="184"/>
                        <a:pt x="527" y="184"/>
                        <a:pt x="527" y="184"/>
                      </a:cubicBezTo>
                      <a:cubicBezTo>
                        <a:pt x="569" y="142"/>
                        <a:pt x="569" y="142"/>
                        <a:pt x="569" y="142"/>
                      </a:cubicBezTo>
                      <a:cubicBezTo>
                        <a:pt x="581" y="118"/>
                        <a:pt x="581" y="118"/>
                        <a:pt x="581" y="118"/>
                      </a:cubicBezTo>
                      <a:cubicBezTo>
                        <a:pt x="623" y="84"/>
                        <a:pt x="623" y="84"/>
                        <a:pt x="623" y="84"/>
                      </a:cubicBezTo>
                      <a:cubicBezTo>
                        <a:pt x="615" y="70"/>
                        <a:pt x="615" y="70"/>
                        <a:pt x="615" y="70"/>
                      </a:cubicBezTo>
                      <a:cubicBezTo>
                        <a:pt x="615" y="42"/>
                        <a:pt x="615" y="42"/>
                        <a:pt x="615" y="42"/>
                      </a:cubicBezTo>
                      <a:cubicBezTo>
                        <a:pt x="595" y="22"/>
                        <a:pt x="595" y="22"/>
                        <a:pt x="595" y="22"/>
                      </a:cubicBezTo>
                      <a:cubicBezTo>
                        <a:pt x="637" y="18"/>
                        <a:pt x="637" y="18"/>
                        <a:pt x="637" y="18"/>
                      </a:cubicBezTo>
                      <a:cubicBezTo>
                        <a:pt x="637" y="0"/>
                        <a:pt x="637" y="0"/>
                        <a:pt x="637" y="0"/>
                      </a:cubicBezTo>
                      <a:cubicBezTo>
                        <a:pt x="677" y="0"/>
                        <a:pt x="677" y="0"/>
                        <a:pt x="677" y="0"/>
                      </a:cubicBezTo>
                      <a:cubicBezTo>
                        <a:pt x="671" y="50"/>
                        <a:pt x="671" y="50"/>
                        <a:pt x="671" y="50"/>
                      </a:cubicBezTo>
                      <a:cubicBezTo>
                        <a:pt x="679" y="112"/>
                        <a:pt x="679" y="112"/>
                        <a:pt x="679" y="112"/>
                      </a:cubicBezTo>
                      <a:cubicBezTo>
                        <a:pt x="701" y="122"/>
                        <a:pt x="701" y="122"/>
                        <a:pt x="701" y="122"/>
                      </a:cubicBezTo>
                      <a:cubicBezTo>
                        <a:pt x="717" y="154"/>
                        <a:pt x="717" y="154"/>
                        <a:pt x="717" y="154"/>
                      </a:cubicBezTo>
                      <a:cubicBezTo>
                        <a:pt x="725" y="154"/>
                        <a:pt x="725" y="154"/>
                        <a:pt x="725" y="154"/>
                      </a:cubicBezTo>
                      <a:cubicBezTo>
                        <a:pt x="721" y="178"/>
                        <a:pt x="721" y="178"/>
                        <a:pt x="721" y="178"/>
                      </a:cubicBezTo>
                      <a:cubicBezTo>
                        <a:pt x="723" y="190"/>
                        <a:pt x="723" y="190"/>
                        <a:pt x="723" y="190"/>
                      </a:cubicBezTo>
                      <a:cubicBezTo>
                        <a:pt x="725" y="200"/>
                        <a:pt x="725" y="200"/>
                        <a:pt x="725" y="200"/>
                      </a:cubicBezTo>
                      <a:cubicBezTo>
                        <a:pt x="737" y="202"/>
                        <a:pt x="737" y="202"/>
                        <a:pt x="737" y="202"/>
                      </a:cubicBezTo>
                      <a:cubicBezTo>
                        <a:pt x="738" y="202"/>
                        <a:pt x="738" y="202"/>
                        <a:pt x="738" y="202"/>
                      </a:cubicBezTo>
                      <a:cubicBezTo>
                        <a:pt x="739" y="210"/>
                        <a:pt x="740" y="218"/>
                        <a:pt x="741" y="226"/>
                      </a:cubicBezTo>
                      <a:cubicBezTo>
                        <a:pt x="740" y="238"/>
                        <a:pt x="746" y="254"/>
                        <a:pt x="736" y="264"/>
                      </a:cubicBezTo>
                      <a:cubicBezTo>
                        <a:pt x="727" y="268"/>
                        <a:pt x="713" y="280"/>
                        <a:pt x="707" y="268"/>
                      </a:cubicBezTo>
                      <a:cubicBezTo>
                        <a:pt x="695" y="269"/>
                        <a:pt x="674" y="262"/>
                        <a:pt x="671" y="277"/>
                      </a:cubicBezTo>
                      <a:cubicBezTo>
                        <a:pt x="677" y="287"/>
                        <a:pt x="669" y="296"/>
                        <a:pt x="662" y="304"/>
                      </a:cubicBezTo>
                      <a:cubicBezTo>
                        <a:pt x="653" y="320"/>
                        <a:pt x="675" y="317"/>
                        <a:pt x="682" y="323"/>
                      </a:cubicBezTo>
                      <a:cubicBezTo>
                        <a:pt x="699" y="321"/>
                        <a:pt x="713" y="328"/>
                        <a:pt x="725" y="338"/>
                      </a:cubicBezTo>
                      <a:cubicBezTo>
                        <a:pt x="740" y="343"/>
                        <a:pt x="734" y="363"/>
                        <a:pt x="748" y="366"/>
                      </a:cubicBezTo>
                      <a:cubicBezTo>
                        <a:pt x="751" y="380"/>
                        <a:pt x="764" y="381"/>
                        <a:pt x="773" y="387"/>
                      </a:cubicBezTo>
                      <a:cubicBezTo>
                        <a:pt x="773" y="402"/>
                        <a:pt x="795" y="398"/>
                        <a:pt x="795" y="414"/>
                      </a:cubicBezTo>
                      <a:cubicBezTo>
                        <a:pt x="799" y="428"/>
                        <a:pt x="807" y="441"/>
                        <a:pt x="811" y="455"/>
                      </a:cubicBezTo>
                      <a:cubicBezTo>
                        <a:pt x="812" y="467"/>
                        <a:pt x="819" y="476"/>
                        <a:pt x="825" y="485"/>
                      </a:cubicBezTo>
                      <a:cubicBezTo>
                        <a:pt x="830" y="486"/>
                        <a:pt x="832" y="489"/>
                        <a:pt x="833" y="492"/>
                      </a:cubicBezTo>
                      <a:lnTo>
                        <a:pt x="772" y="555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32" name="Sudan"/>
                <p:cNvSpPr>
                  <a:spLocks/>
                </p:cNvSpPr>
                <p:nvPr/>
              </p:nvSpPr>
              <p:spPr bwMode="auto">
                <a:xfrm>
                  <a:off x="4812061" y="3799438"/>
                  <a:ext cx="436069" cy="472413"/>
                </a:xfrm>
                <a:custGeom>
                  <a:avLst/>
                  <a:gdLst>
                    <a:gd name="T0" fmla="*/ 1080 w 1200"/>
                    <a:gd name="T1" fmla="*/ 117 h 1036"/>
                    <a:gd name="T2" fmla="*/ 1103 w 1200"/>
                    <a:gd name="T3" fmla="*/ 236 h 1036"/>
                    <a:gd name="T4" fmla="*/ 1136 w 1200"/>
                    <a:gd name="T5" fmla="*/ 265 h 1036"/>
                    <a:gd name="T6" fmla="*/ 1164 w 1200"/>
                    <a:gd name="T7" fmla="*/ 286 h 1036"/>
                    <a:gd name="T8" fmla="*/ 1185 w 1200"/>
                    <a:gd name="T9" fmla="*/ 293 h 1036"/>
                    <a:gd name="T10" fmla="*/ 1200 w 1200"/>
                    <a:gd name="T11" fmla="*/ 311 h 1036"/>
                    <a:gd name="T12" fmla="*/ 1182 w 1200"/>
                    <a:gd name="T13" fmla="*/ 341 h 1036"/>
                    <a:gd name="T14" fmla="*/ 1147 w 1200"/>
                    <a:gd name="T15" fmla="*/ 353 h 1036"/>
                    <a:gd name="T16" fmla="*/ 1103 w 1200"/>
                    <a:gd name="T17" fmla="*/ 388 h 1036"/>
                    <a:gd name="T18" fmla="*/ 1092 w 1200"/>
                    <a:gd name="T19" fmla="*/ 453 h 1036"/>
                    <a:gd name="T20" fmla="*/ 1064 w 1200"/>
                    <a:gd name="T21" fmla="*/ 533 h 1036"/>
                    <a:gd name="T22" fmla="*/ 1076 w 1200"/>
                    <a:gd name="T23" fmla="*/ 600 h 1036"/>
                    <a:gd name="T24" fmla="*/ 1060 w 1200"/>
                    <a:gd name="T25" fmla="*/ 668 h 1036"/>
                    <a:gd name="T26" fmla="*/ 1021 w 1200"/>
                    <a:gd name="T27" fmla="*/ 729 h 1036"/>
                    <a:gd name="T28" fmla="*/ 980 w 1200"/>
                    <a:gd name="T29" fmla="*/ 796 h 1036"/>
                    <a:gd name="T30" fmla="*/ 972 w 1200"/>
                    <a:gd name="T31" fmla="*/ 868 h 1036"/>
                    <a:gd name="T32" fmla="*/ 928 w 1200"/>
                    <a:gd name="T33" fmla="*/ 888 h 1036"/>
                    <a:gd name="T34" fmla="*/ 917 w 1200"/>
                    <a:gd name="T35" fmla="*/ 961 h 1036"/>
                    <a:gd name="T36" fmla="*/ 918 w 1200"/>
                    <a:gd name="T37" fmla="*/ 982 h 1036"/>
                    <a:gd name="T38" fmla="*/ 904 w 1200"/>
                    <a:gd name="T39" fmla="*/ 970 h 1036"/>
                    <a:gd name="T40" fmla="*/ 906 w 1200"/>
                    <a:gd name="T41" fmla="*/ 934 h 1036"/>
                    <a:gd name="T42" fmla="*/ 882 w 1200"/>
                    <a:gd name="T43" fmla="*/ 902 h 1036"/>
                    <a:gd name="T44" fmla="*/ 852 w 1200"/>
                    <a:gd name="T45" fmla="*/ 830 h 1036"/>
                    <a:gd name="T46" fmla="*/ 818 w 1200"/>
                    <a:gd name="T47" fmla="*/ 780 h 1036"/>
                    <a:gd name="T48" fmla="*/ 776 w 1200"/>
                    <a:gd name="T49" fmla="*/ 802 h 1036"/>
                    <a:gd name="T50" fmla="*/ 796 w 1200"/>
                    <a:gd name="T51" fmla="*/ 850 h 1036"/>
                    <a:gd name="T52" fmla="*/ 762 w 1200"/>
                    <a:gd name="T53" fmla="*/ 898 h 1036"/>
                    <a:gd name="T54" fmla="*/ 708 w 1200"/>
                    <a:gd name="T55" fmla="*/ 964 h 1036"/>
                    <a:gd name="T56" fmla="*/ 612 w 1200"/>
                    <a:gd name="T57" fmla="*/ 922 h 1036"/>
                    <a:gd name="T58" fmla="*/ 584 w 1200"/>
                    <a:gd name="T59" fmla="*/ 964 h 1036"/>
                    <a:gd name="T60" fmla="*/ 538 w 1200"/>
                    <a:gd name="T61" fmla="*/ 958 h 1036"/>
                    <a:gd name="T62" fmla="*/ 458 w 1200"/>
                    <a:gd name="T63" fmla="*/ 938 h 1036"/>
                    <a:gd name="T64" fmla="*/ 392 w 1200"/>
                    <a:gd name="T65" fmla="*/ 972 h 1036"/>
                    <a:gd name="T66" fmla="*/ 348 w 1200"/>
                    <a:gd name="T67" fmla="*/ 978 h 1036"/>
                    <a:gd name="T68" fmla="*/ 318 w 1200"/>
                    <a:gd name="T69" fmla="*/ 932 h 1036"/>
                    <a:gd name="T70" fmla="*/ 250 w 1200"/>
                    <a:gd name="T71" fmla="*/ 926 h 1036"/>
                    <a:gd name="T72" fmla="*/ 228 w 1200"/>
                    <a:gd name="T73" fmla="*/ 958 h 1036"/>
                    <a:gd name="T74" fmla="*/ 216 w 1200"/>
                    <a:gd name="T75" fmla="*/ 988 h 1036"/>
                    <a:gd name="T76" fmla="*/ 216 w 1200"/>
                    <a:gd name="T77" fmla="*/ 1022 h 1036"/>
                    <a:gd name="T78" fmla="*/ 185 w 1200"/>
                    <a:gd name="T79" fmla="*/ 1036 h 1036"/>
                    <a:gd name="T80" fmla="*/ 133 w 1200"/>
                    <a:gd name="T81" fmla="*/ 1032 h 1036"/>
                    <a:gd name="T82" fmla="*/ 143 w 1200"/>
                    <a:gd name="T83" fmla="*/ 982 h 1036"/>
                    <a:gd name="T84" fmla="*/ 116 w 1200"/>
                    <a:gd name="T85" fmla="*/ 904 h 1036"/>
                    <a:gd name="T86" fmla="*/ 78 w 1200"/>
                    <a:gd name="T87" fmla="*/ 867 h 1036"/>
                    <a:gd name="T88" fmla="*/ 76 w 1200"/>
                    <a:gd name="T89" fmla="*/ 830 h 1036"/>
                    <a:gd name="T90" fmla="*/ 53 w 1200"/>
                    <a:gd name="T91" fmla="*/ 783 h 1036"/>
                    <a:gd name="T92" fmla="*/ 22 w 1200"/>
                    <a:gd name="T93" fmla="*/ 739 h 1036"/>
                    <a:gd name="T94" fmla="*/ 31 w 1200"/>
                    <a:gd name="T95" fmla="*/ 675 h 1036"/>
                    <a:gd name="T96" fmla="*/ 54 w 1200"/>
                    <a:gd name="T97" fmla="*/ 621 h 1036"/>
                    <a:gd name="T98" fmla="*/ 50 w 1200"/>
                    <a:gd name="T99" fmla="*/ 588 h 1036"/>
                    <a:gd name="T100" fmla="*/ 84 w 1200"/>
                    <a:gd name="T101" fmla="*/ 537 h 1036"/>
                    <a:gd name="T102" fmla="*/ 124 w 1200"/>
                    <a:gd name="T103" fmla="*/ 505 h 1036"/>
                    <a:gd name="T104" fmla="*/ 146 w 1200"/>
                    <a:gd name="T105" fmla="*/ 223 h 1036"/>
                    <a:gd name="T106" fmla="*/ 145 w 1200"/>
                    <a:gd name="T107" fmla="*/ 186 h 1036"/>
                    <a:gd name="T108" fmla="*/ 209 w 1200"/>
                    <a:gd name="T109" fmla="*/ 36 h 1036"/>
                    <a:gd name="T110" fmla="*/ 669 w 1200"/>
                    <a:gd name="T111" fmla="*/ 12 h 1036"/>
                    <a:gd name="T112" fmla="*/ 788 w 1200"/>
                    <a:gd name="T113" fmla="*/ 21 h 1036"/>
                    <a:gd name="T114" fmla="*/ 815 w 1200"/>
                    <a:gd name="T115" fmla="*/ 40 h 1036"/>
                    <a:gd name="T116" fmla="*/ 851 w 1200"/>
                    <a:gd name="T117" fmla="*/ 19 h 1036"/>
                    <a:gd name="T118" fmla="*/ 1044 w 1200"/>
                    <a:gd name="T119" fmla="*/ 12 h 1036"/>
                    <a:gd name="T120" fmla="*/ 1053 w 1200"/>
                    <a:gd name="T121" fmla="*/ 48 h 1036"/>
                    <a:gd name="T122" fmla="*/ 1075 w 1200"/>
                    <a:gd name="T123" fmla="*/ 79 h 1036"/>
                    <a:gd name="connsiteX0" fmla="*/ 8922 w 9964"/>
                    <a:gd name="connsiteY0" fmla="*/ 685 h 9922"/>
                    <a:gd name="connsiteX1" fmla="*/ 8964 w 9964"/>
                    <a:gd name="connsiteY1" fmla="*/ 1051 h 9922"/>
                    <a:gd name="connsiteX2" fmla="*/ 9039 w 9964"/>
                    <a:gd name="connsiteY2" fmla="*/ 1698 h 9922"/>
                    <a:gd name="connsiteX3" fmla="*/ 9156 w 9964"/>
                    <a:gd name="connsiteY3" fmla="*/ 2200 h 9922"/>
                    <a:gd name="connsiteX4" fmla="*/ 9239 w 9964"/>
                    <a:gd name="connsiteY4" fmla="*/ 2374 h 9922"/>
                    <a:gd name="connsiteX5" fmla="*/ 9431 w 9964"/>
                    <a:gd name="connsiteY5" fmla="*/ 2480 h 9922"/>
                    <a:gd name="connsiteX6" fmla="*/ 9589 w 9964"/>
                    <a:gd name="connsiteY6" fmla="*/ 2557 h 9922"/>
                    <a:gd name="connsiteX7" fmla="*/ 9664 w 9964"/>
                    <a:gd name="connsiteY7" fmla="*/ 2683 h 9922"/>
                    <a:gd name="connsiteX8" fmla="*/ 9739 w 9964"/>
                    <a:gd name="connsiteY8" fmla="*/ 2721 h 9922"/>
                    <a:gd name="connsiteX9" fmla="*/ 9839 w 9964"/>
                    <a:gd name="connsiteY9" fmla="*/ 2750 h 9922"/>
                    <a:gd name="connsiteX10" fmla="*/ 9881 w 9964"/>
                    <a:gd name="connsiteY10" fmla="*/ 2856 h 9922"/>
                    <a:gd name="connsiteX11" fmla="*/ 9964 w 9964"/>
                    <a:gd name="connsiteY11" fmla="*/ 2924 h 9922"/>
                    <a:gd name="connsiteX12" fmla="*/ 9964 w 9964"/>
                    <a:gd name="connsiteY12" fmla="*/ 2924 h 9922"/>
                    <a:gd name="connsiteX13" fmla="*/ 9814 w 9964"/>
                    <a:gd name="connsiteY13" fmla="*/ 3214 h 9922"/>
                    <a:gd name="connsiteX14" fmla="*/ 9714 w 9964"/>
                    <a:gd name="connsiteY14" fmla="*/ 3310 h 9922"/>
                    <a:gd name="connsiteX15" fmla="*/ 9522 w 9964"/>
                    <a:gd name="connsiteY15" fmla="*/ 3329 h 9922"/>
                    <a:gd name="connsiteX16" fmla="*/ 9372 w 9964"/>
                    <a:gd name="connsiteY16" fmla="*/ 3474 h 9922"/>
                    <a:gd name="connsiteX17" fmla="*/ 9156 w 9964"/>
                    <a:gd name="connsiteY17" fmla="*/ 3667 h 9922"/>
                    <a:gd name="connsiteX18" fmla="*/ 9089 w 9964"/>
                    <a:gd name="connsiteY18" fmla="*/ 3870 h 9922"/>
                    <a:gd name="connsiteX19" fmla="*/ 9064 w 9964"/>
                    <a:gd name="connsiteY19" fmla="*/ 4295 h 9922"/>
                    <a:gd name="connsiteX20" fmla="*/ 8939 w 9964"/>
                    <a:gd name="connsiteY20" fmla="*/ 4710 h 9922"/>
                    <a:gd name="connsiteX21" fmla="*/ 8831 w 9964"/>
                    <a:gd name="connsiteY21" fmla="*/ 5067 h 9922"/>
                    <a:gd name="connsiteX22" fmla="*/ 8914 w 9964"/>
                    <a:gd name="connsiteY22" fmla="*/ 5617 h 9922"/>
                    <a:gd name="connsiteX23" fmla="*/ 8931 w 9964"/>
                    <a:gd name="connsiteY23" fmla="*/ 5714 h 9922"/>
                    <a:gd name="connsiteX24" fmla="*/ 8914 w 9964"/>
                    <a:gd name="connsiteY24" fmla="*/ 6032 h 9922"/>
                    <a:gd name="connsiteX25" fmla="*/ 8797 w 9964"/>
                    <a:gd name="connsiteY25" fmla="*/ 6370 h 9922"/>
                    <a:gd name="connsiteX26" fmla="*/ 8764 w 9964"/>
                    <a:gd name="connsiteY26" fmla="*/ 6843 h 9922"/>
                    <a:gd name="connsiteX27" fmla="*/ 8472 w 9964"/>
                    <a:gd name="connsiteY27" fmla="*/ 6959 h 9922"/>
                    <a:gd name="connsiteX28" fmla="*/ 8314 w 9964"/>
                    <a:gd name="connsiteY28" fmla="*/ 7297 h 9922"/>
                    <a:gd name="connsiteX29" fmla="*/ 8131 w 9964"/>
                    <a:gd name="connsiteY29" fmla="*/ 7605 h 9922"/>
                    <a:gd name="connsiteX30" fmla="*/ 8114 w 9964"/>
                    <a:gd name="connsiteY30" fmla="*/ 8059 h 9922"/>
                    <a:gd name="connsiteX31" fmla="*/ 8064 w 9964"/>
                    <a:gd name="connsiteY31" fmla="*/ 8300 h 9922"/>
                    <a:gd name="connsiteX32" fmla="*/ 7914 w 9964"/>
                    <a:gd name="connsiteY32" fmla="*/ 8252 h 9922"/>
                    <a:gd name="connsiteX33" fmla="*/ 7697 w 9964"/>
                    <a:gd name="connsiteY33" fmla="*/ 8493 h 9922"/>
                    <a:gd name="connsiteX34" fmla="*/ 7697 w 9964"/>
                    <a:gd name="connsiteY34" fmla="*/ 8851 h 9922"/>
                    <a:gd name="connsiteX35" fmla="*/ 7606 w 9964"/>
                    <a:gd name="connsiteY35" fmla="*/ 9198 h 9922"/>
                    <a:gd name="connsiteX36" fmla="*/ 7622 w 9964"/>
                    <a:gd name="connsiteY36" fmla="*/ 9401 h 9922"/>
                    <a:gd name="connsiteX37" fmla="*/ 7614 w 9964"/>
                    <a:gd name="connsiteY37" fmla="*/ 9401 h 9922"/>
                    <a:gd name="connsiteX38" fmla="*/ 7514 w 9964"/>
                    <a:gd name="connsiteY38" fmla="*/ 9381 h 9922"/>
                    <a:gd name="connsiteX39" fmla="*/ 7497 w 9964"/>
                    <a:gd name="connsiteY39" fmla="*/ 9285 h 9922"/>
                    <a:gd name="connsiteX40" fmla="*/ 7481 w 9964"/>
                    <a:gd name="connsiteY40" fmla="*/ 9169 h 9922"/>
                    <a:gd name="connsiteX41" fmla="*/ 7514 w 9964"/>
                    <a:gd name="connsiteY41" fmla="*/ 8937 h 9922"/>
                    <a:gd name="connsiteX42" fmla="*/ 7447 w 9964"/>
                    <a:gd name="connsiteY42" fmla="*/ 8937 h 9922"/>
                    <a:gd name="connsiteX43" fmla="*/ 7314 w 9964"/>
                    <a:gd name="connsiteY43" fmla="*/ 8629 h 9922"/>
                    <a:gd name="connsiteX44" fmla="*/ 7131 w 9964"/>
                    <a:gd name="connsiteY44" fmla="*/ 8532 h 9922"/>
                    <a:gd name="connsiteX45" fmla="*/ 7064 w 9964"/>
                    <a:gd name="connsiteY45" fmla="*/ 7934 h 9922"/>
                    <a:gd name="connsiteX46" fmla="*/ 7114 w 9964"/>
                    <a:gd name="connsiteY46" fmla="*/ 7451 h 9922"/>
                    <a:gd name="connsiteX47" fmla="*/ 6781 w 9964"/>
                    <a:gd name="connsiteY47" fmla="*/ 7451 h 9922"/>
                    <a:gd name="connsiteX48" fmla="*/ 6781 w 9964"/>
                    <a:gd name="connsiteY48" fmla="*/ 7625 h 9922"/>
                    <a:gd name="connsiteX49" fmla="*/ 6431 w 9964"/>
                    <a:gd name="connsiteY49" fmla="*/ 7663 h 9922"/>
                    <a:gd name="connsiteX50" fmla="*/ 6597 w 9964"/>
                    <a:gd name="connsiteY50" fmla="*/ 7856 h 9922"/>
                    <a:gd name="connsiteX51" fmla="*/ 6597 w 9964"/>
                    <a:gd name="connsiteY51" fmla="*/ 8127 h 9922"/>
                    <a:gd name="connsiteX52" fmla="*/ 6664 w 9964"/>
                    <a:gd name="connsiteY52" fmla="*/ 8262 h 9922"/>
                    <a:gd name="connsiteX53" fmla="*/ 6314 w 9964"/>
                    <a:gd name="connsiteY53" fmla="*/ 8590 h 9922"/>
                    <a:gd name="connsiteX54" fmla="*/ 6214 w 9964"/>
                    <a:gd name="connsiteY54" fmla="*/ 8822 h 9922"/>
                    <a:gd name="connsiteX55" fmla="*/ 5864 w 9964"/>
                    <a:gd name="connsiteY55" fmla="*/ 9227 h 9922"/>
                    <a:gd name="connsiteX56" fmla="*/ 5597 w 9964"/>
                    <a:gd name="connsiteY56" fmla="*/ 9208 h 9922"/>
                    <a:gd name="connsiteX57" fmla="*/ 5064 w 9964"/>
                    <a:gd name="connsiteY57" fmla="*/ 8822 h 9922"/>
                    <a:gd name="connsiteX58" fmla="*/ 4847 w 9964"/>
                    <a:gd name="connsiteY58" fmla="*/ 9053 h 9922"/>
                    <a:gd name="connsiteX59" fmla="*/ 4831 w 9964"/>
                    <a:gd name="connsiteY59" fmla="*/ 9227 h 9922"/>
                    <a:gd name="connsiteX60" fmla="*/ 4531 w 9964"/>
                    <a:gd name="connsiteY60" fmla="*/ 9266 h 9922"/>
                    <a:gd name="connsiteX61" fmla="*/ 4447 w 9964"/>
                    <a:gd name="connsiteY61" fmla="*/ 9169 h 9922"/>
                    <a:gd name="connsiteX62" fmla="*/ 4431 w 9964"/>
                    <a:gd name="connsiteY62" fmla="*/ 8957 h 9922"/>
                    <a:gd name="connsiteX63" fmla="*/ 3814 w 9964"/>
                    <a:gd name="connsiteY63" fmla="*/ 9362 h 9922"/>
                    <a:gd name="connsiteX64" fmla="*/ 3231 w 9964"/>
                    <a:gd name="connsiteY64" fmla="*/ 9304 h 9922"/>
                    <a:gd name="connsiteX65" fmla="*/ 3114 w 9964"/>
                    <a:gd name="connsiteY65" fmla="*/ 9420 h 9922"/>
                    <a:gd name="connsiteX66" fmla="*/ 2864 w 9964"/>
                    <a:gd name="connsiteY66" fmla="*/ 9362 h 9922"/>
                    <a:gd name="connsiteX67" fmla="*/ 2764 w 9964"/>
                    <a:gd name="connsiteY67" fmla="*/ 9073 h 9922"/>
                    <a:gd name="connsiteX68" fmla="*/ 2614 w 9964"/>
                    <a:gd name="connsiteY68" fmla="*/ 8918 h 9922"/>
                    <a:gd name="connsiteX69" fmla="*/ 2531 w 9964"/>
                    <a:gd name="connsiteY69" fmla="*/ 8744 h 9922"/>
                    <a:gd name="connsiteX70" fmla="*/ 2047 w 9964"/>
                    <a:gd name="connsiteY70" fmla="*/ 8860 h 9922"/>
                    <a:gd name="connsiteX71" fmla="*/ 1964 w 9964"/>
                    <a:gd name="connsiteY71" fmla="*/ 9130 h 9922"/>
                    <a:gd name="connsiteX72" fmla="*/ 1864 w 9964"/>
                    <a:gd name="connsiteY72" fmla="*/ 9169 h 9922"/>
                    <a:gd name="connsiteX73" fmla="*/ 1864 w 9964"/>
                    <a:gd name="connsiteY73" fmla="*/ 9420 h 9922"/>
                    <a:gd name="connsiteX74" fmla="*/ 1764 w 9964"/>
                    <a:gd name="connsiteY74" fmla="*/ 9459 h 9922"/>
                    <a:gd name="connsiteX75" fmla="*/ 1764 w 9964"/>
                    <a:gd name="connsiteY75" fmla="*/ 9613 h 9922"/>
                    <a:gd name="connsiteX76" fmla="*/ 1764 w 9964"/>
                    <a:gd name="connsiteY76" fmla="*/ 9787 h 9922"/>
                    <a:gd name="connsiteX77" fmla="*/ 1531 w 9964"/>
                    <a:gd name="connsiteY77" fmla="*/ 9922 h 9922"/>
                    <a:gd name="connsiteX78" fmla="*/ 1506 w 9964"/>
                    <a:gd name="connsiteY78" fmla="*/ 9922 h 9922"/>
                    <a:gd name="connsiteX79" fmla="*/ 1456 w 9964"/>
                    <a:gd name="connsiteY79" fmla="*/ 9922 h 9922"/>
                    <a:gd name="connsiteX80" fmla="*/ 1072 w 9964"/>
                    <a:gd name="connsiteY80" fmla="*/ 9883 h 9922"/>
                    <a:gd name="connsiteX81" fmla="*/ 1056 w 9964"/>
                    <a:gd name="connsiteY81" fmla="*/ 9729 h 9922"/>
                    <a:gd name="connsiteX82" fmla="*/ 1156 w 9964"/>
                    <a:gd name="connsiteY82" fmla="*/ 9401 h 9922"/>
                    <a:gd name="connsiteX83" fmla="*/ 1156 w 9964"/>
                    <a:gd name="connsiteY83" fmla="*/ 9073 h 9922"/>
                    <a:gd name="connsiteX84" fmla="*/ 931 w 9964"/>
                    <a:gd name="connsiteY84" fmla="*/ 8648 h 9922"/>
                    <a:gd name="connsiteX85" fmla="*/ 656 w 9964"/>
                    <a:gd name="connsiteY85" fmla="*/ 8300 h 9922"/>
                    <a:gd name="connsiteX86" fmla="*/ 614 w 9964"/>
                    <a:gd name="connsiteY86" fmla="*/ 8291 h 9922"/>
                    <a:gd name="connsiteX87" fmla="*/ 689 w 9964"/>
                    <a:gd name="connsiteY87" fmla="*/ 8185 h 9922"/>
                    <a:gd name="connsiteX88" fmla="*/ 597 w 9964"/>
                    <a:gd name="connsiteY88" fmla="*/ 7934 h 9922"/>
                    <a:gd name="connsiteX89" fmla="*/ 464 w 9964"/>
                    <a:gd name="connsiteY89" fmla="*/ 7634 h 9922"/>
                    <a:gd name="connsiteX90" fmla="*/ 406 w 9964"/>
                    <a:gd name="connsiteY90" fmla="*/ 7480 h 9922"/>
                    <a:gd name="connsiteX91" fmla="*/ 372 w 9964"/>
                    <a:gd name="connsiteY91" fmla="*/ 7094 h 9922"/>
                    <a:gd name="connsiteX92" fmla="*/ 147 w 9964"/>
                    <a:gd name="connsiteY92" fmla="*/ 7055 h 9922"/>
                    <a:gd name="connsiteX93" fmla="*/ 64 w 9964"/>
                    <a:gd name="connsiteY93" fmla="*/ 6737 h 9922"/>
                    <a:gd name="connsiteX94" fmla="*/ 222 w 9964"/>
                    <a:gd name="connsiteY94" fmla="*/ 6437 h 9922"/>
                    <a:gd name="connsiteX95" fmla="*/ 197 w 9964"/>
                    <a:gd name="connsiteY95" fmla="*/ 6129 h 9922"/>
                    <a:gd name="connsiteX96" fmla="*/ 414 w 9964"/>
                    <a:gd name="connsiteY96" fmla="*/ 5916 h 9922"/>
                    <a:gd name="connsiteX97" fmla="*/ 347 w 9964"/>
                    <a:gd name="connsiteY97" fmla="*/ 5771 h 9922"/>
                    <a:gd name="connsiteX98" fmla="*/ 381 w 9964"/>
                    <a:gd name="connsiteY98" fmla="*/ 5598 h 9922"/>
                    <a:gd name="connsiteX99" fmla="*/ 472 w 9964"/>
                    <a:gd name="connsiteY99" fmla="*/ 5463 h 9922"/>
                    <a:gd name="connsiteX100" fmla="*/ 664 w 9964"/>
                    <a:gd name="connsiteY100" fmla="*/ 5105 h 9922"/>
                    <a:gd name="connsiteX101" fmla="*/ 672 w 9964"/>
                    <a:gd name="connsiteY101" fmla="*/ 4893 h 9922"/>
                    <a:gd name="connsiteX102" fmla="*/ 997 w 9964"/>
                    <a:gd name="connsiteY102" fmla="*/ 4797 h 9922"/>
                    <a:gd name="connsiteX103" fmla="*/ 1264 w 9964"/>
                    <a:gd name="connsiteY103" fmla="*/ 4787 h 9922"/>
                    <a:gd name="connsiteX104" fmla="*/ 1181 w 9964"/>
                    <a:gd name="connsiteY104" fmla="*/ 2075 h 9922"/>
                    <a:gd name="connsiteX105" fmla="*/ 1181 w 9964"/>
                    <a:gd name="connsiteY105" fmla="*/ 2075 h 9922"/>
                    <a:gd name="connsiteX106" fmla="*/ 1172 w 9964"/>
                    <a:gd name="connsiteY106" fmla="*/ 1717 h 9922"/>
                    <a:gd name="connsiteX107" fmla="*/ 1764 w 9964"/>
                    <a:gd name="connsiteY107" fmla="*/ 1708 h 9922"/>
                    <a:gd name="connsiteX108" fmla="*/ 1706 w 9964"/>
                    <a:gd name="connsiteY108" fmla="*/ 269 h 9922"/>
                    <a:gd name="connsiteX109" fmla="*/ 5414 w 9964"/>
                    <a:gd name="connsiteY109" fmla="*/ 163 h 9922"/>
                    <a:gd name="connsiteX110" fmla="*/ 5539 w 9964"/>
                    <a:gd name="connsiteY110" fmla="*/ 38 h 9922"/>
                    <a:gd name="connsiteX111" fmla="*/ 5606 w 9964"/>
                    <a:gd name="connsiteY111" fmla="*/ 163 h 9922"/>
                    <a:gd name="connsiteX112" fmla="*/ 6531 w 9964"/>
                    <a:gd name="connsiteY112" fmla="*/ 125 h 9922"/>
                    <a:gd name="connsiteX113" fmla="*/ 6531 w 9964"/>
                    <a:gd name="connsiteY113" fmla="*/ 125 h 9922"/>
                    <a:gd name="connsiteX114" fmla="*/ 6756 w 9964"/>
                    <a:gd name="connsiteY114" fmla="*/ 308 h 9922"/>
                    <a:gd name="connsiteX115" fmla="*/ 6997 w 9964"/>
                    <a:gd name="connsiteY115" fmla="*/ 289 h 9922"/>
                    <a:gd name="connsiteX116" fmla="*/ 7056 w 9964"/>
                    <a:gd name="connsiteY116" fmla="*/ 105 h 9922"/>
                    <a:gd name="connsiteX117" fmla="*/ 8664 w 9964"/>
                    <a:gd name="connsiteY117" fmla="*/ 38 h 9922"/>
                    <a:gd name="connsiteX118" fmla="*/ 8664 w 9964"/>
                    <a:gd name="connsiteY118" fmla="*/ 38 h 9922"/>
                    <a:gd name="connsiteX119" fmla="*/ 8697 w 9964"/>
                    <a:gd name="connsiteY119" fmla="*/ 144 h 9922"/>
                    <a:gd name="connsiteX120" fmla="*/ 8739 w 9964"/>
                    <a:gd name="connsiteY120" fmla="*/ 385 h 9922"/>
                    <a:gd name="connsiteX121" fmla="*/ 8922 w 9964"/>
                    <a:gd name="connsiteY121" fmla="*/ 607 h 9922"/>
                    <a:gd name="connsiteX122" fmla="*/ 8922 w 9964"/>
                    <a:gd name="connsiteY122" fmla="*/ 685 h 9922"/>
                    <a:gd name="connsiteX0" fmla="*/ 8954 w 10000"/>
                    <a:gd name="connsiteY0" fmla="*/ 690 h 10000"/>
                    <a:gd name="connsiteX1" fmla="*/ 8996 w 10000"/>
                    <a:gd name="connsiteY1" fmla="*/ 1059 h 10000"/>
                    <a:gd name="connsiteX2" fmla="*/ 9072 w 10000"/>
                    <a:gd name="connsiteY2" fmla="*/ 1711 h 10000"/>
                    <a:gd name="connsiteX3" fmla="*/ 9189 w 10000"/>
                    <a:gd name="connsiteY3" fmla="*/ 2217 h 10000"/>
                    <a:gd name="connsiteX4" fmla="*/ 9272 w 10000"/>
                    <a:gd name="connsiteY4" fmla="*/ 2393 h 10000"/>
                    <a:gd name="connsiteX5" fmla="*/ 9465 w 10000"/>
                    <a:gd name="connsiteY5" fmla="*/ 2499 h 10000"/>
                    <a:gd name="connsiteX6" fmla="*/ 9624 w 10000"/>
                    <a:gd name="connsiteY6" fmla="*/ 2577 h 10000"/>
                    <a:gd name="connsiteX7" fmla="*/ 9699 w 10000"/>
                    <a:gd name="connsiteY7" fmla="*/ 2704 h 10000"/>
                    <a:gd name="connsiteX8" fmla="*/ 9774 w 10000"/>
                    <a:gd name="connsiteY8" fmla="*/ 2742 h 10000"/>
                    <a:gd name="connsiteX9" fmla="*/ 9875 w 10000"/>
                    <a:gd name="connsiteY9" fmla="*/ 2772 h 10000"/>
                    <a:gd name="connsiteX10" fmla="*/ 9917 w 10000"/>
                    <a:gd name="connsiteY10" fmla="*/ 2878 h 10000"/>
                    <a:gd name="connsiteX11" fmla="*/ 10000 w 10000"/>
                    <a:gd name="connsiteY11" fmla="*/ 2947 h 10000"/>
                    <a:gd name="connsiteX12" fmla="*/ 10000 w 10000"/>
                    <a:gd name="connsiteY12" fmla="*/ 2947 h 10000"/>
                    <a:gd name="connsiteX13" fmla="*/ 9849 w 10000"/>
                    <a:gd name="connsiteY13" fmla="*/ 3239 h 10000"/>
                    <a:gd name="connsiteX14" fmla="*/ 9749 w 10000"/>
                    <a:gd name="connsiteY14" fmla="*/ 3336 h 10000"/>
                    <a:gd name="connsiteX15" fmla="*/ 9556 w 10000"/>
                    <a:gd name="connsiteY15" fmla="*/ 3355 h 10000"/>
                    <a:gd name="connsiteX16" fmla="*/ 9406 w 10000"/>
                    <a:gd name="connsiteY16" fmla="*/ 3501 h 10000"/>
                    <a:gd name="connsiteX17" fmla="*/ 9189 w 10000"/>
                    <a:gd name="connsiteY17" fmla="*/ 3696 h 10000"/>
                    <a:gd name="connsiteX18" fmla="*/ 9122 w 10000"/>
                    <a:gd name="connsiteY18" fmla="*/ 3900 h 10000"/>
                    <a:gd name="connsiteX19" fmla="*/ 9097 w 10000"/>
                    <a:gd name="connsiteY19" fmla="*/ 4329 h 10000"/>
                    <a:gd name="connsiteX20" fmla="*/ 8971 w 10000"/>
                    <a:gd name="connsiteY20" fmla="*/ 4747 h 10000"/>
                    <a:gd name="connsiteX21" fmla="*/ 8863 w 10000"/>
                    <a:gd name="connsiteY21" fmla="*/ 5107 h 10000"/>
                    <a:gd name="connsiteX22" fmla="*/ 8946 w 10000"/>
                    <a:gd name="connsiteY22" fmla="*/ 5661 h 10000"/>
                    <a:gd name="connsiteX23" fmla="*/ 8963 w 10000"/>
                    <a:gd name="connsiteY23" fmla="*/ 5759 h 10000"/>
                    <a:gd name="connsiteX24" fmla="*/ 8946 w 10000"/>
                    <a:gd name="connsiteY24" fmla="*/ 6079 h 10000"/>
                    <a:gd name="connsiteX25" fmla="*/ 8829 w 10000"/>
                    <a:gd name="connsiteY25" fmla="*/ 6420 h 10000"/>
                    <a:gd name="connsiteX26" fmla="*/ 8796 w 10000"/>
                    <a:gd name="connsiteY26" fmla="*/ 6897 h 10000"/>
                    <a:gd name="connsiteX27" fmla="*/ 8503 w 10000"/>
                    <a:gd name="connsiteY27" fmla="*/ 7014 h 10000"/>
                    <a:gd name="connsiteX28" fmla="*/ 8344 w 10000"/>
                    <a:gd name="connsiteY28" fmla="*/ 7354 h 10000"/>
                    <a:gd name="connsiteX29" fmla="*/ 8160 w 10000"/>
                    <a:gd name="connsiteY29" fmla="*/ 7665 h 10000"/>
                    <a:gd name="connsiteX30" fmla="*/ 8143 w 10000"/>
                    <a:gd name="connsiteY30" fmla="*/ 8122 h 10000"/>
                    <a:gd name="connsiteX31" fmla="*/ 8093 w 10000"/>
                    <a:gd name="connsiteY31" fmla="*/ 8365 h 10000"/>
                    <a:gd name="connsiteX32" fmla="*/ 7943 w 10000"/>
                    <a:gd name="connsiteY32" fmla="*/ 8317 h 10000"/>
                    <a:gd name="connsiteX33" fmla="*/ 7725 w 10000"/>
                    <a:gd name="connsiteY33" fmla="*/ 8560 h 10000"/>
                    <a:gd name="connsiteX34" fmla="*/ 7725 w 10000"/>
                    <a:gd name="connsiteY34" fmla="*/ 8921 h 10000"/>
                    <a:gd name="connsiteX35" fmla="*/ 7633 w 10000"/>
                    <a:gd name="connsiteY35" fmla="*/ 9270 h 10000"/>
                    <a:gd name="connsiteX36" fmla="*/ 7650 w 10000"/>
                    <a:gd name="connsiteY36" fmla="*/ 9475 h 10000"/>
                    <a:gd name="connsiteX37" fmla="*/ 7642 w 10000"/>
                    <a:gd name="connsiteY37" fmla="*/ 9475 h 10000"/>
                    <a:gd name="connsiteX38" fmla="*/ 7541 w 10000"/>
                    <a:gd name="connsiteY38" fmla="*/ 9455 h 10000"/>
                    <a:gd name="connsiteX39" fmla="*/ 7524 w 10000"/>
                    <a:gd name="connsiteY39" fmla="*/ 9358 h 10000"/>
                    <a:gd name="connsiteX40" fmla="*/ 7508 w 10000"/>
                    <a:gd name="connsiteY40" fmla="*/ 9241 h 10000"/>
                    <a:gd name="connsiteX41" fmla="*/ 7541 w 10000"/>
                    <a:gd name="connsiteY41" fmla="*/ 9007 h 10000"/>
                    <a:gd name="connsiteX42" fmla="*/ 7474 w 10000"/>
                    <a:gd name="connsiteY42" fmla="*/ 9007 h 10000"/>
                    <a:gd name="connsiteX43" fmla="*/ 7340 w 10000"/>
                    <a:gd name="connsiteY43" fmla="*/ 8697 h 10000"/>
                    <a:gd name="connsiteX44" fmla="*/ 7157 w 10000"/>
                    <a:gd name="connsiteY44" fmla="*/ 8599 h 10000"/>
                    <a:gd name="connsiteX45" fmla="*/ 7090 w 10000"/>
                    <a:gd name="connsiteY45" fmla="*/ 7996 h 10000"/>
                    <a:gd name="connsiteX46" fmla="*/ 7140 w 10000"/>
                    <a:gd name="connsiteY46" fmla="*/ 7510 h 10000"/>
                    <a:gd name="connsiteX47" fmla="*/ 6805 w 10000"/>
                    <a:gd name="connsiteY47" fmla="*/ 7510 h 10000"/>
                    <a:gd name="connsiteX48" fmla="*/ 6805 w 10000"/>
                    <a:gd name="connsiteY48" fmla="*/ 7685 h 10000"/>
                    <a:gd name="connsiteX49" fmla="*/ 6454 w 10000"/>
                    <a:gd name="connsiteY49" fmla="*/ 7723 h 10000"/>
                    <a:gd name="connsiteX50" fmla="*/ 6621 w 10000"/>
                    <a:gd name="connsiteY50" fmla="*/ 7918 h 10000"/>
                    <a:gd name="connsiteX51" fmla="*/ 6621 w 10000"/>
                    <a:gd name="connsiteY51" fmla="*/ 8191 h 10000"/>
                    <a:gd name="connsiteX52" fmla="*/ 6688 w 10000"/>
                    <a:gd name="connsiteY52" fmla="*/ 8327 h 10000"/>
                    <a:gd name="connsiteX53" fmla="*/ 6337 w 10000"/>
                    <a:gd name="connsiteY53" fmla="*/ 8658 h 10000"/>
                    <a:gd name="connsiteX54" fmla="*/ 6236 w 10000"/>
                    <a:gd name="connsiteY54" fmla="*/ 8891 h 10000"/>
                    <a:gd name="connsiteX55" fmla="*/ 5885 w 10000"/>
                    <a:gd name="connsiteY55" fmla="*/ 9300 h 10000"/>
                    <a:gd name="connsiteX56" fmla="*/ 5617 w 10000"/>
                    <a:gd name="connsiteY56" fmla="*/ 9280 h 10000"/>
                    <a:gd name="connsiteX57" fmla="*/ 5082 w 10000"/>
                    <a:gd name="connsiteY57" fmla="*/ 8891 h 10000"/>
                    <a:gd name="connsiteX58" fmla="*/ 4865 w 10000"/>
                    <a:gd name="connsiteY58" fmla="*/ 9124 h 10000"/>
                    <a:gd name="connsiteX59" fmla="*/ 4848 w 10000"/>
                    <a:gd name="connsiteY59" fmla="*/ 9300 h 10000"/>
                    <a:gd name="connsiteX60" fmla="*/ 4547 w 10000"/>
                    <a:gd name="connsiteY60" fmla="*/ 9339 h 10000"/>
                    <a:gd name="connsiteX61" fmla="*/ 4463 w 10000"/>
                    <a:gd name="connsiteY61" fmla="*/ 9241 h 10000"/>
                    <a:gd name="connsiteX62" fmla="*/ 3828 w 10000"/>
                    <a:gd name="connsiteY62" fmla="*/ 9436 h 10000"/>
                    <a:gd name="connsiteX63" fmla="*/ 3243 w 10000"/>
                    <a:gd name="connsiteY63" fmla="*/ 9377 h 10000"/>
                    <a:gd name="connsiteX64" fmla="*/ 3125 w 10000"/>
                    <a:gd name="connsiteY64" fmla="*/ 9494 h 10000"/>
                    <a:gd name="connsiteX65" fmla="*/ 2874 w 10000"/>
                    <a:gd name="connsiteY65" fmla="*/ 9436 h 10000"/>
                    <a:gd name="connsiteX66" fmla="*/ 2774 w 10000"/>
                    <a:gd name="connsiteY66" fmla="*/ 9144 h 10000"/>
                    <a:gd name="connsiteX67" fmla="*/ 2623 w 10000"/>
                    <a:gd name="connsiteY67" fmla="*/ 8988 h 10000"/>
                    <a:gd name="connsiteX68" fmla="*/ 2540 w 10000"/>
                    <a:gd name="connsiteY68" fmla="*/ 8813 h 10000"/>
                    <a:gd name="connsiteX69" fmla="*/ 2054 w 10000"/>
                    <a:gd name="connsiteY69" fmla="*/ 8930 h 10000"/>
                    <a:gd name="connsiteX70" fmla="*/ 1971 w 10000"/>
                    <a:gd name="connsiteY70" fmla="*/ 9202 h 10000"/>
                    <a:gd name="connsiteX71" fmla="*/ 1871 w 10000"/>
                    <a:gd name="connsiteY71" fmla="*/ 9241 h 10000"/>
                    <a:gd name="connsiteX72" fmla="*/ 1871 w 10000"/>
                    <a:gd name="connsiteY72" fmla="*/ 9494 h 10000"/>
                    <a:gd name="connsiteX73" fmla="*/ 1770 w 10000"/>
                    <a:gd name="connsiteY73" fmla="*/ 9533 h 10000"/>
                    <a:gd name="connsiteX74" fmla="*/ 1770 w 10000"/>
                    <a:gd name="connsiteY74" fmla="*/ 9689 h 10000"/>
                    <a:gd name="connsiteX75" fmla="*/ 1770 w 10000"/>
                    <a:gd name="connsiteY75" fmla="*/ 9864 h 10000"/>
                    <a:gd name="connsiteX76" fmla="*/ 1537 w 10000"/>
                    <a:gd name="connsiteY76" fmla="*/ 10000 h 10000"/>
                    <a:gd name="connsiteX77" fmla="*/ 1511 w 10000"/>
                    <a:gd name="connsiteY77" fmla="*/ 10000 h 10000"/>
                    <a:gd name="connsiteX78" fmla="*/ 1461 w 10000"/>
                    <a:gd name="connsiteY78" fmla="*/ 10000 h 10000"/>
                    <a:gd name="connsiteX79" fmla="*/ 1076 w 10000"/>
                    <a:gd name="connsiteY79" fmla="*/ 9961 h 10000"/>
                    <a:gd name="connsiteX80" fmla="*/ 1060 w 10000"/>
                    <a:gd name="connsiteY80" fmla="*/ 9805 h 10000"/>
                    <a:gd name="connsiteX81" fmla="*/ 1160 w 10000"/>
                    <a:gd name="connsiteY81" fmla="*/ 9475 h 10000"/>
                    <a:gd name="connsiteX82" fmla="*/ 1160 w 10000"/>
                    <a:gd name="connsiteY82" fmla="*/ 9144 h 10000"/>
                    <a:gd name="connsiteX83" fmla="*/ 934 w 10000"/>
                    <a:gd name="connsiteY83" fmla="*/ 8716 h 10000"/>
                    <a:gd name="connsiteX84" fmla="*/ 658 w 10000"/>
                    <a:gd name="connsiteY84" fmla="*/ 8365 h 10000"/>
                    <a:gd name="connsiteX85" fmla="*/ 616 w 10000"/>
                    <a:gd name="connsiteY85" fmla="*/ 8356 h 10000"/>
                    <a:gd name="connsiteX86" fmla="*/ 691 w 10000"/>
                    <a:gd name="connsiteY86" fmla="*/ 8249 h 10000"/>
                    <a:gd name="connsiteX87" fmla="*/ 599 w 10000"/>
                    <a:gd name="connsiteY87" fmla="*/ 7996 h 10000"/>
                    <a:gd name="connsiteX88" fmla="*/ 466 w 10000"/>
                    <a:gd name="connsiteY88" fmla="*/ 7694 h 10000"/>
                    <a:gd name="connsiteX89" fmla="*/ 407 w 10000"/>
                    <a:gd name="connsiteY89" fmla="*/ 7539 h 10000"/>
                    <a:gd name="connsiteX90" fmla="*/ 373 w 10000"/>
                    <a:gd name="connsiteY90" fmla="*/ 7150 h 10000"/>
                    <a:gd name="connsiteX91" fmla="*/ 148 w 10000"/>
                    <a:gd name="connsiteY91" fmla="*/ 7110 h 10000"/>
                    <a:gd name="connsiteX92" fmla="*/ 64 w 10000"/>
                    <a:gd name="connsiteY92" fmla="*/ 6790 h 10000"/>
                    <a:gd name="connsiteX93" fmla="*/ 223 w 10000"/>
                    <a:gd name="connsiteY93" fmla="*/ 6488 h 10000"/>
                    <a:gd name="connsiteX94" fmla="*/ 198 w 10000"/>
                    <a:gd name="connsiteY94" fmla="*/ 6177 h 10000"/>
                    <a:gd name="connsiteX95" fmla="*/ 415 w 10000"/>
                    <a:gd name="connsiteY95" fmla="*/ 5963 h 10000"/>
                    <a:gd name="connsiteX96" fmla="*/ 348 w 10000"/>
                    <a:gd name="connsiteY96" fmla="*/ 5816 h 10000"/>
                    <a:gd name="connsiteX97" fmla="*/ 382 w 10000"/>
                    <a:gd name="connsiteY97" fmla="*/ 5642 h 10000"/>
                    <a:gd name="connsiteX98" fmla="*/ 474 w 10000"/>
                    <a:gd name="connsiteY98" fmla="*/ 5506 h 10000"/>
                    <a:gd name="connsiteX99" fmla="*/ 666 w 10000"/>
                    <a:gd name="connsiteY99" fmla="*/ 5145 h 10000"/>
                    <a:gd name="connsiteX100" fmla="*/ 674 w 10000"/>
                    <a:gd name="connsiteY100" fmla="*/ 4931 h 10000"/>
                    <a:gd name="connsiteX101" fmla="*/ 1001 w 10000"/>
                    <a:gd name="connsiteY101" fmla="*/ 4835 h 10000"/>
                    <a:gd name="connsiteX102" fmla="*/ 1269 w 10000"/>
                    <a:gd name="connsiteY102" fmla="*/ 4825 h 10000"/>
                    <a:gd name="connsiteX103" fmla="*/ 1185 w 10000"/>
                    <a:gd name="connsiteY103" fmla="*/ 2091 h 10000"/>
                    <a:gd name="connsiteX104" fmla="*/ 1185 w 10000"/>
                    <a:gd name="connsiteY104" fmla="*/ 2091 h 10000"/>
                    <a:gd name="connsiteX105" fmla="*/ 1176 w 10000"/>
                    <a:gd name="connsiteY105" fmla="*/ 1730 h 10000"/>
                    <a:gd name="connsiteX106" fmla="*/ 1770 w 10000"/>
                    <a:gd name="connsiteY106" fmla="*/ 1721 h 10000"/>
                    <a:gd name="connsiteX107" fmla="*/ 1712 w 10000"/>
                    <a:gd name="connsiteY107" fmla="*/ 271 h 10000"/>
                    <a:gd name="connsiteX108" fmla="*/ 5434 w 10000"/>
                    <a:gd name="connsiteY108" fmla="*/ 164 h 10000"/>
                    <a:gd name="connsiteX109" fmla="*/ 5559 w 10000"/>
                    <a:gd name="connsiteY109" fmla="*/ 38 h 10000"/>
                    <a:gd name="connsiteX110" fmla="*/ 5626 w 10000"/>
                    <a:gd name="connsiteY110" fmla="*/ 164 h 10000"/>
                    <a:gd name="connsiteX111" fmla="*/ 6555 w 10000"/>
                    <a:gd name="connsiteY111" fmla="*/ 126 h 10000"/>
                    <a:gd name="connsiteX112" fmla="*/ 6555 w 10000"/>
                    <a:gd name="connsiteY112" fmla="*/ 126 h 10000"/>
                    <a:gd name="connsiteX113" fmla="*/ 6780 w 10000"/>
                    <a:gd name="connsiteY113" fmla="*/ 310 h 10000"/>
                    <a:gd name="connsiteX114" fmla="*/ 7022 w 10000"/>
                    <a:gd name="connsiteY114" fmla="*/ 291 h 10000"/>
                    <a:gd name="connsiteX115" fmla="*/ 7081 w 10000"/>
                    <a:gd name="connsiteY115" fmla="*/ 106 h 10000"/>
                    <a:gd name="connsiteX116" fmla="*/ 8695 w 10000"/>
                    <a:gd name="connsiteY116" fmla="*/ 38 h 10000"/>
                    <a:gd name="connsiteX117" fmla="*/ 8695 w 10000"/>
                    <a:gd name="connsiteY117" fmla="*/ 38 h 10000"/>
                    <a:gd name="connsiteX118" fmla="*/ 8728 w 10000"/>
                    <a:gd name="connsiteY118" fmla="*/ 145 h 10000"/>
                    <a:gd name="connsiteX119" fmla="*/ 8771 w 10000"/>
                    <a:gd name="connsiteY119" fmla="*/ 388 h 10000"/>
                    <a:gd name="connsiteX120" fmla="*/ 8954 w 10000"/>
                    <a:gd name="connsiteY120" fmla="*/ 612 h 10000"/>
                    <a:gd name="connsiteX121" fmla="*/ 8954 w 10000"/>
                    <a:gd name="connsiteY121" fmla="*/ 690 h 10000"/>
                    <a:gd name="connsiteX0" fmla="*/ 8954 w 10000"/>
                    <a:gd name="connsiteY0" fmla="*/ 690 h 10000"/>
                    <a:gd name="connsiteX1" fmla="*/ 8996 w 10000"/>
                    <a:gd name="connsiteY1" fmla="*/ 1059 h 10000"/>
                    <a:gd name="connsiteX2" fmla="*/ 9072 w 10000"/>
                    <a:gd name="connsiteY2" fmla="*/ 1711 h 10000"/>
                    <a:gd name="connsiteX3" fmla="*/ 9189 w 10000"/>
                    <a:gd name="connsiteY3" fmla="*/ 2217 h 10000"/>
                    <a:gd name="connsiteX4" fmla="*/ 9272 w 10000"/>
                    <a:gd name="connsiteY4" fmla="*/ 2393 h 10000"/>
                    <a:gd name="connsiteX5" fmla="*/ 9465 w 10000"/>
                    <a:gd name="connsiteY5" fmla="*/ 2499 h 10000"/>
                    <a:gd name="connsiteX6" fmla="*/ 9624 w 10000"/>
                    <a:gd name="connsiteY6" fmla="*/ 2577 h 10000"/>
                    <a:gd name="connsiteX7" fmla="*/ 9699 w 10000"/>
                    <a:gd name="connsiteY7" fmla="*/ 2704 h 10000"/>
                    <a:gd name="connsiteX8" fmla="*/ 9774 w 10000"/>
                    <a:gd name="connsiteY8" fmla="*/ 2742 h 10000"/>
                    <a:gd name="connsiteX9" fmla="*/ 9875 w 10000"/>
                    <a:gd name="connsiteY9" fmla="*/ 2772 h 10000"/>
                    <a:gd name="connsiteX10" fmla="*/ 9917 w 10000"/>
                    <a:gd name="connsiteY10" fmla="*/ 2878 h 10000"/>
                    <a:gd name="connsiteX11" fmla="*/ 10000 w 10000"/>
                    <a:gd name="connsiteY11" fmla="*/ 2947 h 10000"/>
                    <a:gd name="connsiteX12" fmla="*/ 10000 w 10000"/>
                    <a:gd name="connsiteY12" fmla="*/ 2947 h 10000"/>
                    <a:gd name="connsiteX13" fmla="*/ 9849 w 10000"/>
                    <a:gd name="connsiteY13" fmla="*/ 3239 h 10000"/>
                    <a:gd name="connsiteX14" fmla="*/ 9749 w 10000"/>
                    <a:gd name="connsiteY14" fmla="*/ 3336 h 10000"/>
                    <a:gd name="connsiteX15" fmla="*/ 9556 w 10000"/>
                    <a:gd name="connsiteY15" fmla="*/ 3355 h 10000"/>
                    <a:gd name="connsiteX16" fmla="*/ 9406 w 10000"/>
                    <a:gd name="connsiteY16" fmla="*/ 3501 h 10000"/>
                    <a:gd name="connsiteX17" fmla="*/ 9189 w 10000"/>
                    <a:gd name="connsiteY17" fmla="*/ 3696 h 10000"/>
                    <a:gd name="connsiteX18" fmla="*/ 9122 w 10000"/>
                    <a:gd name="connsiteY18" fmla="*/ 3900 h 10000"/>
                    <a:gd name="connsiteX19" fmla="*/ 9097 w 10000"/>
                    <a:gd name="connsiteY19" fmla="*/ 4329 h 10000"/>
                    <a:gd name="connsiteX20" fmla="*/ 8971 w 10000"/>
                    <a:gd name="connsiteY20" fmla="*/ 4747 h 10000"/>
                    <a:gd name="connsiteX21" fmla="*/ 8863 w 10000"/>
                    <a:gd name="connsiteY21" fmla="*/ 5107 h 10000"/>
                    <a:gd name="connsiteX22" fmla="*/ 8946 w 10000"/>
                    <a:gd name="connsiteY22" fmla="*/ 5661 h 10000"/>
                    <a:gd name="connsiteX23" fmla="*/ 8963 w 10000"/>
                    <a:gd name="connsiteY23" fmla="*/ 5759 h 10000"/>
                    <a:gd name="connsiteX24" fmla="*/ 8946 w 10000"/>
                    <a:gd name="connsiteY24" fmla="*/ 6079 h 10000"/>
                    <a:gd name="connsiteX25" fmla="*/ 8829 w 10000"/>
                    <a:gd name="connsiteY25" fmla="*/ 6420 h 10000"/>
                    <a:gd name="connsiteX26" fmla="*/ 8796 w 10000"/>
                    <a:gd name="connsiteY26" fmla="*/ 6897 h 10000"/>
                    <a:gd name="connsiteX27" fmla="*/ 8503 w 10000"/>
                    <a:gd name="connsiteY27" fmla="*/ 7014 h 10000"/>
                    <a:gd name="connsiteX28" fmla="*/ 8344 w 10000"/>
                    <a:gd name="connsiteY28" fmla="*/ 7354 h 10000"/>
                    <a:gd name="connsiteX29" fmla="*/ 8160 w 10000"/>
                    <a:gd name="connsiteY29" fmla="*/ 7665 h 10000"/>
                    <a:gd name="connsiteX30" fmla="*/ 8143 w 10000"/>
                    <a:gd name="connsiteY30" fmla="*/ 8122 h 10000"/>
                    <a:gd name="connsiteX31" fmla="*/ 8093 w 10000"/>
                    <a:gd name="connsiteY31" fmla="*/ 8365 h 10000"/>
                    <a:gd name="connsiteX32" fmla="*/ 7943 w 10000"/>
                    <a:gd name="connsiteY32" fmla="*/ 8317 h 10000"/>
                    <a:gd name="connsiteX33" fmla="*/ 7725 w 10000"/>
                    <a:gd name="connsiteY33" fmla="*/ 8560 h 10000"/>
                    <a:gd name="connsiteX34" fmla="*/ 7725 w 10000"/>
                    <a:gd name="connsiteY34" fmla="*/ 8921 h 10000"/>
                    <a:gd name="connsiteX35" fmla="*/ 7633 w 10000"/>
                    <a:gd name="connsiteY35" fmla="*/ 9270 h 10000"/>
                    <a:gd name="connsiteX36" fmla="*/ 7650 w 10000"/>
                    <a:gd name="connsiteY36" fmla="*/ 9475 h 10000"/>
                    <a:gd name="connsiteX37" fmla="*/ 7642 w 10000"/>
                    <a:gd name="connsiteY37" fmla="*/ 9475 h 10000"/>
                    <a:gd name="connsiteX38" fmla="*/ 7541 w 10000"/>
                    <a:gd name="connsiteY38" fmla="*/ 9455 h 10000"/>
                    <a:gd name="connsiteX39" fmla="*/ 7524 w 10000"/>
                    <a:gd name="connsiteY39" fmla="*/ 9358 h 10000"/>
                    <a:gd name="connsiteX40" fmla="*/ 7508 w 10000"/>
                    <a:gd name="connsiteY40" fmla="*/ 9241 h 10000"/>
                    <a:gd name="connsiteX41" fmla="*/ 7541 w 10000"/>
                    <a:gd name="connsiteY41" fmla="*/ 9007 h 10000"/>
                    <a:gd name="connsiteX42" fmla="*/ 7474 w 10000"/>
                    <a:gd name="connsiteY42" fmla="*/ 9007 h 10000"/>
                    <a:gd name="connsiteX43" fmla="*/ 7340 w 10000"/>
                    <a:gd name="connsiteY43" fmla="*/ 8697 h 10000"/>
                    <a:gd name="connsiteX44" fmla="*/ 7157 w 10000"/>
                    <a:gd name="connsiteY44" fmla="*/ 8599 h 10000"/>
                    <a:gd name="connsiteX45" fmla="*/ 7090 w 10000"/>
                    <a:gd name="connsiteY45" fmla="*/ 7996 h 10000"/>
                    <a:gd name="connsiteX46" fmla="*/ 7140 w 10000"/>
                    <a:gd name="connsiteY46" fmla="*/ 7510 h 10000"/>
                    <a:gd name="connsiteX47" fmla="*/ 6805 w 10000"/>
                    <a:gd name="connsiteY47" fmla="*/ 7510 h 10000"/>
                    <a:gd name="connsiteX48" fmla="*/ 6805 w 10000"/>
                    <a:gd name="connsiteY48" fmla="*/ 7685 h 10000"/>
                    <a:gd name="connsiteX49" fmla="*/ 6454 w 10000"/>
                    <a:gd name="connsiteY49" fmla="*/ 7723 h 10000"/>
                    <a:gd name="connsiteX50" fmla="*/ 6621 w 10000"/>
                    <a:gd name="connsiteY50" fmla="*/ 7918 h 10000"/>
                    <a:gd name="connsiteX51" fmla="*/ 6621 w 10000"/>
                    <a:gd name="connsiteY51" fmla="*/ 8191 h 10000"/>
                    <a:gd name="connsiteX52" fmla="*/ 6688 w 10000"/>
                    <a:gd name="connsiteY52" fmla="*/ 8327 h 10000"/>
                    <a:gd name="connsiteX53" fmla="*/ 6337 w 10000"/>
                    <a:gd name="connsiteY53" fmla="*/ 8658 h 10000"/>
                    <a:gd name="connsiteX54" fmla="*/ 6236 w 10000"/>
                    <a:gd name="connsiteY54" fmla="*/ 8891 h 10000"/>
                    <a:gd name="connsiteX55" fmla="*/ 5885 w 10000"/>
                    <a:gd name="connsiteY55" fmla="*/ 9300 h 10000"/>
                    <a:gd name="connsiteX56" fmla="*/ 5617 w 10000"/>
                    <a:gd name="connsiteY56" fmla="*/ 9280 h 10000"/>
                    <a:gd name="connsiteX57" fmla="*/ 5082 w 10000"/>
                    <a:gd name="connsiteY57" fmla="*/ 8891 h 10000"/>
                    <a:gd name="connsiteX58" fmla="*/ 4865 w 10000"/>
                    <a:gd name="connsiteY58" fmla="*/ 9124 h 10000"/>
                    <a:gd name="connsiteX59" fmla="*/ 4848 w 10000"/>
                    <a:gd name="connsiteY59" fmla="*/ 9300 h 10000"/>
                    <a:gd name="connsiteX60" fmla="*/ 4547 w 10000"/>
                    <a:gd name="connsiteY60" fmla="*/ 9339 h 10000"/>
                    <a:gd name="connsiteX61" fmla="*/ 4520 w 10000"/>
                    <a:gd name="connsiteY61" fmla="*/ 9573 h 10000"/>
                    <a:gd name="connsiteX62" fmla="*/ 3828 w 10000"/>
                    <a:gd name="connsiteY62" fmla="*/ 9436 h 10000"/>
                    <a:gd name="connsiteX63" fmla="*/ 3243 w 10000"/>
                    <a:gd name="connsiteY63" fmla="*/ 9377 h 10000"/>
                    <a:gd name="connsiteX64" fmla="*/ 3125 w 10000"/>
                    <a:gd name="connsiteY64" fmla="*/ 9494 h 10000"/>
                    <a:gd name="connsiteX65" fmla="*/ 2874 w 10000"/>
                    <a:gd name="connsiteY65" fmla="*/ 9436 h 10000"/>
                    <a:gd name="connsiteX66" fmla="*/ 2774 w 10000"/>
                    <a:gd name="connsiteY66" fmla="*/ 9144 h 10000"/>
                    <a:gd name="connsiteX67" fmla="*/ 2623 w 10000"/>
                    <a:gd name="connsiteY67" fmla="*/ 8988 h 10000"/>
                    <a:gd name="connsiteX68" fmla="*/ 2540 w 10000"/>
                    <a:gd name="connsiteY68" fmla="*/ 8813 h 10000"/>
                    <a:gd name="connsiteX69" fmla="*/ 2054 w 10000"/>
                    <a:gd name="connsiteY69" fmla="*/ 8930 h 10000"/>
                    <a:gd name="connsiteX70" fmla="*/ 1971 w 10000"/>
                    <a:gd name="connsiteY70" fmla="*/ 9202 h 10000"/>
                    <a:gd name="connsiteX71" fmla="*/ 1871 w 10000"/>
                    <a:gd name="connsiteY71" fmla="*/ 9241 h 10000"/>
                    <a:gd name="connsiteX72" fmla="*/ 1871 w 10000"/>
                    <a:gd name="connsiteY72" fmla="*/ 9494 h 10000"/>
                    <a:gd name="connsiteX73" fmla="*/ 1770 w 10000"/>
                    <a:gd name="connsiteY73" fmla="*/ 9533 h 10000"/>
                    <a:gd name="connsiteX74" fmla="*/ 1770 w 10000"/>
                    <a:gd name="connsiteY74" fmla="*/ 9689 h 10000"/>
                    <a:gd name="connsiteX75" fmla="*/ 1770 w 10000"/>
                    <a:gd name="connsiteY75" fmla="*/ 9864 h 10000"/>
                    <a:gd name="connsiteX76" fmla="*/ 1537 w 10000"/>
                    <a:gd name="connsiteY76" fmla="*/ 10000 h 10000"/>
                    <a:gd name="connsiteX77" fmla="*/ 1511 w 10000"/>
                    <a:gd name="connsiteY77" fmla="*/ 10000 h 10000"/>
                    <a:gd name="connsiteX78" fmla="*/ 1461 w 10000"/>
                    <a:gd name="connsiteY78" fmla="*/ 10000 h 10000"/>
                    <a:gd name="connsiteX79" fmla="*/ 1076 w 10000"/>
                    <a:gd name="connsiteY79" fmla="*/ 9961 h 10000"/>
                    <a:gd name="connsiteX80" fmla="*/ 1060 w 10000"/>
                    <a:gd name="connsiteY80" fmla="*/ 9805 h 10000"/>
                    <a:gd name="connsiteX81" fmla="*/ 1160 w 10000"/>
                    <a:gd name="connsiteY81" fmla="*/ 9475 h 10000"/>
                    <a:gd name="connsiteX82" fmla="*/ 1160 w 10000"/>
                    <a:gd name="connsiteY82" fmla="*/ 9144 h 10000"/>
                    <a:gd name="connsiteX83" fmla="*/ 934 w 10000"/>
                    <a:gd name="connsiteY83" fmla="*/ 8716 h 10000"/>
                    <a:gd name="connsiteX84" fmla="*/ 658 w 10000"/>
                    <a:gd name="connsiteY84" fmla="*/ 8365 h 10000"/>
                    <a:gd name="connsiteX85" fmla="*/ 616 w 10000"/>
                    <a:gd name="connsiteY85" fmla="*/ 8356 h 10000"/>
                    <a:gd name="connsiteX86" fmla="*/ 691 w 10000"/>
                    <a:gd name="connsiteY86" fmla="*/ 8249 h 10000"/>
                    <a:gd name="connsiteX87" fmla="*/ 599 w 10000"/>
                    <a:gd name="connsiteY87" fmla="*/ 7996 h 10000"/>
                    <a:gd name="connsiteX88" fmla="*/ 466 w 10000"/>
                    <a:gd name="connsiteY88" fmla="*/ 7694 h 10000"/>
                    <a:gd name="connsiteX89" fmla="*/ 407 w 10000"/>
                    <a:gd name="connsiteY89" fmla="*/ 7539 h 10000"/>
                    <a:gd name="connsiteX90" fmla="*/ 373 w 10000"/>
                    <a:gd name="connsiteY90" fmla="*/ 7150 h 10000"/>
                    <a:gd name="connsiteX91" fmla="*/ 148 w 10000"/>
                    <a:gd name="connsiteY91" fmla="*/ 7110 h 10000"/>
                    <a:gd name="connsiteX92" fmla="*/ 64 w 10000"/>
                    <a:gd name="connsiteY92" fmla="*/ 6790 h 10000"/>
                    <a:gd name="connsiteX93" fmla="*/ 223 w 10000"/>
                    <a:gd name="connsiteY93" fmla="*/ 6488 h 10000"/>
                    <a:gd name="connsiteX94" fmla="*/ 198 w 10000"/>
                    <a:gd name="connsiteY94" fmla="*/ 6177 h 10000"/>
                    <a:gd name="connsiteX95" fmla="*/ 415 w 10000"/>
                    <a:gd name="connsiteY95" fmla="*/ 5963 h 10000"/>
                    <a:gd name="connsiteX96" fmla="*/ 348 w 10000"/>
                    <a:gd name="connsiteY96" fmla="*/ 5816 h 10000"/>
                    <a:gd name="connsiteX97" fmla="*/ 382 w 10000"/>
                    <a:gd name="connsiteY97" fmla="*/ 5642 h 10000"/>
                    <a:gd name="connsiteX98" fmla="*/ 474 w 10000"/>
                    <a:gd name="connsiteY98" fmla="*/ 5506 h 10000"/>
                    <a:gd name="connsiteX99" fmla="*/ 666 w 10000"/>
                    <a:gd name="connsiteY99" fmla="*/ 5145 h 10000"/>
                    <a:gd name="connsiteX100" fmla="*/ 674 w 10000"/>
                    <a:gd name="connsiteY100" fmla="*/ 4931 h 10000"/>
                    <a:gd name="connsiteX101" fmla="*/ 1001 w 10000"/>
                    <a:gd name="connsiteY101" fmla="*/ 4835 h 10000"/>
                    <a:gd name="connsiteX102" fmla="*/ 1269 w 10000"/>
                    <a:gd name="connsiteY102" fmla="*/ 4825 h 10000"/>
                    <a:gd name="connsiteX103" fmla="*/ 1185 w 10000"/>
                    <a:gd name="connsiteY103" fmla="*/ 2091 h 10000"/>
                    <a:gd name="connsiteX104" fmla="*/ 1185 w 10000"/>
                    <a:gd name="connsiteY104" fmla="*/ 2091 h 10000"/>
                    <a:gd name="connsiteX105" fmla="*/ 1176 w 10000"/>
                    <a:gd name="connsiteY105" fmla="*/ 1730 h 10000"/>
                    <a:gd name="connsiteX106" fmla="*/ 1770 w 10000"/>
                    <a:gd name="connsiteY106" fmla="*/ 1721 h 10000"/>
                    <a:gd name="connsiteX107" fmla="*/ 1712 w 10000"/>
                    <a:gd name="connsiteY107" fmla="*/ 271 h 10000"/>
                    <a:gd name="connsiteX108" fmla="*/ 5434 w 10000"/>
                    <a:gd name="connsiteY108" fmla="*/ 164 h 10000"/>
                    <a:gd name="connsiteX109" fmla="*/ 5559 w 10000"/>
                    <a:gd name="connsiteY109" fmla="*/ 38 h 10000"/>
                    <a:gd name="connsiteX110" fmla="*/ 5626 w 10000"/>
                    <a:gd name="connsiteY110" fmla="*/ 164 h 10000"/>
                    <a:gd name="connsiteX111" fmla="*/ 6555 w 10000"/>
                    <a:gd name="connsiteY111" fmla="*/ 126 h 10000"/>
                    <a:gd name="connsiteX112" fmla="*/ 6555 w 10000"/>
                    <a:gd name="connsiteY112" fmla="*/ 126 h 10000"/>
                    <a:gd name="connsiteX113" fmla="*/ 6780 w 10000"/>
                    <a:gd name="connsiteY113" fmla="*/ 310 h 10000"/>
                    <a:gd name="connsiteX114" fmla="*/ 7022 w 10000"/>
                    <a:gd name="connsiteY114" fmla="*/ 291 h 10000"/>
                    <a:gd name="connsiteX115" fmla="*/ 7081 w 10000"/>
                    <a:gd name="connsiteY115" fmla="*/ 106 h 10000"/>
                    <a:gd name="connsiteX116" fmla="*/ 8695 w 10000"/>
                    <a:gd name="connsiteY116" fmla="*/ 38 h 10000"/>
                    <a:gd name="connsiteX117" fmla="*/ 8695 w 10000"/>
                    <a:gd name="connsiteY117" fmla="*/ 38 h 10000"/>
                    <a:gd name="connsiteX118" fmla="*/ 8728 w 10000"/>
                    <a:gd name="connsiteY118" fmla="*/ 145 h 10000"/>
                    <a:gd name="connsiteX119" fmla="*/ 8771 w 10000"/>
                    <a:gd name="connsiteY119" fmla="*/ 388 h 10000"/>
                    <a:gd name="connsiteX120" fmla="*/ 8954 w 10000"/>
                    <a:gd name="connsiteY120" fmla="*/ 612 h 10000"/>
                    <a:gd name="connsiteX121" fmla="*/ 8954 w 10000"/>
                    <a:gd name="connsiteY121" fmla="*/ 690 h 10000"/>
                    <a:gd name="connsiteX0" fmla="*/ 8954 w 10000"/>
                    <a:gd name="connsiteY0" fmla="*/ 690 h 10000"/>
                    <a:gd name="connsiteX1" fmla="*/ 8996 w 10000"/>
                    <a:gd name="connsiteY1" fmla="*/ 1059 h 10000"/>
                    <a:gd name="connsiteX2" fmla="*/ 9072 w 10000"/>
                    <a:gd name="connsiteY2" fmla="*/ 1711 h 10000"/>
                    <a:gd name="connsiteX3" fmla="*/ 9189 w 10000"/>
                    <a:gd name="connsiteY3" fmla="*/ 2217 h 10000"/>
                    <a:gd name="connsiteX4" fmla="*/ 9272 w 10000"/>
                    <a:gd name="connsiteY4" fmla="*/ 2393 h 10000"/>
                    <a:gd name="connsiteX5" fmla="*/ 9465 w 10000"/>
                    <a:gd name="connsiteY5" fmla="*/ 2499 h 10000"/>
                    <a:gd name="connsiteX6" fmla="*/ 9624 w 10000"/>
                    <a:gd name="connsiteY6" fmla="*/ 2577 h 10000"/>
                    <a:gd name="connsiteX7" fmla="*/ 9699 w 10000"/>
                    <a:gd name="connsiteY7" fmla="*/ 2704 h 10000"/>
                    <a:gd name="connsiteX8" fmla="*/ 9774 w 10000"/>
                    <a:gd name="connsiteY8" fmla="*/ 2742 h 10000"/>
                    <a:gd name="connsiteX9" fmla="*/ 9875 w 10000"/>
                    <a:gd name="connsiteY9" fmla="*/ 2772 h 10000"/>
                    <a:gd name="connsiteX10" fmla="*/ 9917 w 10000"/>
                    <a:gd name="connsiteY10" fmla="*/ 2878 h 10000"/>
                    <a:gd name="connsiteX11" fmla="*/ 10000 w 10000"/>
                    <a:gd name="connsiteY11" fmla="*/ 2947 h 10000"/>
                    <a:gd name="connsiteX12" fmla="*/ 10000 w 10000"/>
                    <a:gd name="connsiteY12" fmla="*/ 2947 h 10000"/>
                    <a:gd name="connsiteX13" fmla="*/ 9849 w 10000"/>
                    <a:gd name="connsiteY13" fmla="*/ 3239 h 10000"/>
                    <a:gd name="connsiteX14" fmla="*/ 9749 w 10000"/>
                    <a:gd name="connsiteY14" fmla="*/ 3336 h 10000"/>
                    <a:gd name="connsiteX15" fmla="*/ 9556 w 10000"/>
                    <a:gd name="connsiteY15" fmla="*/ 3355 h 10000"/>
                    <a:gd name="connsiteX16" fmla="*/ 9406 w 10000"/>
                    <a:gd name="connsiteY16" fmla="*/ 3501 h 10000"/>
                    <a:gd name="connsiteX17" fmla="*/ 9189 w 10000"/>
                    <a:gd name="connsiteY17" fmla="*/ 3696 h 10000"/>
                    <a:gd name="connsiteX18" fmla="*/ 9122 w 10000"/>
                    <a:gd name="connsiteY18" fmla="*/ 3900 h 10000"/>
                    <a:gd name="connsiteX19" fmla="*/ 9097 w 10000"/>
                    <a:gd name="connsiteY19" fmla="*/ 4329 h 10000"/>
                    <a:gd name="connsiteX20" fmla="*/ 8971 w 10000"/>
                    <a:gd name="connsiteY20" fmla="*/ 4747 h 10000"/>
                    <a:gd name="connsiteX21" fmla="*/ 8863 w 10000"/>
                    <a:gd name="connsiteY21" fmla="*/ 5107 h 10000"/>
                    <a:gd name="connsiteX22" fmla="*/ 8946 w 10000"/>
                    <a:gd name="connsiteY22" fmla="*/ 5661 h 10000"/>
                    <a:gd name="connsiteX23" fmla="*/ 8963 w 10000"/>
                    <a:gd name="connsiteY23" fmla="*/ 5759 h 10000"/>
                    <a:gd name="connsiteX24" fmla="*/ 8946 w 10000"/>
                    <a:gd name="connsiteY24" fmla="*/ 6079 h 10000"/>
                    <a:gd name="connsiteX25" fmla="*/ 8829 w 10000"/>
                    <a:gd name="connsiteY25" fmla="*/ 6420 h 10000"/>
                    <a:gd name="connsiteX26" fmla="*/ 8796 w 10000"/>
                    <a:gd name="connsiteY26" fmla="*/ 6897 h 10000"/>
                    <a:gd name="connsiteX27" fmla="*/ 8503 w 10000"/>
                    <a:gd name="connsiteY27" fmla="*/ 7014 h 10000"/>
                    <a:gd name="connsiteX28" fmla="*/ 8344 w 10000"/>
                    <a:gd name="connsiteY28" fmla="*/ 7354 h 10000"/>
                    <a:gd name="connsiteX29" fmla="*/ 8160 w 10000"/>
                    <a:gd name="connsiteY29" fmla="*/ 7665 h 10000"/>
                    <a:gd name="connsiteX30" fmla="*/ 8143 w 10000"/>
                    <a:gd name="connsiteY30" fmla="*/ 8122 h 10000"/>
                    <a:gd name="connsiteX31" fmla="*/ 8093 w 10000"/>
                    <a:gd name="connsiteY31" fmla="*/ 8365 h 10000"/>
                    <a:gd name="connsiteX32" fmla="*/ 7943 w 10000"/>
                    <a:gd name="connsiteY32" fmla="*/ 8317 h 10000"/>
                    <a:gd name="connsiteX33" fmla="*/ 7725 w 10000"/>
                    <a:gd name="connsiteY33" fmla="*/ 8560 h 10000"/>
                    <a:gd name="connsiteX34" fmla="*/ 7725 w 10000"/>
                    <a:gd name="connsiteY34" fmla="*/ 8921 h 10000"/>
                    <a:gd name="connsiteX35" fmla="*/ 7633 w 10000"/>
                    <a:gd name="connsiteY35" fmla="*/ 9270 h 10000"/>
                    <a:gd name="connsiteX36" fmla="*/ 7650 w 10000"/>
                    <a:gd name="connsiteY36" fmla="*/ 9475 h 10000"/>
                    <a:gd name="connsiteX37" fmla="*/ 7642 w 10000"/>
                    <a:gd name="connsiteY37" fmla="*/ 9475 h 10000"/>
                    <a:gd name="connsiteX38" fmla="*/ 7541 w 10000"/>
                    <a:gd name="connsiteY38" fmla="*/ 9455 h 10000"/>
                    <a:gd name="connsiteX39" fmla="*/ 7524 w 10000"/>
                    <a:gd name="connsiteY39" fmla="*/ 9358 h 10000"/>
                    <a:gd name="connsiteX40" fmla="*/ 7508 w 10000"/>
                    <a:gd name="connsiteY40" fmla="*/ 9241 h 10000"/>
                    <a:gd name="connsiteX41" fmla="*/ 7541 w 10000"/>
                    <a:gd name="connsiteY41" fmla="*/ 9007 h 10000"/>
                    <a:gd name="connsiteX42" fmla="*/ 7474 w 10000"/>
                    <a:gd name="connsiteY42" fmla="*/ 9007 h 10000"/>
                    <a:gd name="connsiteX43" fmla="*/ 7340 w 10000"/>
                    <a:gd name="connsiteY43" fmla="*/ 8697 h 10000"/>
                    <a:gd name="connsiteX44" fmla="*/ 7157 w 10000"/>
                    <a:gd name="connsiteY44" fmla="*/ 8599 h 10000"/>
                    <a:gd name="connsiteX45" fmla="*/ 7090 w 10000"/>
                    <a:gd name="connsiteY45" fmla="*/ 7996 h 10000"/>
                    <a:gd name="connsiteX46" fmla="*/ 7140 w 10000"/>
                    <a:gd name="connsiteY46" fmla="*/ 7510 h 10000"/>
                    <a:gd name="connsiteX47" fmla="*/ 6805 w 10000"/>
                    <a:gd name="connsiteY47" fmla="*/ 7510 h 10000"/>
                    <a:gd name="connsiteX48" fmla="*/ 6805 w 10000"/>
                    <a:gd name="connsiteY48" fmla="*/ 7685 h 10000"/>
                    <a:gd name="connsiteX49" fmla="*/ 6454 w 10000"/>
                    <a:gd name="connsiteY49" fmla="*/ 7723 h 10000"/>
                    <a:gd name="connsiteX50" fmla="*/ 6621 w 10000"/>
                    <a:gd name="connsiteY50" fmla="*/ 7918 h 10000"/>
                    <a:gd name="connsiteX51" fmla="*/ 6621 w 10000"/>
                    <a:gd name="connsiteY51" fmla="*/ 8191 h 10000"/>
                    <a:gd name="connsiteX52" fmla="*/ 6688 w 10000"/>
                    <a:gd name="connsiteY52" fmla="*/ 8327 h 10000"/>
                    <a:gd name="connsiteX53" fmla="*/ 6337 w 10000"/>
                    <a:gd name="connsiteY53" fmla="*/ 8658 h 10000"/>
                    <a:gd name="connsiteX54" fmla="*/ 6236 w 10000"/>
                    <a:gd name="connsiteY54" fmla="*/ 8891 h 10000"/>
                    <a:gd name="connsiteX55" fmla="*/ 5885 w 10000"/>
                    <a:gd name="connsiteY55" fmla="*/ 9300 h 10000"/>
                    <a:gd name="connsiteX56" fmla="*/ 5617 w 10000"/>
                    <a:gd name="connsiteY56" fmla="*/ 9280 h 10000"/>
                    <a:gd name="connsiteX57" fmla="*/ 5082 w 10000"/>
                    <a:gd name="connsiteY57" fmla="*/ 8891 h 10000"/>
                    <a:gd name="connsiteX58" fmla="*/ 4865 w 10000"/>
                    <a:gd name="connsiteY58" fmla="*/ 9124 h 10000"/>
                    <a:gd name="connsiteX59" fmla="*/ 4848 w 10000"/>
                    <a:gd name="connsiteY59" fmla="*/ 9300 h 10000"/>
                    <a:gd name="connsiteX60" fmla="*/ 4547 w 10000"/>
                    <a:gd name="connsiteY60" fmla="*/ 9339 h 10000"/>
                    <a:gd name="connsiteX61" fmla="*/ 4520 w 10000"/>
                    <a:gd name="connsiteY61" fmla="*/ 9573 h 10000"/>
                    <a:gd name="connsiteX62" fmla="*/ 3931 w 10000"/>
                    <a:gd name="connsiteY62" fmla="*/ 9576 h 10000"/>
                    <a:gd name="connsiteX63" fmla="*/ 3828 w 10000"/>
                    <a:gd name="connsiteY63" fmla="*/ 9436 h 10000"/>
                    <a:gd name="connsiteX64" fmla="*/ 3243 w 10000"/>
                    <a:gd name="connsiteY64" fmla="*/ 9377 h 10000"/>
                    <a:gd name="connsiteX65" fmla="*/ 3125 w 10000"/>
                    <a:gd name="connsiteY65" fmla="*/ 9494 h 10000"/>
                    <a:gd name="connsiteX66" fmla="*/ 2874 w 10000"/>
                    <a:gd name="connsiteY66" fmla="*/ 9436 h 10000"/>
                    <a:gd name="connsiteX67" fmla="*/ 2774 w 10000"/>
                    <a:gd name="connsiteY67" fmla="*/ 9144 h 10000"/>
                    <a:gd name="connsiteX68" fmla="*/ 2623 w 10000"/>
                    <a:gd name="connsiteY68" fmla="*/ 8988 h 10000"/>
                    <a:gd name="connsiteX69" fmla="*/ 2540 w 10000"/>
                    <a:gd name="connsiteY69" fmla="*/ 8813 h 10000"/>
                    <a:gd name="connsiteX70" fmla="*/ 2054 w 10000"/>
                    <a:gd name="connsiteY70" fmla="*/ 8930 h 10000"/>
                    <a:gd name="connsiteX71" fmla="*/ 1971 w 10000"/>
                    <a:gd name="connsiteY71" fmla="*/ 9202 h 10000"/>
                    <a:gd name="connsiteX72" fmla="*/ 1871 w 10000"/>
                    <a:gd name="connsiteY72" fmla="*/ 9241 h 10000"/>
                    <a:gd name="connsiteX73" fmla="*/ 1871 w 10000"/>
                    <a:gd name="connsiteY73" fmla="*/ 9494 h 10000"/>
                    <a:gd name="connsiteX74" fmla="*/ 1770 w 10000"/>
                    <a:gd name="connsiteY74" fmla="*/ 9533 h 10000"/>
                    <a:gd name="connsiteX75" fmla="*/ 1770 w 10000"/>
                    <a:gd name="connsiteY75" fmla="*/ 9689 h 10000"/>
                    <a:gd name="connsiteX76" fmla="*/ 1770 w 10000"/>
                    <a:gd name="connsiteY76" fmla="*/ 9864 h 10000"/>
                    <a:gd name="connsiteX77" fmla="*/ 1537 w 10000"/>
                    <a:gd name="connsiteY77" fmla="*/ 10000 h 10000"/>
                    <a:gd name="connsiteX78" fmla="*/ 1511 w 10000"/>
                    <a:gd name="connsiteY78" fmla="*/ 10000 h 10000"/>
                    <a:gd name="connsiteX79" fmla="*/ 1461 w 10000"/>
                    <a:gd name="connsiteY79" fmla="*/ 10000 h 10000"/>
                    <a:gd name="connsiteX80" fmla="*/ 1076 w 10000"/>
                    <a:gd name="connsiteY80" fmla="*/ 9961 h 10000"/>
                    <a:gd name="connsiteX81" fmla="*/ 1060 w 10000"/>
                    <a:gd name="connsiteY81" fmla="*/ 9805 h 10000"/>
                    <a:gd name="connsiteX82" fmla="*/ 1160 w 10000"/>
                    <a:gd name="connsiteY82" fmla="*/ 9475 h 10000"/>
                    <a:gd name="connsiteX83" fmla="*/ 1160 w 10000"/>
                    <a:gd name="connsiteY83" fmla="*/ 9144 h 10000"/>
                    <a:gd name="connsiteX84" fmla="*/ 934 w 10000"/>
                    <a:gd name="connsiteY84" fmla="*/ 8716 h 10000"/>
                    <a:gd name="connsiteX85" fmla="*/ 658 w 10000"/>
                    <a:gd name="connsiteY85" fmla="*/ 8365 h 10000"/>
                    <a:gd name="connsiteX86" fmla="*/ 616 w 10000"/>
                    <a:gd name="connsiteY86" fmla="*/ 8356 h 10000"/>
                    <a:gd name="connsiteX87" fmla="*/ 691 w 10000"/>
                    <a:gd name="connsiteY87" fmla="*/ 8249 h 10000"/>
                    <a:gd name="connsiteX88" fmla="*/ 599 w 10000"/>
                    <a:gd name="connsiteY88" fmla="*/ 7996 h 10000"/>
                    <a:gd name="connsiteX89" fmla="*/ 466 w 10000"/>
                    <a:gd name="connsiteY89" fmla="*/ 7694 h 10000"/>
                    <a:gd name="connsiteX90" fmla="*/ 407 w 10000"/>
                    <a:gd name="connsiteY90" fmla="*/ 7539 h 10000"/>
                    <a:gd name="connsiteX91" fmla="*/ 373 w 10000"/>
                    <a:gd name="connsiteY91" fmla="*/ 7150 h 10000"/>
                    <a:gd name="connsiteX92" fmla="*/ 148 w 10000"/>
                    <a:gd name="connsiteY92" fmla="*/ 7110 h 10000"/>
                    <a:gd name="connsiteX93" fmla="*/ 64 w 10000"/>
                    <a:gd name="connsiteY93" fmla="*/ 6790 h 10000"/>
                    <a:gd name="connsiteX94" fmla="*/ 223 w 10000"/>
                    <a:gd name="connsiteY94" fmla="*/ 6488 h 10000"/>
                    <a:gd name="connsiteX95" fmla="*/ 198 w 10000"/>
                    <a:gd name="connsiteY95" fmla="*/ 6177 h 10000"/>
                    <a:gd name="connsiteX96" fmla="*/ 415 w 10000"/>
                    <a:gd name="connsiteY96" fmla="*/ 5963 h 10000"/>
                    <a:gd name="connsiteX97" fmla="*/ 348 w 10000"/>
                    <a:gd name="connsiteY97" fmla="*/ 5816 h 10000"/>
                    <a:gd name="connsiteX98" fmla="*/ 382 w 10000"/>
                    <a:gd name="connsiteY98" fmla="*/ 5642 h 10000"/>
                    <a:gd name="connsiteX99" fmla="*/ 474 w 10000"/>
                    <a:gd name="connsiteY99" fmla="*/ 5506 h 10000"/>
                    <a:gd name="connsiteX100" fmla="*/ 666 w 10000"/>
                    <a:gd name="connsiteY100" fmla="*/ 5145 h 10000"/>
                    <a:gd name="connsiteX101" fmla="*/ 674 w 10000"/>
                    <a:gd name="connsiteY101" fmla="*/ 4931 h 10000"/>
                    <a:gd name="connsiteX102" fmla="*/ 1001 w 10000"/>
                    <a:gd name="connsiteY102" fmla="*/ 4835 h 10000"/>
                    <a:gd name="connsiteX103" fmla="*/ 1269 w 10000"/>
                    <a:gd name="connsiteY103" fmla="*/ 4825 h 10000"/>
                    <a:gd name="connsiteX104" fmla="*/ 1185 w 10000"/>
                    <a:gd name="connsiteY104" fmla="*/ 2091 h 10000"/>
                    <a:gd name="connsiteX105" fmla="*/ 1185 w 10000"/>
                    <a:gd name="connsiteY105" fmla="*/ 2091 h 10000"/>
                    <a:gd name="connsiteX106" fmla="*/ 1176 w 10000"/>
                    <a:gd name="connsiteY106" fmla="*/ 1730 h 10000"/>
                    <a:gd name="connsiteX107" fmla="*/ 1770 w 10000"/>
                    <a:gd name="connsiteY107" fmla="*/ 1721 h 10000"/>
                    <a:gd name="connsiteX108" fmla="*/ 1712 w 10000"/>
                    <a:gd name="connsiteY108" fmla="*/ 271 h 10000"/>
                    <a:gd name="connsiteX109" fmla="*/ 5434 w 10000"/>
                    <a:gd name="connsiteY109" fmla="*/ 164 h 10000"/>
                    <a:gd name="connsiteX110" fmla="*/ 5559 w 10000"/>
                    <a:gd name="connsiteY110" fmla="*/ 38 h 10000"/>
                    <a:gd name="connsiteX111" fmla="*/ 5626 w 10000"/>
                    <a:gd name="connsiteY111" fmla="*/ 164 h 10000"/>
                    <a:gd name="connsiteX112" fmla="*/ 6555 w 10000"/>
                    <a:gd name="connsiteY112" fmla="*/ 126 h 10000"/>
                    <a:gd name="connsiteX113" fmla="*/ 6555 w 10000"/>
                    <a:gd name="connsiteY113" fmla="*/ 126 h 10000"/>
                    <a:gd name="connsiteX114" fmla="*/ 6780 w 10000"/>
                    <a:gd name="connsiteY114" fmla="*/ 310 h 10000"/>
                    <a:gd name="connsiteX115" fmla="*/ 7022 w 10000"/>
                    <a:gd name="connsiteY115" fmla="*/ 291 h 10000"/>
                    <a:gd name="connsiteX116" fmla="*/ 7081 w 10000"/>
                    <a:gd name="connsiteY116" fmla="*/ 106 h 10000"/>
                    <a:gd name="connsiteX117" fmla="*/ 8695 w 10000"/>
                    <a:gd name="connsiteY117" fmla="*/ 38 h 10000"/>
                    <a:gd name="connsiteX118" fmla="*/ 8695 w 10000"/>
                    <a:gd name="connsiteY118" fmla="*/ 38 h 10000"/>
                    <a:gd name="connsiteX119" fmla="*/ 8728 w 10000"/>
                    <a:gd name="connsiteY119" fmla="*/ 145 h 10000"/>
                    <a:gd name="connsiteX120" fmla="*/ 8771 w 10000"/>
                    <a:gd name="connsiteY120" fmla="*/ 388 h 10000"/>
                    <a:gd name="connsiteX121" fmla="*/ 8954 w 10000"/>
                    <a:gd name="connsiteY121" fmla="*/ 612 h 10000"/>
                    <a:gd name="connsiteX122" fmla="*/ 8954 w 10000"/>
                    <a:gd name="connsiteY122" fmla="*/ 690 h 10000"/>
                    <a:gd name="connsiteX0" fmla="*/ 8954 w 10000"/>
                    <a:gd name="connsiteY0" fmla="*/ 690 h 10000"/>
                    <a:gd name="connsiteX1" fmla="*/ 8996 w 10000"/>
                    <a:gd name="connsiteY1" fmla="*/ 1059 h 10000"/>
                    <a:gd name="connsiteX2" fmla="*/ 9072 w 10000"/>
                    <a:gd name="connsiteY2" fmla="*/ 1711 h 10000"/>
                    <a:gd name="connsiteX3" fmla="*/ 9189 w 10000"/>
                    <a:gd name="connsiteY3" fmla="*/ 2217 h 10000"/>
                    <a:gd name="connsiteX4" fmla="*/ 9272 w 10000"/>
                    <a:gd name="connsiteY4" fmla="*/ 2393 h 10000"/>
                    <a:gd name="connsiteX5" fmla="*/ 9465 w 10000"/>
                    <a:gd name="connsiteY5" fmla="*/ 2499 h 10000"/>
                    <a:gd name="connsiteX6" fmla="*/ 9624 w 10000"/>
                    <a:gd name="connsiteY6" fmla="*/ 2577 h 10000"/>
                    <a:gd name="connsiteX7" fmla="*/ 9699 w 10000"/>
                    <a:gd name="connsiteY7" fmla="*/ 2704 h 10000"/>
                    <a:gd name="connsiteX8" fmla="*/ 9774 w 10000"/>
                    <a:gd name="connsiteY8" fmla="*/ 2742 h 10000"/>
                    <a:gd name="connsiteX9" fmla="*/ 9875 w 10000"/>
                    <a:gd name="connsiteY9" fmla="*/ 2772 h 10000"/>
                    <a:gd name="connsiteX10" fmla="*/ 9917 w 10000"/>
                    <a:gd name="connsiteY10" fmla="*/ 2878 h 10000"/>
                    <a:gd name="connsiteX11" fmla="*/ 10000 w 10000"/>
                    <a:gd name="connsiteY11" fmla="*/ 2947 h 10000"/>
                    <a:gd name="connsiteX12" fmla="*/ 10000 w 10000"/>
                    <a:gd name="connsiteY12" fmla="*/ 2947 h 10000"/>
                    <a:gd name="connsiteX13" fmla="*/ 9849 w 10000"/>
                    <a:gd name="connsiteY13" fmla="*/ 3239 h 10000"/>
                    <a:gd name="connsiteX14" fmla="*/ 9749 w 10000"/>
                    <a:gd name="connsiteY14" fmla="*/ 3336 h 10000"/>
                    <a:gd name="connsiteX15" fmla="*/ 9556 w 10000"/>
                    <a:gd name="connsiteY15" fmla="*/ 3355 h 10000"/>
                    <a:gd name="connsiteX16" fmla="*/ 9406 w 10000"/>
                    <a:gd name="connsiteY16" fmla="*/ 3501 h 10000"/>
                    <a:gd name="connsiteX17" fmla="*/ 9189 w 10000"/>
                    <a:gd name="connsiteY17" fmla="*/ 3696 h 10000"/>
                    <a:gd name="connsiteX18" fmla="*/ 9122 w 10000"/>
                    <a:gd name="connsiteY18" fmla="*/ 3900 h 10000"/>
                    <a:gd name="connsiteX19" fmla="*/ 9097 w 10000"/>
                    <a:gd name="connsiteY19" fmla="*/ 4329 h 10000"/>
                    <a:gd name="connsiteX20" fmla="*/ 8971 w 10000"/>
                    <a:gd name="connsiteY20" fmla="*/ 4747 h 10000"/>
                    <a:gd name="connsiteX21" fmla="*/ 8863 w 10000"/>
                    <a:gd name="connsiteY21" fmla="*/ 5107 h 10000"/>
                    <a:gd name="connsiteX22" fmla="*/ 8946 w 10000"/>
                    <a:gd name="connsiteY22" fmla="*/ 5661 h 10000"/>
                    <a:gd name="connsiteX23" fmla="*/ 8963 w 10000"/>
                    <a:gd name="connsiteY23" fmla="*/ 5759 h 10000"/>
                    <a:gd name="connsiteX24" fmla="*/ 8946 w 10000"/>
                    <a:gd name="connsiteY24" fmla="*/ 6079 h 10000"/>
                    <a:gd name="connsiteX25" fmla="*/ 8829 w 10000"/>
                    <a:gd name="connsiteY25" fmla="*/ 6420 h 10000"/>
                    <a:gd name="connsiteX26" fmla="*/ 8796 w 10000"/>
                    <a:gd name="connsiteY26" fmla="*/ 6897 h 10000"/>
                    <a:gd name="connsiteX27" fmla="*/ 8503 w 10000"/>
                    <a:gd name="connsiteY27" fmla="*/ 7014 h 10000"/>
                    <a:gd name="connsiteX28" fmla="*/ 8344 w 10000"/>
                    <a:gd name="connsiteY28" fmla="*/ 7354 h 10000"/>
                    <a:gd name="connsiteX29" fmla="*/ 8160 w 10000"/>
                    <a:gd name="connsiteY29" fmla="*/ 7665 h 10000"/>
                    <a:gd name="connsiteX30" fmla="*/ 8143 w 10000"/>
                    <a:gd name="connsiteY30" fmla="*/ 8122 h 10000"/>
                    <a:gd name="connsiteX31" fmla="*/ 8093 w 10000"/>
                    <a:gd name="connsiteY31" fmla="*/ 8365 h 10000"/>
                    <a:gd name="connsiteX32" fmla="*/ 7943 w 10000"/>
                    <a:gd name="connsiteY32" fmla="*/ 8317 h 10000"/>
                    <a:gd name="connsiteX33" fmla="*/ 7725 w 10000"/>
                    <a:gd name="connsiteY33" fmla="*/ 8560 h 10000"/>
                    <a:gd name="connsiteX34" fmla="*/ 7725 w 10000"/>
                    <a:gd name="connsiteY34" fmla="*/ 8921 h 10000"/>
                    <a:gd name="connsiteX35" fmla="*/ 7633 w 10000"/>
                    <a:gd name="connsiteY35" fmla="*/ 9270 h 10000"/>
                    <a:gd name="connsiteX36" fmla="*/ 7650 w 10000"/>
                    <a:gd name="connsiteY36" fmla="*/ 9475 h 10000"/>
                    <a:gd name="connsiteX37" fmla="*/ 7642 w 10000"/>
                    <a:gd name="connsiteY37" fmla="*/ 9475 h 10000"/>
                    <a:gd name="connsiteX38" fmla="*/ 7541 w 10000"/>
                    <a:gd name="connsiteY38" fmla="*/ 9455 h 10000"/>
                    <a:gd name="connsiteX39" fmla="*/ 7524 w 10000"/>
                    <a:gd name="connsiteY39" fmla="*/ 9358 h 10000"/>
                    <a:gd name="connsiteX40" fmla="*/ 7508 w 10000"/>
                    <a:gd name="connsiteY40" fmla="*/ 9241 h 10000"/>
                    <a:gd name="connsiteX41" fmla="*/ 7541 w 10000"/>
                    <a:gd name="connsiteY41" fmla="*/ 9007 h 10000"/>
                    <a:gd name="connsiteX42" fmla="*/ 7474 w 10000"/>
                    <a:gd name="connsiteY42" fmla="*/ 9007 h 10000"/>
                    <a:gd name="connsiteX43" fmla="*/ 7340 w 10000"/>
                    <a:gd name="connsiteY43" fmla="*/ 8697 h 10000"/>
                    <a:gd name="connsiteX44" fmla="*/ 7157 w 10000"/>
                    <a:gd name="connsiteY44" fmla="*/ 8599 h 10000"/>
                    <a:gd name="connsiteX45" fmla="*/ 7090 w 10000"/>
                    <a:gd name="connsiteY45" fmla="*/ 7996 h 10000"/>
                    <a:gd name="connsiteX46" fmla="*/ 7140 w 10000"/>
                    <a:gd name="connsiteY46" fmla="*/ 7510 h 10000"/>
                    <a:gd name="connsiteX47" fmla="*/ 6805 w 10000"/>
                    <a:gd name="connsiteY47" fmla="*/ 7510 h 10000"/>
                    <a:gd name="connsiteX48" fmla="*/ 6805 w 10000"/>
                    <a:gd name="connsiteY48" fmla="*/ 7685 h 10000"/>
                    <a:gd name="connsiteX49" fmla="*/ 6454 w 10000"/>
                    <a:gd name="connsiteY49" fmla="*/ 7723 h 10000"/>
                    <a:gd name="connsiteX50" fmla="*/ 6621 w 10000"/>
                    <a:gd name="connsiteY50" fmla="*/ 7918 h 10000"/>
                    <a:gd name="connsiteX51" fmla="*/ 6621 w 10000"/>
                    <a:gd name="connsiteY51" fmla="*/ 8191 h 10000"/>
                    <a:gd name="connsiteX52" fmla="*/ 6688 w 10000"/>
                    <a:gd name="connsiteY52" fmla="*/ 8327 h 10000"/>
                    <a:gd name="connsiteX53" fmla="*/ 6337 w 10000"/>
                    <a:gd name="connsiteY53" fmla="*/ 8658 h 10000"/>
                    <a:gd name="connsiteX54" fmla="*/ 6236 w 10000"/>
                    <a:gd name="connsiteY54" fmla="*/ 8891 h 10000"/>
                    <a:gd name="connsiteX55" fmla="*/ 5885 w 10000"/>
                    <a:gd name="connsiteY55" fmla="*/ 9300 h 10000"/>
                    <a:gd name="connsiteX56" fmla="*/ 5617 w 10000"/>
                    <a:gd name="connsiteY56" fmla="*/ 9280 h 10000"/>
                    <a:gd name="connsiteX57" fmla="*/ 5082 w 10000"/>
                    <a:gd name="connsiteY57" fmla="*/ 8891 h 10000"/>
                    <a:gd name="connsiteX58" fmla="*/ 4865 w 10000"/>
                    <a:gd name="connsiteY58" fmla="*/ 9124 h 10000"/>
                    <a:gd name="connsiteX59" fmla="*/ 4848 w 10000"/>
                    <a:gd name="connsiteY59" fmla="*/ 9300 h 10000"/>
                    <a:gd name="connsiteX60" fmla="*/ 4547 w 10000"/>
                    <a:gd name="connsiteY60" fmla="*/ 9339 h 10000"/>
                    <a:gd name="connsiteX61" fmla="*/ 4520 w 10000"/>
                    <a:gd name="connsiteY61" fmla="*/ 9573 h 10000"/>
                    <a:gd name="connsiteX62" fmla="*/ 3931 w 10000"/>
                    <a:gd name="connsiteY62" fmla="*/ 9576 h 10000"/>
                    <a:gd name="connsiteX63" fmla="*/ 3828 w 10000"/>
                    <a:gd name="connsiteY63" fmla="*/ 9436 h 10000"/>
                    <a:gd name="connsiteX64" fmla="*/ 3243 w 10000"/>
                    <a:gd name="connsiteY64" fmla="*/ 9377 h 10000"/>
                    <a:gd name="connsiteX65" fmla="*/ 3125 w 10000"/>
                    <a:gd name="connsiteY65" fmla="*/ 9494 h 10000"/>
                    <a:gd name="connsiteX66" fmla="*/ 2874 w 10000"/>
                    <a:gd name="connsiteY66" fmla="*/ 9436 h 10000"/>
                    <a:gd name="connsiteX67" fmla="*/ 2774 w 10000"/>
                    <a:gd name="connsiteY67" fmla="*/ 9144 h 10000"/>
                    <a:gd name="connsiteX68" fmla="*/ 2623 w 10000"/>
                    <a:gd name="connsiteY68" fmla="*/ 8988 h 10000"/>
                    <a:gd name="connsiteX69" fmla="*/ 2540 w 10000"/>
                    <a:gd name="connsiteY69" fmla="*/ 8813 h 10000"/>
                    <a:gd name="connsiteX70" fmla="*/ 2054 w 10000"/>
                    <a:gd name="connsiteY70" fmla="*/ 8930 h 10000"/>
                    <a:gd name="connsiteX71" fmla="*/ 1971 w 10000"/>
                    <a:gd name="connsiteY71" fmla="*/ 9202 h 10000"/>
                    <a:gd name="connsiteX72" fmla="*/ 1871 w 10000"/>
                    <a:gd name="connsiteY72" fmla="*/ 9241 h 10000"/>
                    <a:gd name="connsiteX73" fmla="*/ 1871 w 10000"/>
                    <a:gd name="connsiteY73" fmla="*/ 9494 h 10000"/>
                    <a:gd name="connsiteX74" fmla="*/ 1770 w 10000"/>
                    <a:gd name="connsiteY74" fmla="*/ 9533 h 10000"/>
                    <a:gd name="connsiteX75" fmla="*/ 1770 w 10000"/>
                    <a:gd name="connsiteY75" fmla="*/ 9689 h 10000"/>
                    <a:gd name="connsiteX76" fmla="*/ 1770 w 10000"/>
                    <a:gd name="connsiteY76" fmla="*/ 9864 h 10000"/>
                    <a:gd name="connsiteX77" fmla="*/ 1537 w 10000"/>
                    <a:gd name="connsiteY77" fmla="*/ 10000 h 10000"/>
                    <a:gd name="connsiteX78" fmla="*/ 1511 w 10000"/>
                    <a:gd name="connsiteY78" fmla="*/ 10000 h 10000"/>
                    <a:gd name="connsiteX79" fmla="*/ 1461 w 10000"/>
                    <a:gd name="connsiteY79" fmla="*/ 10000 h 10000"/>
                    <a:gd name="connsiteX80" fmla="*/ 1076 w 10000"/>
                    <a:gd name="connsiteY80" fmla="*/ 9961 h 10000"/>
                    <a:gd name="connsiteX81" fmla="*/ 1060 w 10000"/>
                    <a:gd name="connsiteY81" fmla="*/ 9805 h 10000"/>
                    <a:gd name="connsiteX82" fmla="*/ 1160 w 10000"/>
                    <a:gd name="connsiteY82" fmla="*/ 9475 h 10000"/>
                    <a:gd name="connsiteX83" fmla="*/ 1160 w 10000"/>
                    <a:gd name="connsiteY83" fmla="*/ 9144 h 10000"/>
                    <a:gd name="connsiteX84" fmla="*/ 934 w 10000"/>
                    <a:gd name="connsiteY84" fmla="*/ 8716 h 10000"/>
                    <a:gd name="connsiteX85" fmla="*/ 658 w 10000"/>
                    <a:gd name="connsiteY85" fmla="*/ 8365 h 10000"/>
                    <a:gd name="connsiteX86" fmla="*/ 616 w 10000"/>
                    <a:gd name="connsiteY86" fmla="*/ 8356 h 10000"/>
                    <a:gd name="connsiteX87" fmla="*/ 691 w 10000"/>
                    <a:gd name="connsiteY87" fmla="*/ 8249 h 10000"/>
                    <a:gd name="connsiteX88" fmla="*/ 599 w 10000"/>
                    <a:gd name="connsiteY88" fmla="*/ 7996 h 10000"/>
                    <a:gd name="connsiteX89" fmla="*/ 466 w 10000"/>
                    <a:gd name="connsiteY89" fmla="*/ 7694 h 10000"/>
                    <a:gd name="connsiteX90" fmla="*/ 407 w 10000"/>
                    <a:gd name="connsiteY90" fmla="*/ 7539 h 10000"/>
                    <a:gd name="connsiteX91" fmla="*/ 373 w 10000"/>
                    <a:gd name="connsiteY91" fmla="*/ 7150 h 10000"/>
                    <a:gd name="connsiteX92" fmla="*/ 148 w 10000"/>
                    <a:gd name="connsiteY92" fmla="*/ 7110 h 10000"/>
                    <a:gd name="connsiteX93" fmla="*/ 64 w 10000"/>
                    <a:gd name="connsiteY93" fmla="*/ 6790 h 10000"/>
                    <a:gd name="connsiteX94" fmla="*/ 223 w 10000"/>
                    <a:gd name="connsiteY94" fmla="*/ 6488 h 10000"/>
                    <a:gd name="connsiteX95" fmla="*/ 198 w 10000"/>
                    <a:gd name="connsiteY95" fmla="*/ 6177 h 10000"/>
                    <a:gd name="connsiteX96" fmla="*/ 415 w 10000"/>
                    <a:gd name="connsiteY96" fmla="*/ 5963 h 10000"/>
                    <a:gd name="connsiteX97" fmla="*/ 348 w 10000"/>
                    <a:gd name="connsiteY97" fmla="*/ 5816 h 10000"/>
                    <a:gd name="connsiteX98" fmla="*/ 382 w 10000"/>
                    <a:gd name="connsiteY98" fmla="*/ 5642 h 10000"/>
                    <a:gd name="connsiteX99" fmla="*/ 474 w 10000"/>
                    <a:gd name="connsiteY99" fmla="*/ 5506 h 10000"/>
                    <a:gd name="connsiteX100" fmla="*/ 666 w 10000"/>
                    <a:gd name="connsiteY100" fmla="*/ 5145 h 10000"/>
                    <a:gd name="connsiteX101" fmla="*/ 674 w 10000"/>
                    <a:gd name="connsiteY101" fmla="*/ 4931 h 10000"/>
                    <a:gd name="connsiteX102" fmla="*/ 1001 w 10000"/>
                    <a:gd name="connsiteY102" fmla="*/ 4835 h 10000"/>
                    <a:gd name="connsiteX103" fmla="*/ 1269 w 10000"/>
                    <a:gd name="connsiteY103" fmla="*/ 4825 h 10000"/>
                    <a:gd name="connsiteX104" fmla="*/ 1185 w 10000"/>
                    <a:gd name="connsiteY104" fmla="*/ 2091 h 10000"/>
                    <a:gd name="connsiteX105" fmla="*/ 1185 w 10000"/>
                    <a:gd name="connsiteY105" fmla="*/ 2091 h 10000"/>
                    <a:gd name="connsiteX106" fmla="*/ 1176 w 10000"/>
                    <a:gd name="connsiteY106" fmla="*/ 1730 h 10000"/>
                    <a:gd name="connsiteX107" fmla="*/ 1770 w 10000"/>
                    <a:gd name="connsiteY107" fmla="*/ 1721 h 10000"/>
                    <a:gd name="connsiteX108" fmla="*/ 1712 w 10000"/>
                    <a:gd name="connsiteY108" fmla="*/ 271 h 10000"/>
                    <a:gd name="connsiteX109" fmla="*/ 5434 w 10000"/>
                    <a:gd name="connsiteY109" fmla="*/ 164 h 10000"/>
                    <a:gd name="connsiteX110" fmla="*/ 5559 w 10000"/>
                    <a:gd name="connsiteY110" fmla="*/ 38 h 10000"/>
                    <a:gd name="connsiteX111" fmla="*/ 5626 w 10000"/>
                    <a:gd name="connsiteY111" fmla="*/ 164 h 10000"/>
                    <a:gd name="connsiteX112" fmla="*/ 6555 w 10000"/>
                    <a:gd name="connsiteY112" fmla="*/ 126 h 10000"/>
                    <a:gd name="connsiteX113" fmla="*/ 6555 w 10000"/>
                    <a:gd name="connsiteY113" fmla="*/ 126 h 10000"/>
                    <a:gd name="connsiteX114" fmla="*/ 7022 w 10000"/>
                    <a:gd name="connsiteY114" fmla="*/ 291 h 10000"/>
                    <a:gd name="connsiteX115" fmla="*/ 7081 w 10000"/>
                    <a:gd name="connsiteY115" fmla="*/ 106 h 10000"/>
                    <a:gd name="connsiteX116" fmla="*/ 8695 w 10000"/>
                    <a:gd name="connsiteY116" fmla="*/ 38 h 10000"/>
                    <a:gd name="connsiteX117" fmla="*/ 8695 w 10000"/>
                    <a:gd name="connsiteY117" fmla="*/ 38 h 10000"/>
                    <a:gd name="connsiteX118" fmla="*/ 8728 w 10000"/>
                    <a:gd name="connsiteY118" fmla="*/ 145 h 10000"/>
                    <a:gd name="connsiteX119" fmla="*/ 8771 w 10000"/>
                    <a:gd name="connsiteY119" fmla="*/ 388 h 10000"/>
                    <a:gd name="connsiteX120" fmla="*/ 8954 w 10000"/>
                    <a:gd name="connsiteY120" fmla="*/ 612 h 10000"/>
                    <a:gd name="connsiteX121" fmla="*/ 8954 w 10000"/>
                    <a:gd name="connsiteY121" fmla="*/ 690 h 10000"/>
                    <a:gd name="connsiteX0" fmla="*/ 8954 w 10000"/>
                    <a:gd name="connsiteY0" fmla="*/ 690 h 10000"/>
                    <a:gd name="connsiteX1" fmla="*/ 8996 w 10000"/>
                    <a:gd name="connsiteY1" fmla="*/ 1059 h 10000"/>
                    <a:gd name="connsiteX2" fmla="*/ 9072 w 10000"/>
                    <a:gd name="connsiteY2" fmla="*/ 1711 h 10000"/>
                    <a:gd name="connsiteX3" fmla="*/ 9189 w 10000"/>
                    <a:gd name="connsiteY3" fmla="*/ 2217 h 10000"/>
                    <a:gd name="connsiteX4" fmla="*/ 9272 w 10000"/>
                    <a:gd name="connsiteY4" fmla="*/ 2393 h 10000"/>
                    <a:gd name="connsiteX5" fmla="*/ 9465 w 10000"/>
                    <a:gd name="connsiteY5" fmla="*/ 2499 h 10000"/>
                    <a:gd name="connsiteX6" fmla="*/ 9624 w 10000"/>
                    <a:gd name="connsiteY6" fmla="*/ 2577 h 10000"/>
                    <a:gd name="connsiteX7" fmla="*/ 9699 w 10000"/>
                    <a:gd name="connsiteY7" fmla="*/ 2704 h 10000"/>
                    <a:gd name="connsiteX8" fmla="*/ 9774 w 10000"/>
                    <a:gd name="connsiteY8" fmla="*/ 2742 h 10000"/>
                    <a:gd name="connsiteX9" fmla="*/ 9875 w 10000"/>
                    <a:gd name="connsiteY9" fmla="*/ 2772 h 10000"/>
                    <a:gd name="connsiteX10" fmla="*/ 9917 w 10000"/>
                    <a:gd name="connsiteY10" fmla="*/ 2878 h 10000"/>
                    <a:gd name="connsiteX11" fmla="*/ 10000 w 10000"/>
                    <a:gd name="connsiteY11" fmla="*/ 2947 h 10000"/>
                    <a:gd name="connsiteX12" fmla="*/ 10000 w 10000"/>
                    <a:gd name="connsiteY12" fmla="*/ 2947 h 10000"/>
                    <a:gd name="connsiteX13" fmla="*/ 9849 w 10000"/>
                    <a:gd name="connsiteY13" fmla="*/ 3239 h 10000"/>
                    <a:gd name="connsiteX14" fmla="*/ 9749 w 10000"/>
                    <a:gd name="connsiteY14" fmla="*/ 3336 h 10000"/>
                    <a:gd name="connsiteX15" fmla="*/ 9556 w 10000"/>
                    <a:gd name="connsiteY15" fmla="*/ 3355 h 10000"/>
                    <a:gd name="connsiteX16" fmla="*/ 9406 w 10000"/>
                    <a:gd name="connsiteY16" fmla="*/ 3501 h 10000"/>
                    <a:gd name="connsiteX17" fmla="*/ 9189 w 10000"/>
                    <a:gd name="connsiteY17" fmla="*/ 3696 h 10000"/>
                    <a:gd name="connsiteX18" fmla="*/ 9122 w 10000"/>
                    <a:gd name="connsiteY18" fmla="*/ 3900 h 10000"/>
                    <a:gd name="connsiteX19" fmla="*/ 9097 w 10000"/>
                    <a:gd name="connsiteY19" fmla="*/ 4329 h 10000"/>
                    <a:gd name="connsiteX20" fmla="*/ 8971 w 10000"/>
                    <a:gd name="connsiteY20" fmla="*/ 4747 h 10000"/>
                    <a:gd name="connsiteX21" fmla="*/ 8863 w 10000"/>
                    <a:gd name="connsiteY21" fmla="*/ 5107 h 10000"/>
                    <a:gd name="connsiteX22" fmla="*/ 8946 w 10000"/>
                    <a:gd name="connsiteY22" fmla="*/ 5661 h 10000"/>
                    <a:gd name="connsiteX23" fmla="*/ 8963 w 10000"/>
                    <a:gd name="connsiteY23" fmla="*/ 5759 h 10000"/>
                    <a:gd name="connsiteX24" fmla="*/ 8946 w 10000"/>
                    <a:gd name="connsiteY24" fmla="*/ 6079 h 10000"/>
                    <a:gd name="connsiteX25" fmla="*/ 8829 w 10000"/>
                    <a:gd name="connsiteY25" fmla="*/ 6420 h 10000"/>
                    <a:gd name="connsiteX26" fmla="*/ 8796 w 10000"/>
                    <a:gd name="connsiteY26" fmla="*/ 6897 h 10000"/>
                    <a:gd name="connsiteX27" fmla="*/ 8503 w 10000"/>
                    <a:gd name="connsiteY27" fmla="*/ 7014 h 10000"/>
                    <a:gd name="connsiteX28" fmla="*/ 8344 w 10000"/>
                    <a:gd name="connsiteY28" fmla="*/ 7354 h 10000"/>
                    <a:gd name="connsiteX29" fmla="*/ 8160 w 10000"/>
                    <a:gd name="connsiteY29" fmla="*/ 7665 h 10000"/>
                    <a:gd name="connsiteX30" fmla="*/ 8143 w 10000"/>
                    <a:gd name="connsiteY30" fmla="*/ 8122 h 10000"/>
                    <a:gd name="connsiteX31" fmla="*/ 8093 w 10000"/>
                    <a:gd name="connsiteY31" fmla="*/ 8365 h 10000"/>
                    <a:gd name="connsiteX32" fmla="*/ 7943 w 10000"/>
                    <a:gd name="connsiteY32" fmla="*/ 8317 h 10000"/>
                    <a:gd name="connsiteX33" fmla="*/ 7725 w 10000"/>
                    <a:gd name="connsiteY33" fmla="*/ 8560 h 10000"/>
                    <a:gd name="connsiteX34" fmla="*/ 7725 w 10000"/>
                    <a:gd name="connsiteY34" fmla="*/ 8921 h 10000"/>
                    <a:gd name="connsiteX35" fmla="*/ 7633 w 10000"/>
                    <a:gd name="connsiteY35" fmla="*/ 9270 h 10000"/>
                    <a:gd name="connsiteX36" fmla="*/ 7650 w 10000"/>
                    <a:gd name="connsiteY36" fmla="*/ 9475 h 10000"/>
                    <a:gd name="connsiteX37" fmla="*/ 7642 w 10000"/>
                    <a:gd name="connsiteY37" fmla="*/ 9475 h 10000"/>
                    <a:gd name="connsiteX38" fmla="*/ 7541 w 10000"/>
                    <a:gd name="connsiteY38" fmla="*/ 9455 h 10000"/>
                    <a:gd name="connsiteX39" fmla="*/ 7524 w 10000"/>
                    <a:gd name="connsiteY39" fmla="*/ 9358 h 10000"/>
                    <a:gd name="connsiteX40" fmla="*/ 7508 w 10000"/>
                    <a:gd name="connsiteY40" fmla="*/ 9241 h 10000"/>
                    <a:gd name="connsiteX41" fmla="*/ 7541 w 10000"/>
                    <a:gd name="connsiteY41" fmla="*/ 9007 h 10000"/>
                    <a:gd name="connsiteX42" fmla="*/ 7474 w 10000"/>
                    <a:gd name="connsiteY42" fmla="*/ 9007 h 10000"/>
                    <a:gd name="connsiteX43" fmla="*/ 7340 w 10000"/>
                    <a:gd name="connsiteY43" fmla="*/ 8697 h 10000"/>
                    <a:gd name="connsiteX44" fmla="*/ 7157 w 10000"/>
                    <a:gd name="connsiteY44" fmla="*/ 8599 h 10000"/>
                    <a:gd name="connsiteX45" fmla="*/ 7090 w 10000"/>
                    <a:gd name="connsiteY45" fmla="*/ 7996 h 10000"/>
                    <a:gd name="connsiteX46" fmla="*/ 7140 w 10000"/>
                    <a:gd name="connsiteY46" fmla="*/ 7510 h 10000"/>
                    <a:gd name="connsiteX47" fmla="*/ 6805 w 10000"/>
                    <a:gd name="connsiteY47" fmla="*/ 7510 h 10000"/>
                    <a:gd name="connsiteX48" fmla="*/ 6805 w 10000"/>
                    <a:gd name="connsiteY48" fmla="*/ 7685 h 10000"/>
                    <a:gd name="connsiteX49" fmla="*/ 6454 w 10000"/>
                    <a:gd name="connsiteY49" fmla="*/ 7723 h 10000"/>
                    <a:gd name="connsiteX50" fmla="*/ 6621 w 10000"/>
                    <a:gd name="connsiteY50" fmla="*/ 7918 h 10000"/>
                    <a:gd name="connsiteX51" fmla="*/ 6621 w 10000"/>
                    <a:gd name="connsiteY51" fmla="*/ 8191 h 10000"/>
                    <a:gd name="connsiteX52" fmla="*/ 6688 w 10000"/>
                    <a:gd name="connsiteY52" fmla="*/ 8327 h 10000"/>
                    <a:gd name="connsiteX53" fmla="*/ 6337 w 10000"/>
                    <a:gd name="connsiteY53" fmla="*/ 8658 h 10000"/>
                    <a:gd name="connsiteX54" fmla="*/ 6236 w 10000"/>
                    <a:gd name="connsiteY54" fmla="*/ 8891 h 10000"/>
                    <a:gd name="connsiteX55" fmla="*/ 5885 w 10000"/>
                    <a:gd name="connsiteY55" fmla="*/ 9300 h 10000"/>
                    <a:gd name="connsiteX56" fmla="*/ 5617 w 10000"/>
                    <a:gd name="connsiteY56" fmla="*/ 9280 h 10000"/>
                    <a:gd name="connsiteX57" fmla="*/ 5082 w 10000"/>
                    <a:gd name="connsiteY57" fmla="*/ 8891 h 10000"/>
                    <a:gd name="connsiteX58" fmla="*/ 4865 w 10000"/>
                    <a:gd name="connsiteY58" fmla="*/ 9124 h 10000"/>
                    <a:gd name="connsiteX59" fmla="*/ 4848 w 10000"/>
                    <a:gd name="connsiteY59" fmla="*/ 9300 h 10000"/>
                    <a:gd name="connsiteX60" fmla="*/ 4547 w 10000"/>
                    <a:gd name="connsiteY60" fmla="*/ 9339 h 10000"/>
                    <a:gd name="connsiteX61" fmla="*/ 4520 w 10000"/>
                    <a:gd name="connsiteY61" fmla="*/ 9573 h 10000"/>
                    <a:gd name="connsiteX62" fmla="*/ 3931 w 10000"/>
                    <a:gd name="connsiteY62" fmla="*/ 9576 h 10000"/>
                    <a:gd name="connsiteX63" fmla="*/ 3828 w 10000"/>
                    <a:gd name="connsiteY63" fmla="*/ 9436 h 10000"/>
                    <a:gd name="connsiteX64" fmla="*/ 3243 w 10000"/>
                    <a:gd name="connsiteY64" fmla="*/ 9377 h 10000"/>
                    <a:gd name="connsiteX65" fmla="*/ 3125 w 10000"/>
                    <a:gd name="connsiteY65" fmla="*/ 9494 h 10000"/>
                    <a:gd name="connsiteX66" fmla="*/ 2874 w 10000"/>
                    <a:gd name="connsiteY66" fmla="*/ 9436 h 10000"/>
                    <a:gd name="connsiteX67" fmla="*/ 2774 w 10000"/>
                    <a:gd name="connsiteY67" fmla="*/ 9144 h 10000"/>
                    <a:gd name="connsiteX68" fmla="*/ 2623 w 10000"/>
                    <a:gd name="connsiteY68" fmla="*/ 8988 h 10000"/>
                    <a:gd name="connsiteX69" fmla="*/ 2540 w 10000"/>
                    <a:gd name="connsiteY69" fmla="*/ 8813 h 10000"/>
                    <a:gd name="connsiteX70" fmla="*/ 2054 w 10000"/>
                    <a:gd name="connsiteY70" fmla="*/ 8930 h 10000"/>
                    <a:gd name="connsiteX71" fmla="*/ 1971 w 10000"/>
                    <a:gd name="connsiteY71" fmla="*/ 9202 h 10000"/>
                    <a:gd name="connsiteX72" fmla="*/ 1871 w 10000"/>
                    <a:gd name="connsiteY72" fmla="*/ 9241 h 10000"/>
                    <a:gd name="connsiteX73" fmla="*/ 1871 w 10000"/>
                    <a:gd name="connsiteY73" fmla="*/ 9494 h 10000"/>
                    <a:gd name="connsiteX74" fmla="*/ 1770 w 10000"/>
                    <a:gd name="connsiteY74" fmla="*/ 9533 h 10000"/>
                    <a:gd name="connsiteX75" fmla="*/ 1770 w 10000"/>
                    <a:gd name="connsiteY75" fmla="*/ 9689 h 10000"/>
                    <a:gd name="connsiteX76" fmla="*/ 1770 w 10000"/>
                    <a:gd name="connsiteY76" fmla="*/ 9864 h 10000"/>
                    <a:gd name="connsiteX77" fmla="*/ 1537 w 10000"/>
                    <a:gd name="connsiteY77" fmla="*/ 10000 h 10000"/>
                    <a:gd name="connsiteX78" fmla="*/ 1511 w 10000"/>
                    <a:gd name="connsiteY78" fmla="*/ 10000 h 10000"/>
                    <a:gd name="connsiteX79" fmla="*/ 1461 w 10000"/>
                    <a:gd name="connsiteY79" fmla="*/ 10000 h 10000"/>
                    <a:gd name="connsiteX80" fmla="*/ 1076 w 10000"/>
                    <a:gd name="connsiteY80" fmla="*/ 9961 h 10000"/>
                    <a:gd name="connsiteX81" fmla="*/ 1060 w 10000"/>
                    <a:gd name="connsiteY81" fmla="*/ 9805 h 10000"/>
                    <a:gd name="connsiteX82" fmla="*/ 1160 w 10000"/>
                    <a:gd name="connsiteY82" fmla="*/ 9475 h 10000"/>
                    <a:gd name="connsiteX83" fmla="*/ 1160 w 10000"/>
                    <a:gd name="connsiteY83" fmla="*/ 9144 h 10000"/>
                    <a:gd name="connsiteX84" fmla="*/ 934 w 10000"/>
                    <a:gd name="connsiteY84" fmla="*/ 8716 h 10000"/>
                    <a:gd name="connsiteX85" fmla="*/ 658 w 10000"/>
                    <a:gd name="connsiteY85" fmla="*/ 8365 h 10000"/>
                    <a:gd name="connsiteX86" fmla="*/ 616 w 10000"/>
                    <a:gd name="connsiteY86" fmla="*/ 8356 h 10000"/>
                    <a:gd name="connsiteX87" fmla="*/ 691 w 10000"/>
                    <a:gd name="connsiteY87" fmla="*/ 8249 h 10000"/>
                    <a:gd name="connsiteX88" fmla="*/ 599 w 10000"/>
                    <a:gd name="connsiteY88" fmla="*/ 7996 h 10000"/>
                    <a:gd name="connsiteX89" fmla="*/ 466 w 10000"/>
                    <a:gd name="connsiteY89" fmla="*/ 7694 h 10000"/>
                    <a:gd name="connsiteX90" fmla="*/ 407 w 10000"/>
                    <a:gd name="connsiteY90" fmla="*/ 7539 h 10000"/>
                    <a:gd name="connsiteX91" fmla="*/ 373 w 10000"/>
                    <a:gd name="connsiteY91" fmla="*/ 7150 h 10000"/>
                    <a:gd name="connsiteX92" fmla="*/ 148 w 10000"/>
                    <a:gd name="connsiteY92" fmla="*/ 7110 h 10000"/>
                    <a:gd name="connsiteX93" fmla="*/ 64 w 10000"/>
                    <a:gd name="connsiteY93" fmla="*/ 6790 h 10000"/>
                    <a:gd name="connsiteX94" fmla="*/ 223 w 10000"/>
                    <a:gd name="connsiteY94" fmla="*/ 6488 h 10000"/>
                    <a:gd name="connsiteX95" fmla="*/ 198 w 10000"/>
                    <a:gd name="connsiteY95" fmla="*/ 6177 h 10000"/>
                    <a:gd name="connsiteX96" fmla="*/ 415 w 10000"/>
                    <a:gd name="connsiteY96" fmla="*/ 5963 h 10000"/>
                    <a:gd name="connsiteX97" fmla="*/ 348 w 10000"/>
                    <a:gd name="connsiteY97" fmla="*/ 5816 h 10000"/>
                    <a:gd name="connsiteX98" fmla="*/ 382 w 10000"/>
                    <a:gd name="connsiteY98" fmla="*/ 5642 h 10000"/>
                    <a:gd name="connsiteX99" fmla="*/ 474 w 10000"/>
                    <a:gd name="connsiteY99" fmla="*/ 5506 h 10000"/>
                    <a:gd name="connsiteX100" fmla="*/ 666 w 10000"/>
                    <a:gd name="connsiteY100" fmla="*/ 5145 h 10000"/>
                    <a:gd name="connsiteX101" fmla="*/ 674 w 10000"/>
                    <a:gd name="connsiteY101" fmla="*/ 4931 h 10000"/>
                    <a:gd name="connsiteX102" fmla="*/ 1001 w 10000"/>
                    <a:gd name="connsiteY102" fmla="*/ 4835 h 10000"/>
                    <a:gd name="connsiteX103" fmla="*/ 1269 w 10000"/>
                    <a:gd name="connsiteY103" fmla="*/ 4825 h 10000"/>
                    <a:gd name="connsiteX104" fmla="*/ 1185 w 10000"/>
                    <a:gd name="connsiteY104" fmla="*/ 2091 h 10000"/>
                    <a:gd name="connsiteX105" fmla="*/ 1185 w 10000"/>
                    <a:gd name="connsiteY105" fmla="*/ 2091 h 10000"/>
                    <a:gd name="connsiteX106" fmla="*/ 1176 w 10000"/>
                    <a:gd name="connsiteY106" fmla="*/ 1730 h 10000"/>
                    <a:gd name="connsiteX107" fmla="*/ 1770 w 10000"/>
                    <a:gd name="connsiteY107" fmla="*/ 1721 h 10000"/>
                    <a:gd name="connsiteX108" fmla="*/ 1712 w 10000"/>
                    <a:gd name="connsiteY108" fmla="*/ 271 h 10000"/>
                    <a:gd name="connsiteX109" fmla="*/ 5434 w 10000"/>
                    <a:gd name="connsiteY109" fmla="*/ 164 h 10000"/>
                    <a:gd name="connsiteX110" fmla="*/ 5559 w 10000"/>
                    <a:gd name="connsiteY110" fmla="*/ 38 h 10000"/>
                    <a:gd name="connsiteX111" fmla="*/ 5626 w 10000"/>
                    <a:gd name="connsiteY111" fmla="*/ 164 h 10000"/>
                    <a:gd name="connsiteX112" fmla="*/ 6555 w 10000"/>
                    <a:gd name="connsiteY112" fmla="*/ 126 h 10000"/>
                    <a:gd name="connsiteX113" fmla="*/ 6555 w 10000"/>
                    <a:gd name="connsiteY113" fmla="*/ 126 h 10000"/>
                    <a:gd name="connsiteX114" fmla="*/ 7081 w 10000"/>
                    <a:gd name="connsiteY114" fmla="*/ 106 h 10000"/>
                    <a:gd name="connsiteX115" fmla="*/ 8695 w 10000"/>
                    <a:gd name="connsiteY115" fmla="*/ 38 h 10000"/>
                    <a:gd name="connsiteX116" fmla="*/ 8695 w 10000"/>
                    <a:gd name="connsiteY116" fmla="*/ 38 h 10000"/>
                    <a:gd name="connsiteX117" fmla="*/ 8728 w 10000"/>
                    <a:gd name="connsiteY117" fmla="*/ 145 h 10000"/>
                    <a:gd name="connsiteX118" fmla="*/ 8771 w 10000"/>
                    <a:gd name="connsiteY118" fmla="*/ 388 h 10000"/>
                    <a:gd name="connsiteX119" fmla="*/ 8954 w 10000"/>
                    <a:gd name="connsiteY119" fmla="*/ 612 h 10000"/>
                    <a:gd name="connsiteX120" fmla="*/ 8954 w 10000"/>
                    <a:gd name="connsiteY120" fmla="*/ 690 h 10000"/>
                    <a:gd name="connsiteX0" fmla="*/ 8954 w 10000"/>
                    <a:gd name="connsiteY0" fmla="*/ 860 h 10170"/>
                    <a:gd name="connsiteX1" fmla="*/ 8996 w 10000"/>
                    <a:gd name="connsiteY1" fmla="*/ 1229 h 10170"/>
                    <a:gd name="connsiteX2" fmla="*/ 9072 w 10000"/>
                    <a:gd name="connsiteY2" fmla="*/ 1881 h 10170"/>
                    <a:gd name="connsiteX3" fmla="*/ 9189 w 10000"/>
                    <a:gd name="connsiteY3" fmla="*/ 2387 h 10170"/>
                    <a:gd name="connsiteX4" fmla="*/ 9272 w 10000"/>
                    <a:gd name="connsiteY4" fmla="*/ 2563 h 10170"/>
                    <a:gd name="connsiteX5" fmla="*/ 9465 w 10000"/>
                    <a:gd name="connsiteY5" fmla="*/ 2669 h 10170"/>
                    <a:gd name="connsiteX6" fmla="*/ 9624 w 10000"/>
                    <a:gd name="connsiteY6" fmla="*/ 2747 h 10170"/>
                    <a:gd name="connsiteX7" fmla="*/ 9699 w 10000"/>
                    <a:gd name="connsiteY7" fmla="*/ 2874 h 10170"/>
                    <a:gd name="connsiteX8" fmla="*/ 9774 w 10000"/>
                    <a:gd name="connsiteY8" fmla="*/ 2912 h 10170"/>
                    <a:gd name="connsiteX9" fmla="*/ 9875 w 10000"/>
                    <a:gd name="connsiteY9" fmla="*/ 2942 h 10170"/>
                    <a:gd name="connsiteX10" fmla="*/ 9917 w 10000"/>
                    <a:gd name="connsiteY10" fmla="*/ 3048 h 10170"/>
                    <a:gd name="connsiteX11" fmla="*/ 10000 w 10000"/>
                    <a:gd name="connsiteY11" fmla="*/ 3117 h 10170"/>
                    <a:gd name="connsiteX12" fmla="*/ 10000 w 10000"/>
                    <a:gd name="connsiteY12" fmla="*/ 3117 h 10170"/>
                    <a:gd name="connsiteX13" fmla="*/ 9849 w 10000"/>
                    <a:gd name="connsiteY13" fmla="*/ 3409 h 10170"/>
                    <a:gd name="connsiteX14" fmla="*/ 9749 w 10000"/>
                    <a:gd name="connsiteY14" fmla="*/ 3506 h 10170"/>
                    <a:gd name="connsiteX15" fmla="*/ 9556 w 10000"/>
                    <a:gd name="connsiteY15" fmla="*/ 3525 h 10170"/>
                    <a:gd name="connsiteX16" fmla="*/ 9406 w 10000"/>
                    <a:gd name="connsiteY16" fmla="*/ 3671 h 10170"/>
                    <a:gd name="connsiteX17" fmla="*/ 9189 w 10000"/>
                    <a:gd name="connsiteY17" fmla="*/ 3866 h 10170"/>
                    <a:gd name="connsiteX18" fmla="*/ 9122 w 10000"/>
                    <a:gd name="connsiteY18" fmla="*/ 4070 h 10170"/>
                    <a:gd name="connsiteX19" fmla="*/ 9097 w 10000"/>
                    <a:gd name="connsiteY19" fmla="*/ 4499 h 10170"/>
                    <a:gd name="connsiteX20" fmla="*/ 8971 w 10000"/>
                    <a:gd name="connsiteY20" fmla="*/ 4917 h 10170"/>
                    <a:gd name="connsiteX21" fmla="*/ 8863 w 10000"/>
                    <a:gd name="connsiteY21" fmla="*/ 5277 h 10170"/>
                    <a:gd name="connsiteX22" fmla="*/ 8946 w 10000"/>
                    <a:gd name="connsiteY22" fmla="*/ 5831 h 10170"/>
                    <a:gd name="connsiteX23" fmla="*/ 8963 w 10000"/>
                    <a:gd name="connsiteY23" fmla="*/ 5929 h 10170"/>
                    <a:gd name="connsiteX24" fmla="*/ 8946 w 10000"/>
                    <a:gd name="connsiteY24" fmla="*/ 6249 h 10170"/>
                    <a:gd name="connsiteX25" fmla="*/ 8829 w 10000"/>
                    <a:gd name="connsiteY25" fmla="*/ 6590 h 10170"/>
                    <a:gd name="connsiteX26" fmla="*/ 8796 w 10000"/>
                    <a:gd name="connsiteY26" fmla="*/ 7067 h 10170"/>
                    <a:gd name="connsiteX27" fmla="*/ 8503 w 10000"/>
                    <a:gd name="connsiteY27" fmla="*/ 7184 h 10170"/>
                    <a:gd name="connsiteX28" fmla="*/ 8344 w 10000"/>
                    <a:gd name="connsiteY28" fmla="*/ 7524 h 10170"/>
                    <a:gd name="connsiteX29" fmla="*/ 8160 w 10000"/>
                    <a:gd name="connsiteY29" fmla="*/ 7835 h 10170"/>
                    <a:gd name="connsiteX30" fmla="*/ 8143 w 10000"/>
                    <a:gd name="connsiteY30" fmla="*/ 8292 h 10170"/>
                    <a:gd name="connsiteX31" fmla="*/ 8093 w 10000"/>
                    <a:gd name="connsiteY31" fmla="*/ 8535 h 10170"/>
                    <a:gd name="connsiteX32" fmla="*/ 7943 w 10000"/>
                    <a:gd name="connsiteY32" fmla="*/ 8487 h 10170"/>
                    <a:gd name="connsiteX33" fmla="*/ 7725 w 10000"/>
                    <a:gd name="connsiteY33" fmla="*/ 8730 h 10170"/>
                    <a:gd name="connsiteX34" fmla="*/ 7725 w 10000"/>
                    <a:gd name="connsiteY34" fmla="*/ 9091 h 10170"/>
                    <a:gd name="connsiteX35" fmla="*/ 7633 w 10000"/>
                    <a:gd name="connsiteY35" fmla="*/ 9440 h 10170"/>
                    <a:gd name="connsiteX36" fmla="*/ 7650 w 10000"/>
                    <a:gd name="connsiteY36" fmla="*/ 9645 h 10170"/>
                    <a:gd name="connsiteX37" fmla="*/ 7642 w 10000"/>
                    <a:gd name="connsiteY37" fmla="*/ 9645 h 10170"/>
                    <a:gd name="connsiteX38" fmla="*/ 7541 w 10000"/>
                    <a:gd name="connsiteY38" fmla="*/ 9625 h 10170"/>
                    <a:gd name="connsiteX39" fmla="*/ 7524 w 10000"/>
                    <a:gd name="connsiteY39" fmla="*/ 9528 h 10170"/>
                    <a:gd name="connsiteX40" fmla="*/ 7508 w 10000"/>
                    <a:gd name="connsiteY40" fmla="*/ 9411 h 10170"/>
                    <a:gd name="connsiteX41" fmla="*/ 7541 w 10000"/>
                    <a:gd name="connsiteY41" fmla="*/ 9177 h 10170"/>
                    <a:gd name="connsiteX42" fmla="*/ 7474 w 10000"/>
                    <a:gd name="connsiteY42" fmla="*/ 9177 h 10170"/>
                    <a:gd name="connsiteX43" fmla="*/ 7340 w 10000"/>
                    <a:gd name="connsiteY43" fmla="*/ 8867 h 10170"/>
                    <a:gd name="connsiteX44" fmla="*/ 7157 w 10000"/>
                    <a:gd name="connsiteY44" fmla="*/ 8769 h 10170"/>
                    <a:gd name="connsiteX45" fmla="*/ 7090 w 10000"/>
                    <a:gd name="connsiteY45" fmla="*/ 8166 h 10170"/>
                    <a:gd name="connsiteX46" fmla="*/ 7140 w 10000"/>
                    <a:gd name="connsiteY46" fmla="*/ 7680 h 10170"/>
                    <a:gd name="connsiteX47" fmla="*/ 6805 w 10000"/>
                    <a:gd name="connsiteY47" fmla="*/ 7680 h 10170"/>
                    <a:gd name="connsiteX48" fmla="*/ 6805 w 10000"/>
                    <a:gd name="connsiteY48" fmla="*/ 7855 h 10170"/>
                    <a:gd name="connsiteX49" fmla="*/ 6454 w 10000"/>
                    <a:gd name="connsiteY49" fmla="*/ 7893 h 10170"/>
                    <a:gd name="connsiteX50" fmla="*/ 6621 w 10000"/>
                    <a:gd name="connsiteY50" fmla="*/ 8088 h 10170"/>
                    <a:gd name="connsiteX51" fmla="*/ 6621 w 10000"/>
                    <a:gd name="connsiteY51" fmla="*/ 8361 h 10170"/>
                    <a:gd name="connsiteX52" fmla="*/ 6688 w 10000"/>
                    <a:gd name="connsiteY52" fmla="*/ 8497 h 10170"/>
                    <a:gd name="connsiteX53" fmla="*/ 6337 w 10000"/>
                    <a:gd name="connsiteY53" fmla="*/ 8828 h 10170"/>
                    <a:gd name="connsiteX54" fmla="*/ 6236 w 10000"/>
                    <a:gd name="connsiteY54" fmla="*/ 9061 h 10170"/>
                    <a:gd name="connsiteX55" fmla="*/ 5885 w 10000"/>
                    <a:gd name="connsiteY55" fmla="*/ 9470 h 10170"/>
                    <a:gd name="connsiteX56" fmla="*/ 5617 w 10000"/>
                    <a:gd name="connsiteY56" fmla="*/ 9450 h 10170"/>
                    <a:gd name="connsiteX57" fmla="*/ 5082 w 10000"/>
                    <a:gd name="connsiteY57" fmla="*/ 9061 h 10170"/>
                    <a:gd name="connsiteX58" fmla="*/ 4865 w 10000"/>
                    <a:gd name="connsiteY58" fmla="*/ 9294 h 10170"/>
                    <a:gd name="connsiteX59" fmla="*/ 4848 w 10000"/>
                    <a:gd name="connsiteY59" fmla="*/ 9470 h 10170"/>
                    <a:gd name="connsiteX60" fmla="*/ 4547 w 10000"/>
                    <a:gd name="connsiteY60" fmla="*/ 9509 h 10170"/>
                    <a:gd name="connsiteX61" fmla="*/ 4520 w 10000"/>
                    <a:gd name="connsiteY61" fmla="*/ 9743 h 10170"/>
                    <a:gd name="connsiteX62" fmla="*/ 3931 w 10000"/>
                    <a:gd name="connsiteY62" fmla="*/ 9746 h 10170"/>
                    <a:gd name="connsiteX63" fmla="*/ 3828 w 10000"/>
                    <a:gd name="connsiteY63" fmla="*/ 9606 h 10170"/>
                    <a:gd name="connsiteX64" fmla="*/ 3243 w 10000"/>
                    <a:gd name="connsiteY64" fmla="*/ 9547 h 10170"/>
                    <a:gd name="connsiteX65" fmla="*/ 3125 w 10000"/>
                    <a:gd name="connsiteY65" fmla="*/ 9664 h 10170"/>
                    <a:gd name="connsiteX66" fmla="*/ 2874 w 10000"/>
                    <a:gd name="connsiteY66" fmla="*/ 9606 h 10170"/>
                    <a:gd name="connsiteX67" fmla="*/ 2774 w 10000"/>
                    <a:gd name="connsiteY67" fmla="*/ 9314 h 10170"/>
                    <a:gd name="connsiteX68" fmla="*/ 2623 w 10000"/>
                    <a:gd name="connsiteY68" fmla="*/ 9158 h 10170"/>
                    <a:gd name="connsiteX69" fmla="*/ 2540 w 10000"/>
                    <a:gd name="connsiteY69" fmla="*/ 8983 h 10170"/>
                    <a:gd name="connsiteX70" fmla="*/ 2054 w 10000"/>
                    <a:gd name="connsiteY70" fmla="*/ 9100 h 10170"/>
                    <a:gd name="connsiteX71" fmla="*/ 1971 w 10000"/>
                    <a:gd name="connsiteY71" fmla="*/ 9372 h 10170"/>
                    <a:gd name="connsiteX72" fmla="*/ 1871 w 10000"/>
                    <a:gd name="connsiteY72" fmla="*/ 9411 h 10170"/>
                    <a:gd name="connsiteX73" fmla="*/ 1871 w 10000"/>
                    <a:gd name="connsiteY73" fmla="*/ 9664 h 10170"/>
                    <a:gd name="connsiteX74" fmla="*/ 1770 w 10000"/>
                    <a:gd name="connsiteY74" fmla="*/ 9703 h 10170"/>
                    <a:gd name="connsiteX75" fmla="*/ 1770 w 10000"/>
                    <a:gd name="connsiteY75" fmla="*/ 9859 h 10170"/>
                    <a:gd name="connsiteX76" fmla="*/ 1770 w 10000"/>
                    <a:gd name="connsiteY76" fmla="*/ 10034 h 10170"/>
                    <a:gd name="connsiteX77" fmla="*/ 1537 w 10000"/>
                    <a:gd name="connsiteY77" fmla="*/ 10170 h 10170"/>
                    <a:gd name="connsiteX78" fmla="*/ 1511 w 10000"/>
                    <a:gd name="connsiteY78" fmla="*/ 10170 h 10170"/>
                    <a:gd name="connsiteX79" fmla="*/ 1461 w 10000"/>
                    <a:gd name="connsiteY79" fmla="*/ 10170 h 10170"/>
                    <a:gd name="connsiteX80" fmla="*/ 1076 w 10000"/>
                    <a:gd name="connsiteY80" fmla="*/ 10131 h 10170"/>
                    <a:gd name="connsiteX81" fmla="*/ 1060 w 10000"/>
                    <a:gd name="connsiteY81" fmla="*/ 9975 h 10170"/>
                    <a:gd name="connsiteX82" fmla="*/ 1160 w 10000"/>
                    <a:gd name="connsiteY82" fmla="*/ 9645 h 10170"/>
                    <a:gd name="connsiteX83" fmla="*/ 1160 w 10000"/>
                    <a:gd name="connsiteY83" fmla="*/ 9314 h 10170"/>
                    <a:gd name="connsiteX84" fmla="*/ 934 w 10000"/>
                    <a:gd name="connsiteY84" fmla="*/ 8886 h 10170"/>
                    <a:gd name="connsiteX85" fmla="*/ 658 w 10000"/>
                    <a:gd name="connsiteY85" fmla="*/ 8535 h 10170"/>
                    <a:gd name="connsiteX86" fmla="*/ 616 w 10000"/>
                    <a:gd name="connsiteY86" fmla="*/ 8526 h 10170"/>
                    <a:gd name="connsiteX87" fmla="*/ 691 w 10000"/>
                    <a:gd name="connsiteY87" fmla="*/ 8419 h 10170"/>
                    <a:gd name="connsiteX88" fmla="*/ 599 w 10000"/>
                    <a:gd name="connsiteY88" fmla="*/ 8166 h 10170"/>
                    <a:gd name="connsiteX89" fmla="*/ 466 w 10000"/>
                    <a:gd name="connsiteY89" fmla="*/ 7864 h 10170"/>
                    <a:gd name="connsiteX90" fmla="*/ 407 w 10000"/>
                    <a:gd name="connsiteY90" fmla="*/ 7709 h 10170"/>
                    <a:gd name="connsiteX91" fmla="*/ 373 w 10000"/>
                    <a:gd name="connsiteY91" fmla="*/ 7320 h 10170"/>
                    <a:gd name="connsiteX92" fmla="*/ 148 w 10000"/>
                    <a:gd name="connsiteY92" fmla="*/ 7280 h 10170"/>
                    <a:gd name="connsiteX93" fmla="*/ 64 w 10000"/>
                    <a:gd name="connsiteY93" fmla="*/ 6960 h 10170"/>
                    <a:gd name="connsiteX94" fmla="*/ 223 w 10000"/>
                    <a:gd name="connsiteY94" fmla="*/ 6658 h 10170"/>
                    <a:gd name="connsiteX95" fmla="*/ 198 w 10000"/>
                    <a:gd name="connsiteY95" fmla="*/ 6347 h 10170"/>
                    <a:gd name="connsiteX96" fmla="*/ 415 w 10000"/>
                    <a:gd name="connsiteY96" fmla="*/ 6133 h 10170"/>
                    <a:gd name="connsiteX97" fmla="*/ 348 w 10000"/>
                    <a:gd name="connsiteY97" fmla="*/ 5986 h 10170"/>
                    <a:gd name="connsiteX98" fmla="*/ 382 w 10000"/>
                    <a:gd name="connsiteY98" fmla="*/ 5812 h 10170"/>
                    <a:gd name="connsiteX99" fmla="*/ 474 w 10000"/>
                    <a:gd name="connsiteY99" fmla="*/ 5676 h 10170"/>
                    <a:gd name="connsiteX100" fmla="*/ 666 w 10000"/>
                    <a:gd name="connsiteY100" fmla="*/ 5315 h 10170"/>
                    <a:gd name="connsiteX101" fmla="*/ 674 w 10000"/>
                    <a:gd name="connsiteY101" fmla="*/ 5101 h 10170"/>
                    <a:gd name="connsiteX102" fmla="*/ 1001 w 10000"/>
                    <a:gd name="connsiteY102" fmla="*/ 5005 h 10170"/>
                    <a:gd name="connsiteX103" fmla="*/ 1269 w 10000"/>
                    <a:gd name="connsiteY103" fmla="*/ 4995 h 10170"/>
                    <a:gd name="connsiteX104" fmla="*/ 1185 w 10000"/>
                    <a:gd name="connsiteY104" fmla="*/ 2261 h 10170"/>
                    <a:gd name="connsiteX105" fmla="*/ 1185 w 10000"/>
                    <a:gd name="connsiteY105" fmla="*/ 2261 h 10170"/>
                    <a:gd name="connsiteX106" fmla="*/ 1176 w 10000"/>
                    <a:gd name="connsiteY106" fmla="*/ 1900 h 10170"/>
                    <a:gd name="connsiteX107" fmla="*/ 1770 w 10000"/>
                    <a:gd name="connsiteY107" fmla="*/ 1891 h 10170"/>
                    <a:gd name="connsiteX108" fmla="*/ 1712 w 10000"/>
                    <a:gd name="connsiteY108" fmla="*/ 441 h 10170"/>
                    <a:gd name="connsiteX109" fmla="*/ 5434 w 10000"/>
                    <a:gd name="connsiteY109" fmla="*/ 334 h 10170"/>
                    <a:gd name="connsiteX110" fmla="*/ 5559 w 10000"/>
                    <a:gd name="connsiteY110" fmla="*/ 208 h 10170"/>
                    <a:gd name="connsiteX111" fmla="*/ 5626 w 10000"/>
                    <a:gd name="connsiteY111" fmla="*/ 334 h 10170"/>
                    <a:gd name="connsiteX112" fmla="*/ 6555 w 10000"/>
                    <a:gd name="connsiteY112" fmla="*/ 296 h 10170"/>
                    <a:gd name="connsiteX113" fmla="*/ 6555 w 10000"/>
                    <a:gd name="connsiteY113" fmla="*/ 296 h 10170"/>
                    <a:gd name="connsiteX114" fmla="*/ 7081 w 10000"/>
                    <a:gd name="connsiteY114" fmla="*/ 276 h 10170"/>
                    <a:gd name="connsiteX115" fmla="*/ 7657 w 10000"/>
                    <a:gd name="connsiteY115" fmla="*/ 0 h 10170"/>
                    <a:gd name="connsiteX116" fmla="*/ 8695 w 10000"/>
                    <a:gd name="connsiteY116" fmla="*/ 208 h 10170"/>
                    <a:gd name="connsiteX117" fmla="*/ 8695 w 10000"/>
                    <a:gd name="connsiteY117" fmla="*/ 208 h 10170"/>
                    <a:gd name="connsiteX118" fmla="*/ 8728 w 10000"/>
                    <a:gd name="connsiteY118" fmla="*/ 315 h 10170"/>
                    <a:gd name="connsiteX119" fmla="*/ 8771 w 10000"/>
                    <a:gd name="connsiteY119" fmla="*/ 558 h 10170"/>
                    <a:gd name="connsiteX120" fmla="*/ 8954 w 10000"/>
                    <a:gd name="connsiteY120" fmla="*/ 782 h 10170"/>
                    <a:gd name="connsiteX121" fmla="*/ 8954 w 10000"/>
                    <a:gd name="connsiteY121" fmla="*/ 860 h 10170"/>
                    <a:gd name="connsiteX0" fmla="*/ 8954 w 10000"/>
                    <a:gd name="connsiteY0" fmla="*/ 956 h 10266"/>
                    <a:gd name="connsiteX1" fmla="*/ 8996 w 10000"/>
                    <a:gd name="connsiteY1" fmla="*/ 1325 h 10266"/>
                    <a:gd name="connsiteX2" fmla="*/ 9072 w 10000"/>
                    <a:gd name="connsiteY2" fmla="*/ 1977 h 10266"/>
                    <a:gd name="connsiteX3" fmla="*/ 9189 w 10000"/>
                    <a:gd name="connsiteY3" fmla="*/ 2483 h 10266"/>
                    <a:gd name="connsiteX4" fmla="*/ 9272 w 10000"/>
                    <a:gd name="connsiteY4" fmla="*/ 2659 h 10266"/>
                    <a:gd name="connsiteX5" fmla="*/ 9465 w 10000"/>
                    <a:gd name="connsiteY5" fmla="*/ 2765 h 10266"/>
                    <a:gd name="connsiteX6" fmla="*/ 9624 w 10000"/>
                    <a:gd name="connsiteY6" fmla="*/ 2843 h 10266"/>
                    <a:gd name="connsiteX7" fmla="*/ 9699 w 10000"/>
                    <a:gd name="connsiteY7" fmla="*/ 2970 h 10266"/>
                    <a:gd name="connsiteX8" fmla="*/ 9774 w 10000"/>
                    <a:gd name="connsiteY8" fmla="*/ 3008 h 10266"/>
                    <a:gd name="connsiteX9" fmla="*/ 9875 w 10000"/>
                    <a:gd name="connsiteY9" fmla="*/ 3038 h 10266"/>
                    <a:gd name="connsiteX10" fmla="*/ 9917 w 10000"/>
                    <a:gd name="connsiteY10" fmla="*/ 3144 h 10266"/>
                    <a:gd name="connsiteX11" fmla="*/ 10000 w 10000"/>
                    <a:gd name="connsiteY11" fmla="*/ 3213 h 10266"/>
                    <a:gd name="connsiteX12" fmla="*/ 10000 w 10000"/>
                    <a:gd name="connsiteY12" fmla="*/ 3213 h 10266"/>
                    <a:gd name="connsiteX13" fmla="*/ 9849 w 10000"/>
                    <a:gd name="connsiteY13" fmla="*/ 3505 h 10266"/>
                    <a:gd name="connsiteX14" fmla="*/ 9749 w 10000"/>
                    <a:gd name="connsiteY14" fmla="*/ 3602 h 10266"/>
                    <a:gd name="connsiteX15" fmla="*/ 9556 w 10000"/>
                    <a:gd name="connsiteY15" fmla="*/ 3621 h 10266"/>
                    <a:gd name="connsiteX16" fmla="*/ 9406 w 10000"/>
                    <a:gd name="connsiteY16" fmla="*/ 3767 h 10266"/>
                    <a:gd name="connsiteX17" fmla="*/ 9189 w 10000"/>
                    <a:gd name="connsiteY17" fmla="*/ 3962 h 10266"/>
                    <a:gd name="connsiteX18" fmla="*/ 9122 w 10000"/>
                    <a:gd name="connsiteY18" fmla="*/ 4166 h 10266"/>
                    <a:gd name="connsiteX19" fmla="*/ 9097 w 10000"/>
                    <a:gd name="connsiteY19" fmla="*/ 4595 h 10266"/>
                    <a:gd name="connsiteX20" fmla="*/ 8971 w 10000"/>
                    <a:gd name="connsiteY20" fmla="*/ 5013 h 10266"/>
                    <a:gd name="connsiteX21" fmla="*/ 8863 w 10000"/>
                    <a:gd name="connsiteY21" fmla="*/ 5373 h 10266"/>
                    <a:gd name="connsiteX22" fmla="*/ 8946 w 10000"/>
                    <a:gd name="connsiteY22" fmla="*/ 5927 h 10266"/>
                    <a:gd name="connsiteX23" fmla="*/ 8963 w 10000"/>
                    <a:gd name="connsiteY23" fmla="*/ 6025 h 10266"/>
                    <a:gd name="connsiteX24" fmla="*/ 8946 w 10000"/>
                    <a:gd name="connsiteY24" fmla="*/ 6345 h 10266"/>
                    <a:gd name="connsiteX25" fmla="*/ 8829 w 10000"/>
                    <a:gd name="connsiteY25" fmla="*/ 6686 h 10266"/>
                    <a:gd name="connsiteX26" fmla="*/ 8796 w 10000"/>
                    <a:gd name="connsiteY26" fmla="*/ 7163 h 10266"/>
                    <a:gd name="connsiteX27" fmla="*/ 8503 w 10000"/>
                    <a:gd name="connsiteY27" fmla="*/ 7280 h 10266"/>
                    <a:gd name="connsiteX28" fmla="*/ 8344 w 10000"/>
                    <a:gd name="connsiteY28" fmla="*/ 7620 h 10266"/>
                    <a:gd name="connsiteX29" fmla="*/ 8160 w 10000"/>
                    <a:gd name="connsiteY29" fmla="*/ 7931 h 10266"/>
                    <a:gd name="connsiteX30" fmla="*/ 8143 w 10000"/>
                    <a:gd name="connsiteY30" fmla="*/ 8388 h 10266"/>
                    <a:gd name="connsiteX31" fmla="*/ 8093 w 10000"/>
                    <a:gd name="connsiteY31" fmla="*/ 8631 h 10266"/>
                    <a:gd name="connsiteX32" fmla="*/ 7943 w 10000"/>
                    <a:gd name="connsiteY32" fmla="*/ 8583 h 10266"/>
                    <a:gd name="connsiteX33" fmla="*/ 7725 w 10000"/>
                    <a:gd name="connsiteY33" fmla="*/ 8826 h 10266"/>
                    <a:gd name="connsiteX34" fmla="*/ 7725 w 10000"/>
                    <a:gd name="connsiteY34" fmla="*/ 9187 h 10266"/>
                    <a:gd name="connsiteX35" fmla="*/ 7633 w 10000"/>
                    <a:gd name="connsiteY35" fmla="*/ 9536 h 10266"/>
                    <a:gd name="connsiteX36" fmla="*/ 7650 w 10000"/>
                    <a:gd name="connsiteY36" fmla="*/ 9741 h 10266"/>
                    <a:gd name="connsiteX37" fmla="*/ 7642 w 10000"/>
                    <a:gd name="connsiteY37" fmla="*/ 9741 h 10266"/>
                    <a:gd name="connsiteX38" fmla="*/ 7541 w 10000"/>
                    <a:gd name="connsiteY38" fmla="*/ 9721 h 10266"/>
                    <a:gd name="connsiteX39" fmla="*/ 7524 w 10000"/>
                    <a:gd name="connsiteY39" fmla="*/ 9624 h 10266"/>
                    <a:gd name="connsiteX40" fmla="*/ 7508 w 10000"/>
                    <a:gd name="connsiteY40" fmla="*/ 9507 h 10266"/>
                    <a:gd name="connsiteX41" fmla="*/ 7541 w 10000"/>
                    <a:gd name="connsiteY41" fmla="*/ 9273 h 10266"/>
                    <a:gd name="connsiteX42" fmla="*/ 7474 w 10000"/>
                    <a:gd name="connsiteY42" fmla="*/ 9273 h 10266"/>
                    <a:gd name="connsiteX43" fmla="*/ 7340 w 10000"/>
                    <a:gd name="connsiteY43" fmla="*/ 8963 h 10266"/>
                    <a:gd name="connsiteX44" fmla="*/ 7157 w 10000"/>
                    <a:gd name="connsiteY44" fmla="*/ 8865 h 10266"/>
                    <a:gd name="connsiteX45" fmla="*/ 7090 w 10000"/>
                    <a:gd name="connsiteY45" fmla="*/ 8262 h 10266"/>
                    <a:gd name="connsiteX46" fmla="*/ 7140 w 10000"/>
                    <a:gd name="connsiteY46" fmla="*/ 7776 h 10266"/>
                    <a:gd name="connsiteX47" fmla="*/ 6805 w 10000"/>
                    <a:gd name="connsiteY47" fmla="*/ 7776 h 10266"/>
                    <a:gd name="connsiteX48" fmla="*/ 6805 w 10000"/>
                    <a:gd name="connsiteY48" fmla="*/ 7951 h 10266"/>
                    <a:gd name="connsiteX49" fmla="*/ 6454 w 10000"/>
                    <a:gd name="connsiteY49" fmla="*/ 7989 h 10266"/>
                    <a:gd name="connsiteX50" fmla="*/ 6621 w 10000"/>
                    <a:gd name="connsiteY50" fmla="*/ 8184 h 10266"/>
                    <a:gd name="connsiteX51" fmla="*/ 6621 w 10000"/>
                    <a:gd name="connsiteY51" fmla="*/ 8457 h 10266"/>
                    <a:gd name="connsiteX52" fmla="*/ 6688 w 10000"/>
                    <a:gd name="connsiteY52" fmla="*/ 8593 h 10266"/>
                    <a:gd name="connsiteX53" fmla="*/ 6337 w 10000"/>
                    <a:gd name="connsiteY53" fmla="*/ 8924 h 10266"/>
                    <a:gd name="connsiteX54" fmla="*/ 6236 w 10000"/>
                    <a:gd name="connsiteY54" fmla="*/ 9157 h 10266"/>
                    <a:gd name="connsiteX55" fmla="*/ 5885 w 10000"/>
                    <a:gd name="connsiteY55" fmla="*/ 9566 h 10266"/>
                    <a:gd name="connsiteX56" fmla="*/ 5617 w 10000"/>
                    <a:gd name="connsiteY56" fmla="*/ 9546 h 10266"/>
                    <a:gd name="connsiteX57" fmla="*/ 5082 w 10000"/>
                    <a:gd name="connsiteY57" fmla="*/ 9157 h 10266"/>
                    <a:gd name="connsiteX58" fmla="*/ 4865 w 10000"/>
                    <a:gd name="connsiteY58" fmla="*/ 9390 h 10266"/>
                    <a:gd name="connsiteX59" fmla="*/ 4848 w 10000"/>
                    <a:gd name="connsiteY59" fmla="*/ 9566 h 10266"/>
                    <a:gd name="connsiteX60" fmla="*/ 4547 w 10000"/>
                    <a:gd name="connsiteY60" fmla="*/ 9605 h 10266"/>
                    <a:gd name="connsiteX61" fmla="*/ 4520 w 10000"/>
                    <a:gd name="connsiteY61" fmla="*/ 9839 h 10266"/>
                    <a:gd name="connsiteX62" fmla="*/ 3931 w 10000"/>
                    <a:gd name="connsiteY62" fmla="*/ 9842 h 10266"/>
                    <a:gd name="connsiteX63" fmla="*/ 3828 w 10000"/>
                    <a:gd name="connsiteY63" fmla="*/ 9702 h 10266"/>
                    <a:gd name="connsiteX64" fmla="*/ 3243 w 10000"/>
                    <a:gd name="connsiteY64" fmla="*/ 9643 h 10266"/>
                    <a:gd name="connsiteX65" fmla="*/ 3125 w 10000"/>
                    <a:gd name="connsiteY65" fmla="*/ 9760 h 10266"/>
                    <a:gd name="connsiteX66" fmla="*/ 2874 w 10000"/>
                    <a:gd name="connsiteY66" fmla="*/ 9702 h 10266"/>
                    <a:gd name="connsiteX67" fmla="*/ 2774 w 10000"/>
                    <a:gd name="connsiteY67" fmla="*/ 9410 h 10266"/>
                    <a:gd name="connsiteX68" fmla="*/ 2623 w 10000"/>
                    <a:gd name="connsiteY68" fmla="*/ 9254 h 10266"/>
                    <a:gd name="connsiteX69" fmla="*/ 2540 w 10000"/>
                    <a:gd name="connsiteY69" fmla="*/ 9079 h 10266"/>
                    <a:gd name="connsiteX70" fmla="*/ 2054 w 10000"/>
                    <a:gd name="connsiteY70" fmla="*/ 9196 h 10266"/>
                    <a:gd name="connsiteX71" fmla="*/ 1971 w 10000"/>
                    <a:gd name="connsiteY71" fmla="*/ 9468 h 10266"/>
                    <a:gd name="connsiteX72" fmla="*/ 1871 w 10000"/>
                    <a:gd name="connsiteY72" fmla="*/ 9507 h 10266"/>
                    <a:gd name="connsiteX73" fmla="*/ 1871 w 10000"/>
                    <a:gd name="connsiteY73" fmla="*/ 9760 h 10266"/>
                    <a:gd name="connsiteX74" fmla="*/ 1770 w 10000"/>
                    <a:gd name="connsiteY74" fmla="*/ 9799 h 10266"/>
                    <a:gd name="connsiteX75" fmla="*/ 1770 w 10000"/>
                    <a:gd name="connsiteY75" fmla="*/ 9955 h 10266"/>
                    <a:gd name="connsiteX76" fmla="*/ 1770 w 10000"/>
                    <a:gd name="connsiteY76" fmla="*/ 10130 h 10266"/>
                    <a:gd name="connsiteX77" fmla="*/ 1537 w 10000"/>
                    <a:gd name="connsiteY77" fmla="*/ 10266 h 10266"/>
                    <a:gd name="connsiteX78" fmla="*/ 1511 w 10000"/>
                    <a:gd name="connsiteY78" fmla="*/ 10266 h 10266"/>
                    <a:gd name="connsiteX79" fmla="*/ 1461 w 10000"/>
                    <a:gd name="connsiteY79" fmla="*/ 10266 h 10266"/>
                    <a:gd name="connsiteX80" fmla="*/ 1076 w 10000"/>
                    <a:gd name="connsiteY80" fmla="*/ 10227 h 10266"/>
                    <a:gd name="connsiteX81" fmla="*/ 1060 w 10000"/>
                    <a:gd name="connsiteY81" fmla="*/ 10071 h 10266"/>
                    <a:gd name="connsiteX82" fmla="*/ 1160 w 10000"/>
                    <a:gd name="connsiteY82" fmla="*/ 9741 h 10266"/>
                    <a:gd name="connsiteX83" fmla="*/ 1160 w 10000"/>
                    <a:gd name="connsiteY83" fmla="*/ 9410 h 10266"/>
                    <a:gd name="connsiteX84" fmla="*/ 934 w 10000"/>
                    <a:gd name="connsiteY84" fmla="*/ 8982 h 10266"/>
                    <a:gd name="connsiteX85" fmla="*/ 658 w 10000"/>
                    <a:gd name="connsiteY85" fmla="*/ 8631 h 10266"/>
                    <a:gd name="connsiteX86" fmla="*/ 616 w 10000"/>
                    <a:gd name="connsiteY86" fmla="*/ 8622 h 10266"/>
                    <a:gd name="connsiteX87" fmla="*/ 691 w 10000"/>
                    <a:gd name="connsiteY87" fmla="*/ 8515 h 10266"/>
                    <a:gd name="connsiteX88" fmla="*/ 599 w 10000"/>
                    <a:gd name="connsiteY88" fmla="*/ 8262 h 10266"/>
                    <a:gd name="connsiteX89" fmla="*/ 466 w 10000"/>
                    <a:gd name="connsiteY89" fmla="*/ 7960 h 10266"/>
                    <a:gd name="connsiteX90" fmla="*/ 407 w 10000"/>
                    <a:gd name="connsiteY90" fmla="*/ 7805 h 10266"/>
                    <a:gd name="connsiteX91" fmla="*/ 373 w 10000"/>
                    <a:gd name="connsiteY91" fmla="*/ 7416 h 10266"/>
                    <a:gd name="connsiteX92" fmla="*/ 148 w 10000"/>
                    <a:gd name="connsiteY92" fmla="*/ 7376 h 10266"/>
                    <a:gd name="connsiteX93" fmla="*/ 64 w 10000"/>
                    <a:gd name="connsiteY93" fmla="*/ 7056 h 10266"/>
                    <a:gd name="connsiteX94" fmla="*/ 223 w 10000"/>
                    <a:gd name="connsiteY94" fmla="*/ 6754 h 10266"/>
                    <a:gd name="connsiteX95" fmla="*/ 198 w 10000"/>
                    <a:gd name="connsiteY95" fmla="*/ 6443 h 10266"/>
                    <a:gd name="connsiteX96" fmla="*/ 415 w 10000"/>
                    <a:gd name="connsiteY96" fmla="*/ 6229 h 10266"/>
                    <a:gd name="connsiteX97" fmla="*/ 348 w 10000"/>
                    <a:gd name="connsiteY97" fmla="*/ 6082 h 10266"/>
                    <a:gd name="connsiteX98" fmla="*/ 382 w 10000"/>
                    <a:gd name="connsiteY98" fmla="*/ 5908 h 10266"/>
                    <a:gd name="connsiteX99" fmla="*/ 474 w 10000"/>
                    <a:gd name="connsiteY99" fmla="*/ 5772 h 10266"/>
                    <a:gd name="connsiteX100" fmla="*/ 666 w 10000"/>
                    <a:gd name="connsiteY100" fmla="*/ 5411 h 10266"/>
                    <a:gd name="connsiteX101" fmla="*/ 674 w 10000"/>
                    <a:gd name="connsiteY101" fmla="*/ 5197 h 10266"/>
                    <a:gd name="connsiteX102" fmla="*/ 1001 w 10000"/>
                    <a:gd name="connsiteY102" fmla="*/ 5101 h 10266"/>
                    <a:gd name="connsiteX103" fmla="*/ 1269 w 10000"/>
                    <a:gd name="connsiteY103" fmla="*/ 5091 h 10266"/>
                    <a:gd name="connsiteX104" fmla="*/ 1185 w 10000"/>
                    <a:gd name="connsiteY104" fmla="*/ 2357 h 10266"/>
                    <a:gd name="connsiteX105" fmla="*/ 1185 w 10000"/>
                    <a:gd name="connsiteY105" fmla="*/ 2357 h 10266"/>
                    <a:gd name="connsiteX106" fmla="*/ 1176 w 10000"/>
                    <a:gd name="connsiteY106" fmla="*/ 1996 h 10266"/>
                    <a:gd name="connsiteX107" fmla="*/ 1770 w 10000"/>
                    <a:gd name="connsiteY107" fmla="*/ 1987 h 10266"/>
                    <a:gd name="connsiteX108" fmla="*/ 1712 w 10000"/>
                    <a:gd name="connsiteY108" fmla="*/ 537 h 10266"/>
                    <a:gd name="connsiteX109" fmla="*/ 5434 w 10000"/>
                    <a:gd name="connsiteY109" fmla="*/ 430 h 10266"/>
                    <a:gd name="connsiteX110" fmla="*/ 5559 w 10000"/>
                    <a:gd name="connsiteY110" fmla="*/ 304 h 10266"/>
                    <a:gd name="connsiteX111" fmla="*/ 5626 w 10000"/>
                    <a:gd name="connsiteY111" fmla="*/ 430 h 10266"/>
                    <a:gd name="connsiteX112" fmla="*/ 6555 w 10000"/>
                    <a:gd name="connsiteY112" fmla="*/ 392 h 10266"/>
                    <a:gd name="connsiteX113" fmla="*/ 6555 w 10000"/>
                    <a:gd name="connsiteY113" fmla="*/ 392 h 10266"/>
                    <a:gd name="connsiteX114" fmla="*/ 7081 w 10000"/>
                    <a:gd name="connsiteY114" fmla="*/ 372 h 10266"/>
                    <a:gd name="connsiteX115" fmla="*/ 7657 w 10000"/>
                    <a:gd name="connsiteY115" fmla="*/ 96 h 10266"/>
                    <a:gd name="connsiteX116" fmla="*/ 8327 w 10000"/>
                    <a:gd name="connsiteY116" fmla="*/ 6 h 10266"/>
                    <a:gd name="connsiteX117" fmla="*/ 8695 w 10000"/>
                    <a:gd name="connsiteY117" fmla="*/ 304 h 10266"/>
                    <a:gd name="connsiteX118" fmla="*/ 8695 w 10000"/>
                    <a:gd name="connsiteY118" fmla="*/ 304 h 10266"/>
                    <a:gd name="connsiteX119" fmla="*/ 8728 w 10000"/>
                    <a:gd name="connsiteY119" fmla="*/ 411 h 10266"/>
                    <a:gd name="connsiteX120" fmla="*/ 8771 w 10000"/>
                    <a:gd name="connsiteY120" fmla="*/ 654 h 10266"/>
                    <a:gd name="connsiteX121" fmla="*/ 8954 w 10000"/>
                    <a:gd name="connsiteY121" fmla="*/ 878 h 10266"/>
                    <a:gd name="connsiteX122" fmla="*/ 8954 w 10000"/>
                    <a:gd name="connsiteY122" fmla="*/ 956 h 10266"/>
                    <a:gd name="connsiteX0" fmla="*/ 8954 w 10000"/>
                    <a:gd name="connsiteY0" fmla="*/ 1113 h 10423"/>
                    <a:gd name="connsiteX1" fmla="*/ 8996 w 10000"/>
                    <a:gd name="connsiteY1" fmla="*/ 1482 h 10423"/>
                    <a:gd name="connsiteX2" fmla="*/ 9072 w 10000"/>
                    <a:gd name="connsiteY2" fmla="*/ 2134 h 10423"/>
                    <a:gd name="connsiteX3" fmla="*/ 9189 w 10000"/>
                    <a:gd name="connsiteY3" fmla="*/ 2640 h 10423"/>
                    <a:gd name="connsiteX4" fmla="*/ 9272 w 10000"/>
                    <a:gd name="connsiteY4" fmla="*/ 2816 h 10423"/>
                    <a:gd name="connsiteX5" fmla="*/ 9465 w 10000"/>
                    <a:gd name="connsiteY5" fmla="*/ 2922 h 10423"/>
                    <a:gd name="connsiteX6" fmla="*/ 9624 w 10000"/>
                    <a:gd name="connsiteY6" fmla="*/ 3000 h 10423"/>
                    <a:gd name="connsiteX7" fmla="*/ 9699 w 10000"/>
                    <a:gd name="connsiteY7" fmla="*/ 3127 h 10423"/>
                    <a:gd name="connsiteX8" fmla="*/ 9774 w 10000"/>
                    <a:gd name="connsiteY8" fmla="*/ 3165 h 10423"/>
                    <a:gd name="connsiteX9" fmla="*/ 9875 w 10000"/>
                    <a:gd name="connsiteY9" fmla="*/ 3195 h 10423"/>
                    <a:gd name="connsiteX10" fmla="*/ 9917 w 10000"/>
                    <a:gd name="connsiteY10" fmla="*/ 3301 h 10423"/>
                    <a:gd name="connsiteX11" fmla="*/ 10000 w 10000"/>
                    <a:gd name="connsiteY11" fmla="*/ 3370 h 10423"/>
                    <a:gd name="connsiteX12" fmla="*/ 10000 w 10000"/>
                    <a:gd name="connsiteY12" fmla="*/ 3370 h 10423"/>
                    <a:gd name="connsiteX13" fmla="*/ 9849 w 10000"/>
                    <a:gd name="connsiteY13" fmla="*/ 3662 h 10423"/>
                    <a:gd name="connsiteX14" fmla="*/ 9749 w 10000"/>
                    <a:gd name="connsiteY14" fmla="*/ 3759 h 10423"/>
                    <a:gd name="connsiteX15" fmla="*/ 9556 w 10000"/>
                    <a:gd name="connsiteY15" fmla="*/ 3778 h 10423"/>
                    <a:gd name="connsiteX16" fmla="*/ 9406 w 10000"/>
                    <a:gd name="connsiteY16" fmla="*/ 3924 h 10423"/>
                    <a:gd name="connsiteX17" fmla="*/ 9189 w 10000"/>
                    <a:gd name="connsiteY17" fmla="*/ 4119 h 10423"/>
                    <a:gd name="connsiteX18" fmla="*/ 9122 w 10000"/>
                    <a:gd name="connsiteY18" fmla="*/ 4323 h 10423"/>
                    <a:gd name="connsiteX19" fmla="*/ 9097 w 10000"/>
                    <a:gd name="connsiteY19" fmla="*/ 4752 h 10423"/>
                    <a:gd name="connsiteX20" fmla="*/ 8971 w 10000"/>
                    <a:gd name="connsiteY20" fmla="*/ 5170 h 10423"/>
                    <a:gd name="connsiteX21" fmla="*/ 8863 w 10000"/>
                    <a:gd name="connsiteY21" fmla="*/ 5530 h 10423"/>
                    <a:gd name="connsiteX22" fmla="*/ 8946 w 10000"/>
                    <a:gd name="connsiteY22" fmla="*/ 6084 h 10423"/>
                    <a:gd name="connsiteX23" fmla="*/ 8963 w 10000"/>
                    <a:gd name="connsiteY23" fmla="*/ 6182 h 10423"/>
                    <a:gd name="connsiteX24" fmla="*/ 8946 w 10000"/>
                    <a:gd name="connsiteY24" fmla="*/ 6502 h 10423"/>
                    <a:gd name="connsiteX25" fmla="*/ 8829 w 10000"/>
                    <a:gd name="connsiteY25" fmla="*/ 6843 h 10423"/>
                    <a:gd name="connsiteX26" fmla="*/ 8796 w 10000"/>
                    <a:gd name="connsiteY26" fmla="*/ 7320 h 10423"/>
                    <a:gd name="connsiteX27" fmla="*/ 8503 w 10000"/>
                    <a:gd name="connsiteY27" fmla="*/ 7437 h 10423"/>
                    <a:gd name="connsiteX28" fmla="*/ 8344 w 10000"/>
                    <a:gd name="connsiteY28" fmla="*/ 7777 h 10423"/>
                    <a:gd name="connsiteX29" fmla="*/ 8160 w 10000"/>
                    <a:gd name="connsiteY29" fmla="*/ 8088 h 10423"/>
                    <a:gd name="connsiteX30" fmla="*/ 8143 w 10000"/>
                    <a:gd name="connsiteY30" fmla="*/ 8545 h 10423"/>
                    <a:gd name="connsiteX31" fmla="*/ 8093 w 10000"/>
                    <a:gd name="connsiteY31" fmla="*/ 8788 h 10423"/>
                    <a:gd name="connsiteX32" fmla="*/ 7943 w 10000"/>
                    <a:gd name="connsiteY32" fmla="*/ 8740 h 10423"/>
                    <a:gd name="connsiteX33" fmla="*/ 7725 w 10000"/>
                    <a:gd name="connsiteY33" fmla="*/ 8983 h 10423"/>
                    <a:gd name="connsiteX34" fmla="*/ 7725 w 10000"/>
                    <a:gd name="connsiteY34" fmla="*/ 9344 h 10423"/>
                    <a:gd name="connsiteX35" fmla="*/ 7633 w 10000"/>
                    <a:gd name="connsiteY35" fmla="*/ 9693 h 10423"/>
                    <a:gd name="connsiteX36" fmla="*/ 7650 w 10000"/>
                    <a:gd name="connsiteY36" fmla="*/ 9898 h 10423"/>
                    <a:gd name="connsiteX37" fmla="*/ 7642 w 10000"/>
                    <a:gd name="connsiteY37" fmla="*/ 9898 h 10423"/>
                    <a:gd name="connsiteX38" fmla="*/ 7541 w 10000"/>
                    <a:gd name="connsiteY38" fmla="*/ 9878 h 10423"/>
                    <a:gd name="connsiteX39" fmla="*/ 7524 w 10000"/>
                    <a:gd name="connsiteY39" fmla="*/ 9781 h 10423"/>
                    <a:gd name="connsiteX40" fmla="*/ 7508 w 10000"/>
                    <a:gd name="connsiteY40" fmla="*/ 9664 h 10423"/>
                    <a:gd name="connsiteX41" fmla="*/ 7541 w 10000"/>
                    <a:gd name="connsiteY41" fmla="*/ 9430 h 10423"/>
                    <a:gd name="connsiteX42" fmla="*/ 7474 w 10000"/>
                    <a:gd name="connsiteY42" fmla="*/ 9430 h 10423"/>
                    <a:gd name="connsiteX43" fmla="*/ 7340 w 10000"/>
                    <a:gd name="connsiteY43" fmla="*/ 9120 h 10423"/>
                    <a:gd name="connsiteX44" fmla="*/ 7157 w 10000"/>
                    <a:gd name="connsiteY44" fmla="*/ 9022 h 10423"/>
                    <a:gd name="connsiteX45" fmla="*/ 7090 w 10000"/>
                    <a:gd name="connsiteY45" fmla="*/ 8419 h 10423"/>
                    <a:gd name="connsiteX46" fmla="*/ 7140 w 10000"/>
                    <a:gd name="connsiteY46" fmla="*/ 7933 h 10423"/>
                    <a:gd name="connsiteX47" fmla="*/ 6805 w 10000"/>
                    <a:gd name="connsiteY47" fmla="*/ 7933 h 10423"/>
                    <a:gd name="connsiteX48" fmla="*/ 6805 w 10000"/>
                    <a:gd name="connsiteY48" fmla="*/ 8108 h 10423"/>
                    <a:gd name="connsiteX49" fmla="*/ 6454 w 10000"/>
                    <a:gd name="connsiteY49" fmla="*/ 8146 h 10423"/>
                    <a:gd name="connsiteX50" fmla="*/ 6621 w 10000"/>
                    <a:gd name="connsiteY50" fmla="*/ 8341 h 10423"/>
                    <a:gd name="connsiteX51" fmla="*/ 6621 w 10000"/>
                    <a:gd name="connsiteY51" fmla="*/ 8614 h 10423"/>
                    <a:gd name="connsiteX52" fmla="*/ 6688 w 10000"/>
                    <a:gd name="connsiteY52" fmla="*/ 8750 h 10423"/>
                    <a:gd name="connsiteX53" fmla="*/ 6337 w 10000"/>
                    <a:gd name="connsiteY53" fmla="*/ 9081 h 10423"/>
                    <a:gd name="connsiteX54" fmla="*/ 6236 w 10000"/>
                    <a:gd name="connsiteY54" fmla="*/ 9314 h 10423"/>
                    <a:gd name="connsiteX55" fmla="*/ 5885 w 10000"/>
                    <a:gd name="connsiteY55" fmla="*/ 9723 h 10423"/>
                    <a:gd name="connsiteX56" fmla="*/ 5617 w 10000"/>
                    <a:gd name="connsiteY56" fmla="*/ 9703 h 10423"/>
                    <a:gd name="connsiteX57" fmla="*/ 5082 w 10000"/>
                    <a:gd name="connsiteY57" fmla="*/ 9314 h 10423"/>
                    <a:gd name="connsiteX58" fmla="*/ 4865 w 10000"/>
                    <a:gd name="connsiteY58" fmla="*/ 9547 h 10423"/>
                    <a:gd name="connsiteX59" fmla="*/ 4848 w 10000"/>
                    <a:gd name="connsiteY59" fmla="*/ 9723 h 10423"/>
                    <a:gd name="connsiteX60" fmla="*/ 4547 w 10000"/>
                    <a:gd name="connsiteY60" fmla="*/ 9762 h 10423"/>
                    <a:gd name="connsiteX61" fmla="*/ 4520 w 10000"/>
                    <a:gd name="connsiteY61" fmla="*/ 9996 h 10423"/>
                    <a:gd name="connsiteX62" fmla="*/ 3931 w 10000"/>
                    <a:gd name="connsiteY62" fmla="*/ 9999 h 10423"/>
                    <a:gd name="connsiteX63" fmla="*/ 3828 w 10000"/>
                    <a:gd name="connsiteY63" fmla="*/ 9859 h 10423"/>
                    <a:gd name="connsiteX64" fmla="*/ 3243 w 10000"/>
                    <a:gd name="connsiteY64" fmla="*/ 9800 h 10423"/>
                    <a:gd name="connsiteX65" fmla="*/ 3125 w 10000"/>
                    <a:gd name="connsiteY65" fmla="*/ 9917 h 10423"/>
                    <a:gd name="connsiteX66" fmla="*/ 2874 w 10000"/>
                    <a:gd name="connsiteY66" fmla="*/ 9859 h 10423"/>
                    <a:gd name="connsiteX67" fmla="*/ 2774 w 10000"/>
                    <a:gd name="connsiteY67" fmla="*/ 9567 h 10423"/>
                    <a:gd name="connsiteX68" fmla="*/ 2623 w 10000"/>
                    <a:gd name="connsiteY68" fmla="*/ 9411 h 10423"/>
                    <a:gd name="connsiteX69" fmla="*/ 2540 w 10000"/>
                    <a:gd name="connsiteY69" fmla="*/ 9236 h 10423"/>
                    <a:gd name="connsiteX70" fmla="*/ 2054 w 10000"/>
                    <a:gd name="connsiteY70" fmla="*/ 9353 h 10423"/>
                    <a:gd name="connsiteX71" fmla="*/ 1971 w 10000"/>
                    <a:gd name="connsiteY71" fmla="*/ 9625 h 10423"/>
                    <a:gd name="connsiteX72" fmla="*/ 1871 w 10000"/>
                    <a:gd name="connsiteY72" fmla="*/ 9664 h 10423"/>
                    <a:gd name="connsiteX73" fmla="*/ 1871 w 10000"/>
                    <a:gd name="connsiteY73" fmla="*/ 9917 h 10423"/>
                    <a:gd name="connsiteX74" fmla="*/ 1770 w 10000"/>
                    <a:gd name="connsiteY74" fmla="*/ 9956 h 10423"/>
                    <a:gd name="connsiteX75" fmla="*/ 1770 w 10000"/>
                    <a:gd name="connsiteY75" fmla="*/ 10112 h 10423"/>
                    <a:gd name="connsiteX76" fmla="*/ 1770 w 10000"/>
                    <a:gd name="connsiteY76" fmla="*/ 10287 h 10423"/>
                    <a:gd name="connsiteX77" fmla="*/ 1537 w 10000"/>
                    <a:gd name="connsiteY77" fmla="*/ 10423 h 10423"/>
                    <a:gd name="connsiteX78" fmla="*/ 1511 w 10000"/>
                    <a:gd name="connsiteY78" fmla="*/ 10423 h 10423"/>
                    <a:gd name="connsiteX79" fmla="*/ 1461 w 10000"/>
                    <a:gd name="connsiteY79" fmla="*/ 10423 h 10423"/>
                    <a:gd name="connsiteX80" fmla="*/ 1076 w 10000"/>
                    <a:gd name="connsiteY80" fmla="*/ 10384 h 10423"/>
                    <a:gd name="connsiteX81" fmla="*/ 1060 w 10000"/>
                    <a:gd name="connsiteY81" fmla="*/ 10228 h 10423"/>
                    <a:gd name="connsiteX82" fmla="*/ 1160 w 10000"/>
                    <a:gd name="connsiteY82" fmla="*/ 9898 h 10423"/>
                    <a:gd name="connsiteX83" fmla="*/ 1160 w 10000"/>
                    <a:gd name="connsiteY83" fmla="*/ 9567 h 10423"/>
                    <a:gd name="connsiteX84" fmla="*/ 934 w 10000"/>
                    <a:gd name="connsiteY84" fmla="*/ 9139 h 10423"/>
                    <a:gd name="connsiteX85" fmla="*/ 658 w 10000"/>
                    <a:gd name="connsiteY85" fmla="*/ 8788 h 10423"/>
                    <a:gd name="connsiteX86" fmla="*/ 616 w 10000"/>
                    <a:gd name="connsiteY86" fmla="*/ 8779 h 10423"/>
                    <a:gd name="connsiteX87" fmla="*/ 691 w 10000"/>
                    <a:gd name="connsiteY87" fmla="*/ 8672 h 10423"/>
                    <a:gd name="connsiteX88" fmla="*/ 599 w 10000"/>
                    <a:gd name="connsiteY88" fmla="*/ 8419 h 10423"/>
                    <a:gd name="connsiteX89" fmla="*/ 466 w 10000"/>
                    <a:gd name="connsiteY89" fmla="*/ 8117 h 10423"/>
                    <a:gd name="connsiteX90" fmla="*/ 407 w 10000"/>
                    <a:gd name="connsiteY90" fmla="*/ 7962 h 10423"/>
                    <a:gd name="connsiteX91" fmla="*/ 373 w 10000"/>
                    <a:gd name="connsiteY91" fmla="*/ 7573 h 10423"/>
                    <a:gd name="connsiteX92" fmla="*/ 148 w 10000"/>
                    <a:gd name="connsiteY92" fmla="*/ 7533 h 10423"/>
                    <a:gd name="connsiteX93" fmla="*/ 64 w 10000"/>
                    <a:gd name="connsiteY93" fmla="*/ 7213 h 10423"/>
                    <a:gd name="connsiteX94" fmla="*/ 223 w 10000"/>
                    <a:gd name="connsiteY94" fmla="*/ 6911 h 10423"/>
                    <a:gd name="connsiteX95" fmla="*/ 198 w 10000"/>
                    <a:gd name="connsiteY95" fmla="*/ 6600 h 10423"/>
                    <a:gd name="connsiteX96" fmla="*/ 415 w 10000"/>
                    <a:gd name="connsiteY96" fmla="*/ 6386 h 10423"/>
                    <a:gd name="connsiteX97" fmla="*/ 348 w 10000"/>
                    <a:gd name="connsiteY97" fmla="*/ 6239 h 10423"/>
                    <a:gd name="connsiteX98" fmla="*/ 382 w 10000"/>
                    <a:gd name="connsiteY98" fmla="*/ 6065 h 10423"/>
                    <a:gd name="connsiteX99" fmla="*/ 474 w 10000"/>
                    <a:gd name="connsiteY99" fmla="*/ 5929 h 10423"/>
                    <a:gd name="connsiteX100" fmla="*/ 666 w 10000"/>
                    <a:gd name="connsiteY100" fmla="*/ 5568 h 10423"/>
                    <a:gd name="connsiteX101" fmla="*/ 674 w 10000"/>
                    <a:gd name="connsiteY101" fmla="*/ 5354 h 10423"/>
                    <a:gd name="connsiteX102" fmla="*/ 1001 w 10000"/>
                    <a:gd name="connsiteY102" fmla="*/ 5258 h 10423"/>
                    <a:gd name="connsiteX103" fmla="*/ 1269 w 10000"/>
                    <a:gd name="connsiteY103" fmla="*/ 5248 h 10423"/>
                    <a:gd name="connsiteX104" fmla="*/ 1185 w 10000"/>
                    <a:gd name="connsiteY104" fmla="*/ 2514 h 10423"/>
                    <a:gd name="connsiteX105" fmla="*/ 1185 w 10000"/>
                    <a:gd name="connsiteY105" fmla="*/ 2514 h 10423"/>
                    <a:gd name="connsiteX106" fmla="*/ 1176 w 10000"/>
                    <a:gd name="connsiteY106" fmla="*/ 2153 h 10423"/>
                    <a:gd name="connsiteX107" fmla="*/ 1770 w 10000"/>
                    <a:gd name="connsiteY107" fmla="*/ 2144 h 10423"/>
                    <a:gd name="connsiteX108" fmla="*/ 1712 w 10000"/>
                    <a:gd name="connsiteY108" fmla="*/ 694 h 10423"/>
                    <a:gd name="connsiteX109" fmla="*/ 5434 w 10000"/>
                    <a:gd name="connsiteY109" fmla="*/ 587 h 10423"/>
                    <a:gd name="connsiteX110" fmla="*/ 5559 w 10000"/>
                    <a:gd name="connsiteY110" fmla="*/ 461 h 10423"/>
                    <a:gd name="connsiteX111" fmla="*/ 5626 w 10000"/>
                    <a:gd name="connsiteY111" fmla="*/ 587 h 10423"/>
                    <a:gd name="connsiteX112" fmla="*/ 6555 w 10000"/>
                    <a:gd name="connsiteY112" fmla="*/ 549 h 10423"/>
                    <a:gd name="connsiteX113" fmla="*/ 6555 w 10000"/>
                    <a:gd name="connsiteY113" fmla="*/ 549 h 10423"/>
                    <a:gd name="connsiteX114" fmla="*/ 7081 w 10000"/>
                    <a:gd name="connsiteY114" fmla="*/ 529 h 10423"/>
                    <a:gd name="connsiteX115" fmla="*/ 7657 w 10000"/>
                    <a:gd name="connsiteY115" fmla="*/ 253 h 10423"/>
                    <a:gd name="connsiteX116" fmla="*/ 8327 w 10000"/>
                    <a:gd name="connsiteY116" fmla="*/ 163 h 10423"/>
                    <a:gd name="connsiteX117" fmla="*/ 8695 w 10000"/>
                    <a:gd name="connsiteY117" fmla="*/ 461 h 10423"/>
                    <a:gd name="connsiteX118" fmla="*/ 8695 w 10000"/>
                    <a:gd name="connsiteY118" fmla="*/ 461 h 10423"/>
                    <a:gd name="connsiteX119" fmla="*/ 8728 w 10000"/>
                    <a:gd name="connsiteY119" fmla="*/ 568 h 10423"/>
                    <a:gd name="connsiteX120" fmla="*/ 8771 w 10000"/>
                    <a:gd name="connsiteY120" fmla="*/ 811 h 10423"/>
                    <a:gd name="connsiteX121" fmla="*/ 8954 w 10000"/>
                    <a:gd name="connsiteY121" fmla="*/ 1035 h 10423"/>
                    <a:gd name="connsiteX122" fmla="*/ 8954 w 10000"/>
                    <a:gd name="connsiteY122" fmla="*/ 1113 h 10423"/>
                    <a:gd name="connsiteX0" fmla="*/ 8954 w 10000"/>
                    <a:gd name="connsiteY0" fmla="*/ 1161 h 10471"/>
                    <a:gd name="connsiteX1" fmla="*/ 8996 w 10000"/>
                    <a:gd name="connsiteY1" fmla="*/ 1530 h 10471"/>
                    <a:gd name="connsiteX2" fmla="*/ 9072 w 10000"/>
                    <a:gd name="connsiteY2" fmla="*/ 2182 h 10471"/>
                    <a:gd name="connsiteX3" fmla="*/ 9189 w 10000"/>
                    <a:gd name="connsiteY3" fmla="*/ 2688 h 10471"/>
                    <a:gd name="connsiteX4" fmla="*/ 9272 w 10000"/>
                    <a:gd name="connsiteY4" fmla="*/ 2864 h 10471"/>
                    <a:gd name="connsiteX5" fmla="*/ 9465 w 10000"/>
                    <a:gd name="connsiteY5" fmla="*/ 2970 h 10471"/>
                    <a:gd name="connsiteX6" fmla="*/ 9624 w 10000"/>
                    <a:gd name="connsiteY6" fmla="*/ 3048 h 10471"/>
                    <a:gd name="connsiteX7" fmla="*/ 9699 w 10000"/>
                    <a:gd name="connsiteY7" fmla="*/ 3175 h 10471"/>
                    <a:gd name="connsiteX8" fmla="*/ 9774 w 10000"/>
                    <a:gd name="connsiteY8" fmla="*/ 3213 h 10471"/>
                    <a:gd name="connsiteX9" fmla="*/ 9875 w 10000"/>
                    <a:gd name="connsiteY9" fmla="*/ 3243 h 10471"/>
                    <a:gd name="connsiteX10" fmla="*/ 9917 w 10000"/>
                    <a:gd name="connsiteY10" fmla="*/ 3349 h 10471"/>
                    <a:gd name="connsiteX11" fmla="*/ 10000 w 10000"/>
                    <a:gd name="connsiteY11" fmla="*/ 3418 h 10471"/>
                    <a:gd name="connsiteX12" fmla="*/ 10000 w 10000"/>
                    <a:gd name="connsiteY12" fmla="*/ 3418 h 10471"/>
                    <a:gd name="connsiteX13" fmla="*/ 9849 w 10000"/>
                    <a:gd name="connsiteY13" fmla="*/ 3710 h 10471"/>
                    <a:gd name="connsiteX14" fmla="*/ 9749 w 10000"/>
                    <a:gd name="connsiteY14" fmla="*/ 3807 h 10471"/>
                    <a:gd name="connsiteX15" fmla="*/ 9556 w 10000"/>
                    <a:gd name="connsiteY15" fmla="*/ 3826 h 10471"/>
                    <a:gd name="connsiteX16" fmla="*/ 9406 w 10000"/>
                    <a:gd name="connsiteY16" fmla="*/ 3972 h 10471"/>
                    <a:gd name="connsiteX17" fmla="*/ 9189 w 10000"/>
                    <a:gd name="connsiteY17" fmla="*/ 4167 h 10471"/>
                    <a:gd name="connsiteX18" fmla="*/ 9122 w 10000"/>
                    <a:gd name="connsiteY18" fmla="*/ 4371 h 10471"/>
                    <a:gd name="connsiteX19" fmla="*/ 9097 w 10000"/>
                    <a:gd name="connsiteY19" fmla="*/ 4800 h 10471"/>
                    <a:gd name="connsiteX20" fmla="*/ 8971 w 10000"/>
                    <a:gd name="connsiteY20" fmla="*/ 5218 h 10471"/>
                    <a:gd name="connsiteX21" fmla="*/ 8863 w 10000"/>
                    <a:gd name="connsiteY21" fmla="*/ 5578 h 10471"/>
                    <a:gd name="connsiteX22" fmla="*/ 8946 w 10000"/>
                    <a:gd name="connsiteY22" fmla="*/ 6132 h 10471"/>
                    <a:gd name="connsiteX23" fmla="*/ 8963 w 10000"/>
                    <a:gd name="connsiteY23" fmla="*/ 6230 h 10471"/>
                    <a:gd name="connsiteX24" fmla="*/ 8946 w 10000"/>
                    <a:gd name="connsiteY24" fmla="*/ 6550 h 10471"/>
                    <a:gd name="connsiteX25" fmla="*/ 8829 w 10000"/>
                    <a:gd name="connsiteY25" fmla="*/ 6891 h 10471"/>
                    <a:gd name="connsiteX26" fmla="*/ 8796 w 10000"/>
                    <a:gd name="connsiteY26" fmla="*/ 7368 h 10471"/>
                    <a:gd name="connsiteX27" fmla="*/ 8503 w 10000"/>
                    <a:gd name="connsiteY27" fmla="*/ 7485 h 10471"/>
                    <a:gd name="connsiteX28" fmla="*/ 8344 w 10000"/>
                    <a:gd name="connsiteY28" fmla="*/ 7825 h 10471"/>
                    <a:gd name="connsiteX29" fmla="*/ 8160 w 10000"/>
                    <a:gd name="connsiteY29" fmla="*/ 8136 h 10471"/>
                    <a:gd name="connsiteX30" fmla="*/ 8143 w 10000"/>
                    <a:gd name="connsiteY30" fmla="*/ 8593 h 10471"/>
                    <a:gd name="connsiteX31" fmla="*/ 8093 w 10000"/>
                    <a:gd name="connsiteY31" fmla="*/ 8836 h 10471"/>
                    <a:gd name="connsiteX32" fmla="*/ 7943 w 10000"/>
                    <a:gd name="connsiteY32" fmla="*/ 8788 h 10471"/>
                    <a:gd name="connsiteX33" fmla="*/ 7725 w 10000"/>
                    <a:gd name="connsiteY33" fmla="*/ 9031 h 10471"/>
                    <a:gd name="connsiteX34" fmla="*/ 7725 w 10000"/>
                    <a:gd name="connsiteY34" fmla="*/ 9392 h 10471"/>
                    <a:gd name="connsiteX35" fmla="*/ 7633 w 10000"/>
                    <a:gd name="connsiteY35" fmla="*/ 9741 h 10471"/>
                    <a:gd name="connsiteX36" fmla="*/ 7650 w 10000"/>
                    <a:gd name="connsiteY36" fmla="*/ 9946 h 10471"/>
                    <a:gd name="connsiteX37" fmla="*/ 7642 w 10000"/>
                    <a:gd name="connsiteY37" fmla="*/ 9946 h 10471"/>
                    <a:gd name="connsiteX38" fmla="*/ 7541 w 10000"/>
                    <a:gd name="connsiteY38" fmla="*/ 9926 h 10471"/>
                    <a:gd name="connsiteX39" fmla="*/ 7524 w 10000"/>
                    <a:gd name="connsiteY39" fmla="*/ 9829 h 10471"/>
                    <a:gd name="connsiteX40" fmla="*/ 7508 w 10000"/>
                    <a:gd name="connsiteY40" fmla="*/ 9712 h 10471"/>
                    <a:gd name="connsiteX41" fmla="*/ 7541 w 10000"/>
                    <a:gd name="connsiteY41" fmla="*/ 9478 h 10471"/>
                    <a:gd name="connsiteX42" fmla="*/ 7474 w 10000"/>
                    <a:gd name="connsiteY42" fmla="*/ 9478 h 10471"/>
                    <a:gd name="connsiteX43" fmla="*/ 7340 w 10000"/>
                    <a:gd name="connsiteY43" fmla="*/ 9168 h 10471"/>
                    <a:gd name="connsiteX44" fmla="*/ 7157 w 10000"/>
                    <a:gd name="connsiteY44" fmla="*/ 9070 h 10471"/>
                    <a:gd name="connsiteX45" fmla="*/ 7090 w 10000"/>
                    <a:gd name="connsiteY45" fmla="*/ 8467 h 10471"/>
                    <a:gd name="connsiteX46" fmla="*/ 7140 w 10000"/>
                    <a:gd name="connsiteY46" fmla="*/ 7981 h 10471"/>
                    <a:gd name="connsiteX47" fmla="*/ 6805 w 10000"/>
                    <a:gd name="connsiteY47" fmla="*/ 7981 h 10471"/>
                    <a:gd name="connsiteX48" fmla="*/ 6805 w 10000"/>
                    <a:gd name="connsiteY48" fmla="*/ 8156 h 10471"/>
                    <a:gd name="connsiteX49" fmla="*/ 6454 w 10000"/>
                    <a:gd name="connsiteY49" fmla="*/ 8194 h 10471"/>
                    <a:gd name="connsiteX50" fmla="*/ 6621 w 10000"/>
                    <a:gd name="connsiteY50" fmla="*/ 8389 h 10471"/>
                    <a:gd name="connsiteX51" fmla="*/ 6621 w 10000"/>
                    <a:gd name="connsiteY51" fmla="*/ 8662 h 10471"/>
                    <a:gd name="connsiteX52" fmla="*/ 6688 w 10000"/>
                    <a:gd name="connsiteY52" fmla="*/ 8798 h 10471"/>
                    <a:gd name="connsiteX53" fmla="*/ 6337 w 10000"/>
                    <a:gd name="connsiteY53" fmla="*/ 9129 h 10471"/>
                    <a:gd name="connsiteX54" fmla="*/ 6236 w 10000"/>
                    <a:gd name="connsiteY54" fmla="*/ 9362 h 10471"/>
                    <a:gd name="connsiteX55" fmla="*/ 5885 w 10000"/>
                    <a:gd name="connsiteY55" fmla="*/ 9771 h 10471"/>
                    <a:gd name="connsiteX56" fmla="*/ 5617 w 10000"/>
                    <a:gd name="connsiteY56" fmla="*/ 9751 h 10471"/>
                    <a:gd name="connsiteX57" fmla="*/ 5082 w 10000"/>
                    <a:gd name="connsiteY57" fmla="*/ 9362 h 10471"/>
                    <a:gd name="connsiteX58" fmla="*/ 4865 w 10000"/>
                    <a:gd name="connsiteY58" fmla="*/ 9595 h 10471"/>
                    <a:gd name="connsiteX59" fmla="*/ 4848 w 10000"/>
                    <a:gd name="connsiteY59" fmla="*/ 9771 h 10471"/>
                    <a:gd name="connsiteX60" fmla="*/ 4547 w 10000"/>
                    <a:gd name="connsiteY60" fmla="*/ 9810 h 10471"/>
                    <a:gd name="connsiteX61" fmla="*/ 4520 w 10000"/>
                    <a:gd name="connsiteY61" fmla="*/ 10044 h 10471"/>
                    <a:gd name="connsiteX62" fmla="*/ 3931 w 10000"/>
                    <a:gd name="connsiteY62" fmla="*/ 10047 h 10471"/>
                    <a:gd name="connsiteX63" fmla="*/ 3828 w 10000"/>
                    <a:gd name="connsiteY63" fmla="*/ 9907 h 10471"/>
                    <a:gd name="connsiteX64" fmla="*/ 3243 w 10000"/>
                    <a:gd name="connsiteY64" fmla="*/ 9848 h 10471"/>
                    <a:gd name="connsiteX65" fmla="*/ 3125 w 10000"/>
                    <a:gd name="connsiteY65" fmla="*/ 9965 h 10471"/>
                    <a:gd name="connsiteX66" fmla="*/ 2874 w 10000"/>
                    <a:gd name="connsiteY66" fmla="*/ 9907 h 10471"/>
                    <a:gd name="connsiteX67" fmla="*/ 2774 w 10000"/>
                    <a:gd name="connsiteY67" fmla="*/ 9615 h 10471"/>
                    <a:gd name="connsiteX68" fmla="*/ 2623 w 10000"/>
                    <a:gd name="connsiteY68" fmla="*/ 9459 h 10471"/>
                    <a:gd name="connsiteX69" fmla="*/ 2540 w 10000"/>
                    <a:gd name="connsiteY69" fmla="*/ 9284 h 10471"/>
                    <a:gd name="connsiteX70" fmla="*/ 2054 w 10000"/>
                    <a:gd name="connsiteY70" fmla="*/ 9401 h 10471"/>
                    <a:gd name="connsiteX71" fmla="*/ 1971 w 10000"/>
                    <a:gd name="connsiteY71" fmla="*/ 9673 h 10471"/>
                    <a:gd name="connsiteX72" fmla="*/ 1871 w 10000"/>
                    <a:gd name="connsiteY72" fmla="*/ 9712 h 10471"/>
                    <a:gd name="connsiteX73" fmla="*/ 1871 w 10000"/>
                    <a:gd name="connsiteY73" fmla="*/ 9965 h 10471"/>
                    <a:gd name="connsiteX74" fmla="*/ 1770 w 10000"/>
                    <a:gd name="connsiteY74" fmla="*/ 10004 h 10471"/>
                    <a:gd name="connsiteX75" fmla="*/ 1770 w 10000"/>
                    <a:gd name="connsiteY75" fmla="*/ 10160 h 10471"/>
                    <a:gd name="connsiteX76" fmla="*/ 1770 w 10000"/>
                    <a:gd name="connsiteY76" fmla="*/ 10335 h 10471"/>
                    <a:gd name="connsiteX77" fmla="*/ 1537 w 10000"/>
                    <a:gd name="connsiteY77" fmla="*/ 10471 h 10471"/>
                    <a:gd name="connsiteX78" fmla="*/ 1511 w 10000"/>
                    <a:gd name="connsiteY78" fmla="*/ 10471 h 10471"/>
                    <a:gd name="connsiteX79" fmla="*/ 1461 w 10000"/>
                    <a:gd name="connsiteY79" fmla="*/ 10471 h 10471"/>
                    <a:gd name="connsiteX80" fmla="*/ 1076 w 10000"/>
                    <a:gd name="connsiteY80" fmla="*/ 10432 h 10471"/>
                    <a:gd name="connsiteX81" fmla="*/ 1060 w 10000"/>
                    <a:gd name="connsiteY81" fmla="*/ 10276 h 10471"/>
                    <a:gd name="connsiteX82" fmla="*/ 1160 w 10000"/>
                    <a:gd name="connsiteY82" fmla="*/ 9946 h 10471"/>
                    <a:gd name="connsiteX83" fmla="*/ 1160 w 10000"/>
                    <a:gd name="connsiteY83" fmla="*/ 9615 h 10471"/>
                    <a:gd name="connsiteX84" fmla="*/ 934 w 10000"/>
                    <a:gd name="connsiteY84" fmla="*/ 9187 h 10471"/>
                    <a:gd name="connsiteX85" fmla="*/ 658 w 10000"/>
                    <a:gd name="connsiteY85" fmla="*/ 8836 h 10471"/>
                    <a:gd name="connsiteX86" fmla="*/ 616 w 10000"/>
                    <a:gd name="connsiteY86" fmla="*/ 8827 h 10471"/>
                    <a:gd name="connsiteX87" fmla="*/ 691 w 10000"/>
                    <a:gd name="connsiteY87" fmla="*/ 8720 h 10471"/>
                    <a:gd name="connsiteX88" fmla="*/ 599 w 10000"/>
                    <a:gd name="connsiteY88" fmla="*/ 8467 h 10471"/>
                    <a:gd name="connsiteX89" fmla="*/ 466 w 10000"/>
                    <a:gd name="connsiteY89" fmla="*/ 8165 h 10471"/>
                    <a:gd name="connsiteX90" fmla="*/ 407 w 10000"/>
                    <a:gd name="connsiteY90" fmla="*/ 8010 h 10471"/>
                    <a:gd name="connsiteX91" fmla="*/ 373 w 10000"/>
                    <a:gd name="connsiteY91" fmla="*/ 7621 h 10471"/>
                    <a:gd name="connsiteX92" fmla="*/ 148 w 10000"/>
                    <a:gd name="connsiteY92" fmla="*/ 7581 h 10471"/>
                    <a:gd name="connsiteX93" fmla="*/ 64 w 10000"/>
                    <a:gd name="connsiteY93" fmla="*/ 7261 h 10471"/>
                    <a:gd name="connsiteX94" fmla="*/ 223 w 10000"/>
                    <a:gd name="connsiteY94" fmla="*/ 6959 h 10471"/>
                    <a:gd name="connsiteX95" fmla="*/ 198 w 10000"/>
                    <a:gd name="connsiteY95" fmla="*/ 6648 h 10471"/>
                    <a:gd name="connsiteX96" fmla="*/ 415 w 10000"/>
                    <a:gd name="connsiteY96" fmla="*/ 6434 h 10471"/>
                    <a:gd name="connsiteX97" fmla="*/ 348 w 10000"/>
                    <a:gd name="connsiteY97" fmla="*/ 6287 h 10471"/>
                    <a:gd name="connsiteX98" fmla="*/ 382 w 10000"/>
                    <a:gd name="connsiteY98" fmla="*/ 6113 h 10471"/>
                    <a:gd name="connsiteX99" fmla="*/ 474 w 10000"/>
                    <a:gd name="connsiteY99" fmla="*/ 5977 h 10471"/>
                    <a:gd name="connsiteX100" fmla="*/ 666 w 10000"/>
                    <a:gd name="connsiteY100" fmla="*/ 5616 h 10471"/>
                    <a:gd name="connsiteX101" fmla="*/ 674 w 10000"/>
                    <a:gd name="connsiteY101" fmla="*/ 5402 h 10471"/>
                    <a:gd name="connsiteX102" fmla="*/ 1001 w 10000"/>
                    <a:gd name="connsiteY102" fmla="*/ 5306 h 10471"/>
                    <a:gd name="connsiteX103" fmla="*/ 1269 w 10000"/>
                    <a:gd name="connsiteY103" fmla="*/ 5296 h 10471"/>
                    <a:gd name="connsiteX104" fmla="*/ 1185 w 10000"/>
                    <a:gd name="connsiteY104" fmla="*/ 2562 h 10471"/>
                    <a:gd name="connsiteX105" fmla="*/ 1185 w 10000"/>
                    <a:gd name="connsiteY105" fmla="*/ 2562 h 10471"/>
                    <a:gd name="connsiteX106" fmla="*/ 1176 w 10000"/>
                    <a:gd name="connsiteY106" fmla="*/ 2201 h 10471"/>
                    <a:gd name="connsiteX107" fmla="*/ 1770 w 10000"/>
                    <a:gd name="connsiteY107" fmla="*/ 2192 h 10471"/>
                    <a:gd name="connsiteX108" fmla="*/ 1712 w 10000"/>
                    <a:gd name="connsiteY108" fmla="*/ 742 h 10471"/>
                    <a:gd name="connsiteX109" fmla="*/ 5434 w 10000"/>
                    <a:gd name="connsiteY109" fmla="*/ 635 h 10471"/>
                    <a:gd name="connsiteX110" fmla="*/ 5559 w 10000"/>
                    <a:gd name="connsiteY110" fmla="*/ 509 h 10471"/>
                    <a:gd name="connsiteX111" fmla="*/ 5626 w 10000"/>
                    <a:gd name="connsiteY111" fmla="*/ 635 h 10471"/>
                    <a:gd name="connsiteX112" fmla="*/ 6555 w 10000"/>
                    <a:gd name="connsiteY112" fmla="*/ 597 h 10471"/>
                    <a:gd name="connsiteX113" fmla="*/ 6555 w 10000"/>
                    <a:gd name="connsiteY113" fmla="*/ 597 h 10471"/>
                    <a:gd name="connsiteX114" fmla="*/ 7081 w 10000"/>
                    <a:gd name="connsiteY114" fmla="*/ 577 h 10471"/>
                    <a:gd name="connsiteX115" fmla="*/ 7657 w 10000"/>
                    <a:gd name="connsiteY115" fmla="*/ 301 h 10471"/>
                    <a:gd name="connsiteX116" fmla="*/ 7837 w 10000"/>
                    <a:gd name="connsiteY116" fmla="*/ 1 h 10471"/>
                    <a:gd name="connsiteX117" fmla="*/ 8327 w 10000"/>
                    <a:gd name="connsiteY117" fmla="*/ 211 h 10471"/>
                    <a:gd name="connsiteX118" fmla="*/ 8695 w 10000"/>
                    <a:gd name="connsiteY118" fmla="*/ 509 h 10471"/>
                    <a:gd name="connsiteX119" fmla="*/ 8695 w 10000"/>
                    <a:gd name="connsiteY119" fmla="*/ 509 h 10471"/>
                    <a:gd name="connsiteX120" fmla="*/ 8728 w 10000"/>
                    <a:gd name="connsiteY120" fmla="*/ 616 h 10471"/>
                    <a:gd name="connsiteX121" fmla="*/ 8771 w 10000"/>
                    <a:gd name="connsiteY121" fmla="*/ 859 h 10471"/>
                    <a:gd name="connsiteX122" fmla="*/ 8954 w 10000"/>
                    <a:gd name="connsiteY122" fmla="*/ 1083 h 10471"/>
                    <a:gd name="connsiteX123" fmla="*/ 8954 w 10000"/>
                    <a:gd name="connsiteY123" fmla="*/ 1161 h 10471"/>
                    <a:gd name="connsiteX0" fmla="*/ 8954 w 10000"/>
                    <a:gd name="connsiteY0" fmla="*/ 1315 h 10625"/>
                    <a:gd name="connsiteX1" fmla="*/ 8996 w 10000"/>
                    <a:gd name="connsiteY1" fmla="*/ 1684 h 10625"/>
                    <a:gd name="connsiteX2" fmla="*/ 9072 w 10000"/>
                    <a:gd name="connsiteY2" fmla="*/ 2336 h 10625"/>
                    <a:gd name="connsiteX3" fmla="*/ 9189 w 10000"/>
                    <a:gd name="connsiteY3" fmla="*/ 2842 h 10625"/>
                    <a:gd name="connsiteX4" fmla="*/ 9272 w 10000"/>
                    <a:gd name="connsiteY4" fmla="*/ 3018 h 10625"/>
                    <a:gd name="connsiteX5" fmla="*/ 9465 w 10000"/>
                    <a:gd name="connsiteY5" fmla="*/ 3124 h 10625"/>
                    <a:gd name="connsiteX6" fmla="*/ 9624 w 10000"/>
                    <a:gd name="connsiteY6" fmla="*/ 3202 h 10625"/>
                    <a:gd name="connsiteX7" fmla="*/ 9699 w 10000"/>
                    <a:gd name="connsiteY7" fmla="*/ 3329 h 10625"/>
                    <a:gd name="connsiteX8" fmla="*/ 9774 w 10000"/>
                    <a:gd name="connsiteY8" fmla="*/ 3367 h 10625"/>
                    <a:gd name="connsiteX9" fmla="*/ 9875 w 10000"/>
                    <a:gd name="connsiteY9" fmla="*/ 3397 h 10625"/>
                    <a:gd name="connsiteX10" fmla="*/ 9917 w 10000"/>
                    <a:gd name="connsiteY10" fmla="*/ 3503 h 10625"/>
                    <a:gd name="connsiteX11" fmla="*/ 10000 w 10000"/>
                    <a:gd name="connsiteY11" fmla="*/ 3572 h 10625"/>
                    <a:gd name="connsiteX12" fmla="*/ 10000 w 10000"/>
                    <a:gd name="connsiteY12" fmla="*/ 3572 h 10625"/>
                    <a:gd name="connsiteX13" fmla="*/ 9849 w 10000"/>
                    <a:gd name="connsiteY13" fmla="*/ 3864 h 10625"/>
                    <a:gd name="connsiteX14" fmla="*/ 9749 w 10000"/>
                    <a:gd name="connsiteY14" fmla="*/ 3961 h 10625"/>
                    <a:gd name="connsiteX15" fmla="*/ 9556 w 10000"/>
                    <a:gd name="connsiteY15" fmla="*/ 3980 h 10625"/>
                    <a:gd name="connsiteX16" fmla="*/ 9406 w 10000"/>
                    <a:gd name="connsiteY16" fmla="*/ 4126 h 10625"/>
                    <a:gd name="connsiteX17" fmla="*/ 9189 w 10000"/>
                    <a:gd name="connsiteY17" fmla="*/ 4321 h 10625"/>
                    <a:gd name="connsiteX18" fmla="*/ 9122 w 10000"/>
                    <a:gd name="connsiteY18" fmla="*/ 4525 h 10625"/>
                    <a:gd name="connsiteX19" fmla="*/ 9097 w 10000"/>
                    <a:gd name="connsiteY19" fmla="*/ 4954 h 10625"/>
                    <a:gd name="connsiteX20" fmla="*/ 8971 w 10000"/>
                    <a:gd name="connsiteY20" fmla="*/ 5372 h 10625"/>
                    <a:gd name="connsiteX21" fmla="*/ 8863 w 10000"/>
                    <a:gd name="connsiteY21" fmla="*/ 5732 h 10625"/>
                    <a:gd name="connsiteX22" fmla="*/ 8946 w 10000"/>
                    <a:gd name="connsiteY22" fmla="*/ 6286 h 10625"/>
                    <a:gd name="connsiteX23" fmla="*/ 8963 w 10000"/>
                    <a:gd name="connsiteY23" fmla="*/ 6384 h 10625"/>
                    <a:gd name="connsiteX24" fmla="*/ 8946 w 10000"/>
                    <a:gd name="connsiteY24" fmla="*/ 6704 h 10625"/>
                    <a:gd name="connsiteX25" fmla="*/ 8829 w 10000"/>
                    <a:gd name="connsiteY25" fmla="*/ 7045 h 10625"/>
                    <a:gd name="connsiteX26" fmla="*/ 8796 w 10000"/>
                    <a:gd name="connsiteY26" fmla="*/ 7522 h 10625"/>
                    <a:gd name="connsiteX27" fmla="*/ 8503 w 10000"/>
                    <a:gd name="connsiteY27" fmla="*/ 7639 h 10625"/>
                    <a:gd name="connsiteX28" fmla="*/ 8344 w 10000"/>
                    <a:gd name="connsiteY28" fmla="*/ 7979 h 10625"/>
                    <a:gd name="connsiteX29" fmla="*/ 8160 w 10000"/>
                    <a:gd name="connsiteY29" fmla="*/ 8290 h 10625"/>
                    <a:gd name="connsiteX30" fmla="*/ 8143 w 10000"/>
                    <a:gd name="connsiteY30" fmla="*/ 8747 h 10625"/>
                    <a:gd name="connsiteX31" fmla="*/ 8093 w 10000"/>
                    <a:gd name="connsiteY31" fmla="*/ 8990 h 10625"/>
                    <a:gd name="connsiteX32" fmla="*/ 7943 w 10000"/>
                    <a:gd name="connsiteY32" fmla="*/ 8942 h 10625"/>
                    <a:gd name="connsiteX33" fmla="*/ 7725 w 10000"/>
                    <a:gd name="connsiteY33" fmla="*/ 9185 h 10625"/>
                    <a:gd name="connsiteX34" fmla="*/ 7725 w 10000"/>
                    <a:gd name="connsiteY34" fmla="*/ 9546 h 10625"/>
                    <a:gd name="connsiteX35" fmla="*/ 7633 w 10000"/>
                    <a:gd name="connsiteY35" fmla="*/ 9895 h 10625"/>
                    <a:gd name="connsiteX36" fmla="*/ 7650 w 10000"/>
                    <a:gd name="connsiteY36" fmla="*/ 10100 h 10625"/>
                    <a:gd name="connsiteX37" fmla="*/ 7642 w 10000"/>
                    <a:gd name="connsiteY37" fmla="*/ 10100 h 10625"/>
                    <a:gd name="connsiteX38" fmla="*/ 7541 w 10000"/>
                    <a:gd name="connsiteY38" fmla="*/ 10080 h 10625"/>
                    <a:gd name="connsiteX39" fmla="*/ 7524 w 10000"/>
                    <a:gd name="connsiteY39" fmla="*/ 9983 h 10625"/>
                    <a:gd name="connsiteX40" fmla="*/ 7508 w 10000"/>
                    <a:gd name="connsiteY40" fmla="*/ 9866 h 10625"/>
                    <a:gd name="connsiteX41" fmla="*/ 7541 w 10000"/>
                    <a:gd name="connsiteY41" fmla="*/ 9632 h 10625"/>
                    <a:gd name="connsiteX42" fmla="*/ 7474 w 10000"/>
                    <a:gd name="connsiteY42" fmla="*/ 9632 h 10625"/>
                    <a:gd name="connsiteX43" fmla="*/ 7340 w 10000"/>
                    <a:gd name="connsiteY43" fmla="*/ 9322 h 10625"/>
                    <a:gd name="connsiteX44" fmla="*/ 7157 w 10000"/>
                    <a:gd name="connsiteY44" fmla="*/ 9224 h 10625"/>
                    <a:gd name="connsiteX45" fmla="*/ 7090 w 10000"/>
                    <a:gd name="connsiteY45" fmla="*/ 8621 h 10625"/>
                    <a:gd name="connsiteX46" fmla="*/ 7140 w 10000"/>
                    <a:gd name="connsiteY46" fmla="*/ 8135 h 10625"/>
                    <a:gd name="connsiteX47" fmla="*/ 6805 w 10000"/>
                    <a:gd name="connsiteY47" fmla="*/ 8135 h 10625"/>
                    <a:gd name="connsiteX48" fmla="*/ 6805 w 10000"/>
                    <a:gd name="connsiteY48" fmla="*/ 8310 h 10625"/>
                    <a:gd name="connsiteX49" fmla="*/ 6454 w 10000"/>
                    <a:gd name="connsiteY49" fmla="*/ 8348 h 10625"/>
                    <a:gd name="connsiteX50" fmla="*/ 6621 w 10000"/>
                    <a:gd name="connsiteY50" fmla="*/ 8543 h 10625"/>
                    <a:gd name="connsiteX51" fmla="*/ 6621 w 10000"/>
                    <a:gd name="connsiteY51" fmla="*/ 8816 h 10625"/>
                    <a:gd name="connsiteX52" fmla="*/ 6688 w 10000"/>
                    <a:gd name="connsiteY52" fmla="*/ 8952 h 10625"/>
                    <a:gd name="connsiteX53" fmla="*/ 6337 w 10000"/>
                    <a:gd name="connsiteY53" fmla="*/ 9283 h 10625"/>
                    <a:gd name="connsiteX54" fmla="*/ 6236 w 10000"/>
                    <a:gd name="connsiteY54" fmla="*/ 9516 h 10625"/>
                    <a:gd name="connsiteX55" fmla="*/ 5885 w 10000"/>
                    <a:gd name="connsiteY55" fmla="*/ 9925 h 10625"/>
                    <a:gd name="connsiteX56" fmla="*/ 5617 w 10000"/>
                    <a:gd name="connsiteY56" fmla="*/ 9905 h 10625"/>
                    <a:gd name="connsiteX57" fmla="*/ 5082 w 10000"/>
                    <a:gd name="connsiteY57" fmla="*/ 9516 h 10625"/>
                    <a:gd name="connsiteX58" fmla="*/ 4865 w 10000"/>
                    <a:gd name="connsiteY58" fmla="*/ 9749 h 10625"/>
                    <a:gd name="connsiteX59" fmla="*/ 4848 w 10000"/>
                    <a:gd name="connsiteY59" fmla="*/ 9925 h 10625"/>
                    <a:gd name="connsiteX60" fmla="*/ 4547 w 10000"/>
                    <a:gd name="connsiteY60" fmla="*/ 9964 h 10625"/>
                    <a:gd name="connsiteX61" fmla="*/ 4520 w 10000"/>
                    <a:gd name="connsiteY61" fmla="*/ 10198 h 10625"/>
                    <a:gd name="connsiteX62" fmla="*/ 3931 w 10000"/>
                    <a:gd name="connsiteY62" fmla="*/ 10201 h 10625"/>
                    <a:gd name="connsiteX63" fmla="*/ 3828 w 10000"/>
                    <a:gd name="connsiteY63" fmla="*/ 10061 h 10625"/>
                    <a:gd name="connsiteX64" fmla="*/ 3243 w 10000"/>
                    <a:gd name="connsiteY64" fmla="*/ 10002 h 10625"/>
                    <a:gd name="connsiteX65" fmla="*/ 3125 w 10000"/>
                    <a:gd name="connsiteY65" fmla="*/ 10119 h 10625"/>
                    <a:gd name="connsiteX66" fmla="*/ 2874 w 10000"/>
                    <a:gd name="connsiteY66" fmla="*/ 10061 h 10625"/>
                    <a:gd name="connsiteX67" fmla="*/ 2774 w 10000"/>
                    <a:gd name="connsiteY67" fmla="*/ 9769 h 10625"/>
                    <a:gd name="connsiteX68" fmla="*/ 2623 w 10000"/>
                    <a:gd name="connsiteY68" fmla="*/ 9613 h 10625"/>
                    <a:gd name="connsiteX69" fmla="*/ 2540 w 10000"/>
                    <a:gd name="connsiteY69" fmla="*/ 9438 h 10625"/>
                    <a:gd name="connsiteX70" fmla="*/ 2054 w 10000"/>
                    <a:gd name="connsiteY70" fmla="*/ 9555 h 10625"/>
                    <a:gd name="connsiteX71" fmla="*/ 1971 w 10000"/>
                    <a:gd name="connsiteY71" fmla="*/ 9827 h 10625"/>
                    <a:gd name="connsiteX72" fmla="*/ 1871 w 10000"/>
                    <a:gd name="connsiteY72" fmla="*/ 9866 h 10625"/>
                    <a:gd name="connsiteX73" fmla="*/ 1871 w 10000"/>
                    <a:gd name="connsiteY73" fmla="*/ 10119 h 10625"/>
                    <a:gd name="connsiteX74" fmla="*/ 1770 w 10000"/>
                    <a:gd name="connsiteY74" fmla="*/ 10158 h 10625"/>
                    <a:gd name="connsiteX75" fmla="*/ 1770 w 10000"/>
                    <a:gd name="connsiteY75" fmla="*/ 10314 h 10625"/>
                    <a:gd name="connsiteX76" fmla="*/ 1770 w 10000"/>
                    <a:gd name="connsiteY76" fmla="*/ 10489 h 10625"/>
                    <a:gd name="connsiteX77" fmla="*/ 1537 w 10000"/>
                    <a:gd name="connsiteY77" fmla="*/ 10625 h 10625"/>
                    <a:gd name="connsiteX78" fmla="*/ 1511 w 10000"/>
                    <a:gd name="connsiteY78" fmla="*/ 10625 h 10625"/>
                    <a:gd name="connsiteX79" fmla="*/ 1461 w 10000"/>
                    <a:gd name="connsiteY79" fmla="*/ 10625 h 10625"/>
                    <a:gd name="connsiteX80" fmla="*/ 1076 w 10000"/>
                    <a:gd name="connsiteY80" fmla="*/ 10586 h 10625"/>
                    <a:gd name="connsiteX81" fmla="*/ 1060 w 10000"/>
                    <a:gd name="connsiteY81" fmla="*/ 10430 h 10625"/>
                    <a:gd name="connsiteX82" fmla="*/ 1160 w 10000"/>
                    <a:gd name="connsiteY82" fmla="*/ 10100 h 10625"/>
                    <a:gd name="connsiteX83" fmla="*/ 1160 w 10000"/>
                    <a:gd name="connsiteY83" fmla="*/ 9769 h 10625"/>
                    <a:gd name="connsiteX84" fmla="*/ 934 w 10000"/>
                    <a:gd name="connsiteY84" fmla="*/ 9341 h 10625"/>
                    <a:gd name="connsiteX85" fmla="*/ 658 w 10000"/>
                    <a:gd name="connsiteY85" fmla="*/ 8990 h 10625"/>
                    <a:gd name="connsiteX86" fmla="*/ 616 w 10000"/>
                    <a:gd name="connsiteY86" fmla="*/ 8981 h 10625"/>
                    <a:gd name="connsiteX87" fmla="*/ 691 w 10000"/>
                    <a:gd name="connsiteY87" fmla="*/ 8874 h 10625"/>
                    <a:gd name="connsiteX88" fmla="*/ 599 w 10000"/>
                    <a:gd name="connsiteY88" fmla="*/ 8621 h 10625"/>
                    <a:gd name="connsiteX89" fmla="*/ 466 w 10000"/>
                    <a:gd name="connsiteY89" fmla="*/ 8319 h 10625"/>
                    <a:gd name="connsiteX90" fmla="*/ 407 w 10000"/>
                    <a:gd name="connsiteY90" fmla="*/ 8164 h 10625"/>
                    <a:gd name="connsiteX91" fmla="*/ 373 w 10000"/>
                    <a:gd name="connsiteY91" fmla="*/ 7775 h 10625"/>
                    <a:gd name="connsiteX92" fmla="*/ 148 w 10000"/>
                    <a:gd name="connsiteY92" fmla="*/ 7735 h 10625"/>
                    <a:gd name="connsiteX93" fmla="*/ 64 w 10000"/>
                    <a:gd name="connsiteY93" fmla="*/ 7415 h 10625"/>
                    <a:gd name="connsiteX94" fmla="*/ 223 w 10000"/>
                    <a:gd name="connsiteY94" fmla="*/ 7113 h 10625"/>
                    <a:gd name="connsiteX95" fmla="*/ 198 w 10000"/>
                    <a:gd name="connsiteY95" fmla="*/ 6802 h 10625"/>
                    <a:gd name="connsiteX96" fmla="*/ 415 w 10000"/>
                    <a:gd name="connsiteY96" fmla="*/ 6588 h 10625"/>
                    <a:gd name="connsiteX97" fmla="*/ 348 w 10000"/>
                    <a:gd name="connsiteY97" fmla="*/ 6441 h 10625"/>
                    <a:gd name="connsiteX98" fmla="*/ 382 w 10000"/>
                    <a:gd name="connsiteY98" fmla="*/ 6267 h 10625"/>
                    <a:gd name="connsiteX99" fmla="*/ 474 w 10000"/>
                    <a:gd name="connsiteY99" fmla="*/ 6131 h 10625"/>
                    <a:gd name="connsiteX100" fmla="*/ 666 w 10000"/>
                    <a:gd name="connsiteY100" fmla="*/ 5770 h 10625"/>
                    <a:gd name="connsiteX101" fmla="*/ 674 w 10000"/>
                    <a:gd name="connsiteY101" fmla="*/ 5556 h 10625"/>
                    <a:gd name="connsiteX102" fmla="*/ 1001 w 10000"/>
                    <a:gd name="connsiteY102" fmla="*/ 5460 h 10625"/>
                    <a:gd name="connsiteX103" fmla="*/ 1269 w 10000"/>
                    <a:gd name="connsiteY103" fmla="*/ 5450 h 10625"/>
                    <a:gd name="connsiteX104" fmla="*/ 1185 w 10000"/>
                    <a:gd name="connsiteY104" fmla="*/ 2716 h 10625"/>
                    <a:gd name="connsiteX105" fmla="*/ 1185 w 10000"/>
                    <a:gd name="connsiteY105" fmla="*/ 2716 h 10625"/>
                    <a:gd name="connsiteX106" fmla="*/ 1176 w 10000"/>
                    <a:gd name="connsiteY106" fmla="*/ 2355 h 10625"/>
                    <a:gd name="connsiteX107" fmla="*/ 1770 w 10000"/>
                    <a:gd name="connsiteY107" fmla="*/ 2346 h 10625"/>
                    <a:gd name="connsiteX108" fmla="*/ 1712 w 10000"/>
                    <a:gd name="connsiteY108" fmla="*/ 896 h 10625"/>
                    <a:gd name="connsiteX109" fmla="*/ 5434 w 10000"/>
                    <a:gd name="connsiteY109" fmla="*/ 789 h 10625"/>
                    <a:gd name="connsiteX110" fmla="*/ 5559 w 10000"/>
                    <a:gd name="connsiteY110" fmla="*/ 663 h 10625"/>
                    <a:gd name="connsiteX111" fmla="*/ 5626 w 10000"/>
                    <a:gd name="connsiteY111" fmla="*/ 789 h 10625"/>
                    <a:gd name="connsiteX112" fmla="*/ 6555 w 10000"/>
                    <a:gd name="connsiteY112" fmla="*/ 751 h 10625"/>
                    <a:gd name="connsiteX113" fmla="*/ 6555 w 10000"/>
                    <a:gd name="connsiteY113" fmla="*/ 751 h 10625"/>
                    <a:gd name="connsiteX114" fmla="*/ 7081 w 10000"/>
                    <a:gd name="connsiteY114" fmla="*/ 731 h 10625"/>
                    <a:gd name="connsiteX115" fmla="*/ 7657 w 10000"/>
                    <a:gd name="connsiteY115" fmla="*/ 455 h 10625"/>
                    <a:gd name="connsiteX116" fmla="*/ 7837 w 10000"/>
                    <a:gd name="connsiteY116" fmla="*/ 155 h 10625"/>
                    <a:gd name="connsiteX117" fmla="*/ 8044 w 10000"/>
                    <a:gd name="connsiteY117" fmla="*/ 5 h 10625"/>
                    <a:gd name="connsiteX118" fmla="*/ 8327 w 10000"/>
                    <a:gd name="connsiteY118" fmla="*/ 365 h 10625"/>
                    <a:gd name="connsiteX119" fmla="*/ 8695 w 10000"/>
                    <a:gd name="connsiteY119" fmla="*/ 663 h 10625"/>
                    <a:gd name="connsiteX120" fmla="*/ 8695 w 10000"/>
                    <a:gd name="connsiteY120" fmla="*/ 663 h 10625"/>
                    <a:gd name="connsiteX121" fmla="*/ 8728 w 10000"/>
                    <a:gd name="connsiteY121" fmla="*/ 770 h 10625"/>
                    <a:gd name="connsiteX122" fmla="*/ 8771 w 10000"/>
                    <a:gd name="connsiteY122" fmla="*/ 1013 h 10625"/>
                    <a:gd name="connsiteX123" fmla="*/ 8954 w 10000"/>
                    <a:gd name="connsiteY123" fmla="*/ 1237 h 10625"/>
                    <a:gd name="connsiteX124" fmla="*/ 8954 w 10000"/>
                    <a:gd name="connsiteY124" fmla="*/ 1315 h 10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</a:cxnLst>
                  <a:rect l="l" t="t" r="r" b="b"/>
                  <a:pathLst>
                    <a:path w="10000" h="10625">
                      <a:moveTo>
                        <a:pt x="8954" y="1315"/>
                      </a:moveTo>
                      <a:cubicBezTo>
                        <a:pt x="8963" y="1431"/>
                        <a:pt x="8979" y="1558"/>
                        <a:pt x="8996" y="1684"/>
                      </a:cubicBezTo>
                      <a:cubicBezTo>
                        <a:pt x="9039" y="1899"/>
                        <a:pt x="9030" y="2123"/>
                        <a:pt x="9072" y="2336"/>
                      </a:cubicBezTo>
                      <a:cubicBezTo>
                        <a:pt x="9097" y="2512"/>
                        <a:pt x="9139" y="2677"/>
                        <a:pt x="9189" y="2842"/>
                      </a:cubicBezTo>
                      <a:cubicBezTo>
                        <a:pt x="9197" y="2911"/>
                        <a:pt x="9239" y="2968"/>
                        <a:pt x="9272" y="3018"/>
                      </a:cubicBezTo>
                      <a:cubicBezTo>
                        <a:pt x="9331" y="3076"/>
                        <a:pt x="9406" y="3095"/>
                        <a:pt x="9465" y="3124"/>
                      </a:cubicBezTo>
                      <a:cubicBezTo>
                        <a:pt x="9515" y="3164"/>
                        <a:pt x="9591" y="3144"/>
                        <a:pt x="9624" y="3202"/>
                      </a:cubicBezTo>
                      <a:cubicBezTo>
                        <a:pt x="9674" y="3221"/>
                        <a:pt x="9682" y="3280"/>
                        <a:pt x="9699" y="3329"/>
                      </a:cubicBezTo>
                      <a:cubicBezTo>
                        <a:pt x="9707" y="3367"/>
                        <a:pt x="9732" y="3407"/>
                        <a:pt x="9774" y="3367"/>
                      </a:cubicBezTo>
                      <a:cubicBezTo>
                        <a:pt x="9807" y="3358"/>
                        <a:pt x="9824" y="3426"/>
                        <a:pt x="9875" y="3397"/>
                      </a:cubicBezTo>
                      <a:cubicBezTo>
                        <a:pt x="9892" y="3416"/>
                        <a:pt x="9892" y="3474"/>
                        <a:pt x="9917" y="3503"/>
                      </a:cubicBezTo>
                      <a:cubicBezTo>
                        <a:pt x="9950" y="3503"/>
                        <a:pt x="9983" y="3533"/>
                        <a:pt x="10000" y="3572"/>
                      </a:cubicBezTo>
                      <a:lnTo>
                        <a:pt x="10000" y="3572"/>
                      </a:lnTo>
                      <a:cubicBezTo>
                        <a:pt x="9908" y="3640"/>
                        <a:pt x="9925" y="3786"/>
                        <a:pt x="9849" y="3864"/>
                      </a:cubicBezTo>
                      <a:cubicBezTo>
                        <a:pt x="9841" y="3971"/>
                        <a:pt x="9749" y="3864"/>
                        <a:pt x="9749" y="3961"/>
                      </a:cubicBezTo>
                      <a:cubicBezTo>
                        <a:pt x="9691" y="3844"/>
                        <a:pt x="9641" y="4059"/>
                        <a:pt x="9556" y="3980"/>
                      </a:cubicBezTo>
                      <a:cubicBezTo>
                        <a:pt x="9548" y="4097"/>
                        <a:pt x="9406" y="4030"/>
                        <a:pt x="9406" y="4126"/>
                      </a:cubicBezTo>
                      <a:cubicBezTo>
                        <a:pt x="9440" y="4302"/>
                        <a:pt x="9289" y="4331"/>
                        <a:pt x="9189" y="4321"/>
                      </a:cubicBezTo>
                      <a:cubicBezTo>
                        <a:pt x="9047" y="4224"/>
                        <a:pt x="9139" y="4448"/>
                        <a:pt x="9122" y="4525"/>
                      </a:cubicBezTo>
                      <a:cubicBezTo>
                        <a:pt x="8988" y="4651"/>
                        <a:pt x="9189" y="4817"/>
                        <a:pt x="9097" y="4954"/>
                      </a:cubicBezTo>
                      <a:cubicBezTo>
                        <a:pt x="9072" y="5099"/>
                        <a:pt x="9004" y="5236"/>
                        <a:pt x="8971" y="5372"/>
                      </a:cubicBezTo>
                      <a:cubicBezTo>
                        <a:pt x="8963" y="5498"/>
                        <a:pt x="8954" y="5644"/>
                        <a:pt x="8863" y="5732"/>
                      </a:cubicBezTo>
                      <a:cubicBezTo>
                        <a:pt x="8896" y="5916"/>
                        <a:pt x="8913" y="6102"/>
                        <a:pt x="8946" y="6286"/>
                      </a:cubicBezTo>
                      <a:cubicBezTo>
                        <a:pt x="8963" y="6315"/>
                        <a:pt x="8963" y="6355"/>
                        <a:pt x="8963" y="6384"/>
                      </a:cubicBezTo>
                      <a:cubicBezTo>
                        <a:pt x="8954" y="6491"/>
                        <a:pt x="8904" y="6598"/>
                        <a:pt x="8946" y="6704"/>
                      </a:cubicBezTo>
                      <a:cubicBezTo>
                        <a:pt x="8921" y="6831"/>
                        <a:pt x="8904" y="6947"/>
                        <a:pt x="8829" y="7045"/>
                      </a:cubicBezTo>
                      <a:cubicBezTo>
                        <a:pt x="8796" y="7200"/>
                        <a:pt x="8771" y="7357"/>
                        <a:pt x="8796" y="7522"/>
                      </a:cubicBezTo>
                      <a:cubicBezTo>
                        <a:pt x="8720" y="7580"/>
                        <a:pt x="8553" y="7512"/>
                        <a:pt x="8503" y="7639"/>
                      </a:cubicBezTo>
                      <a:cubicBezTo>
                        <a:pt x="8427" y="7735"/>
                        <a:pt x="8402" y="7872"/>
                        <a:pt x="8344" y="7979"/>
                      </a:cubicBezTo>
                      <a:cubicBezTo>
                        <a:pt x="8344" y="8135"/>
                        <a:pt x="8176" y="8154"/>
                        <a:pt x="8160" y="8290"/>
                      </a:cubicBezTo>
                      <a:cubicBezTo>
                        <a:pt x="8236" y="8446"/>
                        <a:pt x="8085" y="8582"/>
                        <a:pt x="8143" y="8747"/>
                      </a:cubicBezTo>
                      <a:cubicBezTo>
                        <a:pt x="8085" y="8825"/>
                        <a:pt x="8176" y="8923"/>
                        <a:pt x="8093" y="8990"/>
                      </a:cubicBezTo>
                      <a:cubicBezTo>
                        <a:pt x="8035" y="9117"/>
                        <a:pt x="8010" y="8990"/>
                        <a:pt x="7943" y="8942"/>
                      </a:cubicBezTo>
                      <a:cubicBezTo>
                        <a:pt x="7825" y="8893"/>
                        <a:pt x="7784" y="9088"/>
                        <a:pt x="7725" y="9185"/>
                      </a:cubicBezTo>
                      <a:cubicBezTo>
                        <a:pt x="7750" y="9302"/>
                        <a:pt x="7809" y="9438"/>
                        <a:pt x="7725" y="9546"/>
                      </a:cubicBezTo>
                      <a:cubicBezTo>
                        <a:pt x="7684" y="9652"/>
                        <a:pt x="7659" y="9778"/>
                        <a:pt x="7633" y="9895"/>
                      </a:cubicBezTo>
                      <a:cubicBezTo>
                        <a:pt x="7633" y="9964"/>
                        <a:pt x="7642" y="10031"/>
                        <a:pt x="7650" y="10100"/>
                      </a:cubicBezTo>
                      <a:lnTo>
                        <a:pt x="7642" y="10100"/>
                      </a:lnTo>
                      <a:lnTo>
                        <a:pt x="7541" y="10080"/>
                      </a:lnTo>
                      <a:cubicBezTo>
                        <a:pt x="7535" y="10048"/>
                        <a:pt x="7530" y="10015"/>
                        <a:pt x="7524" y="9983"/>
                      </a:cubicBezTo>
                      <a:cubicBezTo>
                        <a:pt x="7519" y="9944"/>
                        <a:pt x="7513" y="9905"/>
                        <a:pt x="7508" y="9866"/>
                      </a:cubicBezTo>
                      <a:lnTo>
                        <a:pt x="7541" y="9632"/>
                      </a:lnTo>
                      <a:lnTo>
                        <a:pt x="7474" y="9632"/>
                      </a:lnTo>
                      <a:cubicBezTo>
                        <a:pt x="7429" y="9529"/>
                        <a:pt x="7385" y="9425"/>
                        <a:pt x="7340" y="9322"/>
                      </a:cubicBezTo>
                      <a:lnTo>
                        <a:pt x="7157" y="9224"/>
                      </a:lnTo>
                      <a:cubicBezTo>
                        <a:pt x="7135" y="9023"/>
                        <a:pt x="7112" y="8822"/>
                        <a:pt x="7090" y="8621"/>
                      </a:cubicBezTo>
                      <a:cubicBezTo>
                        <a:pt x="7107" y="8459"/>
                        <a:pt x="7123" y="8297"/>
                        <a:pt x="7140" y="8135"/>
                      </a:cubicBezTo>
                      <a:lnTo>
                        <a:pt x="6805" y="8135"/>
                      </a:lnTo>
                      <a:lnTo>
                        <a:pt x="6805" y="8310"/>
                      </a:lnTo>
                      <a:lnTo>
                        <a:pt x="6454" y="8348"/>
                      </a:lnTo>
                      <a:lnTo>
                        <a:pt x="6621" y="8543"/>
                      </a:lnTo>
                      <a:lnTo>
                        <a:pt x="6621" y="8816"/>
                      </a:lnTo>
                      <a:cubicBezTo>
                        <a:pt x="6643" y="8861"/>
                        <a:pt x="6666" y="8907"/>
                        <a:pt x="6688" y="8952"/>
                      </a:cubicBezTo>
                      <a:lnTo>
                        <a:pt x="6337" y="9283"/>
                      </a:lnTo>
                      <a:cubicBezTo>
                        <a:pt x="6303" y="9361"/>
                        <a:pt x="6270" y="9438"/>
                        <a:pt x="6236" y="9516"/>
                      </a:cubicBezTo>
                      <a:lnTo>
                        <a:pt x="5885" y="9925"/>
                      </a:lnTo>
                      <a:lnTo>
                        <a:pt x="5617" y="9905"/>
                      </a:lnTo>
                      <a:lnTo>
                        <a:pt x="5082" y="9516"/>
                      </a:lnTo>
                      <a:lnTo>
                        <a:pt x="4865" y="9749"/>
                      </a:lnTo>
                      <a:cubicBezTo>
                        <a:pt x="4859" y="9808"/>
                        <a:pt x="4854" y="9866"/>
                        <a:pt x="4848" y="9925"/>
                      </a:cubicBezTo>
                      <a:cubicBezTo>
                        <a:pt x="4748" y="9938"/>
                        <a:pt x="4602" y="9919"/>
                        <a:pt x="4547" y="9964"/>
                      </a:cubicBezTo>
                      <a:cubicBezTo>
                        <a:pt x="4492" y="10009"/>
                        <a:pt x="4623" y="10159"/>
                        <a:pt x="4520" y="10198"/>
                      </a:cubicBezTo>
                      <a:cubicBezTo>
                        <a:pt x="4417" y="10237"/>
                        <a:pt x="4046" y="10224"/>
                        <a:pt x="3931" y="10201"/>
                      </a:cubicBezTo>
                      <a:cubicBezTo>
                        <a:pt x="3816" y="10178"/>
                        <a:pt x="3943" y="10094"/>
                        <a:pt x="3828" y="10061"/>
                      </a:cubicBezTo>
                      <a:cubicBezTo>
                        <a:pt x="3713" y="10028"/>
                        <a:pt x="3438" y="10022"/>
                        <a:pt x="3243" y="10002"/>
                      </a:cubicBezTo>
                      <a:lnTo>
                        <a:pt x="3125" y="10119"/>
                      </a:lnTo>
                      <a:lnTo>
                        <a:pt x="2874" y="10061"/>
                      </a:lnTo>
                      <a:cubicBezTo>
                        <a:pt x="2841" y="9964"/>
                        <a:pt x="2807" y="9866"/>
                        <a:pt x="2774" y="9769"/>
                      </a:cubicBezTo>
                      <a:lnTo>
                        <a:pt x="2623" y="9613"/>
                      </a:lnTo>
                      <a:cubicBezTo>
                        <a:pt x="2595" y="9555"/>
                        <a:pt x="2568" y="9496"/>
                        <a:pt x="2540" y="9438"/>
                      </a:cubicBezTo>
                      <a:lnTo>
                        <a:pt x="2054" y="9555"/>
                      </a:lnTo>
                      <a:cubicBezTo>
                        <a:pt x="2026" y="9646"/>
                        <a:pt x="1999" y="9736"/>
                        <a:pt x="1971" y="9827"/>
                      </a:cubicBezTo>
                      <a:lnTo>
                        <a:pt x="1871" y="9866"/>
                      </a:lnTo>
                      <a:lnTo>
                        <a:pt x="1871" y="10119"/>
                      </a:lnTo>
                      <a:lnTo>
                        <a:pt x="1770" y="10158"/>
                      </a:lnTo>
                      <a:lnTo>
                        <a:pt x="1770" y="10314"/>
                      </a:lnTo>
                      <a:lnTo>
                        <a:pt x="1770" y="10489"/>
                      </a:lnTo>
                      <a:lnTo>
                        <a:pt x="1537" y="10625"/>
                      </a:lnTo>
                      <a:lnTo>
                        <a:pt x="1511" y="10625"/>
                      </a:lnTo>
                      <a:lnTo>
                        <a:pt x="1461" y="10625"/>
                      </a:lnTo>
                      <a:cubicBezTo>
                        <a:pt x="1336" y="10596"/>
                        <a:pt x="1176" y="10625"/>
                        <a:pt x="1076" y="10586"/>
                      </a:cubicBezTo>
                      <a:cubicBezTo>
                        <a:pt x="1035" y="10625"/>
                        <a:pt x="1201" y="10382"/>
                        <a:pt x="1060" y="10430"/>
                      </a:cubicBezTo>
                      <a:cubicBezTo>
                        <a:pt x="967" y="10284"/>
                        <a:pt x="1210" y="10255"/>
                        <a:pt x="1160" y="10100"/>
                      </a:cubicBezTo>
                      <a:cubicBezTo>
                        <a:pt x="1126" y="9983"/>
                        <a:pt x="1210" y="9885"/>
                        <a:pt x="1160" y="9769"/>
                      </a:cubicBezTo>
                      <a:cubicBezTo>
                        <a:pt x="1085" y="9623"/>
                        <a:pt x="1018" y="9477"/>
                        <a:pt x="934" y="9341"/>
                      </a:cubicBezTo>
                      <a:cubicBezTo>
                        <a:pt x="842" y="9224"/>
                        <a:pt x="709" y="9146"/>
                        <a:pt x="658" y="8990"/>
                      </a:cubicBezTo>
                      <a:lnTo>
                        <a:pt x="616" y="8981"/>
                      </a:lnTo>
                      <a:cubicBezTo>
                        <a:pt x="658" y="8981"/>
                        <a:pt x="691" y="8961"/>
                        <a:pt x="691" y="8874"/>
                      </a:cubicBezTo>
                      <a:cubicBezTo>
                        <a:pt x="734" y="8767"/>
                        <a:pt x="717" y="8611"/>
                        <a:pt x="599" y="8621"/>
                      </a:cubicBezTo>
                      <a:cubicBezTo>
                        <a:pt x="499" y="8563"/>
                        <a:pt x="415" y="8465"/>
                        <a:pt x="466" y="8319"/>
                      </a:cubicBezTo>
                      <a:cubicBezTo>
                        <a:pt x="466" y="8241"/>
                        <a:pt x="533" y="8095"/>
                        <a:pt x="407" y="8164"/>
                      </a:cubicBezTo>
                      <a:cubicBezTo>
                        <a:pt x="433" y="8047"/>
                        <a:pt x="298" y="7901"/>
                        <a:pt x="373" y="7775"/>
                      </a:cubicBezTo>
                      <a:cubicBezTo>
                        <a:pt x="323" y="7687"/>
                        <a:pt x="215" y="7648"/>
                        <a:pt x="148" y="7735"/>
                      </a:cubicBezTo>
                      <a:cubicBezTo>
                        <a:pt x="-36" y="7784"/>
                        <a:pt x="-28" y="7522"/>
                        <a:pt x="64" y="7415"/>
                      </a:cubicBezTo>
                      <a:cubicBezTo>
                        <a:pt x="148" y="7346"/>
                        <a:pt x="323" y="7250"/>
                        <a:pt x="223" y="7113"/>
                      </a:cubicBezTo>
                      <a:cubicBezTo>
                        <a:pt x="198" y="7006"/>
                        <a:pt x="81" y="6889"/>
                        <a:pt x="198" y="6802"/>
                      </a:cubicBezTo>
                      <a:cubicBezTo>
                        <a:pt x="257" y="6704"/>
                        <a:pt x="407" y="6714"/>
                        <a:pt x="415" y="6588"/>
                      </a:cubicBezTo>
                      <a:cubicBezTo>
                        <a:pt x="365" y="6568"/>
                        <a:pt x="323" y="6520"/>
                        <a:pt x="348" y="6441"/>
                      </a:cubicBezTo>
                      <a:cubicBezTo>
                        <a:pt x="315" y="6374"/>
                        <a:pt x="273" y="6286"/>
                        <a:pt x="382" y="6267"/>
                      </a:cubicBezTo>
                      <a:cubicBezTo>
                        <a:pt x="458" y="6267"/>
                        <a:pt x="508" y="6218"/>
                        <a:pt x="474" y="6131"/>
                      </a:cubicBezTo>
                      <a:cubicBezTo>
                        <a:pt x="508" y="5985"/>
                        <a:pt x="674" y="5935"/>
                        <a:pt x="666" y="5770"/>
                      </a:cubicBezTo>
                      <a:cubicBezTo>
                        <a:pt x="666" y="5693"/>
                        <a:pt x="566" y="5605"/>
                        <a:pt x="674" y="5556"/>
                      </a:cubicBezTo>
                      <a:cubicBezTo>
                        <a:pt x="759" y="5420"/>
                        <a:pt x="900" y="5556"/>
                        <a:pt x="1001" y="5460"/>
                      </a:cubicBezTo>
                      <a:cubicBezTo>
                        <a:pt x="1093" y="5401"/>
                        <a:pt x="1218" y="5517"/>
                        <a:pt x="1269" y="5450"/>
                      </a:cubicBezTo>
                      <a:cubicBezTo>
                        <a:pt x="1252" y="4730"/>
                        <a:pt x="1210" y="3445"/>
                        <a:pt x="1185" y="2716"/>
                      </a:cubicBezTo>
                      <a:lnTo>
                        <a:pt x="1185" y="2716"/>
                      </a:lnTo>
                      <a:cubicBezTo>
                        <a:pt x="1185" y="2667"/>
                        <a:pt x="1176" y="2443"/>
                        <a:pt x="1176" y="2355"/>
                      </a:cubicBezTo>
                      <a:cubicBezTo>
                        <a:pt x="1369" y="2346"/>
                        <a:pt x="1578" y="2346"/>
                        <a:pt x="1770" y="2346"/>
                      </a:cubicBezTo>
                      <a:cubicBezTo>
                        <a:pt x="1753" y="1860"/>
                        <a:pt x="1737" y="1373"/>
                        <a:pt x="1712" y="896"/>
                      </a:cubicBezTo>
                      <a:lnTo>
                        <a:pt x="5434" y="789"/>
                      </a:lnTo>
                      <a:cubicBezTo>
                        <a:pt x="5442" y="731"/>
                        <a:pt x="5509" y="546"/>
                        <a:pt x="5559" y="663"/>
                      </a:cubicBezTo>
                      <a:cubicBezTo>
                        <a:pt x="5534" y="741"/>
                        <a:pt x="5542" y="829"/>
                        <a:pt x="5626" y="789"/>
                      </a:cubicBezTo>
                      <a:cubicBezTo>
                        <a:pt x="6111" y="770"/>
                        <a:pt x="6069" y="780"/>
                        <a:pt x="6555" y="751"/>
                      </a:cubicBezTo>
                      <a:lnTo>
                        <a:pt x="6555" y="751"/>
                      </a:lnTo>
                      <a:lnTo>
                        <a:pt x="7081" y="731"/>
                      </a:lnTo>
                      <a:cubicBezTo>
                        <a:pt x="7273" y="709"/>
                        <a:pt x="7465" y="477"/>
                        <a:pt x="7657" y="455"/>
                      </a:cubicBezTo>
                      <a:cubicBezTo>
                        <a:pt x="7809" y="374"/>
                        <a:pt x="7725" y="170"/>
                        <a:pt x="7837" y="155"/>
                      </a:cubicBezTo>
                      <a:cubicBezTo>
                        <a:pt x="7914" y="125"/>
                        <a:pt x="7962" y="-30"/>
                        <a:pt x="8044" y="5"/>
                      </a:cubicBezTo>
                      <a:cubicBezTo>
                        <a:pt x="8126" y="40"/>
                        <a:pt x="8231" y="300"/>
                        <a:pt x="8327" y="365"/>
                      </a:cubicBezTo>
                      <a:lnTo>
                        <a:pt x="8695" y="663"/>
                      </a:lnTo>
                      <a:lnTo>
                        <a:pt x="8695" y="663"/>
                      </a:lnTo>
                      <a:cubicBezTo>
                        <a:pt x="8712" y="693"/>
                        <a:pt x="8720" y="731"/>
                        <a:pt x="8728" y="770"/>
                      </a:cubicBezTo>
                      <a:cubicBezTo>
                        <a:pt x="8728" y="858"/>
                        <a:pt x="8754" y="935"/>
                        <a:pt x="8771" y="1013"/>
                      </a:cubicBezTo>
                      <a:cubicBezTo>
                        <a:pt x="8829" y="1101"/>
                        <a:pt x="8888" y="1169"/>
                        <a:pt x="8954" y="1237"/>
                      </a:cubicBezTo>
                      <a:cubicBezTo>
                        <a:pt x="8954" y="1266"/>
                        <a:pt x="9013" y="1335"/>
                        <a:pt x="8954" y="1315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48575" name="South Korea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7356996" y="3326018"/>
                <a:ext cx="94308" cy="139336"/>
              </a:xfrm>
              <a:custGeom>
                <a:avLst/>
                <a:gdLst>
                  <a:gd name="T0" fmla="*/ 0 w 17"/>
                  <a:gd name="T1" fmla="*/ 27867 h 25"/>
                  <a:gd name="T2" fmla="*/ 11095 w 17"/>
                  <a:gd name="T3" fmla="*/ 27867 h 25"/>
                  <a:gd name="T4" fmla="*/ 27738 w 17"/>
                  <a:gd name="T5" fmla="*/ 0 h 25"/>
                  <a:gd name="T6" fmla="*/ 61023 w 17"/>
                  <a:gd name="T7" fmla="*/ 39014 h 25"/>
                  <a:gd name="T8" fmla="*/ 94308 w 17"/>
                  <a:gd name="T9" fmla="*/ 89175 h 25"/>
                  <a:gd name="T10" fmla="*/ 94308 w 17"/>
                  <a:gd name="T11" fmla="*/ 117042 h 25"/>
                  <a:gd name="T12" fmla="*/ 49928 w 17"/>
                  <a:gd name="T13" fmla="*/ 139336 h 25"/>
                  <a:gd name="T14" fmla="*/ 11095 w 17"/>
                  <a:gd name="T15" fmla="*/ 117042 h 25"/>
                  <a:gd name="T16" fmla="*/ 27738 w 17"/>
                  <a:gd name="T17" fmla="*/ 89175 h 25"/>
                  <a:gd name="T18" fmla="*/ 0 w 17"/>
                  <a:gd name="T19" fmla="*/ 50161 h 25"/>
                  <a:gd name="T20" fmla="*/ 11095 w 17"/>
                  <a:gd name="T21" fmla="*/ 50161 h 25"/>
                  <a:gd name="T22" fmla="*/ 0 w 17"/>
                  <a:gd name="T23" fmla="*/ 39014 h 25"/>
                  <a:gd name="T24" fmla="*/ 0 w 17"/>
                  <a:gd name="T25" fmla="*/ 27867 h 2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7"/>
                  <a:gd name="T40" fmla="*/ 0 h 25"/>
                  <a:gd name="T41" fmla="*/ 17 w 17"/>
                  <a:gd name="T42" fmla="*/ 25 h 2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7" h="25">
                    <a:moveTo>
                      <a:pt x="0" y="5"/>
                    </a:moveTo>
                    <a:lnTo>
                      <a:pt x="2" y="5"/>
                    </a:lnTo>
                    <a:lnTo>
                      <a:pt x="5" y="0"/>
                    </a:lnTo>
                    <a:lnTo>
                      <a:pt x="11" y="7"/>
                    </a:lnTo>
                    <a:lnTo>
                      <a:pt x="17" y="16"/>
                    </a:lnTo>
                    <a:lnTo>
                      <a:pt x="17" y="21"/>
                    </a:lnTo>
                    <a:lnTo>
                      <a:pt x="9" y="25"/>
                    </a:lnTo>
                    <a:lnTo>
                      <a:pt x="2" y="21"/>
                    </a:lnTo>
                    <a:lnTo>
                      <a:pt x="5" y="16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0" y="7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EE8B8B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48576" name="Sri Lanka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6319615" y="4256783"/>
                <a:ext cx="66570" cy="111468"/>
              </a:xfrm>
              <a:custGeom>
                <a:avLst/>
                <a:gdLst>
                  <a:gd name="T0" fmla="*/ 0 w 12"/>
                  <a:gd name="T1" fmla="*/ 61307 h 20"/>
                  <a:gd name="T2" fmla="*/ 22190 w 12"/>
                  <a:gd name="T3" fmla="*/ 111468 h 20"/>
                  <a:gd name="T4" fmla="*/ 44380 w 12"/>
                  <a:gd name="T5" fmla="*/ 111468 h 20"/>
                  <a:gd name="T6" fmla="*/ 66570 w 12"/>
                  <a:gd name="T7" fmla="*/ 111468 h 20"/>
                  <a:gd name="T8" fmla="*/ 66570 w 12"/>
                  <a:gd name="T9" fmla="*/ 61307 h 20"/>
                  <a:gd name="T10" fmla="*/ 33285 w 12"/>
                  <a:gd name="T11" fmla="*/ 11147 h 20"/>
                  <a:gd name="T12" fmla="*/ 22190 w 12"/>
                  <a:gd name="T13" fmla="*/ 0 h 20"/>
                  <a:gd name="T14" fmla="*/ 22190 w 12"/>
                  <a:gd name="T15" fmla="*/ 11147 h 20"/>
                  <a:gd name="T16" fmla="*/ 11095 w 12"/>
                  <a:gd name="T17" fmla="*/ 39014 h 20"/>
                  <a:gd name="T18" fmla="*/ 0 w 12"/>
                  <a:gd name="T19" fmla="*/ 61307 h 2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2"/>
                  <a:gd name="T31" fmla="*/ 0 h 20"/>
                  <a:gd name="T32" fmla="*/ 12 w 12"/>
                  <a:gd name="T33" fmla="*/ 20 h 2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2" h="20">
                    <a:moveTo>
                      <a:pt x="0" y="11"/>
                    </a:moveTo>
                    <a:lnTo>
                      <a:pt x="4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2" y="11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EE8B8B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473" name="Spain"/>
              <p:cNvGrpSpPr/>
              <p:nvPr/>
            </p:nvGrpSpPr>
            <p:grpSpPr>
              <a:xfrm>
                <a:off x="4034044" y="3164389"/>
                <a:ext cx="305113" cy="250804"/>
                <a:chOff x="4034044" y="3145300"/>
                <a:chExt cx="305113" cy="250804"/>
              </a:xfrm>
              <a:solidFill>
                <a:srgbClr val="D992FF"/>
              </a:solidFill>
            </p:grpSpPr>
            <p:sp>
              <p:nvSpPr>
                <p:cNvPr id="829" name="Palma"/>
                <p:cNvSpPr>
                  <a:spLocks/>
                </p:cNvSpPr>
                <p:nvPr/>
              </p:nvSpPr>
              <p:spPr bwMode="auto">
                <a:xfrm>
                  <a:off x="4316967" y="3256768"/>
                  <a:ext cx="22190" cy="39014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4" y="7"/>
                    </a:cxn>
                    <a:cxn ang="0">
                      <a:pos x="4" y="5"/>
                    </a:cxn>
                    <a:cxn ang="0">
                      <a:pos x="2" y="0"/>
                    </a:cxn>
                    <a:cxn ang="0">
                      <a:pos x="0" y="3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4" h="7">
                      <a:moveTo>
                        <a:pt x="0" y="5"/>
                      </a:moveTo>
                      <a:lnTo>
                        <a:pt x="4" y="7"/>
                      </a:lnTo>
                      <a:lnTo>
                        <a:pt x="4" y="5"/>
                      </a:ln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30" name="Spain"/>
                <p:cNvSpPr>
                  <a:spLocks/>
                </p:cNvSpPr>
                <p:nvPr/>
              </p:nvSpPr>
              <p:spPr bwMode="auto">
                <a:xfrm>
                  <a:off x="4034044" y="3145300"/>
                  <a:ext cx="305112" cy="250804"/>
                </a:xfrm>
                <a:custGeom>
                  <a:avLst/>
                  <a:gdLst/>
                  <a:ahLst/>
                  <a:cxnLst>
                    <a:cxn ang="0">
                      <a:pos x="40" y="7"/>
                    </a:cxn>
                    <a:cxn ang="0">
                      <a:pos x="55" y="7"/>
                    </a:cxn>
                    <a:cxn ang="0">
                      <a:pos x="55" y="11"/>
                    </a:cxn>
                    <a:cxn ang="0">
                      <a:pos x="46" y="16"/>
                    </a:cxn>
                    <a:cxn ang="0">
                      <a:pos x="38" y="25"/>
                    </a:cxn>
                    <a:cxn ang="0">
                      <a:pos x="40" y="29"/>
                    </a:cxn>
                    <a:cxn ang="0">
                      <a:pos x="30" y="38"/>
                    </a:cxn>
                    <a:cxn ang="0">
                      <a:pos x="21" y="38"/>
                    </a:cxn>
                    <a:cxn ang="0">
                      <a:pos x="15" y="45"/>
                    </a:cxn>
                    <a:cxn ang="0">
                      <a:pos x="11" y="36"/>
                    </a:cxn>
                    <a:cxn ang="0">
                      <a:pos x="11" y="29"/>
                    </a:cxn>
                    <a:cxn ang="0">
                      <a:pos x="11" y="25"/>
                    </a:cxn>
                    <a:cxn ang="0">
                      <a:pos x="13" y="20"/>
                    </a:cxn>
                    <a:cxn ang="0">
                      <a:pos x="13" y="18"/>
                    </a:cxn>
                    <a:cxn ang="0">
                      <a:pos x="15" y="11"/>
                    </a:cxn>
                    <a:cxn ang="0">
                      <a:pos x="13" y="11"/>
                    </a:cxn>
                    <a:cxn ang="0">
                      <a:pos x="5" y="11"/>
                    </a:cxn>
                    <a:cxn ang="0">
                      <a:pos x="0" y="7"/>
                    </a:cxn>
                    <a:cxn ang="0">
                      <a:pos x="5" y="2"/>
                    </a:cxn>
                    <a:cxn ang="0">
                      <a:pos x="7" y="0"/>
                    </a:cxn>
                    <a:cxn ang="0">
                      <a:pos x="23" y="2"/>
                    </a:cxn>
                    <a:cxn ang="0">
                      <a:pos x="32" y="2"/>
                    </a:cxn>
                    <a:cxn ang="0">
                      <a:pos x="36" y="2"/>
                    </a:cxn>
                    <a:cxn ang="0">
                      <a:pos x="38" y="5"/>
                    </a:cxn>
                    <a:cxn ang="0">
                      <a:pos x="40" y="7"/>
                    </a:cxn>
                  </a:cxnLst>
                  <a:rect l="0" t="0" r="r" b="b"/>
                  <a:pathLst>
                    <a:path w="55" h="45">
                      <a:moveTo>
                        <a:pt x="40" y="7"/>
                      </a:moveTo>
                      <a:lnTo>
                        <a:pt x="55" y="7"/>
                      </a:lnTo>
                      <a:lnTo>
                        <a:pt x="55" y="11"/>
                      </a:lnTo>
                      <a:lnTo>
                        <a:pt x="46" y="16"/>
                      </a:lnTo>
                      <a:lnTo>
                        <a:pt x="38" y="25"/>
                      </a:lnTo>
                      <a:lnTo>
                        <a:pt x="40" y="29"/>
                      </a:lnTo>
                      <a:lnTo>
                        <a:pt x="30" y="38"/>
                      </a:lnTo>
                      <a:lnTo>
                        <a:pt x="21" y="38"/>
                      </a:lnTo>
                      <a:lnTo>
                        <a:pt x="15" y="45"/>
                      </a:lnTo>
                      <a:lnTo>
                        <a:pt x="11" y="36"/>
                      </a:lnTo>
                      <a:lnTo>
                        <a:pt x="11" y="29"/>
                      </a:lnTo>
                      <a:lnTo>
                        <a:pt x="11" y="25"/>
                      </a:lnTo>
                      <a:lnTo>
                        <a:pt x="13" y="20"/>
                      </a:lnTo>
                      <a:lnTo>
                        <a:pt x="13" y="18"/>
                      </a:lnTo>
                      <a:lnTo>
                        <a:pt x="15" y="11"/>
                      </a:lnTo>
                      <a:lnTo>
                        <a:pt x="13" y="11"/>
                      </a:lnTo>
                      <a:lnTo>
                        <a:pt x="5" y="11"/>
                      </a:lnTo>
                      <a:lnTo>
                        <a:pt x="0" y="7"/>
                      </a:lnTo>
                      <a:lnTo>
                        <a:pt x="5" y="2"/>
                      </a:lnTo>
                      <a:lnTo>
                        <a:pt x="7" y="0"/>
                      </a:lnTo>
                      <a:lnTo>
                        <a:pt x="23" y="2"/>
                      </a:lnTo>
                      <a:lnTo>
                        <a:pt x="32" y="2"/>
                      </a:lnTo>
                      <a:lnTo>
                        <a:pt x="36" y="2"/>
                      </a:lnTo>
                      <a:lnTo>
                        <a:pt x="38" y="5"/>
                      </a:lnTo>
                      <a:lnTo>
                        <a:pt x="40" y="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48578" name="South Africa"/>
              <p:cNvSpPr>
                <a:spLocks noEditPoints="1"/>
              </p:cNvSpPr>
              <p:nvPr/>
            </p:nvSpPr>
            <p:spPr bwMode="auto">
              <a:xfrm>
                <a:off x="4662540" y="5297326"/>
                <a:ext cx="412823" cy="393888"/>
              </a:xfrm>
              <a:custGeom>
                <a:avLst/>
                <a:gdLst>
                  <a:gd name="T0" fmla="*/ 0 w 1134"/>
                  <a:gd name="T1" fmla="*/ 86734314 h 913"/>
                  <a:gd name="T2" fmla="*/ 5566193 w 1134"/>
                  <a:gd name="T3" fmla="*/ 78730581 h 913"/>
                  <a:gd name="T4" fmla="*/ 11132021 w 1134"/>
                  <a:gd name="T5" fmla="*/ 88595467 h 913"/>
                  <a:gd name="T6" fmla="*/ 25975085 w 1134"/>
                  <a:gd name="T7" fmla="*/ 90642562 h 913"/>
                  <a:gd name="T8" fmla="*/ 33794328 w 1134"/>
                  <a:gd name="T9" fmla="*/ 37224792 h 913"/>
                  <a:gd name="T10" fmla="*/ 34059350 w 1134"/>
                  <a:gd name="T11" fmla="*/ 33874804 h 913"/>
                  <a:gd name="T12" fmla="*/ 40023075 w 1134"/>
                  <a:gd name="T13" fmla="*/ 46903304 h 913"/>
                  <a:gd name="T14" fmla="*/ 42010740 w 1134"/>
                  <a:gd name="T15" fmla="*/ 62351661 h 913"/>
                  <a:gd name="T16" fmla="*/ 54335733 w 1134"/>
                  <a:gd name="T17" fmla="*/ 56209499 h 913"/>
                  <a:gd name="T18" fmla="*/ 61492057 w 1134"/>
                  <a:gd name="T19" fmla="*/ 42064048 h 913"/>
                  <a:gd name="T20" fmla="*/ 75407535 w 1134"/>
                  <a:gd name="T21" fmla="*/ 48578514 h 913"/>
                  <a:gd name="T22" fmla="*/ 88395072 w 1134"/>
                  <a:gd name="T23" fmla="*/ 35177697 h 913"/>
                  <a:gd name="T24" fmla="*/ 99394603 w 1134"/>
                  <a:gd name="T25" fmla="*/ 20473549 h 913"/>
                  <a:gd name="T26" fmla="*/ 107213482 w 1134"/>
                  <a:gd name="T27" fmla="*/ 13400820 h 913"/>
                  <a:gd name="T28" fmla="*/ 118478375 w 1134"/>
                  <a:gd name="T29" fmla="*/ 3722307 h 913"/>
                  <a:gd name="T30" fmla="*/ 125502188 w 1134"/>
                  <a:gd name="T31" fmla="*/ 0 h 913"/>
                  <a:gd name="T32" fmla="*/ 140610265 w 1134"/>
                  <a:gd name="T33" fmla="*/ 3908681 h 913"/>
                  <a:gd name="T34" fmla="*/ 142995828 w 1134"/>
                  <a:gd name="T35" fmla="*/ 21032240 h 913"/>
                  <a:gd name="T36" fmla="*/ 144188427 w 1134"/>
                  <a:gd name="T37" fmla="*/ 46530987 h 913"/>
                  <a:gd name="T38" fmla="*/ 139815199 w 1134"/>
                  <a:gd name="T39" fmla="*/ 51556617 h 913"/>
                  <a:gd name="T40" fmla="*/ 131995956 w 1134"/>
                  <a:gd name="T41" fmla="*/ 64771505 h 913"/>
                  <a:gd name="T42" fmla="*/ 141935376 w 1134"/>
                  <a:gd name="T43" fmla="*/ 72588432 h 913"/>
                  <a:gd name="T44" fmla="*/ 143525872 w 1134"/>
                  <a:gd name="T45" fmla="*/ 66074398 h 913"/>
                  <a:gd name="T46" fmla="*/ 150284663 w 1134"/>
                  <a:gd name="T47" fmla="*/ 66632657 h 913"/>
                  <a:gd name="T48" fmla="*/ 147634078 w 1134"/>
                  <a:gd name="T49" fmla="*/ 77241745 h 913"/>
                  <a:gd name="T50" fmla="*/ 141935376 w 1134"/>
                  <a:gd name="T51" fmla="*/ 92317772 h 913"/>
                  <a:gd name="T52" fmla="*/ 133586453 w 1134"/>
                  <a:gd name="T53" fmla="*/ 100879764 h 913"/>
                  <a:gd name="T54" fmla="*/ 126960173 w 1134"/>
                  <a:gd name="T55" fmla="*/ 114652925 h 913"/>
                  <a:gd name="T56" fmla="*/ 115430258 w 1134"/>
                  <a:gd name="T57" fmla="*/ 130659528 h 913"/>
                  <a:gd name="T58" fmla="*/ 102575232 w 1134"/>
                  <a:gd name="T59" fmla="*/ 146852505 h 913"/>
                  <a:gd name="T60" fmla="*/ 84551525 w 1134"/>
                  <a:gd name="T61" fmla="*/ 158205796 h 913"/>
                  <a:gd name="T62" fmla="*/ 79913274 w 1134"/>
                  <a:gd name="T63" fmla="*/ 162859109 h 913"/>
                  <a:gd name="T64" fmla="*/ 72226907 w 1134"/>
                  <a:gd name="T65" fmla="*/ 164162002 h 913"/>
                  <a:gd name="T66" fmla="*/ 60962013 w 1134"/>
                  <a:gd name="T67" fmla="*/ 161183899 h 913"/>
                  <a:gd name="T68" fmla="*/ 54600756 w 1134"/>
                  <a:gd name="T69" fmla="*/ 161556215 h 913"/>
                  <a:gd name="T70" fmla="*/ 46118946 w 1134"/>
                  <a:gd name="T71" fmla="*/ 165650838 h 913"/>
                  <a:gd name="T72" fmla="*/ 37902534 w 1134"/>
                  <a:gd name="T73" fmla="*/ 165837212 h 913"/>
                  <a:gd name="T74" fmla="*/ 32203832 w 1134"/>
                  <a:gd name="T75" fmla="*/ 168814883 h 913"/>
                  <a:gd name="T76" fmla="*/ 25577552 w 1134"/>
                  <a:gd name="T77" fmla="*/ 169001258 h 913"/>
                  <a:gd name="T78" fmla="*/ 21601852 w 1134"/>
                  <a:gd name="T79" fmla="*/ 165464895 h 913"/>
                  <a:gd name="T80" fmla="*/ 18156201 w 1134"/>
                  <a:gd name="T81" fmla="*/ 161370273 h 913"/>
                  <a:gd name="T82" fmla="*/ 16168171 w 1134"/>
                  <a:gd name="T83" fmla="*/ 163417368 h 913"/>
                  <a:gd name="T84" fmla="*/ 14975572 w 1134"/>
                  <a:gd name="T85" fmla="*/ 152622338 h 913"/>
                  <a:gd name="T86" fmla="*/ 12987543 w 1134"/>
                  <a:gd name="T87" fmla="*/ 147038448 h 913"/>
                  <a:gd name="T88" fmla="*/ 14312653 w 1134"/>
                  <a:gd name="T89" fmla="*/ 143688460 h 913"/>
                  <a:gd name="T90" fmla="*/ 15638127 w 1134"/>
                  <a:gd name="T91" fmla="*/ 131590105 h 913"/>
                  <a:gd name="T92" fmla="*/ 9409378 w 1134"/>
                  <a:gd name="T93" fmla="*/ 116141761 h 913"/>
                  <a:gd name="T94" fmla="*/ 2915607 w 1134"/>
                  <a:gd name="T95" fmla="*/ 93992982 h 913"/>
                  <a:gd name="T96" fmla="*/ 116092813 w 1134"/>
                  <a:gd name="T97" fmla="*/ 101251650 h 913"/>
                  <a:gd name="T98" fmla="*/ 110792007 w 1134"/>
                  <a:gd name="T99" fmla="*/ 88781409 h 913"/>
                  <a:gd name="T100" fmla="*/ 97936981 w 1134"/>
                  <a:gd name="T101" fmla="*/ 100879764 h 913"/>
                  <a:gd name="T102" fmla="*/ 100189669 w 1134"/>
                  <a:gd name="T103" fmla="*/ 114838868 h 913"/>
                  <a:gd name="T104" fmla="*/ 111454563 w 1134"/>
                  <a:gd name="T105" fmla="*/ 109069009 h 913"/>
                  <a:gd name="T106" fmla="*/ 116092813 w 1134"/>
                  <a:gd name="T107" fmla="*/ 101251650 h 91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134"/>
                  <a:gd name="T163" fmla="*/ 0 h 913"/>
                  <a:gd name="T164" fmla="*/ 1134 w 1134"/>
                  <a:gd name="T165" fmla="*/ 913 h 91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134" h="913">
                    <a:moveTo>
                      <a:pt x="5" y="473"/>
                    </a:moveTo>
                    <a:cubicBezTo>
                      <a:pt x="4" y="471"/>
                      <a:pt x="3" y="469"/>
                      <a:pt x="0" y="467"/>
                    </a:cubicBezTo>
                    <a:cubicBezTo>
                      <a:pt x="0" y="466"/>
                      <a:pt x="0" y="466"/>
                      <a:pt x="0" y="466"/>
                    </a:cubicBezTo>
                    <a:cubicBezTo>
                      <a:pt x="8" y="461"/>
                      <a:pt x="8" y="461"/>
                      <a:pt x="8" y="461"/>
                    </a:cubicBezTo>
                    <a:cubicBezTo>
                      <a:pt x="14" y="453"/>
                      <a:pt x="30" y="456"/>
                      <a:pt x="27" y="444"/>
                    </a:cubicBezTo>
                    <a:cubicBezTo>
                      <a:pt x="29" y="437"/>
                      <a:pt x="33" y="425"/>
                      <a:pt x="42" y="423"/>
                    </a:cubicBezTo>
                    <a:cubicBezTo>
                      <a:pt x="57" y="418"/>
                      <a:pt x="51" y="442"/>
                      <a:pt x="64" y="437"/>
                    </a:cubicBezTo>
                    <a:cubicBezTo>
                      <a:pt x="76" y="445"/>
                      <a:pt x="58" y="455"/>
                      <a:pt x="69" y="463"/>
                    </a:cubicBezTo>
                    <a:cubicBezTo>
                      <a:pt x="64" y="477"/>
                      <a:pt x="82" y="466"/>
                      <a:pt x="84" y="476"/>
                    </a:cubicBezTo>
                    <a:cubicBezTo>
                      <a:pt x="97" y="473"/>
                      <a:pt x="108" y="481"/>
                      <a:pt x="120" y="486"/>
                    </a:cubicBezTo>
                    <a:cubicBezTo>
                      <a:pt x="132" y="486"/>
                      <a:pt x="144" y="486"/>
                      <a:pt x="155" y="482"/>
                    </a:cubicBezTo>
                    <a:cubicBezTo>
                      <a:pt x="171" y="478"/>
                      <a:pt x="182" y="498"/>
                      <a:pt x="196" y="487"/>
                    </a:cubicBezTo>
                    <a:cubicBezTo>
                      <a:pt x="191" y="478"/>
                      <a:pt x="199" y="473"/>
                      <a:pt x="208" y="473"/>
                    </a:cubicBezTo>
                    <a:cubicBezTo>
                      <a:pt x="214" y="457"/>
                      <a:pt x="233" y="458"/>
                      <a:pt x="247" y="451"/>
                    </a:cubicBezTo>
                    <a:cubicBezTo>
                      <a:pt x="250" y="368"/>
                      <a:pt x="252" y="284"/>
                      <a:pt x="255" y="200"/>
                    </a:cubicBezTo>
                    <a:cubicBezTo>
                      <a:pt x="255" y="200"/>
                      <a:pt x="255" y="200"/>
                      <a:pt x="255" y="200"/>
                    </a:cubicBezTo>
                    <a:cubicBezTo>
                      <a:pt x="255" y="195"/>
                      <a:pt x="255" y="189"/>
                      <a:pt x="255" y="183"/>
                    </a:cubicBezTo>
                    <a:cubicBezTo>
                      <a:pt x="257" y="182"/>
                      <a:pt x="257" y="182"/>
                      <a:pt x="257" y="182"/>
                    </a:cubicBezTo>
                    <a:cubicBezTo>
                      <a:pt x="259" y="188"/>
                      <a:pt x="263" y="193"/>
                      <a:pt x="272" y="195"/>
                    </a:cubicBezTo>
                    <a:cubicBezTo>
                      <a:pt x="282" y="201"/>
                      <a:pt x="286" y="213"/>
                      <a:pt x="291" y="222"/>
                    </a:cubicBezTo>
                    <a:cubicBezTo>
                      <a:pt x="299" y="233"/>
                      <a:pt x="300" y="239"/>
                      <a:pt x="302" y="252"/>
                    </a:cubicBezTo>
                    <a:cubicBezTo>
                      <a:pt x="310" y="265"/>
                      <a:pt x="316" y="284"/>
                      <a:pt x="305" y="297"/>
                    </a:cubicBezTo>
                    <a:cubicBezTo>
                      <a:pt x="292" y="305"/>
                      <a:pt x="294" y="318"/>
                      <a:pt x="294" y="331"/>
                    </a:cubicBezTo>
                    <a:cubicBezTo>
                      <a:pt x="296" y="347"/>
                      <a:pt x="309" y="331"/>
                      <a:pt x="317" y="335"/>
                    </a:cubicBezTo>
                    <a:cubicBezTo>
                      <a:pt x="331" y="344"/>
                      <a:pt x="347" y="332"/>
                      <a:pt x="362" y="339"/>
                    </a:cubicBezTo>
                    <a:cubicBezTo>
                      <a:pt x="375" y="342"/>
                      <a:pt x="371" y="328"/>
                      <a:pt x="378" y="325"/>
                    </a:cubicBezTo>
                    <a:cubicBezTo>
                      <a:pt x="396" y="330"/>
                      <a:pt x="399" y="308"/>
                      <a:pt x="410" y="302"/>
                    </a:cubicBezTo>
                    <a:cubicBezTo>
                      <a:pt x="419" y="294"/>
                      <a:pt x="430" y="293"/>
                      <a:pt x="437" y="282"/>
                    </a:cubicBezTo>
                    <a:cubicBezTo>
                      <a:pt x="445" y="273"/>
                      <a:pt x="442" y="264"/>
                      <a:pt x="448" y="254"/>
                    </a:cubicBezTo>
                    <a:cubicBezTo>
                      <a:pt x="450" y="244"/>
                      <a:pt x="455" y="233"/>
                      <a:pt x="464" y="226"/>
                    </a:cubicBezTo>
                    <a:cubicBezTo>
                      <a:pt x="478" y="223"/>
                      <a:pt x="493" y="220"/>
                      <a:pt x="505" y="232"/>
                    </a:cubicBezTo>
                    <a:cubicBezTo>
                      <a:pt x="518" y="240"/>
                      <a:pt x="527" y="258"/>
                      <a:pt x="545" y="251"/>
                    </a:cubicBezTo>
                    <a:cubicBezTo>
                      <a:pt x="551" y="258"/>
                      <a:pt x="558" y="262"/>
                      <a:pt x="569" y="261"/>
                    </a:cubicBezTo>
                    <a:cubicBezTo>
                      <a:pt x="581" y="272"/>
                      <a:pt x="596" y="262"/>
                      <a:pt x="608" y="261"/>
                    </a:cubicBezTo>
                    <a:cubicBezTo>
                      <a:pt x="625" y="267"/>
                      <a:pt x="645" y="256"/>
                      <a:pt x="651" y="238"/>
                    </a:cubicBezTo>
                    <a:cubicBezTo>
                      <a:pt x="656" y="222"/>
                      <a:pt x="666" y="206"/>
                      <a:pt x="667" y="189"/>
                    </a:cubicBezTo>
                    <a:cubicBezTo>
                      <a:pt x="680" y="185"/>
                      <a:pt x="693" y="181"/>
                      <a:pt x="706" y="178"/>
                    </a:cubicBezTo>
                    <a:cubicBezTo>
                      <a:pt x="714" y="168"/>
                      <a:pt x="725" y="159"/>
                      <a:pt x="737" y="153"/>
                    </a:cubicBezTo>
                    <a:cubicBezTo>
                      <a:pt x="742" y="139"/>
                      <a:pt x="744" y="124"/>
                      <a:pt x="750" y="110"/>
                    </a:cubicBezTo>
                    <a:cubicBezTo>
                      <a:pt x="757" y="111"/>
                      <a:pt x="758" y="100"/>
                      <a:pt x="765" y="99"/>
                    </a:cubicBezTo>
                    <a:cubicBezTo>
                      <a:pt x="772" y="90"/>
                      <a:pt x="784" y="93"/>
                      <a:pt x="792" y="86"/>
                    </a:cubicBezTo>
                    <a:cubicBezTo>
                      <a:pt x="791" y="73"/>
                      <a:pt x="807" y="81"/>
                      <a:pt x="809" y="72"/>
                    </a:cubicBezTo>
                    <a:cubicBezTo>
                      <a:pt x="818" y="68"/>
                      <a:pt x="821" y="59"/>
                      <a:pt x="828" y="53"/>
                    </a:cubicBezTo>
                    <a:cubicBezTo>
                      <a:pt x="837" y="44"/>
                      <a:pt x="844" y="30"/>
                      <a:pt x="859" y="31"/>
                    </a:cubicBezTo>
                    <a:cubicBezTo>
                      <a:pt x="871" y="31"/>
                      <a:pt x="883" y="25"/>
                      <a:pt x="894" y="20"/>
                    </a:cubicBezTo>
                    <a:cubicBezTo>
                      <a:pt x="896" y="5"/>
                      <a:pt x="913" y="2"/>
                      <a:pt x="926" y="4"/>
                    </a:cubicBezTo>
                    <a:cubicBezTo>
                      <a:pt x="927" y="2"/>
                      <a:pt x="927" y="2"/>
                      <a:pt x="927" y="2"/>
                    </a:cubicBezTo>
                    <a:cubicBezTo>
                      <a:pt x="933" y="3"/>
                      <a:pt x="940" y="2"/>
                      <a:pt x="947" y="0"/>
                    </a:cubicBezTo>
                    <a:cubicBezTo>
                      <a:pt x="963" y="1"/>
                      <a:pt x="975" y="12"/>
                      <a:pt x="990" y="16"/>
                    </a:cubicBezTo>
                    <a:cubicBezTo>
                      <a:pt x="1004" y="17"/>
                      <a:pt x="1018" y="14"/>
                      <a:pt x="1032" y="14"/>
                    </a:cubicBezTo>
                    <a:cubicBezTo>
                      <a:pt x="1042" y="15"/>
                      <a:pt x="1051" y="19"/>
                      <a:pt x="1061" y="21"/>
                    </a:cubicBezTo>
                    <a:cubicBezTo>
                      <a:pt x="1061" y="24"/>
                      <a:pt x="1061" y="24"/>
                      <a:pt x="1061" y="24"/>
                    </a:cubicBezTo>
                    <a:cubicBezTo>
                      <a:pt x="1065" y="42"/>
                      <a:pt x="1069" y="61"/>
                      <a:pt x="1073" y="79"/>
                    </a:cubicBezTo>
                    <a:cubicBezTo>
                      <a:pt x="1073" y="91"/>
                      <a:pt x="1068" y="104"/>
                      <a:pt x="1079" y="113"/>
                    </a:cubicBezTo>
                    <a:cubicBezTo>
                      <a:pt x="1078" y="126"/>
                      <a:pt x="1089" y="134"/>
                      <a:pt x="1091" y="146"/>
                    </a:cubicBezTo>
                    <a:cubicBezTo>
                      <a:pt x="1087" y="159"/>
                      <a:pt x="1100" y="170"/>
                      <a:pt x="1096" y="183"/>
                    </a:cubicBezTo>
                    <a:cubicBezTo>
                      <a:pt x="1091" y="205"/>
                      <a:pt x="1095" y="229"/>
                      <a:pt x="1088" y="250"/>
                    </a:cubicBezTo>
                    <a:cubicBezTo>
                      <a:pt x="1093" y="264"/>
                      <a:pt x="1077" y="273"/>
                      <a:pt x="1082" y="286"/>
                    </a:cubicBezTo>
                    <a:cubicBezTo>
                      <a:pt x="1081" y="288"/>
                      <a:pt x="1080" y="289"/>
                      <a:pt x="1080" y="290"/>
                    </a:cubicBezTo>
                    <a:cubicBezTo>
                      <a:pt x="1073" y="295"/>
                      <a:pt x="1062" y="281"/>
                      <a:pt x="1055" y="277"/>
                    </a:cubicBezTo>
                    <a:cubicBezTo>
                      <a:pt x="1047" y="268"/>
                      <a:pt x="1035" y="274"/>
                      <a:pt x="1029" y="282"/>
                    </a:cubicBezTo>
                    <a:cubicBezTo>
                      <a:pt x="1020" y="291"/>
                      <a:pt x="1017" y="305"/>
                      <a:pt x="1007" y="313"/>
                    </a:cubicBezTo>
                    <a:cubicBezTo>
                      <a:pt x="995" y="321"/>
                      <a:pt x="998" y="336"/>
                      <a:pt x="996" y="348"/>
                    </a:cubicBezTo>
                    <a:cubicBezTo>
                      <a:pt x="1007" y="347"/>
                      <a:pt x="1005" y="361"/>
                      <a:pt x="1009" y="369"/>
                    </a:cubicBezTo>
                    <a:cubicBezTo>
                      <a:pt x="1015" y="377"/>
                      <a:pt x="1023" y="384"/>
                      <a:pt x="1034" y="387"/>
                    </a:cubicBezTo>
                    <a:cubicBezTo>
                      <a:pt x="1045" y="391"/>
                      <a:pt x="1059" y="390"/>
                      <a:pt x="1071" y="390"/>
                    </a:cubicBezTo>
                    <a:cubicBezTo>
                      <a:pt x="1074" y="379"/>
                      <a:pt x="1073" y="365"/>
                      <a:pt x="1080" y="354"/>
                    </a:cubicBezTo>
                    <a:cubicBezTo>
                      <a:pt x="1081" y="355"/>
                      <a:pt x="1082" y="355"/>
                      <a:pt x="1083" y="355"/>
                    </a:cubicBezTo>
                    <a:cubicBezTo>
                      <a:pt x="1083" y="355"/>
                      <a:pt x="1083" y="355"/>
                      <a:pt x="1083" y="355"/>
                    </a:cubicBezTo>
                    <a:cubicBezTo>
                      <a:pt x="1096" y="356"/>
                      <a:pt x="1109" y="359"/>
                      <a:pt x="1122" y="358"/>
                    </a:cubicBezTo>
                    <a:cubicBezTo>
                      <a:pt x="1126" y="358"/>
                      <a:pt x="1130" y="358"/>
                      <a:pt x="1133" y="358"/>
                    </a:cubicBezTo>
                    <a:cubicBezTo>
                      <a:pt x="1134" y="358"/>
                      <a:pt x="1134" y="358"/>
                      <a:pt x="1134" y="358"/>
                    </a:cubicBezTo>
                    <a:cubicBezTo>
                      <a:pt x="1133" y="362"/>
                      <a:pt x="1132" y="365"/>
                      <a:pt x="1131" y="368"/>
                    </a:cubicBezTo>
                    <a:cubicBezTo>
                      <a:pt x="1129" y="377"/>
                      <a:pt x="1124" y="385"/>
                      <a:pt x="1119" y="392"/>
                    </a:cubicBezTo>
                    <a:cubicBezTo>
                      <a:pt x="1116" y="399"/>
                      <a:pt x="1117" y="408"/>
                      <a:pt x="1114" y="415"/>
                    </a:cubicBezTo>
                    <a:cubicBezTo>
                      <a:pt x="1112" y="423"/>
                      <a:pt x="1108" y="431"/>
                      <a:pt x="1104" y="438"/>
                    </a:cubicBezTo>
                    <a:cubicBezTo>
                      <a:pt x="1098" y="450"/>
                      <a:pt x="1095" y="463"/>
                      <a:pt x="1091" y="476"/>
                    </a:cubicBezTo>
                    <a:cubicBezTo>
                      <a:pt x="1085" y="483"/>
                      <a:pt x="1080" y="492"/>
                      <a:pt x="1071" y="496"/>
                    </a:cubicBezTo>
                    <a:cubicBezTo>
                      <a:pt x="1064" y="501"/>
                      <a:pt x="1057" y="507"/>
                      <a:pt x="1050" y="510"/>
                    </a:cubicBezTo>
                    <a:cubicBezTo>
                      <a:pt x="1043" y="512"/>
                      <a:pt x="1037" y="515"/>
                      <a:pt x="1031" y="519"/>
                    </a:cubicBezTo>
                    <a:cubicBezTo>
                      <a:pt x="1022" y="525"/>
                      <a:pt x="1016" y="534"/>
                      <a:pt x="1008" y="542"/>
                    </a:cubicBezTo>
                    <a:cubicBezTo>
                      <a:pt x="1005" y="548"/>
                      <a:pt x="1000" y="552"/>
                      <a:pt x="998" y="558"/>
                    </a:cubicBezTo>
                    <a:cubicBezTo>
                      <a:pt x="995" y="566"/>
                      <a:pt x="987" y="570"/>
                      <a:pt x="984" y="578"/>
                    </a:cubicBezTo>
                    <a:cubicBezTo>
                      <a:pt x="976" y="591"/>
                      <a:pt x="967" y="603"/>
                      <a:pt x="958" y="616"/>
                    </a:cubicBezTo>
                    <a:cubicBezTo>
                      <a:pt x="953" y="625"/>
                      <a:pt x="946" y="632"/>
                      <a:pt x="939" y="639"/>
                    </a:cubicBezTo>
                    <a:cubicBezTo>
                      <a:pt x="931" y="650"/>
                      <a:pt x="922" y="661"/>
                      <a:pt x="913" y="672"/>
                    </a:cubicBezTo>
                    <a:cubicBezTo>
                      <a:pt x="899" y="682"/>
                      <a:pt x="886" y="693"/>
                      <a:pt x="871" y="702"/>
                    </a:cubicBezTo>
                    <a:cubicBezTo>
                      <a:pt x="858" y="713"/>
                      <a:pt x="847" y="726"/>
                      <a:pt x="836" y="739"/>
                    </a:cubicBezTo>
                    <a:cubicBezTo>
                      <a:pt x="827" y="748"/>
                      <a:pt x="816" y="756"/>
                      <a:pt x="807" y="765"/>
                    </a:cubicBezTo>
                    <a:cubicBezTo>
                      <a:pt x="798" y="775"/>
                      <a:pt x="784" y="780"/>
                      <a:pt x="774" y="789"/>
                    </a:cubicBezTo>
                    <a:cubicBezTo>
                      <a:pt x="764" y="798"/>
                      <a:pt x="755" y="808"/>
                      <a:pt x="743" y="814"/>
                    </a:cubicBezTo>
                    <a:cubicBezTo>
                      <a:pt x="719" y="827"/>
                      <a:pt x="698" y="844"/>
                      <a:pt x="671" y="851"/>
                    </a:cubicBezTo>
                    <a:cubicBezTo>
                      <a:pt x="660" y="853"/>
                      <a:pt x="649" y="851"/>
                      <a:pt x="638" y="850"/>
                    </a:cubicBezTo>
                    <a:cubicBezTo>
                      <a:pt x="628" y="850"/>
                      <a:pt x="617" y="849"/>
                      <a:pt x="608" y="853"/>
                    </a:cubicBezTo>
                    <a:cubicBezTo>
                      <a:pt x="604" y="854"/>
                      <a:pt x="599" y="857"/>
                      <a:pt x="602" y="861"/>
                    </a:cubicBezTo>
                    <a:cubicBezTo>
                      <a:pt x="605" y="866"/>
                      <a:pt x="604" y="870"/>
                      <a:pt x="603" y="875"/>
                    </a:cubicBezTo>
                    <a:cubicBezTo>
                      <a:pt x="594" y="873"/>
                      <a:pt x="585" y="873"/>
                      <a:pt x="577" y="870"/>
                    </a:cubicBezTo>
                    <a:cubicBezTo>
                      <a:pt x="570" y="866"/>
                      <a:pt x="563" y="868"/>
                      <a:pt x="556" y="868"/>
                    </a:cubicBezTo>
                    <a:cubicBezTo>
                      <a:pt x="552" y="872"/>
                      <a:pt x="549" y="878"/>
                      <a:pt x="545" y="882"/>
                    </a:cubicBezTo>
                    <a:cubicBezTo>
                      <a:pt x="540" y="882"/>
                      <a:pt x="535" y="882"/>
                      <a:pt x="530" y="882"/>
                    </a:cubicBezTo>
                    <a:cubicBezTo>
                      <a:pt x="517" y="878"/>
                      <a:pt x="504" y="873"/>
                      <a:pt x="491" y="870"/>
                    </a:cubicBezTo>
                    <a:cubicBezTo>
                      <a:pt x="481" y="868"/>
                      <a:pt x="470" y="865"/>
                      <a:pt x="460" y="866"/>
                    </a:cubicBezTo>
                    <a:cubicBezTo>
                      <a:pt x="455" y="866"/>
                      <a:pt x="451" y="868"/>
                      <a:pt x="447" y="871"/>
                    </a:cubicBezTo>
                    <a:cubicBezTo>
                      <a:pt x="444" y="875"/>
                      <a:pt x="439" y="875"/>
                      <a:pt x="434" y="875"/>
                    </a:cubicBezTo>
                    <a:cubicBezTo>
                      <a:pt x="427" y="873"/>
                      <a:pt x="419" y="870"/>
                      <a:pt x="412" y="868"/>
                    </a:cubicBezTo>
                    <a:cubicBezTo>
                      <a:pt x="400" y="863"/>
                      <a:pt x="387" y="867"/>
                      <a:pt x="375" y="868"/>
                    </a:cubicBezTo>
                    <a:cubicBezTo>
                      <a:pt x="370" y="874"/>
                      <a:pt x="363" y="878"/>
                      <a:pt x="355" y="880"/>
                    </a:cubicBezTo>
                    <a:cubicBezTo>
                      <a:pt x="349" y="880"/>
                      <a:pt x="350" y="886"/>
                      <a:pt x="348" y="890"/>
                    </a:cubicBezTo>
                    <a:cubicBezTo>
                      <a:pt x="340" y="894"/>
                      <a:pt x="331" y="891"/>
                      <a:pt x="323" y="890"/>
                    </a:cubicBezTo>
                    <a:cubicBezTo>
                      <a:pt x="318" y="889"/>
                      <a:pt x="314" y="890"/>
                      <a:pt x="311" y="893"/>
                    </a:cubicBezTo>
                    <a:cubicBezTo>
                      <a:pt x="303" y="892"/>
                      <a:pt x="294" y="889"/>
                      <a:pt x="286" y="891"/>
                    </a:cubicBezTo>
                    <a:cubicBezTo>
                      <a:pt x="281" y="891"/>
                      <a:pt x="277" y="892"/>
                      <a:pt x="274" y="896"/>
                    </a:cubicBezTo>
                    <a:cubicBezTo>
                      <a:pt x="267" y="895"/>
                      <a:pt x="260" y="896"/>
                      <a:pt x="253" y="897"/>
                    </a:cubicBezTo>
                    <a:cubicBezTo>
                      <a:pt x="250" y="899"/>
                      <a:pt x="247" y="904"/>
                      <a:pt x="243" y="907"/>
                    </a:cubicBezTo>
                    <a:cubicBezTo>
                      <a:pt x="241" y="911"/>
                      <a:pt x="236" y="911"/>
                      <a:pt x="231" y="912"/>
                    </a:cubicBezTo>
                    <a:cubicBezTo>
                      <a:pt x="224" y="913"/>
                      <a:pt x="216" y="913"/>
                      <a:pt x="209" y="911"/>
                    </a:cubicBezTo>
                    <a:cubicBezTo>
                      <a:pt x="205" y="907"/>
                      <a:pt x="198" y="912"/>
                      <a:pt x="193" y="908"/>
                    </a:cubicBezTo>
                    <a:cubicBezTo>
                      <a:pt x="190" y="905"/>
                      <a:pt x="184" y="906"/>
                      <a:pt x="182" y="902"/>
                    </a:cubicBezTo>
                    <a:cubicBezTo>
                      <a:pt x="183" y="897"/>
                      <a:pt x="183" y="893"/>
                      <a:pt x="179" y="890"/>
                    </a:cubicBezTo>
                    <a:cubicBezTo>
                      <a:pt x="174" y="888"/>
                      <a:pt x="168" y="889"/>
                      <a:pt x="163" y="889"/>
                    </a:cubicBezTo>
                    <a:cubicBezTo>
                      <a:pt x="158" y="890"/>
                      <a:pt x="154" y="890"/>
                      <a:pt x="150" y="887"/>
                    </a:cubicBezTo>
                    <a:cubicBezTo>
                      <a:pt x="152" y="881"/>
                      <a:pt x="152" y="874"/>
                      <a:pt x="151" y="867"/>
                    </a:cubicBezTo>
                    <a:cubicBezTo>
                      <a:pt x="147" y="867"/>
                      <a:pt x="142" y="866"/>
                      <a:pt x="137" y="867"/>
                    </a:cubicBezTo>
                    <a:cubicBezTo>
                      <a:pt x="132" y="866"/>
                      <a:pt x="128" y="870"/>
                      <a:pt x="129" y="875"/>
                    </a:cubicBezTo>
                    <a:cubicBezTo>
                      <a:pt x="128" y="879"/>
                      <a:pt x="131" y="884"/>
                      <a:pt x="129" y="887"/>
                    </a:cubicBezTo>
                    <a:cubicBezTo>
                      <a:pt x="126" y="888"/>
                      <a:pt x="124" y="880"/>
                      <a:pt x="122" y="878"/>
                    </a:cubicBezTo>
                    <a:cubicBezTo>
                      <a:pt x="122" y="869"/>
                      <a:pt x="120" y="860"/>
                      <a:pt x="125" y="853"/>
                    </a:cubicBezTo>
                    <a:cubicBezTo>
                      <a:pt x="129" y="849"/>
                      <a:pt x="127" y="845"/>
                      <a:pt x="127" y="840"/>
                    </a:cubicBezTo>
                    <a:cubicBezTo>
                      <a:pt x="121" y="834"/>
                      <a:pt x="116" y="828"/>
                      <a:pt x="113" y="820"/>
                    </a:cubicBezTo>
                    <a:cubicBezTo>
                      <a:pt x="112" y="815"/>
                      <a:pt x="107" y="815"/>
                      <a:pt x="105" y="811"/>
                    </a:cubicBezTo>
                    <a:cubicBezTo>
                      <a:pt x="104" y="807"/>
                      <a:pt x="96" y="802"/>
                      <a:pt x="101" y="800"/>
                    </a:cubicBezTo>
                    <a:cubicBezTo>
                      <a:pt x="105" y="800"/>
                      <a:pt x="101" y="792"/>
                      <a:pt x="98" y="790"/>
                    </a:cubicBezTo>
                    <a:cubicBezTo>
                      <a:pt x="95" y="787"/>
                      <a:pt x="88" y="788"/>
                      <a:pt x="90" y="782"/>
                    </a:cubicBezTo>
                    <a:cubicBezTo>
                      <a:pt x="90" y="777"/>
                      <a:pt x="92" y="772"/>
                      <a:pt x="95" y="767"/>
                    </a:cubicBezTo>
                    <a:cubicBezTo>
                      <a:pt x="99" y="769"/>
                      <a:pt x="104" y="770"/>
                      <a:pt x="108" y="772"/>
                    </a:cubicBezTo>
                    <a:cubicBezTo>
                      <a:pt x="113" y="767"/>
                      <a:pt x="117" y="761"/>
                      <a:pt x="120" y="755"/>
                    </a:cubicBezTo>
                    <a:cubicBezTo>
                      <a:pt x="121" y="746"/>
                      <a:pt x="120" y="737"/>
                      <a:pt x="120" y="728"/>
                    </a:cubicBezTo>
                    <a:cubicBezTo>
                      <a:pt x="119" y="721"/>
                      <a:pt x="120" y="714"/>
                      <a:pt x="118" y="707"/>
                    </a:cubicBezTo>
                    <a:cubicBezTo>
                      <a:pt x="113" y="695"/>
                      <a:pt x="105" y="685"/>
                      <a:pt x="99" y="675"/>
                    </a:cubicBezTo>
                    <a:cubicBezTo>
                      <a:pt x="94" y="666"/>
                      <a:pt x="87" y="659"/>
                      <a:pt x="82" y="650"/>
                    </a:cubicBezTo>
                    <a:cubicBezTo>
                      <a:pt x="77" y="642"/>
                      <a:pt x="77" y="632"/>
                      <a:pt x="71" y="624"/>
                    </a:cubicBezTo>
                    <a:cubicBezTo>
                      <a:pt x="65" y="617"/>
                      <a:pt x="62" y="608"/>
                      <a:pt x="58" y="600"/>
                    </a:cubicBezTo>
                    <a:cubicBezTo>
                      <a:pt x="48" y="583"/>
                      <a:pt x="43" y="563"/>
                      <a:pt x="38" y="545"/>
                    </a:cubicBezTo>
                    <a:cubicBezTo>
                      <a:pt x="33" y="531"/>
                      <a:pt x="27" y="518"/>
                      <a:pt x="22" y="505"/>
                    </a:cubicBezTo>
                    <a:cubicBezTo>
                      <a:pt x="20" y="497"/>
                      <a:pt x="12" y="492"/>
                      <a:pt x="8" y="486"/>
                    </a:cubicBezTo>
                    <a:cubicBezTo>
                      <a:pt x="4" y="483"/>
                      <a:pt x="6" y="478"/>
                      <a:pt x="5" y="473"/>
                    </a:cubicBezTo>
                    <a:close/>
                    <a:moveTo>
                      <a:pt x="876" y="544"/>
                    </a:moveTo>
                    <a:cubicBezTo>
                      <a:pt x="891" y="539"/>
                      <a:pt x="882" y="525"/>
                      <a:pt x="878" y="515"/>
                    </a:cubicBezTo>
                    <a:cubicBezTo>
                      <a:pt x="868" y="512"/>
                      <a:pt x="860" y="503"/>
                      <a:pt x="853" y="495"/>
                    </a:cubicBezTo>
                    <a:cubicBezTo>
                      <a:pt x="847" y="488"/>
                      <a:pt x="840" y="483"/>
                      <a:pt x="836" y="477"/>
                    </a:cubicBezTo>
                    <a:cubicBezTo>
                      <a:pt x="823" y="477"/>
                      <a:pt x="813" y="486"/>
                      <a:pt x="800" y="486"/>
                    </a:cubicBezTo>
                    <a:cubicBezTo>
                      <a:pt x="793" y="502"/>
                      <a:pt x="775" y="493"/>
                      <a:pt x="767" y="507"/>
                    </a:cubicBezTo>
                    <a:cubicBezTo>
                      <a:pt x="759" y="520"/>
                      <a:pt x="749" y="531"/>
                      <a:pt x="739" y="542"/>
                    </a:cubicBezTo>
                    <a:cubicBezTo>
                      <a:pt x="731" y="547"/>
                      <a:pt x="712" y="548"/>
                      <a:pt x="724" y="559"/>
                    </a:cubicBezTo>
                    <a:cubicBezTo>
                      <a:pt x="726" y="572"/>
                      <a:pt x="738" y="583"/>
                      <a:pt x="740" y="593"/>
                    </a:cubicBezTo>
                    <a:cubicBezTo>
                      <a:pt x="735" y="604"/>
                      <a:pt x="754" y="605"/>
                      <a:pt x="756" y="617"/>
                    </a:cubicBezTo>
                    <a:cubicBezTo>
                      <a:pt x="765" y="627"/>
                      <a:pt x="789" y="633"/>
                      <a:pt x="791" y="614"/>
                    </a:cubicBezTo>
                    <a:cubicBezTo>
                      <a:pt x="795" y="609"/>
                      <a:pt x="798" y="593"/>
                      <a:pt x="797" y="599"/>
                    </a:cubicBezTo>
                    <a:cubicBezTo>
                      <a:pt x="810" y="587"/>
                      <a:pt x="827" y="592"/>
                      <a:pt x="841" y="586"/>
                    </a:cubicBezTo>
                    <a:cubicBezTo>
                      <a:pt x="844" y="585"/>
                      <a:pt x="847" y="583"/>
                      <a:pt x="850" y="582"/>
                    </a:cubicBezTo>
                    <a:cubicBezTo>
                      <a:pt x="861" y="580"/>
                      <a:pt x="861" y="570"/>
                      <a:pt x="861" y="562"/>
                    </a:cubicBezTo>
                    <a:cubicBezTo>
                      <a:pt x="867" y="555"/>
                      <a:pt x="874" y="553"/>
                      <a:pt x="876" y="544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3348579" name="Somalia"/>
              <p:cNvGrpSpPr>
                <a:grpSpLocks/>
              </p:cNvGrpSpPr>
              <p:nvPr/>
            </p:nvGrpSpPr>
            <p:grpSpPr bwMode="auto">
              <a:xfrm>
                <a:off x="5334169" y="4163228"/>
                <a:ext cx="261619" cy="469828"/>
                <a:chOff x="5334169" y="4144139"/>
                <a:chExt cx="261619" cy="469828"/>
              </a:xfrm>
            </p:grpSpPr>
            <p:sp>
              <p:nvSpPr>
                <p:cNvPr id="827" name="Somalia"/>
                <p:cNvSpPr>
                  <a:spLocks/>
                </p:cNvSpPr>
                <p:nvPr/>
              </p:nvSpPr>
              <p:spPr bwMode="auto">
                <a:xfrm>
                  <a:off x="5368622" y="4166658"/>
                  <a:ext cx="166395" cy="116669"/>
                </a:xfrm>
                <a:custGeom>
                  <a:avLst/>
                  <a:gdLst>
                    <a:gd name="T0" fmla="*/ 48 w 457"/>
                    <a:gd name="T1" fmla="*/ 10 h 269"/>
                    <a:gd name="T2" fmla="*/ 67 w 457"/>
                    <a:gd name="T3" fmla="*/ 28 h 269"/>
                    <a:gd name="T4" fmla="*/ 101 w 457"/>
                    <a:gd name="T5" fmla="*/ 70 h 269"/>
                    <a:gd name="T6" fmla="*/ 118 w 457"/>
                    <a:gd name="T7" fmla="*/ 81 h 269"/>
                    <a:gd name="T8" fmla="*/ 147 w 457"/>
                    <a:gd name="T9" fmla="*/ 90 h 269"/>
                    <a:gd name="T10" fmla="*/ 172 w 457"/>
                    <a:gd name="T11" fmla="*/ 89 h 269"/>
                    <a:gd name="T12" fmla="*/ 190 w 457"/>
                    <a:gd name="T13" fmla="*/ 77 h 269"/>
                    <a:gd name="T14" fmla="*/ 229 w 457"/>
                    <a:gd name="T15" fmla="*/ 49 h 269"/>
                    <a:gd name="T16" fmla="*/ 266 w 457"/>
                    <a:gd name="T17" fmla="*/ 60 h 269"/>
                    <a:gd name="T18" fmla="*/ 297 w 457"/>
                    <a:gd name="T19" fmla="*/ 60 h 269"/>
                    <a:gd name="T20" fmla="*/ 326 w 457"/>
                    <a:gd name="T21" fmla="*/ 30 h 269"/>
                    <a:gd name="T22" fmla="*/ 345 w 457"/>
                    <a:gd name="T23" fmla="*/ 14 h 269"/>
                    <a:gd name="T24" fmla="*/ 367 w 457"/>
                    <a:gd name="T25" fmla="*/ 21 h 269"/>
                    <a:gd name="T26" fmla="*/ 402 w 457"/>
                    <a:gd name="T27" fmla="*/ 22 h 269"/>
                    <a:gd name="T28" fmla="*/ 404 w 457"/>
                    <a:gd name="T29" fmla="*/ 49 h 269"/>
                    <a:gd name="T30" fmla="*/ 425 w 457"/>
                    <a:gd name="T31" fmla="*/ 11 h 269"/>
                    <a:gd name="T32" fmla="*/ 438 w 457"/>
                    <a:gd name="T33" fmla="*/ 12 h 269"/>
                    <a:gd name="T34" fmla="*/ 457 w 457"/>
                    <a:gd name="T35" fmla="*/ 11 h 269"/>
                    <a:gd name="T36" fmla="*/ 457 w 457"/>
                    <a:gd name="T37" fmla="*/ 180 h 269"/>
                    <a:gd name="T38" fmla="*/ 399 w 457"/>
                    <a:gd name="T39" fmla="*/ 265 h 269"/>
                    <a:gd name="T40" fmla="*/ 399 w 457"/>
                    <a:gd name="T41" fmla="*/ 268 h 269"/>
                    <a:gd name="T42" fmla="*/ 332 w 457"/>
                    <a:gd name="T43" fmla="*/ 269 h 269"/>
                    <a:gd name="T44" fmla="*/ 110 w 457"/>
                    <a:gd name="T45" fmla="*/ 195 h 269"/>
                    <a:gd name="T46" fmla="*/ 75 w 457"/>
                    <a:gd name="T47" fmla="*/ 169 h 269"/>
                    <a:gd name="T48" fmla="*/ 52 w 457"/>
                    <a:gd name="T49" fmla="*/ 142 h 269"/>
                    <a:gd name="T50" fmla="*/ 32 w 457"/>
                    <a:gd name="T51" fmla="*/ 112 h 269"/>
                    <a:gd name="T52" fmla="*/ 14 w 457"/>
                    <a:gd name="T53" fmla="*/ 85 h 269"/>
                    <a:gd name="T54" fmla="*/ 17 w 457"/>
                    <a:gd name="T55" fmla="*/ 53 h 269"/>
                    <a:gd name="T56" fmla="*/ 23 w 457"/>
                    <a:gd name="T57" fmla="*/ 42 h 269"/>
                    <a:gd name="T58" fmla="*/ 22 w 457"/>
                    <a:gd name="T59" fmla="*/ 41 h 269"/>
                    <a:gd name="T60" fmla="*/ 40 w 457"/>
                    <a:gd name="T61" fmla="*/ 11 h 269"/>
                    <a:gd name="T62" fmla="*/ 42 w 457"/>
                    <a:gd name="T63" fmla="*/ 7 h 269"/>
                    <a:gd name="T64" fmla="*/ 42 w 457"/>
                    <a:gd name="T65" fmla="*/ 7 h 269"/>
                    <a:gd name="T66" fmla="*/ 48 w 457"/>
                    <a:gd name="T67" fmla="*/ 10 h 2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57" h="269">
                      <a:moveTo>
                        <a:pt x="48" y="10"/>
                      </a:moveTo>
                      <a:cubicBezTo>
                        <a:pt x="56" y="14"/>
                        <a:pt x="61" y="21"/>
                        <a:pt x="67" y="28"/>
                      </a:cubicBezTo>
                      <a:cubicBezTo>
                        <a:pt x="77" y="43"/>
                        <a:pt x="88" y="57"/>
                        <a:pt x="101" y="70"/>
                      </a:cubicBezTo>
                      <a:cubicBezTo>
                        <a:pt x="105" y="76"/>
                        <a:pt x="111" y="78"/>
                        <a:pt x="118" y="81"/>
                      </a:cubicBezTo>
                      <a:cubicBezTo>
                        <a:pt x="126" y="87"/>
                        <a:pt x="137" y="87"/>
                        <a:pt x="147" y="90"/>
                      </a:cubicBezTo>
                      <a:cubicBezTo>
                        <a:pt x="155" y="93"/>
                        <a:pt x="164" y="89"/>
                        <a:pt x="172" y="89"/>
                      </a:cubicBezTo>
                      <a:cubicBezTo>
                        <a:pt x="178" y="86"/>
                        <a:pt x="184" y="81"/>
                        <a:pt x="190" y="77"/>
                      </a:cubicBezTo>
                      <a:cubicBezTo>
                        <a:pt x="203" y="68"/>
                        <a:pt x="215" y="58"/>
                        <a:pt x="229" y="49"/>
                      </a:cubicBezTo>
                      <a:cubicBezTo>
                        <a:pt x="241" y="52"/>
                        <a:pt x="254" y="56"/>
                        <a:pt x="266" y="60"/>
                      </a:cubicBezTo>
                      <a:cubicBezTo>
                        <a:pt x="276" y="61"/>
                        <a:pt x="287" y="60"/>
                        <a:pt x="297" y="60"/>
                      </a:cubicBezTo>
                      <a:cubicBezTo>
                        <a:pt x="307" y="51"/>
                        <a:pt x="317" y="41"/>
                        <a:pt x="326" y="30"/>
                      </a:cubicBezTo>
                      <a:cubicBezTo>
                        <a:pt x="331" y="23"/>
                        <a:pt x="338" y="19"/>
                        <a:pt x="345" y="14"/>
                      </a:cubicBezTo>
                      <a:cubicBezTo>
                        <a:pt x="352" y="17"/>
                        <a:pt x="360" y="19"/>
                        <a:pt x="367" y="21"/>
                      </a:cubicBezTo>
                      <a:cubicBezTo>
                        <a:pt x="379" y="22"/>
                        <a:pt x="391" y="24"/>
                        <a:pt x="402" y="22"/>
                      </a:cubicBezTo>
                      <a:cubicBezTo>
                        <a:pt x="403" y="31"/>
                        <a:pt x="404" y="40"/>
                        <a:pt x="404" y="49"/>
                      </a:cubicBezTo>
                      <a:cubicBezTo>
                        <a:pt x="411" y="37"/>
                        <a:pt x="418" y="24"/>
                        <a:pt x="425" y="11"/>
                      </a:cubicBezTo>
                      <a:cubicBezTo>
                        <a:pt x="428" y="9"/>
                        <a:pt x="434" y="12"/>
                        <a:pt x="438" y="12"/>
                      </a:cubicBezTo>
                      <a:cubicBezTo>
                        <a:pt x="444" y="12"/>
                        <a:pt x="451" y="12"/>
                        <a:pt x="457" y="11"/>
                      </a:cubicBezTo>
                      <a:cubicBezTo>
                        <a:pt x="457" y="180"/>
                        <a:pt x="457" y="180"/>
                        <a:pt x="457" y="180"/>
                      </a:cubicBezTo>
                      <a:cubicBezTo>
                        <a:pt x="399" y="265"/>
                        <a:pt x="399" y="265"/>
                        <a:pt x="399" y="265"/>
                      </a:cubicBezTo>
                      <a:cubicBezTo>
                        <a:pt x="399" y="268"/>
                        <a:pt x="399" y="268"/>
                        <a:pt x="399" y="268"/>
                      </a:cubicBezTo>
                      <a:cubicBezTo>
                        <a:pt x="377" y="268"/>
                        <a:pt x="354" y="269"/>
                        <a:pt x="332" y="269"/>
                      </a:cubicBezTo>
                      <a:cubicBezTo>
                        <a:pt x="258" y="244"/>
                        <a:pt x="185" y="219"/>
                        <a:pt x="110" y="195"/>
                      </a:cubicBezTo>
                      <a:cubicBezTo>
                        <a:pt x="98" y="187"/>
                        <a:pt x="90" y="170"/>
                        <a:pt x="75" y="169"/>
                      </a:cubicBezTo>
                      <a:cubicBezTo>
                        <a:pt x="65" y="163"/>
                        <a:pt x="61" y="150"/>
                        <a:pt x="52" y="142"/>
                      </a:cubicBezTo>
                      <a:cubicBezTo>
                        <a:pt x="54" y="125"/>
                        <a:pt x="34" y="127"/>
                        <a:pt x="32" y="112"/>
                      </a:cubicBezTo>
                      <a:cubicBezTo>
                        <a:pt x="21" y="107"/>
                        <a:pt x="17" y="96"/>
                        <a:pt x="14" y="85"/>
                      </a:cubicBezTo>
                      <a:cubicBezTo>
                        <a:pt x="0" y="76"/>
                        <a:pt x="11" y="63"/>
                        <a:pt x="17" y="53"/>
                      </a:cubicBezTo>
                      <a:cubicBezTo>
                        <a:pt x="21" y="49"/>
                        <a:pt x="22" y="47"/>
                        <a:pt x="23" y="42"/>
                      </a:cubicBezTo>
                      <a:cubicBezTo>
                        <a:pt x="22" y="41"/>
                        <a:pt x="22" y="41"/>
                        <a:pt x="22" y="41"/>
                      </a:cubicBezTo>
                      <a:cubicBezTo>
                        <a:pt x="31" y="33"/>
                        <a:pt x="34" y="20"/>
                        <a:pt x="40" y="11"/>
                      </a:cubicBezTo>
                      <a:cubicBezTo>
                        <a:pt x="41" y="9"/>
                        <a:pt x="41" y="8"/>
                        <a:pt x="42" y="7"/>
                      </a:cubicBezTo>
                      <a:cubicBezTo>
                        <a:pt x="42" y="7"/>
                        <a:pt x="42" y="7"/>
                        <a:pt x="42" y="7"/>
                      </a:cubicBezTo>
                      <a:cubicBezTo>
                        <a:pt x="39" y="0"/>
                        <a:pt x="44" y="9"/>
                        <a:pt x="48" y="10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28" name="Somalia"/>
                <p:cNvSpPr>
                  <a:spLocks/>
                </p:cNvSpPr>
                <p:nvPr/>
              </p:nvSpPr>
              <p:spPr bwMode="auto">
                <a:xfrm>
                  <a:off x="5334196" y="4143706"/>
                  <a:ext cx="262024" cy="470500"/>
                </a:xfrm>
                <a:custGeom>
                  <a:avLst/>
                  <a:gdLst>
                    <a:gd name="T0" fmla="*/ 494 w 719"/>
                    <a:gd name="T1" fmla="*/ 322 h 1088"/>
                    <a:gd name="T2" fmla="*/ 552 w 719"/>
                    <a:gd name="T3" fmla="*/ 234 h 1088"/>
                    <a:gd name="T4" fmla="*/ 569 w 719"/>
                    <a:gd name="T5" fmla="*/ 61 h 1088"/>
                    <a:gd name="T6" fmla="*/ 626 w 719"/>
                    <a:gd name="T7" fmla="*/ 41 h 1088"/>
                    <a:gd name="T8" fmla="*/ 650 w 719"/>
                    <a:gd name="T9" fmla="*/ 13 h 1088"/>
                    <a:gd name="T10" fmla="*/ 669 w 719"/>
                    <a:gd name="T11" fmla="*/ 6 h 1088"/>
                    <a:gd name="T12" fmla="*/ 699 w 719"/>
                    <a:gd name="T13" fmla="*/ 20 h 1088"/>
                    <a:gd name="T14" fmla="*/ 695 w 719"/>
                    <a:gd name="T15" fmla="*/ 48 h 1088"/>
                    <a:gd name="T16" fmla="*/ 705 w 719"/>
                    <a:gd name="T17" fmla="*/ 111 h 1088"/>
                    <a:gd name="T18" fmla="*/ 719 w 719"/>
                    <a:gd name="T19" fmla="*/ 126 h 1088"/>
                    <a:gd name="T20" fmla="*/ 691 w 719"/>
                    <a:gd name="T21" fmla="*/ 145 h 1088"/>
                    <a:gd name="T22" fmla="*/ 687 w 719"/>
                    <a:gd name="T23" fmla="*/ 205 h 1088"/>
                    <a:gd name="T24" fmla="*/ 671 w 719"/>
                    <a:gd name="T25" fmla="*/ 246 h 1088"/>
                    <a:gd name="T26" fmla="*/ 658 w 719"/>
                    <a:gd name="T27" fmla="*/ 276 h 1088"/>
                    <a:gd name="T28" fmla="*/ 642 w 719"/>
                    <a:gd name="T29" fmla="*/ 305 h 1088"/>
                    <a:gd name="T30" fmla="*/ 626 w 719"/>
                    <a:gd name="T31" fmla="*/ 350 h 1088"/>
                    <a:gd name="T32" fmla="*/ 586 w 719"/>
                    <a:gd name="T33" fmla="*/ 441 h 1088"/>
                    <a:gd name="T34" fmla="*/ 579 w 719"/>
                    <a:gd name="T35" fmla="*/ 481 h 1088"/>
                    <a:gd name="T36" fmla="*/ 552 w 719"/>
                    <a:gd name="T37" fmla="*/ 523 h 1088"/>
                    <a:gd name="T38" fmla="*/ 510 w 719"/>
                    <a:gd name="T39" fmla="*/ 596 h 1088"/>
                    <a:gd name="T40" fmla="*/ 461 w 719"/>
                    <a:gd name="T41" fmla="*/ 661 h 1088"/>
                    <a:gd name="T42" fmla="*/ 421 w 719"/>
                    <a:gd name="T43" fmla="*/ 708 h 1088"/>
                    <a:gd name="T44" fmla="*/ 393 w 719"/>
                    <a:gd name="T45" fmla="*/ 739 h 1088"/>
                    <a:gd name="T46" fmla="*/ 322 w 719"/>
                    <a:gd name="T47" fmla="*/ 801 h 1088"/>
                    <a:gd name="T48" fmla="*/ 257 w 719"/>
                    <a:gd name="T49" fmla="*/ 842 h 1088"/>
                    <a:gd name="T50" fmla="*/ 215 w 719"/>
                    <a:gd name="T51" fmla="*/ 881 h 1088"/>
                    <a:gd name="T52" fmla="*/ 147 w 719"/>
                    <a:gd name="T53" fmla="*/ 959 h 1088"/>
                    <a:gd name="T54" fmla="*/ 126 w 719"/>
                    <a:gd name="T55" fmla="*/ 969 h 1088"/>
                    <a:gd name="T56" fmla="*/ 126 w 719"/>
                    <a:gd name="T57" fmla="*/ 974 h 1088"/>
                    <a:gd name="T58" fmla="*/ 116 w 719"/>
                    <a:gd name="T59" fmla="*/ 996 h 1088"/>
                    <a:gd name="T60" fmla="*/ 63 w 719"/>
                    <a:gd name="T61" fmla="*/ 1059 h 1088"/>
                    <a:gd name="T62" fmla="*/ 49 w 719"/>
                    <a:gd name="T63" fmla="*/ 1088 h 1088"/>
                    <a:gd name="T64" fmla="*/ 48 w 719"/>
                    <a:gd name="T65" fmla="*/ 1081 h 1088"/>
                    <a:gd name="T66" fmla="*/ 5 w 719"/>
                    <a:gd name="T67" fmla="*/ 1016 h 1088"/>
                    <a:gd name="T68" fmla="*/ 25 w 719"/>
                    <a:gd name="T69" fmla="*/ 708 h 1088"/>
                    <a:gd name="T70" fmla="*/ 68 w 719"/>
                    <a:gd name="T71" fmla="*/ 642 h 1088"/>
                    <a:gd name="T72" fmla="*/ 100 w 719"/>
                    <a:gd name="T73" fmla="*/ 625 h 1088"/>
                    <a:gd name="T74" fmla="*/ 159 w 719"/>
                    <a:gd name="T75" fmla="*/ 588 h 1088"/>
                    <a:gd name="T76" fmla="*/ 243 w 719"/>
                    <a:gd name="T77" fmla="*/ 566 h 1088"/>
                    <a:gd name="T78" fmla="*/ 401 w 719"/>
                    <a:gd name="T79" fmla="*/ 431 h 10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719" h="1088">
                      <a:moveTo>
                        <a:pt x="497" y="322"/>
                      </a:moveTo>
                      <a:cubicBezTo>
                        <a:pt x="496" y="322"/>
                        <a:pt x="495" y="322"/>
                        <a:pt x="494" y="322"/>
                      </a:cubicBezTo>
                      <a:cubicBezTo>
                        <a:pt x="494" y="319"/>
                        <a:pt x="494" y="319"/>
                        <a:pt x="494" y="319"/>
                      </a:cubicBezTo>
                      <a:cubicBezTo>
                        <a:pt x="552" y="234"/>
                        <a:pt x="552" y="234"/>
                        <a:pt x="552" y="234"/>
                      </a:cubicBezTo>
                      <a:cubicBezTo>
                        <a:pt x="552" y="65"/>
                        <a:pt x="552" y="65"/>
                        <a:pt x="552" y="65"/>
                      </a:cubicBezTo>
                      <a:cubicBezTo>
                        <a:pt x="558" y="64"/>
                        <a:pt x="564" y="63"/>
                        <a:pt x="569" y="61"/>
                      </a:cubicBezTo>
                      <a:cubicBezTo>
                        <a:pt x="577" y="59"/>
                        <a:pt x="582" y="53"/>
                        <a:pt x="590" y="51"/>
                      </a:cubicBezTo>
                      <a:cubicBezTo>
                        <a:pt x="601" y="45"/>
                        <a:pt x="614" y="44"/>
                        <a:pt x="626" y="41"/>
                      </a:cubicBezTo>
                      <a:cubicBezTo>
                        <a:pt x="631" y="40"/>
                        <a:pt x="635" y="36"/>
                        <a:pt x="638" y="32"/>
                      </a:cubicBezTo>
                      <a:cubicBezTo>
                        <a:pt x="645" y="28"/>
                        <a:pt x="647" y="20"/>
                        <a:pt x="650" y="13"/>
                      </a:cubicBezTo>
                      <a:cubicBezTo>
                        <a:pt x="651" y="7"/>
                        <a:pt x="656" y="7"/>
                        <a:pt x="660" y="9"/>
                      </a:cubicBezTo>
                      <a:cubicBezTo>
                        <a:pt x="665" y="12"/>
                        <a:pt x="663" y="0"/>
                        <a:pt x="669" y="6"/>
                      </a:cubicBezTo>
                      <a:cubicBezTo>
                        <a:pt x="676" y="10"/>
                        <a:pt x="684" y="7"/>
                        <a:pt x="690" y="11"/>
                      </a:cubicBezTo>
                      <a:cubicBezTo>
                        <a:pt x="694" y="13"/>
                        <a:pt x="699" y="14"/>
                        <a:pt x="699" y="20"/>
                      </a:cubicBezTo>
                      <a:cubicBezTo>
                        <a:pt x="701" y="24"/>
                        <a:pt x="704" y="28"/>
                        <a:pt x="700" y="32"/>
                      </a:cubicBezTo>
                      <a:cubicBezTo>
                        <a:pt x="696" y="37"/>
                        <a:pt x="696" y="43"/>
                        <a:pt x="695" y="48"/>
                      </a:cubicBezTo>
                      <a:cubicBezTo>
                        <a:pt x="693" y="58"/>
                        <a:pt x="699" y="67"/>
                        <a:pt x="702" y="77"/>
                      </a:cubicBezTo>
                      <a:cubicBezTo>
                        <a:pt x="704" y="88"/>
                        <a:pt x="704" y="99"/>
                        <a:pt x="705" y="111"/>
                      </a:cubicBezTo>
                      <a:cubicBezTo>
                        <a:pt x="706" y="115"/>
                        <a:pt x="702" y="122"/>
                        <a:pt x="709" y="120"/>
                      </a:cubicBezTo>
                      <a:cubicBezTo>
                        <a:pt x="714" y="117"/>
                        <a:pt x="716" y="124"/>
                        <a:pt x="719" y="126"/>
                      </a:cubicBezTo>
                      <a:cubicBezTo>
                        <a:pt x="711" y="127"/>
                        <a:pt x="704" y="129"/>
                        <a:pt x="697" y="132"/>
                      </a:cubicBezTo>
                      <a:cubicBezTo>
                        <a:pt x="694" y="136"/>
                        <a:pt x="693" y="141"/>
                        <a:pt x="691" y="145"/>
                      </a:cubicBezTo>
                      <a:cubicBezTo>
                        <a:pt x="688" y="155"/>
                        <a:pt x="686" y="166"/>
                        <a:pt x="686" y="177"/>
                      </a:cubicBezTo>
                      <a:cubicBezTo>
                        <a:pt x="684" y="186"/>
                        <a:pt x="685" y="195"/>
                        <a:pt x="687" y="205"/>
                      </a:cubicBezTo>
                      <a:cubicBezTo>
                        <a:pt x="686" y="215"/>
                        <a:pt x="683" y="224"/>
                        <a:pt x="680" y="233"/>
                      </a:cubicBezTo>
                      <a:cubicBezTo>
                        <a:pt x="679" y="239"/>
                        <a:pt x="675" y="242"/>
                        <a:pt x="671" y="246"/>
                      </a:cubicBezTo>
                      <a:cubicBezTo>
                        <a:pt x="666" y="250"/>
                        <a:pt x="666" y="256"/>
                        <a:pt x="665" y="261"/>
                      </a:cubicBezTo>
                      <a:cubicBezTo>
                        <a:pt x="664" y="267"/>
                        <a:pt x="661" y="272"/>
                        <a:pt x="658" y="276"/>
                      </a:cubicBezTo>
                      <a:cubicBezTo>
                        <a:pt x="653" y="281"/>
                        <a:pt x="651" y="288"/>
                        <a:pt x="649" y="294"/>
                      </a:cubicBezTo>
                      <a:cubicBezTo>
                        <a:pt x="648" y="299"/>
                        <a:pt x="647" y="303"/>
                        <a:pt x="642" y="305"/>
                      </a:cubicBezTo>
                      <a:cubicBezTo>
                        <a:pt x="638" y="310"/>
                        <a:pt x="633" y="316"/>
                        <a:pt x="632" y="323"/>
                      </a:cubicBezTo>
                      <a:cubicBezTo>
                        <a:pt x="628" y="332"/>
                        <a:pt x="630" y="342"/>
                        <a:pt x="626" y="350"/>
                      </a:cubicBezTo>
                      <a:cubicBezTo>
                        <a:pt x="619" y="364"/>
                        <a:pt x="615" y="379"/>
                        <a:pt x="608" y="393"/>
                      </a:cubicBezTo>
                      <a:cubicBezTo>
                        <a:pt x="601" y="409"/>
                        <a:pt x="591" y="424"/>
                        <a:pt x="586" y="441"/>
                      </a:cubicBezTo>
                      <a:cubicBezTo>
                        <a:pt x="584" y="449"/>
                        <a:pt x="585" y="432"/>
                        <a:pt x="584" y="442"/>
                      </a:cubicBezTo>
                      <a:cubicBezTo>
                        <a:pt x="583" y="455"/>
                        <a:pt x="583" y="468"/>
                        <a:pt x="579" y="481"/>
                      </a:cubicBezTo>
                      <a:cubicBezTo>
                        <a:pt x="578" y="491"/>
                        <a:pt x="572" y="499"/>
                        <a:pt x="568" y="507"/>
                      </a:cubicBezTo>
                      <a:cubicBezTo>
                        <a:pt x="564" y="513"/>
                        <a:pt x="557" y="517"/>
                        <a:pt x="552" y="523"/>
                      </a:cubicBezTo>
                      <a:cubicBezTo>
                        <a:pt x="541" y="534"/>
                        <a:pt x="531" y="547"/>
                        <a:pt x="521" y="559"/>
                      </a:cubicBezTo>
                      <a:cubicBezTo>
                        <a:pt x="518" y="572"/>
                        <a:pt x="515" y="584"/>
                        <a:pt x="510" y="596"/>
                      </a:cubicBezTo>
                      <a:cubicBezTo>
                        <a:pt x="503" y="607"/>
                        <a:pt x="495" y="616"/>
                        <a:pt x="489" y="628"/>
                      </a:cubicBezTo>
                      <a:cubicBezTo>
                        <a:pt x="481" y="639"/>
                        <a:pt x="471" y="651"/>
                        <a:pt x="461" y="661"/>
                      </a:cubicBezTo>
                      <a:cubicBezTo>
                        <a:pt x="454" y="666"/>
                        <a:pt x="452" y="676"/>
                        <a:pt x="447" y="683"/>
                      </a:cubicBezTo>
                      <a:cubicBezTo>
                        <a:pt x="438" y="690"/>
                        <a:pt x="430" y="700"/>
                        <a:pt x="421" y="708"/>
                      </a:cubicBezTo>
                      <a:cubicBezTo>
                        <a:pt x="415" y="712"/>
                        <a:pt x="408" y="717"/>
                        <a:pt x="402" y="722"/>
                      </a:cubicBezTo>
                      <a:cubicBezTo>
                        <a:pt x="398" y="727"/>
                        <a:pt x="396" y="734"/>
                        <a:pt x="393" y="739"/>
                      </a:cubicBezTo>
                      <a:cubicBezTo>
                        <a:pt x="385" y="750"/>
                        <a:pt x="375" y="758"/>
                        <a:pt x="367" y="768"/>
                      </a:cubicBezTo>
                      <a:cubicBezTo>
                        <a:pt x="353" y="780"/>
                        <a:pt x="339" y="792"/>
                        <a:pt x="322" y="801"/>
                      </a:cubicBezTo>
                      <a:cubicBezTo>
                        <a:pt x="314" y="803"/>
                        <a:pt x="306" y="803"/>
                        <a:pt x="300" y="808"/>
                      </a:cubicBezTo>
                      <a:cubicBezTo>
                        <a:pt x="283" y="817"/>
                        <a:pt x="271" y="830"/>
                        <a:pt x="257" y="842"/>
                      </a:cubicBezTo>
                      <a:cubicBezTo>
                        <a:pt x="248" y="845"/>
                        <a:pt x="245" y="855"/>
                        <a:pt x="238" y="860"/>
                      </a:cubicBezTo>
                      <a:cubicBezTo>
                        <a:pt x="230" y="866"/>
                        <a:pt x="222" y="873"/>
                        <a:pt x="215" y="881"/>
                      </a:cubicBezTo>
                      <a:cubicBezTo>
                        <a:pt x="206" y="891"/>
                        <a:pt x="196" y="901"/>
                        <a:pt x="186" y="911"/>
                      </a:cubicBezTo>
                      <a:cubicBezTo>
                        <a:pt x="171" y="925"/>
                        <a:pt x="160" y="943"/>
                        <a:pt x="147" y="959"/>
                      </a:cubicBezTo>
                      <a:cubicBezTo>
                        <a:pt x="145" y="964"/>
                        <a:pt x="142" y="965"/>
                        <a:pt x="137" y="965"/>
                      </a:cubicBezTo>
                      <a:cubicBezTo>
                        <a:pt x="134" y="966"/>
                        <a:pt x="128" y="971"/>
                        <a:pt x="126" y="969"/>
                      </a:cubicBezTo>
                      <a:cubicBezTo>
                        <a:pt x="125" y="961"/>
                        <a:pt x="122" y="969"/>
                        <a:pt x="120" y="972"/>
                      </a:cubicBezTo>
                      <a:cubicBezTo>
                        <a:pt x="118" y="975"/>
                        <a:pt x="129" y="966"/>
                        <a:pt x="126" y="974"/>
                      </a:cubicBezTo>
                      <a:cubicBezTo>
                        <a:pt x="129" y="980"/>
                        <a:pt x="125" y="982"/>
                        <a:pt x="120" y="982"/>
                      </a:cubicBezTo>
                      <a:cubicBezTo>
                        <a:pt x="118" y="987"/>
                        <a:pt x="117" y="991"/>
                        <a:pt x="116" y="996"/>
                      </a:cubicBezTo>
                      <a:cubicBezTo>
                        <a:pt x="100" y="1013"/>
                        <a:pt x="86" y="1031"/>
                        <a:pt x="73" y="1050"/>
                      </a:cubicBezTo>
                      <a:cubicBezTo>
                        <a:pt x="71" y="1055"/>
                        <a:pt x="64" y="1055"/>
                        <a:pt x="63" y="1059"/>
                      </a:cubicBezTo>
                      <a:cubicBezTo>
                        <a:pt x="60" y="1067"/>
                        <a:pt x="59" y="1075"/>
                        <a:pt x="54" y="1082"/>
                      </a:cubicBezTo>
                      <a:cubicBezTo>
                        <a:pt x="52" y="1084"/>
                        <a:pt x="51" y="1086"/>
                        <a:pt x="49" y="1088"/>
                      </a:cubicBezTo>
                      <a:cubicBezTo>
                        <a:pt x="49" y="1088"/>
                        <a:pt x="49" y="1088"/>
                        <a:pt x="49" y="1088"/>
                      </a:cubicBezTo>
                      <a:cubicBezTo>
                        <a:pt x="48" y="1085"/>
                        <a:pt x="49" y="1083"/>
                        <a:pt x="48" y="1081"/>
                      </a:cubicBezTo>
                      <a:cubicBezTo>
                        <a:pt x="42" y="1072"/>
                        <a:pt x="33" y="1057"/>
                        <a:pt x="26" y="1049"/>
                      </a:cubicBezTo>
                      <a:cubicBezTo>
                        <a:pt x="19" y="1038"/>
                        <a:pt x="10" y="1028"/>
                        <a:pt x="5" y="1016"/>
                      </a:cubicBezTo>
                      <a:cubicBezTo>
                        <a:pt x="4" y="925"/>
                        <a:pt x="4" y="833"/>
                        <a:pt x="2" y="741"/>
                      </a:cubicBezTo>
                      <a:cubicBezTo>
                        <a:pt x="0" y="726"/>
                        <a:pt x="18" y="719"/>
                        <a:pt x="25" y="708"/>
                      </a:cubicBezTo>
                      <a:cubicBezTo>
                        <a:pt x="41" y="687"/>
                        <a:pt x="54" y="664"/>
                        <a:pt x="68" y="642"/>
                      </a:cubicBezTo>
                      <a:cubicBezTo>
                        <a:pt x="68" y="642"/>
                        <a:pt x="68" y="642"/>
                        <a:pt x="68" y="642"/>
                      </a:cubicBezTo>
                      <a:cubicBezTo>
                        <a:pt x="70" y="641"/>
                        <a:pt x="71" y="639"/>
                        <a:pt x="72" y="635"/>
                      </a:cubicBezTo>
                      <a:cubicBezTo>
                        <a:pt x="78" y="626"/>
                        <a:pt x="89" y="623"/>
                        <a:pt x="100" y="625"/>
                      </a:cubicBezTo>
                      <a:cubicBezTo>
                        <a:pt x="111" y="623"/>
                        <a:pt x="123" y="619"/>
                        <a:pt x="134" y="618"/>
                      </a:cubicBezTo>
                      <a:cubicBezTo>
                        <a:pt x="146" y="611"/>
                        <a:pt x="144" y="593"/>
                        <a:pt x="159" y="588"/>
                      </a:cubicBezTo>
                      <a:cubicBezTo>
                        <a:pt x="174" y="579"/>
                        <a:pt x="191" y="570"/>
                        <a:pt x="208" y="568"/>
                      </a:cubicBezTo>
                      <a:cubicBezTo>
                        <a:pt x="219" y="563"/>
                        <a:pt x="231" y="565"/>
                        <a:pt x="243" y="566"/>
                      </a:cubicBezTo>
                      <a:cubicBezTo>
                        <a:pt x="258" y="566"/>
                        <a:pt x="273" y="567"/>
                        <a:pt x="288" y="568"/>
                      </a:cubicBezTo>
                      <a:cubicBezTo>
                        <a:pt x="326" y="522"/>
                        <a:pt x="362" y="475"/>
                        <a:pt x="401" y="431"/>
                      </a:cubicBezTo>
                      <a:cubicBezTo>
                        <a:pt x="432" y="393"/>
                        <a:pt x="465" y="358"/>
                        <a:pt x="497" y="322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476" name="Slowenia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94027" y="3064963"/>
                <a:ext cx="55464" cy="49728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0" y="5"/>
                  </a:cxn>
                  <a:cxn ang="0">
                    <a:pos x="0" y="2"/>
                  </a:cxn>
                  <a:cxn ang="0">
                    <a:pos x="8" y="0"/>
                  </a:cxn>
                  <a:cxn ang="0">
                    <a:pos x="10" y="2"/>
                  </a:cxn>
                  <a:cxn ang="0">
                    <a:pos x="6" y="5"/>
                  </a:cxn>
                  <a:cxn ang="0">
                    <a:pos x="6" y="9"/>
                  </a:cxn>
                  <a:cxn ang="0">
                    <a:pos x="2" y="5"/>
                  </a:cxn>
                  <a:cxn ang="0">
                    <a:pos x="0" y="7"/>
                  </a:cxn>
                  <a:cxn ang="0">
                    <a:pos x="0" y="9"/>
                  </a:cxn>
                </a:cxnLst>
                <a:rect l="0" t="0" r="r" b="b"/>
                <a:pathLst>
                  <a:path w="10" h="9">
                    <a:moveTo>
                      <a:pt x="0" y="9"/>
                    </a:moveTo>
                    <a:lnTo>
                      <a:pt x="0" y="5"/>
                    </a:lnTo>
                    <a:lnTo>
                      <a:pt x="0" y="2"/>
                    </a:lnTo>
                    <a:lnTo>
                      <a:pt x="8" y="0"/>
                    </a:lnTo>
                    <a:lnTo>
                      <a:pt x="10" y="2"/>
                    </a:lnTo>
                    <a:lnTo>
                      <a:pt x="6" y="5"/>
                    </a:lnTo>
                    <a:lnTo>
                      <a:pt x="6" y="9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77" name="Slovakia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649491" y="2975071"/>
                <a:ext cx="128144" cy="66940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4" y="9"/>
                  </a:cxn>
                  <a:cxn ang="0">
                    <a:pos x="8" y="12"/>
                  </a:cxn>
                  <a:cxn ang="0">
                    <a:pos x="19" y="7"/>
                  </a:cxn>
                  <a:cxn ang="0">
                    <a:pos x="23" y="7"/>
                  </a:cxn>
                  <a:cxn ang="0">
                    <a:pos x="23" y="3"/>
                  </a:cxn>
                  <a:cxn ang="0">
                    <a:pos x="21" y="3"/>
                  </a:cxn>
                  <a:cxn ang="0">
                    <a:pos x="15" y="3"/>
                  </a:cxn>
                  <a:cxn ang="0">
                    <a:pos x="8" y="0"/>
                  </a:cxn>
                  <a:cxn ang="0">
                    <a:pos x="4" y="5"/>
                  </a:cxn>
                  <a:cxn ang="0">
                    <a:pos x="0" y="5"/>
                  </a:cxn>
                  <a:cxn ang="0">
                    <a:pos x="0" y="7"/>
                  </a:cxn>
                </a:cxnLst>
                <a:rect l="0" t="0" r="r" b="b"/>
                <a:pathLst>
                  <a:path w="23" h="12">
                    <a:moveTo>
                      <a:pt x="0" y="7"/>
                    </a:moveTo>
                    <a:lnTo>
                      <a:pt x="4" y="9"/>
                    </a:lnTo>
                    <a:lnTo>
                      <a:pt x="8" y="12"/>
                    </a:lnTo>
                    <a:lnTo>
                      <a:pt x="19" y="7"/>
                    </a:lnTo>
                    <a:lnTo>
                      <a:pt x="23" y="7"/>
                    </a:lnTo>
                    <a:lnTo>
                      <a:pt x="23" y="3"/>
                    </a:lnTo>
                    <a:lnTo>
                      <a:pt x="21" y="3"/>
                    </a:lnTo>
                    <a:lnTo>
                      <a:pt x="15" y="3"/>
                    </a:lnTo>
                    <a:lnTo>
                      <a:pt x="8" y="0"/>
                    </a:lnTo>
                    <a:lnTo>
                      <a:pt x="4" y="5"/>
                    </a:lnTo>
                    <a:lnTo>
                      <a:pt x="0" y="5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582" name="Singapore"/>
              <p:cNvSpPr>
                <a:spLocks/>
              </p:cNvSpPr>
              <p:nvPr/>
            </p:nvSpPr>
            <p:spPr bwMode="auto">
              <a:xfrm>
                <a:off x="6963590" y="4495500"/>
                <a:ext cx="16176" cy="18359"/>
              </a:xfrm>
              <a:custGeom>
                <a:avLst/>
                <a:gdLst>
                  <a:gd name="T0" fmla="*/ 5236133 w 43"/>
                  <a:gd name="T1" fmla="*/ 4010374 h 43"/>
                  <a:gd name="T2" fmla="*/ 5802293 w 43"/>
                  <a:gd name="T3" fmla="*/ 5104229 h 43"/>
                  <a:gd name="T4" fmla="*/ 5236133 w 43"/>
                  <a:gd name="T5" fmla="*/ 6379965 h 43"/>
                  <a:gd name="T6" fmla="*/ 4811419 w 43"/>
                  <a:gd name="T7" fmla="*/ 7656131 h 43"/>
                  <a:gd name="T8" fmla="*/ 3254762 w 43"/>
                  <a:gd name="T9" fmla="*/ 7838440 h 43"/>
                  <a:gd name="T10" fmla="*/ 2264264 w 43"/>
                  <a:gd name="T11" fmla="*/ 7291512 h 43"/>
                  <a:gd name="T12" fmla="*/ 1415212 w 43"/>
                  <a:gd name="T13" fmla="*/ 6562274 h 43"/>
                  <a:gd name="T14" fmla="*/ 707606 w 43"/>
                  <a:gd name="T15" fmla="*/ 5651156 h 43"/>
                  <a:gd name="T16" fmla="*/ 566160 w 43"/>
                  <a:gd name="T17" fmla="*/ 4374993 h 43"/>
                  <a:gd name="T18" fmla="*/ 141446 w 43"/>
                  <a:gd name="T19" fmla="*/ 3098828 h 43"/>
                  <a:gd name="T20" fmla="*/ 566160 w 43"/>
                  <a:gd name="T21" fmla="*/ 2004974 h 43"/>
                  <a:gd name="T22" fmla="*/ 1131944 w 43"/>
                  <a:gd name="T23" fmla="*/ 911546 h 43"/>
                  <a:gd name="T24" fmla="*/ 1839550 w 43"/>
                  <a:gd name="T25" fmla="*/ 546927 h 43"/>
                  <a:gd name="T26" fmla="*/ 2971869 w 43"/>
                  <a:gd name="T27" fmla="*/ 546927 h 43"/>
                  <a:gd name="T28" fmla="*/ 3820922 w 43"/>
                  <a:gd name="T29" fmla="*/ 729237 h 43"/>
                  <a:gd name="T30" fmla="*/ 4669973 w 43"/>
                  <a:gd name="T31" fmla="*/ 1276164 h 43"/>
                  <a:gd name="T32" fmla="*/ 4811419 w 43"/>
                  <a:gd name="T33" fmla="*/ 2551901 h 43"/>
                  <a:gd name="T34" fmla="*/ 4953241 w 43"/>
                  <a:gd name="T35" fmla="*/ 2734210 h 43"/>
                  <a:gd name="T36" fmla="*/ 5236133 w 43"/>
                  <a:gd name="T37" fmla="*/ 4010374 h 4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3"/>
                  <a:gd name="T58" fmla="*/ 0 h 43"/>
                  <a:gd name="T59" fmla="*/ 43 w 43"/>
                  <a:gd name="T60" fmla="*/ 43 h 4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3" h="43">
                    <a:moveTo>
                      <a:pt x="37" y="22"/>
                    </a:moveTo>
                    <a:cubicBezTo>
                      <a:pt x="38" y="24"/>
                      <a:pt x="43" y="24"/>
                      <a:pt x="41" y="28"/>
                    </a:cubicBezTo>
                    <a:cubicBezTo>
                      <a:pt x="40" y="30"/>
                      <a:pt x="38" y="33"/>
                      <a:pt x="37" y="35"/>
                    </a:cubicBezTo>
                    <a:cubicBezTo>
                      <a:pt x="37" y="37"/>
                      <a:pt x="38" y="41"/>
                      <a:pt x="34" y="42"/>
                    </a:cubicBezTo>
                    <a:cubicBezTo>
                      <a:pt x="31" y="42"/>
                      <a:pt x="27" y="43"/>
                      <a:pt x="23" y="43"/>
                    </a:cubicBezTo>
                    <a:cubicBezTo>
                      <a:pt x="21" y="42"/>
                      <a:pt x="18" y="43"/>
                      <a:pt x="16" y="40"/>
                    </a:cubicBezTo>
                    <a:cubicBezTo>
                      <a:pt x="14" y="38"/>
                      <a:pt x="11" y="38"/>
                      <a:pt x="10" y="36"/>
                    </a:cubicBezTo>
                    <a:cubicBezTo>
                      <a:pt x="8" y="34"/>
                      <a:pt x="5" y="34"/>
                      <a:pt x="5" y="31"/>
                    </a:cubicBezTo>
                    <a:cubicBezTo>
                      <a:pt x="3" y="29"/>
                      <a:pt x="3" y="27"/>
                      <a:pt x="4" y="24"/>
                    </a:cubicBezTo>
                    <a:cubicBezTo>
                      <a:pt x="4" y="22"/>
                      <a:pt x="2" y="19"/>
                      <a:pt x="1" y="17"/>
                    </a:cubicBezTo>
                    <a:cubicBezTo>
                      <a:pt x="0" y="15"/>
                      <a:pt x="1" y="12"/>
                      <a:pt x="4" y="11"/>
                    </a:cubicBezTo>
                    <a:cubicBezTo>
                      <a:pt x="7" y="10"/>
                      <a:pt x="6" y="6"/>
                      <a:pt x="8" y="5"/>
                    </a:cubicBezTo>
                    <a:cubicBezTo>
                      <a:pt x="10" y="5"/>
                      <a:pt x="12" y="4"/>
                      <a:pt x="13" y="3"/>
                    </a:cubicBezTo>
                    <a:cubicBezTo>
                      <a:pt x="16" y="2"/>
                      <a:pt x="19" y="0"/>
                      <a:pt x="21" y="3"/>
                    </a:cubicBezTo>
                    <a:cubicBezTo>
                      <a:pt x="23" y="4"/>
                      <a:pt x="25" y="3"/>
                      <a:pt x="27" y="4"/>
                    </a:cubicBezTo>
                    <a:cubicBezTo>
                      <a:pt x="29" y="5"/>
                      <a:pt x="31" y="6"/>
                      <a:pt x="33" y="7"/>
                    </a:cubicBezTo>
                    <a:cubicBezTo>
                      <a:pt x="35" y="9"/>
                      <a:pt x="34" y="12"/>
                      <a:pt x="34" y="14"/>
                    </a:cubicBezTo>
                    <a:cubicBezTo>
                      <a:pt x="34" y="14"/>
                      <a:pt x="35" y="14"/>
                      <a:pt x="35" y="15"/>
                    </a:cubicBezTo>
                    <a:cubicBezTo>
                      <a:pt x="35" y="17"/>
                      <a:pt x="36" y="20"/>
                      <a:pt x="37" y="22"/>
                    </a:cubicBezTo>
                    <a:close/>
                  </a:path>
                </a:pathLst>
              </a:custGeom>
              <a:solidFill>
                <a:schemeClr val="bg2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 lIns="71120" tIns="71120" rIns="71120" bIns="71120"/>
              <a:lstStyle/>
              <a:p>
                <a:endParaRPr lang="it-IT"/>
              </a:p>
            </p:txBody>
          </p:sp>
          <p:sp>
            <p:nvSpPr>
              <p:cNvPr id="479" name="Seychelles"/>
              <p:cNvSpPr>
                <a:spLocks/>
              </p:cNvSpPr>
              <p:nvPr/>
            </p:nvSpPr>
            <p:spPr bwMode="auto">
              <a:xfrm>
                <a:off x="5565618" y="4904884"/>
                <a:ext cx="15301" cy="17214"/>
              </a:xfrm>
              <a:custGeom>
                <a:avLst/>
                <a:gdLst>
                  <a:gd name="T0" fmla="*/ 37 w 43"/>
                  <a:gd name="T1" fmla="*/ 22 h 43"/>
                  <a:gd name="T2" fmla="*/ 41 w 43"/>
                  <a:gd name="T3" fmla="*/ 28 h 43"/>
                  <a:gd name="T4" fmla="*/ 37 w 43"/>
                  <a:gd name="T5" fmla="*/ 35 h 43"/>
                  <a:gd name="T6" fmla="*/ 34 w 43"/>
                  <a:gd name="T7" fmla="*/ 42 h 43"/>
                  <a:gd name="T8" fmla="*/ 23 w 43"/>
                  <a:gd name="T9" fmla="*/ 43 h 43"/>
                  <a:gd name="T10" fmla="*/ 16 w 43"/>
                  <a:gd name="T11" fmla="*/ 40 h 43"/>
                  <a:gd name="T12" fmla="*/ 10 w 43"/>
                  <a:gd name="T13" fmla="*/ 36 h 43"/>
                  <a:gd name="T14" fmla="*/ 5 w 43"/>
                  <a:gd name="T15" fmla="*/ 31 h 43"/>
                  <a:gd name="T16" fmla="*/ 4 w 43"/>
                  <a:gd name="T17" fmla="*/ 24 h 43"/>
                  <a:gd name="T18" fmla="*/ 1 w 43"/>
                  <a:gd name="T19" fmla="*/ 17 h 43"/>
                  <a:gd name="T20" fmla="*/ 4 w 43"/>
                  <a:gd name="T21" fmla="*/ 11 h 43"/>
                  <a:gd name="T22" fmla="*/ 8 w 43"/>
                  <a:gd name="T23" fmla="*/ 5 h 43"/>
                  <a:gd name="T24" fmla="*/ 13 w 43"/>
                  <a:gd name="T25" fmla="*/ 3 h 43"/>
                  <a:gd name="T26" fmla="*/ 21 w 43"/>
                  <a:gd name="T27" fmla="*/ 3 h 43"/>
                  <a:gd name="T28" fmla="*/ 27 w 43"/>
                  <a:gd name="T29" fmla="*/ 4 h 43"/>
                  <a:gd name="T30" fmla="*/ 33 w 43"/>
                  <a:gd name="T31" fmla="*/ 7 h 43"/>
                  <a:gd name="T32" fmla="*/ 34 w 43"/>
                  <a:gd name="T33" fmla="*/ 14 h 43"/>
                  <a:gd name="T34" fmla="*/ 35 w 43"/>
                  <a:gd name="T35" fmla="*/ 15 h 43"/>
                  <a:gd name="T36" fmla="*/ 37 w 43"/>
                  <a:gd name="T37" fmla="*/ 2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3">
                    <a:moveTo>
                      <a:pt x="37" y="22"/>
                    </a:moveTo>
                    <a:cubicBezTo>
                      <a:pt x="38" y="24"/>
                      <a:pt x="43" y="24"/>
                      <a:pt x="41" y="28"/>
                    </a:cubicBezTo>
                    <a:cubicBezTo>
                      <a:pt x="40" y="30"/>
                      <a:pt x="38" y="33"/>
                      <a:pt x="37" y="35"/>
                    </a:cubicBezTo>
                    <a:cubicBezTo>
                      <a:pt x="37" y="37"/>
                      <a:pt x="38" y="41"/>
                      <a:pt x="34" y="42"/>
                    </a:cubicBezTo>
                    <a:cubicBezTo>
                      <a:pt x="31" y="42"/>
                      <a:pt x="27" y="43"/>
                      <a:pt x="23" y="43"/>
                    </a:cubicBezTo>
                    <a:cubicBezTo>
                      <a:pt x="21" y="42"/>
                      <a:pt x="18" y="43"/>
                      <a:pt x="16" y="40"/>
                    </a:cubicBezTo>
                    <a:cubicBezTo>
                      <a:pt x="14" y="38"/>
                      <a:pt x="11" y="38"/>
                      <a:pt x="10" y="36"/>
                    </a:cubicBezTo>
                    <a:cubicBezTo>
                      <a:pt x="8" y="34"/>
                      <a:pt x="5" y="34"/>
                      <a:pt x="5" y="31"/>
                    </a:cubicBezTo>
                    <a:cubicBezTo>
                      <a:pt x="3" y="29"/>
                      <a:pt x="3" y="27"/>
                      <a:pt x="4" y="24"/>
                    </a:cubicBezTo>
                    <a:cubicBezTo>
                      <a:pt x="4" y="22"/>
                      <a:pt x="2" y="19"/>
                      <a:pt x="1" y="17"/>
                    </a:cubicBezTo>
                    <a:cubicBezTo>
                      <a:pt x="0" y="15"/>
                      <a:pt x="1" y="12"/>
                      <a:pt x="4" y="11"/>
                    </a:cubicBezTo>
                    <a:cubicBezTo>
                      <a:pt x="7" y="10"/>
                      <a:pt x="6" y="6"/>
                      <a:pt x="8" y="5"/>
                    </a:cubicBezTo>
                    <a:cubicBezTo>
                      <a:pt x="10" y="5"/>
                      <a:pt x="12" y="4"/>
                      <a:pt x="13" y="3"/>
                    </a:cubicBezTo>
                    <a:cubicBezTo>
                      <a:pt x="16" y="2"/>
                      <a:pt x="19" y="0"/>
                      <a:pt x="21" y="3"/>
                    </a:cubicBezTo>
                    <a:cubicBezTo>
                      <a:pt x="23" y="4"/>
                      <a:pt x="25" y="3"/>
                      <a:pt x="27" y="4"/>
                    </a:cubicBezTo>
                    <a:cubicBezTo>
                      <a:pt x="29" y="5"/>
                      <a:pt x="31" y="6"/>
                      <a:pt x="33" y="7"/>
                    </a:cubicBezTo>
                    <a:cubicBezTo>
                      <a:pt x="35" y="9"/>
                      <a:pt x="34" y="12"/>
                      <a:pt x="34" y="14"/>
                    </a:cubicBezTo>
                    <a:cubicBezTo>
                      <a:pt x="34" y="14"/>
                      <a:pt x="35" y="14"/>
                      <a:pt x="35" y="15"/>
                    </a:cubicBezTo>
                    <a:cubicBezTo>
                      <a:pt x="35" y="17"/>
                      <a:pt x="36" y="20"/>
                      <a:pt x="37" y="22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80" name="Serbia"/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695393" y="3091739"/>
                <a:ext cx="114755" cy="133882"/>
              </a:xfrm>
              <a:custGeom>
                <a:avLst/>
                <a:gdLst/>
                <a:ahLst/>
                <a:cxnLst>
                  <a:cxn ang="0">
                    <a:pos x="11" y="24"/>
                  </a:cxn>
                  <a:cxn ang="0">
                    <a:pos x="11" y="20"/>
                  </a:cxn>
                  <a:cxn ang="0">
                    <a:pos x="7" y="20"/>
                  </a:cxn>
                  <a:cxn ang="0">
                    <a:pos x="11" y="20"/>
                  </a:cxn>
                  <a:cxn ang="0">
                    <a:pos x="5" y="13"/>
                  </a:cxn>
                  <a:cxn ang="0">
                    <a:pos x="7" y="13"/>
                  </a:cxn>
                  <a:cxn ang="0">
                    <a:pos x="5" y="9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0" y="0"/>
                  </a:cxn>
                  <a:cxn ang="0">
                    <a:pos x="7" y="0"/>
                  </a:cxn>
                  <a:cxn ang="0">
                    <a:pos x="15" y="6"/>
                  </a:cxn>
                  <a:cxn ang="0">
                    <a:pos x="19" y="6"/>
                  </a:cxn>
                  <a:cxn ang="0">
                    <a:pos x="21" y="9"/>
                  </a:cxn>
                  <a:cxn ang="0">
                    <a:pos x="19" y="13"/>
                  </a:cxn>
                  <a:cxn ang="0">
                    <a:pos x="19" y="20"/>
                  </a:cxn>
                  <a:cxn ang="0">
                    <a:pos x="19" y="22"/>
                  </a:cxn>
                  <a:cxn ang="0">
                    <a:pos x="15" y="22"/>
                  </a:cxn>
                  <a:cxn ang="0">
                    <a:pos x="13" y="24"/>
                  </a:cxn>
                  <a:cxn ang="0">
                    <a:pos x="11" y="24"/>
                  </a:cxn>
                </a:cxnLst>
                <a:rect l="0" t="0" r="r" b="b"/>
                <a:pathLst>
                  <a:path w="21" h="24">
                    <a:moveTo>
                      <a:pt x="11" y="24"/>
                    </a:moveTo>
                    <a:lnTo>
                      <a:pt x="11" y="20"/>
                    </a:lnTo>
                    <a:lnTo>
                      <a:pt x="7" y="20"/>
                    </a:lnTo>
                    <a:lnTo>
                      <a:pt x="11" y="20"/>
                    </a:lnTo>
                    <a:lnTo>
                      <a:pt x="5" y="13"/>
                    </a:lnTo>
                    <a:lnTo>
                      <a:pt x="7" y="13"/>
                    </a:lnTo>
                    <a:lnTo>
                      <a:pt x="5" y="9"/>
                    </a:lnTo>
                    <a:lnTo>
                      <a:pt x="5" y="6"/>
                    </a:lnTo>
                    <a:lnTo>
                      <a:pt x="5" y="4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15" y="6"/>
                    </a:lnTo>
                    <a:lnTo>
                      <a:pt x="19" y="6"/>
                    </a:lnTo>
                    <a:lnTo>
                      <a:pt x="21" y="9"/>
                    </a:lnTo>
                    <a:lnTo>
                      <a:pt x="19" y="13"/>
                    </a:lnTo>
                    <a:lnTo>
                      <a:pt x="19" y="20"/>
                    </a:lnTo>
                    <a:lnTo>
                      <a:pt x="19" y="22"/>
                    </a:lnTo>
                    <a:lnTo>
                      <a:pt x="15" y="22"/>
                    </a:lnTo>
                    <a:lnTo>
                      <a:pt x="13" y="24"/>
                    </a:lnTo>
                    <a:lnTo>
                      <a:pt x="11" y="24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81" name="Senegal"/>
              <p:cNvSpPr>
                <a:spLocks/>
              </p:cNvSpPr>
              <p:nvPr/>
            </p:nvSpPr>
            <p:spPr bwMode="auto">
              <a:xfrm>
                <a:off x="3775441" y="4013613"/>
                <a:ext cx="149181" cy="149183"/>
              </a:xfrm>
              <a:custGeom>
                <a:avLst/>
                <a:gdLst>
                  <a:gd name="T0" fmla="*/ 233 w 408"/>
                  <a:gd name="T1" fmla="*/ 315 h 349"/>
                  <a:gd name="T2" fmla="*/ 92 w 408"/>
                  <a:gd name="T3" fmla="*/ 329 h 349"/>
                  <a:gd name="T4" fmla="*/ 22 w 408"/>
                  <a:gd name="T5" fmla="*/ 340 h 349"/>
                  <a:gd name="T6" fmla="*/ 18 w 408"/>
                  <a:gd name="T7" fmla="*/ 333 h 349"/>
                  <a:gd name="T8" fmla="*/ 26 w 408"/>
                  <a:gd name="T9" fmla="*/ 278 h 349"/>
                  <a:gd name="T10" fmla="*/ 30 w 408"/>
                  <a:gd name="T11" fmla="*/ 272 h 349"/>
                  <a:gd name="T12" fmla="*/ 90 w 408"/>
                  <a:gd name="T13" fmla="*/ 270 h 349"/>
                  <a:gd name="T14" fmla="*/ 140 w 408"/>
                  <a:gd name="T15" fmla="*/ 241 h 349"/>
                  <a:gd name="T16" fmla="*/ 208 w 408"/>
                  <a:gd name="T17" fmla="*/ 270 h 349"/>
                  <a:gd name="T18" fmla="*/ 190 w 408"/>
                  <a:gd name="T19" fmla="*/ 248 h 349"/>
                  <a:gd name="T20" fmla="*/ 137 w 408"/>
                  <a:gd name="T21" fmla="*/ 227 h 349"/>
                  <a:gd name="T22" fmla="*/ 46 w 408"/>
                  <a:gd name="T23" fmla="*/ 237 h 349"/>
                  <a:gd name="T24" fmla="*/ 44 w 408"/>
                  <a:gd name="T25" fmla="*/ 226 h 349"/>
                  <a:gd name="T26" fmla="*/ 22 w 408"/>
                  <a:gd name="T27" fmla="*/ 173 h 349"/>
                  <a:gd name="T28" fmla="*/ 7 w 408"/>
                  <a:gd name="T29" fmla="*/ 139 h 349"/>
                  <a:gd name="T30" fmla="*/ 49 w 408"/>
                  <a:gd name="T31" fmla="*/ 89 h 349"/>
                  <a:gd name="T32" fmla="*/ 71 w 408"/>
                  <a:gd name="T33" fmla="*/ 43 h 349"/>
                  <a:gd name="T34" fmla="*/ 97 w 408"/>
                  <a:gd name="T35" fmla="*/ 8 h 349"/>
                  <a:gd name="T36" fmla="*/ 167 w 408"/>
                  <a:gd name="T37" fmla="*/ 8 h 349"/>
                  <a:gd name="T38" fmla="*/ 210 w 408"/>
                  <a:gd name="T39" fmla="*/ 7 h 349"/>
                  <a:gd name="T40" fmla="*/ 260 w 408"/>
                  <a:gd name="T41" fmla="*/ 45 h 349"/>
                  <a:gd name="T42" fmla="*/ 283 w 408"/>
                  <a:gd name="T43" fmla="*/ 55 h 349"/>
                  <a:gd name="T44" fmla="*/ 303 w 408"/>
                  <a:gd name="T45" fmla="*/ 99 h 349"/>
                  <a:gd name="T46" fmla="*/ 317 w 408"/>
                  <a:gd name="T47" fmla="*/ 120 h 349"/>
                  <a:gd name="T48" fmla="*/ 356 w 408"/>
                  <a:gd name="T49" fmla="*/ 156 h 349"/>
                  <a:gd name="T50" fmla="*/ 361 w 408"/>
                  <a:gd name="T51" fmla="*/ 188 h 349"/>
                  <a:gd name="T52" fmla="*/ 364 w 408"/>
                  <a:gd name="T53" fmla="*/ 237 h 349"/>
                  <a:gd name="T54" fmla="*/ 392 w 408"/>
                  <a:gd name="T55" fmla="*/ 266 h 349"/>
                  <a:gd name="T56" fmla="*/ 403 w 408"/>
                  <a:gd name="T57" fmla="*/ 305 h 349"/>
                  <a:gd name="T58" fmla="*/ 398 w 408"/>
                  <a:gd name="T59" fmla="*/ 339 h 349"/>
                  <a:gd name="T60" fmla="*/ 341 w 408"/>
                  <a:gd name="T61" fmla="*/ 344 h 349"/>
                  <a:gd name="T62" fmla="*/ 293 w 408"/>
                  <a:gd name="T63" fmla="*/ 327 h 349"/>
                  <a:gd name="T64" fmla="*/ 237 w 408"/>
                  <a:gd name="T65" fmla="*/ 315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08" h="349">
                    <a:moveTo>
                      <a:pt x="237" y="315"/>
                    </a:moveTo>
                    <a:cubicBezTo>
                      <a:pt x="235" y="315"/>
                      <a:pt x="234" y="315"/>
                      <a:pt x="233" y="315"/>
                    </a:cubicBezTo>
                    <a:cubicBezTo>
                      <a:pt x="198" y="314"/>
                      <a:pt x="164" y="312"/>
                      <a:pt x="129" y="311"/>
                    </a:cubicBezTo>
                    <a:cubicBezTo>
                      <a:pt x="118" y="318"/>
                      <a:pt x="106" y="326"/>
                      <a:pt x="92" y="329"/>
                    </a:cubicBezTo>
                    <a:cubicBezTo>
                      <a:pt x="77" y="329"/>
                      <a:pt x="61" y="321"/>
                      <a:pt x="47" y="330"/>
                    </a:cubicBezTo>
                    <a:cubicBezTo>
                      <a:pt x="40" y="338"/>
                      <a:pt x="29" y="333"/>
                      <a:pt x="22" y="340"/>
                    </a:cubicBezTo>
                    <a:cubicBezTo>
                      <a:pt x="22" y="340"/>
                      <a:pt x="22" y="340"/>
                      <a:pt x="22" y="340"/>
                    </a:cubicBezTo>
                    <a:cubicBezTo>
                      <a:pt x="21" y="338"/>
                      <a:pt x="20" y="335"/>
                      <a:pt x="18" y="333"/>
                    </a:cubicBezTo>
                    <a:cubicBezTo>
                      <a:pt x="15" y="329"/>
                      <a:pt x="19" y="324"/>
                      <a:pt x="20" y="319"/>
                    </a:cubicBezTo>
                    <a:cubicBezTo>
                      <a:pt x="21" y="305"/>
                      <a:pt x="23" y="291"/>
                      <a:pt x="26" y="278"/>
                    </a:cubicBezTo>
                    <a:cubicBezTo>
                      <a:pt x="27" y="278"/>
                      <a:pt x="27" y="278"/>
                      <a:pt x="27" y="278"/>
                    </a:cubicBezTo>
                    <a:cubicBezTo>
                      <a:pt x="28" y="276"/>
                      <a:pt x="29" y="274"/>
                      <a:pt x="30" y="272"/>
                    </a:cubicBezTo>
                    <a:cubicBezTo>
                      <a:pt x="39" y="268"/>
                      <a:pt x="48" y="272"/>
                      <a:pt x="58" y="271"/>
                    </a:cubicBezTo>
                    <a:cubicBezTo>
                      <a:pt x="69" y="270"/>
                      <a:pt x="82" y="275"/>
                      <a:pt x="90" y="270"/>
                    </a:cubicBezTo>
                    <a:cubicBezTo>
                      <a:pt x="88" y="253"/>
                      <a:pt x="108" y="257"/>
                      <a:pt x="119" y="256"/>
                    </a:cubicBezTo>
                    <a:cubicBezTo>
                      <a:pt x="131" y="263"/>
                      <a:pt x="135" y="249"/>
                      <a:pt x="140" y="241"/>
                    </a:cubicBezTo>
                    <a:cubicBezTo>
                      <a:pt x="152" y="247"/>
                      <a:pt x="164" y="258"/>
                      <a:pt x="177" y="261"/>
                    </a:cubicBezTo>
                    <a:cubicBezTo>
                      <a:pt x="187" y="263"/>
                      <a:pt x="196" y="274"/>
                      <a:pt x="208" y="270"/>
                    </a:cubicBezTo>
                    <a:cubicBezTo>
                      <a:pt x="216" y="264"/>
                      <a:pt x="242" y="268"/>
                      <a:pt x="233" y="251"/>
                    </a:cubicBezTo>
                    <a:cubicBezTo>
                      <a:pt x="222" y="232"/>
                      <a:pt x="201" y="263"/>
                      <a:pt x="190" y="248"/>
                    </a:cubicBezTo>
                    <a:cubicBezTo>
                      <a:pt x="188" y="235"/>
                      <a:pt x="179" y="235"/>
                      <a:pt x="169" y="239"/>
                    </a:cubicBezTo>
                    <a:cubicBezTo>
                      <a:pt x="166" y="225"/>
                      <a:pt x="149" y="218"/>
                      <a:pt x="137" y="227"/>
                    </a:cubicBezTo>
                    <a:cubicBezTo>
                      <a:pt x="128" y="222"/>
                      <a:pt x="116" y="229"/>
                      <a:pt x="116" y="240"/>
                    </a:cubicBezTo>
                    <a:cubicBezTo>
                      <a:pt x="90" y="239"/>
                      <a:pt x="72" y="238"/>
                      <a:pt x="46" y="237"/>
                    </a:cubicBezTo>
                    <a:cubicBezTo>
                      <a:pt x="46" y="237"/>
                      <a:pt x="46" y="237"/>
                      <a:pt x="46" y="237"/>
                    </a:cubicBezTo>
                    <a:cubicBezTo>
                      <a:pt x="45" y="233"/>
                      <a:pt x="44" y="230"/>
                      <a:pt x="44" y="226"/>
                    </a:cubicBezTo>
                    <a:cubicBezTo>
                      <a:pt x="42" y="220"/>
                      <a:pt x="38" y="215"/>
                      <a:pt x="35" y="209"/>
                    </a:cubicBezTo>
                    <a:cubicBezTo>
                      <a:pt x="31" y="197"/>
                      <a:pt x="27" y="185"/>
                      <a:pt x="22" y="173"/>
                    </a:cubicBezTo>
                    <a:cubicBezTo>
                      <a:pt x="17" y="165"/>
                      <a:pt x="11" y="158"/>
                      <a:pt x="4" y="152"/>
                    </a:cubicBezTo>
                    <a:cubicBezTo>
                      <a:pt x="0" y="147"/>
                      <a:pt x="5" y="143"/>
                      <a:pt x="7" y="139"/>
                    </a:cubicBezTo>
                    <a:cubicBezTo>
                      <a:pt x="15" y="133"/>
                      <a:pt x="22" y="126"/>
                      <a:pt x="28" y="118"/>
                    </a:cubicBezTo>
                    <a:cubicBezTo>
                      <a:pt x="36" y="109"/>
                      <a:pt x="43" y="99"/>
                      <a:pt x="49" y="89"/>
                    </a:cubicBezTo>
                    <a:cubicBezTo>
                      <a:pt x="56" y="79"/>
                      <a:pt x="63" y="69"/>
                      <a:pt x="69" y="59"/>
                    </a:cubicBezTo>
                    <a:cubicBezTo>
                      <a:pt x="70" y="54"/>
                      <a:pt x="70" y="49"/>
                      <a:pt x="71" y="43"/>
                    </a:cubicBezTo>
                    <a:cubicBezTo>
                      <a:pt x="73" y="39"/>
                      <a:pt x="74" y="47"/>
                      <a:pt x="75" y="39"/>
                    </a:cubicBezTo>
                    <a:cubicBezTo>
                      <a:pt x="87" y="31"/>
                      <a:pt x="80" y="8"/>
                      <a:pt x="97" y="8"/>
                    </a:cubicBezTo>
                    <a:cubicBezTo>
                      <a:pt x="107" y="13"/>
                      <a:pt x="116" y="13"/>
                      <a:pt x="127" y="15"/>
                    </a:cubicBezTo>
                    <a:cubicBezTo>
                      <a:pt x="140" y="6"/>
                      <a:pt x="153" y="12"/>
                      <a:pt x="167" y="8"/>
                    </a:cubicBezTo>
                    <a:cubicBezTo>
                      <a:pt x="167" y="0"/>
                      <a:pt x="169" y="6"/>
                      <a:pt x="174" y="4"/>
                    </a:cubicBezTo>
                    <a:cubicBezTo>
                      <a:pt x="182" y="2"/>
                      <a:pt x="198" y="8"/>
                      <a:pt x="210" y="7"/>
                    </a:cubicBezTo>
                    <a:cubicBezTo>
                      <a:pt x="224" y="5"/>
                      <a:pt x="231" y="20"/>
                      <a:pt x="242" y="29"/>
                    </a:cubicBezTo>
                    <a:cubicBezTo>
                      <a:pt x="241" y="31"/>
                      <a:pt x="250" y="52"/>
                      <a:pt x="260" y="45"/>
                    </a:cubicBezTo>
                    <a:cubicBezTo>
                      <a:pt x="258" y="50"/>
                      <a:pt x="267" y="49"/>
                      <a:pt x="278" y="48"/>
                    </a:cubicBezTo>
                    <a:cubicBezTo>
                      <a:pt x="272" y="54"/>
                      <a:pt x="283" y="49"/>
                      <a:pt x="283" y="55"/>
                    </a:cubicBezTo>
                    <a:cubicBezTo>
                      <a:pt x="287" y="66"/>
                      <a:pt x="292" y="76"/>
                      <a:pt x="292" y="87"/>
                    </a:cubicBezTo>
                    <a:cubicBezTo>
                      <a:pt x="300" y="87"/>
                      <a:pt x="300" y="93"/>
                      <a:pt x="303" y="99"/>
                    </a:cubicBezTo>
                    <a:cubicBezTo>
                      <a:pt x="312" y="95"/>
                      <a:pt x="310" y="105"/>
                      <a:pt x="313" y="110"/>
                    </a:cubicBezTo>
                    <a:cubicBezTo>
                      <a:pt x="323" y="112"/>
                      <a:pt x="309" y="120"/>
                      <a:pt x="317" y="120"/>
                    </a:cubicBezTo>
                    <a:cubicBezTo>
                      <a:pt x="321" y="128"/>
                      <a:pt x="329" y="131"/>
                      <a:pt x="337" y="135"/>
                    </a:cubicBezTo>
                    <a:cubicBezTo>
                      <a:pt x="342" y="143"/>
                      <a:pt x="347" y="152"/>
                      <a:pt x="356" y="156"/>
                    </a:cubicBezTo>
                    <a:cubicBezTo>
                      <a:pt x="356" y="157"/>
                      <a:pt x="356" y="157"/>
                      <a:pt x="356" y="157"/>
                    </a:cubicBezTo>
                    <a:cubicBezTo>
                      <a:pt x="370" y="166"/>
                      <a:pt x="347" y="179"/>
                      <a:pt x="361" y="188"/>
                    </a:cubicBezTo>
                    <a:cubicBezTo>
                      <a:pt x="369" y="194"/>
                      <a:pt x="373" y="205"/>
                      <a:pt x="368" y="216"/>
                    </a:cubicBezTo>
                    <a:cubicBezTo>
                      <a:pt x="371" y="224"/>
                      <a:pt x="374" y="232"/>
                      <a:pt x="364" y="237"/>
                    </a:cubicBezTo>
                    <a:cubicBezTo>
                      <a:pt x="356" y="248"/>
                      <a:pt x="378" y="255"/>
                      <a:pt x="374" y="266"/>
                    </a:cubicBezTo>
                    <a:cubicBezTo>
                      <a:pt x="380" y="276"/>
                      <a:pt x="384" y="256"/>
                      <a:pt x="392" y="266"/>
                    </a:cubicBezTo>
                    <a:cubicBezTo>
                      <a:pt x="397" y="275"/>
                      <a:pt x="396" y="286"/>
                      <a:pt x="404" y="293"/>
                    </a:cubicBezTo>
                    <a:cubicBezTo>
                      <a:pt x="406" y="298"/>
                      <a:pt x="408" y="299"/>
                      <a:pt x="403" y="305"/>
                    </a:cubicBezTo>
                    <a:cubicBezTo>
                      <a:pt x="407" y="315"/>
                      <a:pt x="394" y="327"/>
                      <a:pt x="405" y="335"/>
                    </a:cubicBezTo>
                    <a:cubicBezTo>
                      <a:pt x="403" y="338"/>
                      <a:pt x="401" y="339"/>
                      <a:pt x="398" y="339"/>
                    </a:cubicBezTo>
                    <a:cubicBezTo>
                      <a:pt x="392" y="339"/>
                      <a:pt x="384" y="336"/>
                      <a:pt x="379" y="341"/>
                    </a:cubicBezTo>
                    <a:cubicBezTo>
                      <a:pt x="366" y="341"/>
                      <a:pt x="353" y="336"/>
                      <a:pt x="341" y="344"/>
                    </a:cubicBezTo>
                    <a:cubicBezTo>
                      <a:pt x="331" y="349"/>
                      <a:pt x="328" y="335"/>
                      <a:pt x="317" y="340"/>
                    </a:cubicBezTo>
                    <a:cubicBezTo>
                      <a:pt x="310" y="335"/>
                      <a:pt x="299" y="333"/>
                      <a:pt x="293" y="327"/>
                    </a:cubicBezTo>
                    <a:cubicBezTo>
                      <a:pt x="287" y="337"/>
                      <a:pt x="280" y="329"/>
                      <a:pt x="283" y="321"/>
                    </a:cubicBezTo>
                    <a:cubicBezTo>
                      <a:pt x="270" y="316"/>
                      <a:pt x="252" y="316"/>
                      <a:pt x="237" y="315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82" name="Saudi Arabia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5127636" y="3543113"/>
                <a:ext cx="566124" cy="552742"/>
              </a:xfrm>
              <a:custGeom>
                <a:avLst/>
                <a:gdLst/>
                <a:ahLst/>
                <a:cxnLst>
                  <a:cxn ang="0">
                    <a:pos x="46" y="18"/>
                  </a:cxn>
                  <a:cxn ang="0">
                    <a:pos x="48" y="18"/>
                  </a:cxn>
                  <a:cxn ang="0">
                    <a:pos x="54" y="18"/>
                  </a:cxn>
                  <a:cxn ang="0">
                    <a:pos x="62" y="20"/>
                  </a:cxn>
                  <a:cxn ang="0">
                    <a:pos x="71" y="29"/>
                  </a:cxn>
                  <a:cxn ang="0">
                    <a:pos x="73" y="38"/>
                  </a:cxn>
                  <a:cxn ang="0">
                    <a:pos x="77" y="45"/>
                  </a:cxn>
                  <a:cxn ang="0">
                    <a:pos x="77" y="47"/>
                  </a:cxn>
                  <a:cxn ang="0">
                    <a:pos x="77" y="52"/>
                  </a:cxn>
                  <a:cxn ang="0">
                    <a:pos x="79" y="52"/>
                  </a:cxn>
                  <a:cxn ang="0">
                    <a:pos x="81" y="52"/>
                  </a:cxn>
                  <a:cxn ang="0">
                    <a:pos x="85" y="52"/>
                  </a:cxn>
                  <a:cxn ang="0">
                    <a:pos x="87" y="52"/>
                  </a:cxn>
                  <a:cxn ang="0">
                    <a:pos x="89" y="52"/>
                  </a:cxn>
                  <a:cxn ang="0">
                    <a:pos x="94" y="52"/>
                  </a:cxn>
                  <a:cxn ang="0">
                    <a:pos x="94" y="47"/>
                  </a:cxn>
                  <a:cxn ang="0">
                    <a:pos x="96" y="47"/>
                  </a:cxn>
                  <a:cxn ang="0">
                    <a:pos x="100" y="52"/>
                  </a:cxn>
                  <a:cxn ang="0">
                    <a:pos x="102" y="54"/>
                  </a:cxn>
                  <a:cxn ang="0">
                    <a:pos x="102" y="61"/>
                  </a:cxn>
                  <a:cxn ang="0">
                    <a:pos x="96" y="72"/>
                  </a:cxn>
                  <a:cxn ang="0">
                    <a:pos x="85" y="81"/>
                  </a:cxn>
                  <a:cxn ang="0">
                    <a:pos x="71" y="85"/>
                  </a:cxn>
                  <a:cxn ang="0">
                    <a:pos x="54" y="99"/>
                  </a:cxn>
                  <a:cxn ang="0">
                    <a:pos x="46" y="88"/>
                  </a:cxn>
                  <a:cxn ang="0">
                    <a:pos x="39" y="90"/>
                  </a:cxn>
                  <a:cxn ang="0">
                    <a:pos x="39" y="88"/>
                  </a:cxn>
                  <a:cxn ang="0">
                    <a:pos x="31" y="72"/>
                  </a:cxn>
                  <a:cxn ang="0">
                    <a:pos x="25" y="70"/>
                  </a:cxn>
                  <a:cxn ang="0">
                    <a:pos x="23" y="63"/>
                  </a:cxn>
                  <a:cxn ang="0">
                    <a:pos x="23" y="54"/>
                  </a:cxn>
                  <a:cxn ang="0">
                    <a:pos x="20" y="47"/>
                  </a:cxn>
                  <a:cxn ang="0">
                    <a:pos x="14" y="45"/>
                  </a:cxn>
                  <a:cxn ang="0">
                    <a:pos x="2" y="25"/>
                  </a:cxn>
                  <a:cxn ang="0">
                    <a:pos x="0" y="25"/>
                  </a:cxn>
                  <a:cxn ang="0">
                    <a:pos x="0" y="13"/>
                  </a:cxn>
                  <a:cxn ang="0">
                    <a:pos x="6" y="13"/>
                  </a:cxn>
                  <a:cxn ang="0">
                    <a:pos x="8" y="11"/>
                  </a:cxn>
                  <a:cxn ang="0">
                    <a:pos x="10" y="11"/>
                  </a:cxn>
                  <a:cxn ang="0">
                    <a:pos x="14" y="9"/>
                  </a:cxn>
                  <a:cxn ang="0">
                    <a:pos x="8" y="2"/>
                  </a:cxn>
                  <a:cxn ang="0">
                    <a:pos x="20" y="0"/>
                  </a:cxn>
                  <a:cxn ang="0">
                    <a:pos x="25" y="2"/>
                  </a:cxn>
                  <a:cxn ang="0">
                    <a:pos x="37" y="9"/>
                  </a:cxn>
                  <a:cxn ang="0">
                    <a:pos x="39" y="9"/>
                  </a:cxn>
                  <a:cxn ang="0">
                    <a:pos x="39" y="13"/>
                  </a:cxn>
                  <a:cxn ang="0">
                    <a:pos x="41" y="16"/>
                  </a:cxn>
                  <a:cxn ang="0">
                    <a:pos x="46" y="18"/>
                  </a:cxn>
                </a:cxnLst>
                <a:rect l="0" t="0" r="r" b="b"/>
                <a:pathLst>
                  <a:path w="102" h="99">
                    <a:moveTo>
                      <a:pt x="46" y="18"/>
                    </a:moveTo>
                    <a:lnTo>
                      <a:pt x="48" y="18"/>
                    </a:lnTo>
                    <a:lnTo>
                      <a:pt x="54" y="18"/>
                    </a:lnTo>
                    <a:lnTo>
                      <a:pt x="62" y="20"/>
                    </a:lnTo>
                    <a:lnTo>
                      <a:pt x="71" y="29"/>
                    </a:lnTo>
                    <a:lnTo>
                      <a:pt x="73" y="38"/>
                    </a:lnTo>
                    <a:lnTo>
                      <a:pt x="77" y="45"/>
                    </a:lnTo>
                    <a:lnTo>
                      <a:pt x="77" y="47"/>
                    </a:lnTo>
                    <a:lnTo>
                      <a:pt x="77" y="52"/>
                    </a:lnTo>
                    <a:lnTo>
                      <a:pt x="79" y="52"/>
                    </a:lnTo>
                    <a:lnTo>
                      <a:pt x="81" y="52"/>
                    </a:lnTo>
                    <a:lnTo>
                      <a:pt x="85" y="52"/>
                    </a:lnTo>
                    <a:lnTo>
                      <a:pt x="87" y="52"/>
                    </a:lnTo>
                    <a:lnTo>
                      <a:pt x="89" y="52"/>
                    </a:lnTo>
                    <a:lnTo>
                      <a:pt x="94" y="52"/>
                    </a:lnTo>
                    <a:lnTo>
                      <a:pt x="94" y="47"/>
                    </a:lnTo>
                    <a:lnTo>
                      <a:pt x="96" y="47"/>
                    </a:lnTo>
                    <a:lnTo>
                      <a:pt x="100" y="52"/>
                    </a:lnTo>
                    <a:lnTo>
                      <a:pt x="102" y="54"/>
                    </a:lnTo>
                    <a:lnTo>
                      <a:pt x="102" y="61"/>
                    </a:lnTo>
                    <a:lnTo>
                      <a:pt x="96" y="72"/>
                    </a:lnTo>
                    <a:lnTo>
                      <a:pt x="85" y="81"/>
                    </a:lnTo>
                    <a:lnTo>
                      <a:pt x="71" y="85"/>
                    </a:lnTo>
                    <a:lnTo>
                      <a:pt x="54" y="99"/>
                    </a:lnTo>
                    <a:lnTo>
                      <a:pt x="46" y="88"/>
                    </a:lnTo>
                    <a:lnTo>
                      <a:pt x="39" y="90"/>
                    </a:lnTo>
                    <a:lnTo>
                      <a:pt x="39" y="88"/>
                    </a:lnTo>
                    <a:lnTo>
                      <a:pt x="31" y="72"/>
                    </a:lnTo>
                    <a:lnTo>
                      <a:pt x="25" y="70"/>
                    </a:lnTo>
                    <a:lnTo>
                      <a:pt x="23" y="63"/>
                    </a:lnTo>
                    <a:lnTo>
                      <a:pt x="23" y="54"/>
                    </a:lnTo>
                    <a:lnTo>
                      <a:pt x="20" y="47"/>
                    </a:lnTo>
                    <a:lnTo>
                      <a:pt x="14" y="45"/>
                    </a:lnTo>
                    <a:lnTo>
                      <a:pt x="2" y="25"/>
                    </a:lnTo>
                    <a:lnTo>
                      <a:pt x="0" y="25"/>
                    </a:lnTo>
                    <a:lnTo>
                      <a:pt x="0" y="13"/>
                    </a:lnTo>
                    <a:lnTo>
                      <a:pt x="6" y="13"/>
                    </a:lnTo>
                    <a:lnTo>
                      <a:pt x="8" y="11"/>
                    </a:lnTo>
                    <a:lnTo>
                      <a:pt x="10" y="11"/>
                    </a:lnTo>
                    <a:lnTo>
                      <a:pt x="14" y="9"/>
                    </a:lnTo>
                    <a:lnTo>
                      <a:pt x="8" y="2"/>
                    </a:lnTo>
                    <a:lnTo>
                      <a:pt x="20" y="0"/>
                    </a:lnTo>
                    <a:lnTo>
                      <a:pt x="25" y="2"/>
                    </a:lnTo>
                    <a:lnTo>
                      <a:pt x="37" y="9"/>
                    </a:lnTo>
                    <a:lnTo>
                      <a:pt x="39" y="9"/>
                    </a:lnTo>
                    <a:lnTo>
                      <a:pt x="39" y="13"/>
                    </a:lnTo>
                    <a:lnTo>
                      <a:pt x="41" y="16"/>
                    </a:lnTo>
                    <a:lnTo>
                      <a:pt x="46" y="18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83" name="São Tomé and Príncipe"/>
              <p:cNvSpPr>
                <a:spLocks/>
              </p:cNvSpPr>
              <p:nvPr/>
            </p:nvSpPr>
            <p:spPr bwMode="auto">
              <a:xfrm>
                <a:off x="4421894" y="4476462"/>
                <a:ext cx="17213" cy="17214"/>
              </a:xfrm>
              <a:custGeom>
                <a:avLst/>
                <a:gdLst>
                  <a:gd name="T0" fmla="*/ 37 w 43"/>
                  <a:gd name="T1" fmla="*/ 22 h 43"/>
                  <a:gd name="T2" fmla="*/ 41 w 43"/>
                  <a:gd name="T3" fmla="*/ 28 h 43"/>
                  <a:gd name="T4" fmla="*/ 37 w 43"/>
                  <a:gd name="T5" fmla="*/ 35 h 43"/>
                  <a:gd name="T6" fmla="*/ 34 w 43"/>
                  <a:gd name="T7" fmla="*/ 42 h 43"/>
                  <a:gd name="T8" fmla="*/ 23 w 43"/>
                  <a:gd name="T9" fmla="*/ 43 h 43"/>
                  <a:gd name="T10" fmla="*/ 16 w 43"/>
                  <a:gd name="T11" fmla="*/ 40 h 43"/>
                  <a:gd name="T12" fmla="*/ 10 w 43"/>
                  <a:gd name="T13" fmla="*/ 36 h 43"/>
                  <a:gd name="T14" fmla="*/ 5 w 43"/>
                  <a:gd name="T15" fmla="*/ 31 h 43"/>
                  <a:gd name="T16" fmla="*/ 4 w 43"/>
                  <a:gd name="T17" fmla="*/ 24 h 43"/>
                  <a:gd name="T18" fmla="*/ 1 w 43"/>
                  <a:gd name="T19" fmla="*/ 17 h 43"/>
                  <a:gd name="T20" fmla="*/ 4 w 43"/>
                  <a:gd name="T21" fmla="*/ 11 h 43"/>
                  <a:gd name="T22" fmla="*/ 8 w 43"/>
                  <a:gd name="T23" fmla="*/ 5 h 43"/>
                  <a:gd name="T24" fmla="*/ 13 w 43"/>
                  <a:gd name="T25" fmla="*/ 3 h 43"/>
                  <a:gd name="T26" fmla="*/ 21 w 43"/>
                  <a:gd name="T27" fmla="*/ 3 h 43"/>
                  <a:gd name="T28" fmla="*/ 27 w 43"/>
                  <a:gd name="T29" fmla="*/ 4 h 43"/>
                  <a:gd name="T30" fmla="*/ 33 w 43"/>
                  <a:gd name="T31" fmla="*/ 7 h 43"/>
                  <a:gd name="T32" fmla="*/ 34 w 43"/>
                  <a:gd name="T33" fmla="*/ 14 h 43"/>
                  <a:gd name="T34" fmla="*/ 35 w 43"/>
                  <a:gd name="T35" fmla="*/ 15 h 43"/>
                  <a:gd name="T36" fmla="*/ 37 w 43"/>
                  <a:gd name="T37" fmla="*/ 2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3">
                    <a:moveTo>
                      <a:pt x="37" y="22"/>
                    </a:moveTo>
                    <a:cubicBezTo>
                      <a:pt x="38" y="24"/>
                      <a:pt x="43" y="24"/>
                      <a:pt x="41" y="28"/>
                    </a:cubicBezTo>
                    <a:cubicBezTo>
                      <a:pt x="40" y="30"/>
                      <a:pt x="38" y="33"/>
                      <a:pt x="37" y="35"/>
                    </a:cubicBezTo>
                    <a:cubicBezTo>
                      <a:pt x="37" y="37"/>
                      <a:pt x="38" y="41"/>
                      <a:pt x="34" y="42"/>
                    </a:cubicBezTo>
                    <a:cubicBezTo>
                      <a:pt x="31" y="42"/>
                      <a:pt x="27" y="43"/>
                      <a:pt x="23" y="43"/>
                    </a:cubicBezTo>
                    <a:cubicBezTo>
                      <a:pt x="21" y="42"/>
                      <a:pt x="18" y="43"/>
                      <a:pt x="16" y="40"/>
                    </a:cubicBezTo>
                    <a:cubicBezTo>
                      <a:pt x="14" y="38"/>
                      <a:pt x="11" y="38"/>
                      <a:pt x="10" y="36"/>
                    </a:cubicBezTo>
                    <a:cubicBezTo>
                      <a:pt x="8" y="34"/>
                      <a:pt x="5" y="34"/>
                      <a:pt x="5" y="31"/>
                    </a:cubicBezTo>
                    <a:cubicBezTo>
                      <a:pt x="3" y="29"/>
                      <a:pt x="3" y="27"/>
                      <a:pt x="4" y="24"/>
                    </a:cubicBezTo>
                    <a:cubicBezTo>
                      <a:pt x="4" y="22"/>
                      <a:pt x="2" y="19"/>
                      <a:pt x="1" y="17"/>
                    </a:cubicBezTo>
                    <a:cubicBezTo>
                      <a:pt x="0" y="15"/>
                      <a:pt x="1" y="12"/>
                      <a:pt x="4" y="11"/>
                    </a:cubicBezTo>
                    <a:cubicBezTo>
                      <a:pt x="7" y="10"/>
                      <a:pt x="6" y="6"/>
                      <a:pt x="8" y="5"/>
                    </a:cubicBezTo>
                    <a:cubicBezTo>
                      <a:pt x="10" y="5"/>
                      <a:pt x="12" y="4"/>
                      <a:pt x="13" y="3"/>
                    </a:cubicBezTo>
                    <a:cubicBezTo>
                      <a:pt x="16" y="2"/>
                      <a:pt x="19" y="0"/>
                      <a:pt x="21" y="3"/>
                    </a:cubicBezTo>
                    <a:cubicBezTo>
                      <a:pt x="23" y="4"/>
                      <a:pt x="25" y="3"/>
                      <a:pt x="27" y="4"/>
                    </a:cubicBezTo>
                    <a:cubicBezTo>
                      <a:pt x="29" y="5"/>
                      <a:pt x="31" y="6"/>
                      <a:pt x="33" y="7"/>
                    </a:cubicBezTo>
                    <a:cubicBezTo>
                      <a:pt x="35" y="9"/>
                      <a:pt x="34" y="12"/>
                      <a:pt x="34" y="14"/>
                    </a:cubicBezTo>
                    <a:cubicBezTo>
                      <a:pt x="34" y="14"/>
                      <a:pt x="35" y="14"/>
                      <a:pt x="35" y="15"/>
                    </a:cubicBezTo>
                    <a:cubicBezTo>
                      <a:pt x="35" y="17"/>
                      <a:pt x="36" y="20"/>
                      <a:pt x="37" y="22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84" name="Sierra Leone"/>
              <p:cNvSpPr>
                <a:spLocks/>
              </p:cNvSpPr>
              <p:nvPr/>
            </p:nvSpPr>
            <p:spPr bwMode="auto">
              <a:xfrm>
                <a:off x="3867245" y="4237387"/>
                <a:ext cx="78415" cy="105192"/>
              </a:xfrm>
              <a:custGeom>
                <a:avLst/>
                <a:gdLst>
                  <a:gd name="T0" fmla="*/ 0 w 213"/>
                  <a:gd name="T1" fmla="*/ 72 h 242"/>
                  <a:gd name="T2" fmla="*/ 18 w 213"/>
                  <a:gd name="T3" fmla="*/ 66 h 242"/>
                  <a:gd name="T4" fmla="*/ 35 w 213"/>
                  <a:gd name="T5" fmla="*/ 50 h 242"/>
                  <a:gd name="T6" fmla="*/ 58 w 213"/>
                  <a:gd name="T7" fmla="*/ 10 h 242"/>
                  <a:gd name="T8" fmla="*/ 100 w 213"/>
                  <a:gd name="T9" fmla="*/ 2 h 242"/>
                  <a:gd name="T10" fmla="*/ 148 w 213"/>
                  <a:gd name="T11" fmla="*/ 3 h 242"/>
                  <a:gd name="T12" fmla="*/ 172 w 213"/>
                  <a:gd name="T13" fmla="*/ 36 h 242"/>
                  <a:gd name="T14" fmla="*/ 185 w 213"/>
                  <a:gd name="T15" fmla="*/ 64 h 242"/>
                  <a:gd name="T16" fmla="*/ 191 w 213"/>
                  <a:gd name="T17" fmla="*/ 77 h 242"/>
                  <a:gd name="T18" fmla="*/ 198 w 213"/>
                  <a:gd name="T19" fmla="*/ 106 h 242"/>
                  <a:gd name="T20" fmla="*/ 180 w 213"/>
                  <a:gd name="T21" fmla="*/ 132 h 242"/>
                  <a:gd name="T22" fmla="*/ 179 w 213"/>
                  <a:gd name="T23" fmla="*/ 134 h 242"/>
                  <a:gd name="T24" fmla="*/ 180 w 213"/>
                  <a:gd name="T25" fmla="*/ 132 h 242"/>
                  <a:gd name="T26" fmla="*/ 197 w 213"/>
                  <a:gd name="T27" fmla="*/ 130 h 242"/>
                  <a:gd name="T28" fmla="*/ 212 w 213"/>
                  <a:gd name="T29" fmla="*/ 120 h 242"/>
                  <a:gd name="T30" fmla="*/ 213 w 213"/>
                  <a:gd name="T31" fmla="*/ 121 h 242"/>
                  <a:gd name="T32" fmla="*/ 209 w 213"/>
                  <a:gd name="T33" fmla="*/ 134 h 242"/>
                  <a:gd name="T34" fmla="*/ 186 w 213"/>
                  <a:gd name="T35" fmla="*/ 159 h 242"/>
                  <a:gd name="T36" fmla="*/ 174 w 213"/>
                  <a:gd name="T37" fmla="*/ 184 h 242"/>
                  <a:gd name="T38" fmla="*/ 143 w 213"/>
                  <a:gd name="T39" fmla="*/ 212 h 242"/>
                  <a:gd name="T40" fmla="*/ 116 w 213"/>
                  <a:gd name="T41" fmla="*/ 241 h 242"/>
                  <a:gd name="T42" fmla="*/ 116 w 213"/>
                  <a:gd name="T43" fmla="*/ 242 h 242"/>
                  <a:gd name="T44" fmla="*/ 114 w 213"/>
                  <a:gd name="T45" fmla="*/ 241 h 242"/>
                  <a:gd name="T46" fmla="*/ 63 w 213"/>
                  <a:gd name="T47" fmla="*/ 216 h 242"/>
                  <a:gd name="T48" fmla="*/ 55 w 213"/>
                  <a:gd name="T49" fmla="*/ 203 h 242"/>
                  <a:gd name="T50" fmla="*/ 46 w 213"/>
                  <a:gd name="T51" fmla="*/ 189 h 242"/>
                  <a:gd name="T52" fmla="*/ 27 w 213"/>
                  <a:gd name="T53" fmla="*/ 171 h 242"/>
                  <a:gd name="T54" fmla="*/ 26 w 213"/>
                  <a:gd name="T55" fmla="*/ 154 h 242"/>
                  <a:gd name="T56" fmla="*/ 17 w 213"/>
                  <a:gd name="T57" fmla="*/ 146 h 242"/>
                  <a:gd name="T58" fmla="*/ 8 w 213"/>
                  <a:gd name="T59" fmla="*/ 141 h 242"/>
                  <a:gd name="T60" fmla="*/ 13 w 213"/>
                  <a:gd name="T61" fmla="*/ 121 h 242"/>
                  <a:gd name="T62" fmla="*/ 7 w 213"/>
                  <a:gd name="T63" fmla="*/ 113 h 242"/>
                  <a:gd name="T64" fmla="*/ 6 w 213"/>
                  <a:gd name="T65" fmla="*/ 98 h 242"/>
                  <a:gd name="T66" fmla="*/ 2 w 213"/>
                  <a:gd name="T67" fmla="*/ 84 h 242"/>
                  <a:gd name="T68" fmla="*/ 0 w 213"/>
                  <a:gd name="T69" fmla="*/ 7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3" h="242">
                    <a:moveTo>
                      <a:pt x="0" y="72"/>
                    </a:moveTo>
                    <a:cubicBezTo>
                      <a:pt x="4" y="68"/>
                      <a:pt x="13" y="79"/>
                      <a:pt x="18" y="66"/>
                    </a:cubicBezTo>
                    <a:cubicBezTo>
                      <a:pt x="17" y="53"/>
                      <a:pt x="29" y="58"/>
                      <a:pt x="35" y="50"/>
                    </a:cubicBezTo>
                    <a:cubicBezTo>
                      <a:pt x="44" y="38"/>
                      <a:pt x="52" y="24"/>
                      <a:pt x="58" y="10"/>
                    </a:cubicBezTo>
                    <a:cubicBezTo>
                      <a:pt x="71" y="0"/>
                      <a:pt x="93" y="20"/>
                      <a:pt x="100" y="2"/>
                    </a:cubicBezTo>
                    <a:cubicBezTo>
                      <a:pt x="116" y="2"/>
                      <a:pt x="132" y="2"/>
                      <a:pt x="148" y="3"/>
                    </a:cubicBezTo>
                    <a:cubicBezTo>
                      <a:pt x="157" y="12"/>
                      <a:pt x="165" y="23"/>
                      <a:pt x="172" y="36"/>
                    </a:cubicBezTo>
                    <a:cubicBezTo>
                      <a:pt x="171" y="49"/>
                      <a:pt x="190" y="52"/>
                      <a:pt x="185" y="64"/>
                    </a:cubicBezTo>
                    <a:cubicBezTo>
                      <a:pt x="175" y="71"/>
                      <a:pt x="184" y="75"/>
                      <a:pt x="191" y="77"/>
                    </a:cubicBezTo>
                    <a:cubicBezTo>
                      <a:pt x="188" y="87"/>
                      <a:pt x="191" y="98"/>
                      <a:pt x="198" y="106"/>
                    </a:cubicBezTo>
                    <a:cubicBezTo>
                      <a:pt x="189" y="112"/>
                      <a:pt x="185" y="123"/>
                      <a:pt x="180" y="132"/>
                    </a:cubicBezTo>
                    <a:cubicBezTo>
                      <a:pt x="177" y="132"/>
                      <a:pt x="176" y="132"/>
                      <a:pt x="179" y="134"/>
                    </a:cubicBezTo>
                    <a:cubicBezTo>
                      <a:pt x="180" y="133"/>
                      <a:pt x="180" y="133"/>
                      <a:pt x="180" y="132"/>
                    </a:cubicBezTo>
                    <a:cubicBezTo>
                      <a:pt x="185" y="133"/>
                      <a:pt x="194" y="134"/>
                      <a:pt x="197" y="130"/>
                    </a:cubicBezTo>
                    <a:cubicBezTo>
                      <a:pt x="200" y="122"/>
                      <a:pt x="206" y="121"/>
                      <a:pt x="212" y="120"/>
                    </a:cubicBezTo>
                    <a:cubicBezTo>
                      <a:pt x="213" y="121"/>
                      <a:pt x="213" y="121"/>
                      <a:pt x="213" y="121"/>
                    </a:cubicBezTo>
                    <a:cubicBezTo>
                      <a:pt x="213" y="126"/>
                      <a:pt x="209" y="129"/>
                      <a:pt x="209" y="134"/>
                    </a:cubicBezTo>
                    <a:cubicBezTo>
                      <a:pt x="213" y="153"/>
                      <a:pt x="188" y="143"/>
                      <a:pt x="186" y="159"/>
                    </a:cubicBezTo>
                    <a:cubicBezTo>
                      <a:pt x="189" y="171"/>
                      <a:pt x="181" y="177"/>
                      <a:pt x="174" y="184"/>
                    </a:cubicBezTo>
                    <a:cubicBezTo>
                      <a:pt x="167" y="197"/>
                      <a:pt x="149" y="198"/>
                      <a:pt x="143" y="212"/>
                    </a:cubicBezTo>
                    <a:cubicBezTo>
                      <a:pt x="127" y="215"/>
                      <a:pt x="129" y="236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6" y="241"/>
                      <a:pt x="115" y="241"/>
                      <a:pt x="114" y="241"/>
                    </a:cubicBezTo>
                    <a:cubicBezTo>
                      <a:pt x="98" y="231"/>
                      <a:pt x="80" y="224"/>
                      <a:pt x="63" y="216"/>
                    </a:cubicBezTo>
                    <a:cubicBezTo>
                      <a:pt x="57" y="215"/>
                      <a:pt x="56" y="208"/>
                      <a:pt x="55" y="203"/>
                    </a:cubicBezTo>
                    <a:cubicBezTo>
                      <a:pt x="56" y="197"/>
                      <a:pt x="49" y="194"/>
                      <a:pt x="46" y="189"/>
                    </a:cubicBezTo>
                    <a:cubicBezTo>
                      <a:pt x="41" y="182"/>
                      <a:pt x="31" y="179"/>
                      <a:pt x="27" y="171"/>
                    </a:cubicBezTo>
                    <a:cubicBezTo>
                      <a:pt x="26" y="166"/>
                      <a:pt x="26" y="160"/>
                      <a:pt x="26" y="154"/>
                    </a:cubicBezTo>
                    <a:cubicBezTo>
                      <a:pt x="24" y="151"/>
                      <a:pt x="20" y="147"/>
                      <a:pt x="17" y="146"/>
                    </a:cubicBezTo>
                    <a:cubicBezTo>
                      <a:pt x="12" y="146"/>
                      <a:pt x="7" y="147"/>
                      <a:pt x="8" y="141"/>
                    </a:cubicBezTo>
                    <a:cubicBezTo>
                      <a:pt x="5" y="134"/>
                      <a:pt x="8" y="126"/>
                      <a:pt x="13" y="121"/>
                    </a:cubicBezTo>
                    <a:cubicBezTo>
                      <a:pt x="18" y="117"/>
                      <a:pt x="10" y="115"/>
                      <a:pt x="7" y="113"/>
                    </a:cubicBezTo>
                    <a:cubicBezTo>
                      <a:pt x="7" y="108"/>
                      <a:pt x="4" y="103"/>
                      <a:pt x="6" y="98"/>
                    </a:cubicBezTo>
                    <a:cubicBezTo>
                      <a:pt x="9" y="93"/>
                      <a:pt x="6" y="88"/>
                      <a:pt x="2" y="84"/>
                    </a:cubicBezTo>
                    <a:cubicBezTo>
                      <a:pt x="3" y="79"/>
                      <a:pt x="1" y="76"/>
                      <a:pt x="0" y="72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85" name="Sardinia"/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56321" y="3254311"/>
                <a:ext cx="43989" cy="6120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1"/>
                  </a:cxn>
                  <a:cxn ang="0">
                    <a:pos x="8" y="11"/>
                  </a:cxn>
                  <a:cxn ang="0">
                    <a:pos x="8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11">
                    <a:moveTo>
                      <a:pt x="0" y="0"/>
                    </a:moveTo>
                    <a:lnTo>
                      <a:pt x="2" y="11"/>
                    </a:lnTo>
                    <a:lnTo>
                      <a:pt x="8" y="11"/>
                    </a:lnTo>
                    <a:lnTo>
                      <a:pt x="8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86" name="San Marino"/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84463" y="3173982"/>
                <a:ext cx="9564" cy="4972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4"/>
                  </a:cxn>
                  <a:cxn ang="0">
                    <a:pos x="2" y="9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lnTo>
                      <a:pt x="0" y="4"/>
                    </a:lnTo>
                    <a:lnTo>
                      <a:pt x="2" y="9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92" name="Saint Vincent and the Grenadines"/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3247569" y="4501326"/>
                <a:ext cx="11475" cy="11476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93" name="Sahara"/>
              <p:cNvSpPr>
                <a:spLocks/>
              </p:cNvSpPr>
              <p:nvPr/>
            </p:nvSpPr>
            <p:spPr bwMode="auto">
              <a:xfrm>
                <a:off x="3807955" y="3654044"/>
                <a:ext cx="233335" cy="212299"/>
              </a:xfrm>
              <a:custGeom>
                <a:avLst/>
                <a:gdLst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11921 w 526593"/>
                  <a:gd name="connsiteY6" fmla="*/ 116851 h 403224"/>
                  <a:gd name="connsiteX7" fmla="*/ 300433 w 526593"/>
                  <a:gd name="connsiteY7" fmla="*/ 180214 h 403224"/>
                  <a:gd name="connsiteX8" fmla="*/ 259403 w 526593"/>
                  <a:gd name="connsiteY8" fmla="*/ 200786 h 403224"/>
                  <a:gd name="connsiteX9" fmla="*/ 240529 w 526593"/>
                  <a:gd name="connsiteY9" fmla="*/ 232056 h 403224"/>
                  <a:gd name="connsiteX10" fmla="*/ 204423 w 526593"/>
                  <a:gd name="connsiteY10" fmla="*/ 243577 h 403224"/>
                  <a:gd name="connsiteX11" fmla="*/ 240457 w 526593"/>
                  <a:gd name="connsiteY11" fmla="*/ 232191 h 403224"/>
                  <a:gd name="connsiteX12" fmla="*/ 259368 w 526593"/>
                  <a:gd name="connsiteY12" fmla="*/ 200944 h 403224"/>
                  <a:gd name="connsiteX13" fmla="*/ 300480 w 526593"/>
                  <a:gd name="connsiteY13" fmla="*/ 180387 h 403224"/>
                  <a:gd name="connsiteX14" fmla="*/ 311991 w 526593"/>
                  <a:gd name="connsiteY14" fmla="*/ 117072 h 403224"/>
                  <a:gd name="connsiteX15" fmla="*/ 311991 w 526593"/>
                  <a:gd name="connsiteY15" fmla="*/ 96515 h 403224"/>
                  <a:gd name="connsiteX16" fmla="*/ 346524 w 526593"/>
                  <a:gd name="connsiteY16" fmla="*/ 98159 h 403224"/>
                  <a:gd name="connsiteX17" fmla="*/ 373658 w 526593"/>
                  <a:gd name="connsiteY17" fmla="*/ 69380 h 403224"/>
                  <a:gd name="connsiteX18" fmla="*/ 370780 w 526593"/>
                  <a:gd name="connsiteY18" fmla="*/ 60026 h 403224"/>
                  <a:gd name="connsiteX19" fmla="*/ 370369 w 526593"/>
                  <a:gd name="connsiteY19" fmla="*/ 58690 h 403224"/>
                  <a:gd name="connsiteX20" fmla="*/ 403258 w 526593"/>
                  <a:gd name="connsiteY20" fmla="*/ 50467 h 403224"/>
                  <a:gd name="connsiteX21" fmla="*/ 428748 w 526593"/>
                  <a:gd name="connsiteY21" fmla="*/ 66091 h 403224"/>
                  <a:gd name="connsiteX22" fmla="*/ 442417 w 526593"/>
                  <a:gd name="connsiteY22" fmla="*/ 61054 h 403224"/>
                  <a:gd name="connsiteX23" fmla="*/ 444340 w 526593"/>
                  <a:gd name="connsiteY23" fmla="*/ 60346 h 403224"/>
                  <a:gd name="connsiteX24" fmla="*/ 430394 w 526593"/>
                  <a:gd name="connsiteY24" fmla="*/ 65112 h 403224"/>
                  <a:gd name="connsiteX25" fmla="*/ 428445 w 526593"/>
                  <a:gd name="connsiteY25" fmla="*/ 65832 h 403224"/>
                  <a:gd name="connsiteX26" fmla="*/ 403007 w 526593"/>
                  <a:gd name="connsiteY26" fmla="*/ 50197 h 403224"/>
                  <a:gd name="connsiteX27" fmla="*/ 288124 w 526593"/>
                  <a:gd name="connsiteY27" fmla="*/ 0 h 403224"/>
                  <a:gd name="connsiteX28" fmla="*/ 514607 w 526593"/>
                  <a:gd name="connsiteY28" fmla="*/ 13989 h 403224"/>
                  <a:gd name="connsiteX29" fmla="*/ 516761 w 526593"/>
                  <a:gd name="connsiteY29" fmla="*/ 29110 h 403224"/>
                  <a:gd name="connsiteX30" fmla="*/ 517069 w 526593"/>
                  <a:gd name="connsiteY30" fmla="*/ 31270 h 403224"/>
                  <a:gd name="connsiteX31" fmla="*/ 514197 w 526593"/>
                  <a:gd name="connsiteY31" fmla="*/ 43511 h 403224"/>
                  <a:gd name="connsiteX32" fmla="*/ 513787 w 526593"/>
                  <a:gd name="connsiteY32" fmla="*/ 45259 h 403224"/>
                  <a:gd name="connsiteX33" fmla="*/ 513787 w 526593"/>
                  <a:gd name="connsiteY33" fmla="*/ 51019 h 403224"/>
                  <a:gd name="connsiteX34" fmla="*/ 513787 w 526593"/>
                  <a:gd name="connsiteY34" fmla="*/ 51842 h 403224"/>
                  <a:gd name="connsiteX35" fmla="*/ 479322 w 526593"/>
                  <a:gd name="connsiteY35" fmla="*/ 55134 h 403224"/>
                  <a:gd name="connsiteX36" fmla="*/ 452285 w 526593"/>
                  <a:gd name="connsiteY36" fmla="*/ 67458 h 403224"/>
                  <a:gd name="connsiteX37" fmla="*/ 479726 w 526593"/>
                  <a:gd name="connsiteY37" fmla="*/ 55401 h 403224"/>
                  <a:gd name="connsiteX38" fmla="*/ 510971 w 526593"/>
                  <a:gd name="connsiteY38" fmla="*/ 55401 h 403224"/>
                  <a:gd name="connsiteX39" fmla="*/ 514260 w 526593"/>
                  <a:gd name="connsiteY39" fmla="*/ 46356 h 403224"/>
                  <a:gd name="connsiteX40" fmla="*/ 514260 w 526593"/>
                  <a:gd name="connsiteY40" fmla="*/ 45534 h 403224"/>
                  <a:gd name="connsiteX41" fmla="*/ 517137 w 526593"/>
                  <a:gd name="connsiteY41" fmla="*/ 33302 h 403224"/>
                  <a:gd name="connsiteX42" fmla="*/ 517549 w 526593"/>
                  <a:gd name="connsiteY42" fmla="*/ 31555 h 403224"/>
                  <a:gd name="connsiteX43" fmla="*/ 515390 w 526593"/>
                  <a:gd name="connsiteY43" fmla="*/ 16446 h 403224"/>
                  <a:gd name="connsiteX44" fmla="*/ 515082 w 526593"/>
                  <a:gd name="connsiteY44" fmla="*/ 14287 h 403224"/>
                  <a:gd name="connsiteX45" fmla="*/ 526593 w 526593"/>
                  <a:gd name="connsiteY45" fmla="*/ 15109 h 403224"/>
                  <a:gd name="connsiteX46" fmla="*/ 523304 w 526593"/>
                  <a:gd name="connsiteY46" fmla="*/ 38133 h 403224"/>
                  <a:gd name="connsiteX47" fmla="*/ 510971 w 526593"/>
                  <a:gd name="connsiteY47" fmla="*/ 117894 h 403224"/>
                  <a:gd name="connsiteX48" fmla="*/ 325969 w 526593"/>
                  <a:gd name="connsiteY48" fmla="*/ 108027 h 403224"/>
                  <a:gd name="connsiteX49" fmla="*/ 301302 w 526593"/>
                  <a:gd name="connsiteY49" fmla="*/ 265904 h 403224"/>
                  <a:gd name="connsiteX50" fmla="*/ 270879 w 526593"/>
                  <a:gd name="connsiteY50" fmla="*/ 274127 h 403224"/>
                  <a:gd name="connsiteX51" fmla="*/ 234701 w 526593"/>
                  <a:gd name="connsiteY51" fmla="*/ 296328 h 403224"/>
                  <a:gd name="connsiteX52" fmla="*/ 231412 w 526593"/>
                  <a:gd name="connsiteY52" fmla="*/ 322641 h 403224"/>
                  <a:gd name="connsiteX53" fmla="*/ 225657 w 526593"/>
                  <a:gd name="connsiteY53" fmla="*/ 395001 h 403224"/>
                  <a:gd name="connsiteX54" fmla="*/ 24210 w 526593"/>
                  <a:gd name="connsiteY54" fmla="*/ 384312 h 403224"/>
                  <a:gd name="connsiteX55" fmla="*/ 5299 w 526593"/>
                  <a:gd name="connsiteY55" fmla="*/ 392535 h 403224"/>
                  <a:gd name="connsiteX56" fmla="*/ 365 w 526593"/>
                  <a:gd name="connsiteY56" fmla="*/ 403224 h 403224"/>
                  <a:gd name="connsiteX57" fmla="*/ 365 w 526593"/>
                  <a:gd name="connsiteY57" fmla="*/ 395824 h 403224"/>
                  <a:gd name="connsiteX58" fmla="*/ 6943 w 526593"/>
                  <a:gd name="connsiteY58" fmla="*/ 373622 h 403224"/>
                  <a:gd name="connsiteX59" fmla="*/ 63677 w 526593"/>
                  <a:gd name="connsiteY59" fmla="*/ 374444 h 403224"/>
                  <a:gd name="connsiteX60" fmla="*/ 118767 w 526593"/>
                  <a:gd name="connsiteY60" fmla="*/ 381023 h 403224"/>
                  <a:gd name="connsiteX61" fmla="*/ 139322 w 526593"/>
                  <a:gd name="connsiteY61" fmla="*/ 381023 h 403224"/>
                  <a:gd name="connsiteX62" fmla="*/ 139335 w 526593"/>
                  <a:gd name="connsiteY62" fmla="*/ 381000 h 403224"/>
                  <a:gd name="connsiteX63" fmla="*/ 119082 w 526593"/>
                  <a:gd name="connsiteY63" fmla="*/ 381000 h 403224"/>
                  <a:gd name="connsiteX64" fmla="*/ 64102 w 526593"/>
                  <a:gd name="connsiteY64" fmla="*/ 374417 h 403224"/>
                  <a:gd name="connsiteX65" fmla="*/ 7481 w 526593"/>
                  <a:gd name="connsiteY65" fmla="*/ 374417 h 403224"/>
                  <a:gd name="connsiteX66" fmla="*/ 12405 w 526593"/>
                  <a:gd name="connsiteY66" fmla="*/ 353845 h 403224"/>
                  <a:gd name="connsiteX67" fmla="*/ 27996 w 526593"/>
                  <a:gd name="connsiteY67" fmla="*/ 326689 h 403224"/>
                  <a:gd name="connsiteX68" fmla="*/ 41125 w 526593"/>
                  <a:gd name="connsiteY68" fmla="*/ 320106 h 403224"/>
                  <a:gd name="connsiteX69" fmla="*/ 53434 w 526593"/>
                  <a:gd name="connsiteY69" fmla="*/ 302002 h 403224"/>
                  <a:gd name="connsiteX70" fmla="*/ 68205 w 526593"/>
                  <a:gd name="connsiteY70" fmla="*/ 281430 h 403224"/>
                  <a:gd name="connsiteX71" fmla="*/ 69025 w 526593"/>
                  <a:gd name="connsiteY71" fmla="*/ 269909 h 403224"/>
                  <a:gd name="connsiteX72" fmla="*/ 97746 w 526593"/>
                  <a:gd name="connsiteY72" fmla="*/ 234525 h 403224"/>
                  <a:gd name="connsiteX73" fmla="*/ 106773 w 526593"/>
                  <a:gd name="connsiteY73" fmla="*/ 217244 h 403224"/>
                  <a:gd name="connsiteX74" fmla="*/ 144520 w 526593"/>
                  <a:gd name="connsiteY74" fmla="*/ 182683 h 403224"/>
                  <a:gd name="connsiteX75" fmla="*/ 160932 w 526593"/>
                  <a:gd name="connsiteY75" fmla="*/ 161287 h 403224"/>
                  <a:gd name="connsiteX76" fmla="*/ 167497 w 526593"/>
                  <a:gd name="connsiteY76" fmla="*/ 147298 h 403224"/>
                  <a:gd name="connsiteX77" fmla="*/ 177344 w 526593"/>
                  <a:gd name="connsiteY77" fmla="*/ 126726 h 403224"/>
                  <a:gd name="connsiteX78" fmla="*/ 192935 w 526593"/>
                  <a:gd name="connsiteY78" fmla="*/ 94633 h 403224"/>
                  <a:gd name="connsiteX79" fmla="*/ 210167 w 526593"/>
                  <a:gd name="connsiteY79" fmla="*/ 76529 h 403224"/>
                  <a:gd name="connsiteX80" fmla="*/ 225759 w 526593"/>
                  <a:gd name="connsiteY80" fmla="*/ 68300 h 403224"/>
                  <a:gd name="connsiteX81" fmla="*/ 250376 w 526593"/>
                  <a:gd name="connsiteY81" fmla="*/ 54311 h 403224"/>
                  <a:gd name="connsiteX82" fmla="*/ 257762 w 526593"/>
                  <a:gd name="connsiteY82" fmla="*/ 45259 h 403224"/>
                  <a:gd name="connsiteX83" fmla="*/ 273353 w 526593"/>
                  <a:gd name="connsiteY83" fmla="*/ 18927 h 403224"/>
                  <a:gd name="connsiteX84" fmla="*/ 288124 w 526593"/>
                  <a:gd name="connsiteY84" fmla="*/ 823 h 403224"/>
                  <a:gd name="connsiteX85" fmla="*/ 288124 w 526593"/>
                  <a:gd name="connsiteY85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11921 w 526593"/>
                  <a:gd name="connsiteY6" fmla="*/ 116851 h 403224"/>
                  <a:gd name="connsiteX7" fmla="*/ 300433 w 526593"/>
                  <a:gd name="connsiteY7" fmla="*/ 180214 h 403224"/>
                  <a:gd name="connsiteX8" fmla="*/ 259403 w 526593"/>
                  <a:gd name="connsiteY8" fmla="*/ 200786 h 403224"/>
                  <a:gd name="connsiteX9" fmla="*/ 240529 w 526593"/>
                  <a:gd name="connsiteY9" fmla="*/ 232056 h 403224"/>
                  <a:gd name="connsiteX10" fmla="*/ 240457 w 526593"/>
                  <a:gd name="connsiteY10" fmla="*/ 232191 h 403224"/>
                  <a:gd name="connsiteX11" fmla="*/ 259368 w 526593"/>
                  <a:gd name="connsiteY11" fmla="*/ 200944 h 403224"/>
                  <a:gd name="connsiteX12" fmla="*/ 300480 w 526593"/>
                  <a:gd name="connsiteY12" fmla="*/ 180387 h 403224"/>
                  <a:gd name="connsiteX13" fmla="*/ 311991 w 526593"/>
                  <a:gd name="connsiteY13" fmla="*/ 117072 h 403224"/>
                  <a:gd name="connsiteX14" fmla="*/ 311991 w 526593"/>
                  <a:gd name="connsiteY14" fmla="*/ 96515 h 403224"/>
                  <a:gd name="connsiteX15" fmla="*/ 346524 w 526593"/>
                  <a:gd name="connsiteY15" fmla="*/ 98159 h 403224"/>
                  <a:gd name="connsiteX16" fmla="*/ 373658 w 526593"/>
                  <a:gd name="connsiteY16" fmla="*/ 69380 h 403224"/>
                  <a:gd name="connsiteX17" fmla="*/ 370780 w 526593"/>
                  <a:gd name="connsiteY17" fmla="*/ 60026 h 403224"/>
                  <a:gd name="connsiteX18" fmla="*/ 370369 w 526593"/>
                  <a:gd name="connsiteY18" fmla="*/ 58690 h 403224"/>
                  <a:gd name="connsiteX19" fmla="*/ 403258 w 526593"/>
                  <a:gd name="connsiteY19" fmla="*/ 50467 h 403224"/>
                  <a:gd name="connsiteX20" fmla="*/ 428748 w 526593"/>
                  <a:gd name="connsiteY20" fmla="*/ 66091 h 403224"/>
                  <a:gd name="connsiteX21" fmla="*/ 442417 w 526593"/>
                  <a:gd name="connsiteY21" fmla="*/ 61054 h 403224"/>
                  <a:gd name="connsiteX22" fmla="*/ 444340 w 526593"/>
                  <a:gd name="connsiteY22" fmla="*/ 60346 h 403224"/>
                  <a:gd name="connsiteX23" fmla="*/ 430394 w 526593"/>
                  <a:gd name="connsiteY23" fmla="*/ 65112 h 403224"/>
                  <a:gd name="connsiteX24" fmla="*/ 428445 w 526593"/>
                  <a:gd name="connsiteY24" fmla="*/ 65832 h 403224"/>
                  <a:gd name="connsiteX25" fmla="*/ 403007 w 526593"/>
                  <a:gd name="connsiteY25" fmla="*/ 50197 h 403224"/>
                  <a:gd name="connsiteX26" fmla="*/ 288124 w 526593"/>
                  <a:gd name="connsiteY26" fmla="*/ 0 h 403224"/>
                  <a:gd name="connsiteX27" fmla="*/ 514607 w 526593"/>
                  <a:gd name="connsiteY27" fmla="*/ 13989 h 403224"/>
                  <a:gd name="connsiteX28" fmla="*/ 516761 w 526593"/>
                  <a:gd name="connsiteY28" fmla="*/ 29110 h 403224"/>
                  <a:gd name="connsiteX29" fmla="*/ 517069 w 526593"/>
                  <a:gd name="connsiteY29" fmla="*/ 31270 h 403224"/>
                  <a:gd name="connsiteX30" fmla="*/ 514197 w 526593"/>
                  <a:gd name="connsiteY30" fmla="*/ 43511 h 403224"/>
                  <a:gd name="connsiteX31" fmla="*/ 513787 w 526593"/>
                  <a:gd name="connsiteY31" fmla="*/ 45259 h 403224"/>
                  <a:gd name="connsiteX32" fmla="*/ 513787 w 526593"/>
                  <a:gd name="connsiteY32" fmla="*/ 51019 h 403224"/>
                  <a:gd name="connsiteX33" fmla="*/ 513787 w 526593"/>
                  <a:gd name="connsiteY33" fmla="*/ 51842 h 403224"/>
                  <a:gd name="connsiteX34" fmla="*/ 479322 w 526593"/>
                  <a:gd name="connsiteY34" fmla="*/ 55134 h 403224"/>
                  <a:gd name="connsiteX35" fmla="*/ 452285 w 526593"/>
                  <a:gd name="connsiteY35" fmla="*/ 67458 h 403224"/>
                  <a:gd name="connsiteX36" fmla="*/ 479726 w 526593"/>
                  <a:gd name="connsiteY36" fmla="*/ 55401 h 403224"/>
                  <a:gd name="connsiteX37" fmla="*/ 510971 w 526593"/>
                  <a:gd name="connsiteY37" fmla="*/ 55401 h 403224"/>
                  <a:gd name="connsiteX38" fmla="*/ 514260 w 526593"/>
                  <a:gd name="connsiteY38" fmla="*/ 46356 h 403224"/>
                  <a:gd name="connsiteX39" fmla="*/ 514260 w 526593"/>
                  <a:gd name="connsiteY39" fmla="*/ 45534 h 403224"/>
                  <a:gd name="connsiteX40" fmla="*/ 517137 w 526593"/>
                  <a:gd name="connsiteY40" fmla="*/ 33302 h 403224"/>
                  <a:gd name="connsiteX41" fmla="*/ 517549 w 526593"/>
                  <a:gd name="connsiteY41" fmla="*/ 31555 h 403224"/>
                  <a:gd name="connsiteX42" fmla="*/ 515390 w 526593"/>
                  <a:gd name="connsiteY42" fmla="*/ 16446 h 403224"/>
                  <a:gd name="connsiteX43" fmla="*/ 515082 w 526593"/>
                  <a:gd name="connsiteY43" fmla="*/ 14287 h 403224"/>
                  <a:gd name="connsiteX44" fmla="*/ 526593 w 526593"/>
                  <a:gd name="connsiteY44" fmla="*/ 15109 h 403224"/>
                  <a:gd name="connsiteX45" fmla="*/ 523304 w 526593"/>
                  <a:gd name="connsiteY45" fmla="*/ 38133 h 403224"/>
                  <a:gd name="connsiteX46" fmla="*/ 510971 w 526593"/>
                  <a:gd name="connsiteY46" fmla="*/ 117894 h 403224"/>
                  <a:gd name="connsiteX47" fmla="*/ 325969 w 526593"/>
                  <a:gd name="connsiteY47" fmla="*/ 108027 h 403224"/>
                  <a:gd name="connsiteX48" fmla="*/ 301302 w 526593"/>
                  <a:gd name="connsiteY48" fmla="*/ 265904 h 403224"/>
                  <a:gd name="connsiteX49" fmla="*/ 270879 w 526593"/>
                  <a:gd name="connsiteY49" fmla="*/ 274127 h 403224"/>
                  <a:gd name="connsiteX50" fmla="*/ 234701 w 526593"/>
                  <a:gd name="connsiteY50" fmla="*/ 296328 h 403224"/>
                  <a:gd name="connsiteX51" fmla="*/ 231412 w 526593"/>
                  <a:gd name="connsiteY51" fmla="*/ 322641 h 403224"/>
                  <a:gd name="connsiteX52" fmla="*/ 225657 w 526593"/>
                  <a:gd name="connsiteY52" fmla="*/ 395001 h 403224"/>
                  <a:gd name="connsiteX53" fmla="*/ 24210 w 526593"/>
                  <a:gd name="connsiteY53" fmla="*/ 384312 h 403224"/>
                  <a:gd name="connsiteX54" fmla="*/ 5299 w 526593"/>
                  <a:gd name="connsiteY54" fmla="*/ 392535 h 403224"/>
                  <a:gd name="connsiteX55" fmla="*/ 365 w 526593"/>
                  <a:gd name="connsiteY55" fmla="*/ 403224 h 403224"/>
                  <a:gd name="connsiteX56" fmla="*/ 365 w 526593"/>
                  <a:gd name="connsiteY56" fmla="*/ 395824 h 403224"/>
                  <a:gd name="connsiteX57" fmla="*/ 6943 w 526593"/>
                  <a:gd name="connsiteY57" fmla="*/ 373622 h 403224"/>
                  <a:gd name="connsiteX58" fmla="*/ 63677 w 526593"/>
                  <a:gd name="connsiteY58" fmla="*/ 374444 h 403224"/>
                  <a:gd name="connsiteX59" fmla="*/ 118767 w 526593"/>
                  <a:gd name="connsiteY59" fmla="*/ 381023 h 403224"/>
                  <a:gd name="connsiteX60" fmla="*/ 139322 w 526593"/>
                  <a:gd name="connsiteY60" fmla="*/ 381023 h 403224"/>
                  <a:gd name="connsiteX61" fmla="*/ 139335 w 526593"/>
                  <a:gd name="connsiteY61" fmla="*/ 381000 h 403224"/>
                  <a:gd name="connsiteX62" fmla="*/ 119082 w 526593"/>
                  <a:gd name="connsiteY62" fmla="*/ 381000 h 403224"/>
                  <a:gd name="connsiteX63" fmla="*/ 64102 w 526593"/>
                  <a:gd name="connsiteY63" fmla="*/ 374417 h 403224"/>
                  <a:gd name="connsiteX64" fmla="*/ 7481 w 526593"/>
                  <a:gd name="connsiteY64" fmla="*/ 374417 h 403224"/>
                  <a:gd name="connsiteX65" fmla="*/ 12405 w 526593"/>
                  <a:gd name="connsiteY65" fmla="*/ 353845 h 403224"/>
                  <a:gd name="connsiteX66" fmla="*/ 27996 w 526593"/>
                  <a:gd name="connsiteY66" fmla="*/ 326689 h 403224"/>
                  <a:gd name="connsiteX67" fmla="*/ 41125 w 526593"/>
                  <a:gd name="connsiteY67" fmla="*/ 320106 h 403224"/>
                  <a:gd name="connsiteX68" fmla="*/ 53434 w 526593"/>
                  <a:gd name="connsiteY68" fmla="*/ 302002 h 403224"/>
                  <a:gd name="connsiteX69" fmla="*/ 68205 w 526593"/>
                  <a:gd name="connsiteY69" fmla="*/ 281430 h 403224"/>
                  <a:gd name="connsiteX70" fmla="*/ 69025 w 526593"/>
                  <a:gd name="connsiteY70" fmla="*/ 269909 h 403224"/>
                  <a:gd name="connsiteX71" fmla="*/ 97746 w 526593"/>
                  <a:gd name="connsiteY71" fmla="*/ 234525 h 403224"/>
                  <a:gd name="connsiteX72" fmla="*/ 106773 w 526593"/>
                  <a:gd name="connsiteY72" fmla="*/ 217244 h 403224"/>
                  <a:gd name="connsiteX73" fmla="*/ 144520 w 526593"/>
                  <a:gd name="connsiteY73" fmla="*/ 182683 h 403224"/>
                  <a:gd name="connsiteX74" fmla="*/ 160932 w 526593"/>
                  <a:gd name="connsiteY74" fmla="*/ 161287 h 403224"/>
                  <a:gd name="connsiteX75" fmla="*/ 167497 w 526593"/>
                  <a:gd name="connsiteY75" fmla="*/ 147298 h 403224"/>
                  <a:gd name="connsiteX76" fmla="*/ 177344 w 526593"/>
                  <a:gd name="connsiteY76" fmla="*/ 126726 h 403224"/>
                  <a:gd name="connsiteX77" fmla="*/ 192935 w 526593"/>
                  <a:gd name="connsiteY77" fmla="*/ 94633 h 403224"/>
                  <a:gd name="connsiteX78" fmla="*/ 210167 w 526593"/>
                  <a:gd name="connsiteY78" fmla="*/ 76529 h 403224"/>
                  <a:gd name="connsiteX79" fmla="*/ 225759 w 526593"/>
                  <a:gd name="connsiteY79" fmla="*/ 68300 h 403224"/>
                  <a:gd name="connsiteX80" fmla="*/ 250376 w 526593"/>
                  <a:gd name="connsiteY80" fmla="*/ 54311 h 403224"/>
                  <a:gd name="connsiteX81" fmla="*/ 257762 w 526593"/>
                  <a:gd name="connsiteY81" fmla="*/ 45259 h 403224"/>
                  <a:gd name="connsiteX82" fmla="*/ 273353 w 526593"/>
                  <a:gd name="connsiteY82" fmla="*/ 18927 h 403224"/>
                  <a:gd name="connsiteX83" fmla="*/ 288124 w 526593"/>
                  <a:gd name="connsiteY83" fmla="*/ 823 h 403224"/>
                  <a:gd name="connsiteX84" fmla="*/ 288124 w 526593"/>
                  <a:gd name="connsiteY84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11921 w 526593"/>
                  <a:gd name="connsiteY6" fmla="*/ 116851 h 403224"/>
                  <a:gd name="connsiteX7" fmla="*/ 300433 w 526593"/>
                  <a:gd name="connsiteY7" fmla="*/ 180214 h 403224"/>
                  <a:gd name="connsiteX8" fmla="*/ 259403 w 526593"/>
                  <a:gd name="connsiteY8" fmla="*/ 200786 h 403224"/>
                  <a:gd name="connsiteX9" fmla="*/ 240529 w 526593"/>
                  <a:gd name="connsiteY9" fmla="*/ 232056 h 403224"/>
                  <a:gd name="connsiteX10" fmla="*/ 259368 w 526593"/>
                  <a:gd name="connsiteY10" fmla="*/ 200944 h 403224"/>
                  <a:gd name="connsiteX11" fmla="*/ 300480 w 526593"/>
                  <a:gd name="connsiteY11" fmla="*/ 180387 h 403224"/>
                  <a:gd name="connsiteX12" fmla="*/ 311991 w 526593"/>
                  <a:gd name="connsiteY12" fmla="*/ 117072 h 403224"/>
                  <a:gd name="connsiteX13" fmla="*/ 311991 w 526593"/>
                  <a:gd name="connsiteY13" fmla="*/ 96515 h 403224"/>
                  <a:gd name="connsiteX14" fmla="*/ 346524 w 526593"/>
                  <a:gd name="connsiteY14" fmla="*/ 98159 h 403224"/>
                  <a:gd name="connsiteX15" fmla="*/ 373658 w 526593"/>
                  <a:gd name="connsiteY15" fmla="*/ 69380 h 403224"/>
                  <a:gd name="connsiteX16" fmla="*/ 370780 w 526593"/>
                  <a:gd name="connsiteY16" fmla="*/ 60026 h 403224"/>
                  <a:gd name="connsiteX17" fmla="*/ 370369 w 526593"/>
                  <a:gd name="connsiteY17" fmla="*/ 58690 h 403224"/>
                  <a:gd name="connsiteX18" fmla="*/ 403258 w 526593"/>
                  <a:gd name="connsiteY18" fmla="*/ 50467 h 403224"/>
                  <a:gd name="connsiteX19" fmla="*/ 428748 w 526593"/>
                  <a:gd name="connsiteY19" fmla="*/ 66091 h 403224"/>
                  <a:gd name="connsiteX20" fmla="*/ 442417 w 526593"/>
                  <a:gd name="connsiteY20" fmla="*/ 61054 h 403224"/>
                  <a:gd name="connsiteX21" fmla="*/ 444340 w 526593"/>
                  <a:gd name="connsiteY21" fmla="*/ 60346 h 403224"/>
                  <a:gd name="connsiteX22" fmla="*/ 430394 w 526593"/>
                  <a:gd name="connsiteY22" fmla="*/ 65112 h 403224"/>
                  <a:gd name="connsiteX23" fmla="*/ 428445 w 526593"/>
                  <a:gd name="connsiteY23" fmla="*/ 65832 h 403224"/>
                  <a:gd name="connsiteX24" fmla="*/ 403007 w 526593"/>
                  <a:gd name="connsiteY24" fmla="*/ 50197 h 403224"/>
                  <a:gd name="connsiteX25" fmla="*/ 288124 w 526593"/>
                  <a:gd name="connsiteY25" fmla="*/ 0 h 403224"/>
                  <a:gd name="connsiteX26" fmla="*/ 514607 w 526593"/>
                  <a:gd name="connsiteY26" fmla="*/ 13989 h 403224"/>
                  <a:gd name="connsiteX27" fmla="*/ 516761 w 526593"/>
                  <a:gd name="connsiteY27" fmla="*/ 29110 h 403224"/>
                  <a:gd name="connsiteX28" fmla="*/ 517069 w 526593"/>
                  <a:gd name="connsiteY28" fmla="*/ 31270 h 403224"/>
                  <a:gd name="connsiteX29" fmla="*/ 514197 w 526593"/>
                  <a:gd name="connsiteY29" fmla="*/ 43511 h 403224"/>
                  <a:gd name="connsiteX30" fmla="*/ 513787 w 526593"/>
                  <a:gd name="connsiteY30" fmla="*/ 45259 h 403224"/>
                  <a:gd name="connsiteX31" fmla="*/ 513787 w 526593"/>
                  <a:gd name="connsiteY31" fmla="*/ 51019 h 403224"/>
                  <a:gd name="connsiteX32" fmla="*/ 513787 w 526593"/>
                  <a:gd name="connsiteY32" fmla="*/ 51842 h 403224"/>
                  <a:gd name="connsiteX33" fmla="*/ 479322 w 526593"/>
                  <a:gd name="connsiteY33" fmla="*/ 55134 h 403224"/>
                  <a:gd name="connsiteX34" fmla="*/ 452285 w 526593"/>
                  <a:gd name="connsiteY34" fmla="*/ 67458 h 403224"/>
                  <a:gd name="connsiteX35" fmla="*/ 479726 w 526593"/>
                  <a:gd name="connsiteY35" fmla="*/ 55401 h 403224"/>
                  <a:gd name="connsiteX36" fmla="*/ 510971 w 526593"/>
                  <a:gd name="connsiteY36" fmla="*/ 55401 h 403224"/>
                  <a:gd name="connsiteX37" fmla="*/ 514260 w 526593"/>
                  <a:gd name="connsiteY37" fmla="*/ 46356 h 403224"/>
                  <a:gd name="connsiteX38" fmla="*/ 514260 w 526593"/>
                  <a:gd name="connsiteY38" fmla="*/ 45534 h 403224"/>
                  <a:gd name="connsiteX39" fmla="*/ 517137 w 526593"/>
                  <a:gd name="connsiteY39" fmla="*/ 33302 h 403224"/>
                  <a:gd name="connsiteX40" fmla="*/ 517549 w 526593"/>
                  <a:gd name="connsiteY40" fmla="*/ 31555 h 403224"/>
                  <a:gd name="connsiteX41" fmla="*/ 515390 w 526593"/>
                  <a:gd name="connsiteY41" fmla="*/ 16446 h 403224"/>
                  <a:gd name="connsiteX42" fmla="*/ 515082 w 526593"/>
                  <a:gd name="connsiteY42" fmla="*/ 14287 h 403224"/>
                  <a:gd name="connsiteX43" fmla="*/ 526593 w 526593"/>
                  <a:gd name="connsiteY43" fmla="*/ 15109 h 403224"/>
                  <a:gd name="connsiteX44" fmla="*/ 523304 w 526593"/>
                  <a:gd name="connsiteY44" fmla="*/ 38133 h 403224"/>
                  <a:gd name="connsiteX45" fmla="*/ 510971 w 526593"/>
                  <a:gd name="connsiteY45" fmla="*/ 117894 h 403224"/>
                  <a:gd name="connsiteX46" fmla="*/ 325969 w 526593"/>
                  <a:gd name="connsiteY46" fmla="*/ 108027 h 403224"/>
                  <a:gd name="connsiteX47" fmla="*/ 301302 w 526593"/>
                  <a:gd name="connsiteY47" fmla="*/ 265904 h 403224"/>
                  <a:gd name="connsiteX48" fmla="*/ 270879 w 526593"/>
                  <a:gd name="connsiteY48" fmla="*/ 274127 h 403224"/>
                  <a:gd name="connsiteX49" fmla="*/ 234701 w 526593"/>
                  <a:gd name="connsiteY49" fmla="*/ 296328 h 403224"/>
                  <a:gd name="connsiteX50" fmla="*/ 231412 w 526593"/>
                  <a:gd name="connsiteY50" fmla="*/ 322641 h 403224"/>
                  <a:gd name="connsiteX51" fmla="*/ 225657 w 526593"/>
                  <a:gd name="connsiteY51" fmla="*/ 395001 h 403224"/>
                  <a:gd name="connsiteX52" fmla="*/ 24210 w 526593"/>
                  <a:gd name="connsiteY52" fmla="*/ 384312 h 403224"/>
                  <a:gd name="connsiteX53" fmla="*/ 5299 w 526593"/>
                  <a:gd name="connsiteY53" fmla="*/ 392535 h 403224"/>
                  <a:gd name="connsiteX54" fmla="*/ 365 w 526593"/>
                  <a:gd name="connsiteY54" fmla="*/ 403224 h 403224"/>
                  <a:gd name="connsiteX55" fmla="*/ 365 w 526593"/>
                  <a:gd name="connsiteY55" fmla="*/ 395824 h 403224"/>
                  <a:gd name="connsiteX56" fmla="*/ 6943 w 526593"/>
                  <a:gd name="connsiteY56" fmla="*/ 373622 h 403224"/>
                  <a:gd name="connsiteX57" fmla="*/ 63677 w 526593"/>
                  <a:gd name="connsiteY57" fmla="*/ 374444 h 403224"/>
                  <a:gd name="connsiteX58" fmla="*/ 118767 w 526593"/>
                  <a:gd name="connsiteY58" fmla="*/ 381023 h 403224"/>
                  <a:gd name="connsiteX59" fmla="*/ 139322 w 526593"/>
                  <a:gd name="connsiteY59" fmla="*/ 381023 h 403224"/>
                  <a:gd name="connsiteX60" fmla="*/ 139335 w 526593"/>
                  <a:gd name="connsiteY60" fmla="*/ 381000 h 403224"/>
                  <a:gd name="connsiteX61" fmla="*/ 119082 w 526593"/>
                  <a:gd name="connsiteY61" fmla="*/ 381000 h 403224"/>
                  <a:gd name="connsiteX62" fmla="*/ 64102 w 526593"/>
                  <a:gd name="connsiteY62" fmla="*/ 374417 h 403224"/>
                  <a:gd name="connsiteX63" fmla="*/ 7481 w 526593"/>
                  <a:gd name="connsiteY63" fmla="*/ 374417 h 403224"/>
                  <a:gd name="connsiteX64" fmla="*/ 12405 w 526593"/>
                  <a:gd name="connsiteY64" fmla="*/ 353845 h 403224"/>
                  <a:gd name="connsiteX65" fmla="*/ 27996 w 526593"/>
                  <a:gd name="connsiteY65" fmla="*/ 326689 h 403224"/>
                  <a:gd name="connsiteX66" fmla="*/ 41125 w 526593"/>
                  <a:gd name="connsiteY66" fmla="*/ 320106 h 403224"/>
                  <a:gd name="connsiteX67" fmla="*/ 53434 w 526593"/>
                  <a:gd name="connsiteY67" fmla="*/ 302002 h 403224"/>
                  <a:gd name="connsiteX68" fmla="*/ 68205 w 526593"/>
                  <a:gd name="connsiteY68" fmla="*/ 281430 h 403224"/>
                  <a:gd name="connsiteX69" fmla="*/ 69025 w 526593"/>
                  <a:gd name="connsiteY69" fmla="*/ 269909 h 403224"/>
                  <a:gd name="connsiteX70" fmla="*/ 97746 w 526593"/>
                  <a:gd name="connsiteY70" fmla="*/ 234525 h 403224"/>
                  <a:gd name="connsiteX71" fmla="*/ 106773 w 526593"/>
                  <a:gd name="connsiteY71" fmla="*/ 217244 h 403224"/>
                  <a:gd name="connsiteX72" fmla="*/ 144520 w 526593"/>
                  <a:gd name="connsiteY72" fmla="*/ 182683 h 403224"/>
                  <a:gd name="connsiteX73" fmla="*/ 160932 w 526593"/>
                  <a:gd name="connsiteY73" fmla="*/ 161287 h 403224"/>
                  <a:gd name="connsiteX74" fmla="*/ 167497 w 526593"/>
                  <a:gd name="connsiteY74" fmla="*/ 147298 h 403224"/>
                  <a:gd name="connsiteX75" fmla="*/ 177344 w 526593"/>
                  <a:gd name="connsiteY75" fmla="*/ 126726 h 403224"/>
                  <a:gd name="connsiteX76" fmla="*/ 192935 w 526593"/>
                  <a:gd name="connsiteY76" fmla="*/ 94633 h 403224"/>
                  <a:gd name="connsiteX77" fmla="*/ 210167 w 526593"/>
                  <a:gd name="connsiteY77" fmla="*/ 76529 h 403224"/>
                  <a:gd name="connsiteX78" fmla="*/ 225759 w 526593"/>
                  <a:gd name="connsiteY78" fmla="*/ 68300 h 403224"/>
                  <a:gd name="connsiteX79" fmla="*/ 250376 w 526593"/>
                  <a:gd name="connsiteY79" fmla="*/ 54311 h 403224"/>
                  <a:gd name="connsiteX80" fmla="*/ 257762 w 526593"/>
                  <a:gd name="connsiteY80" fmla="*/ 45259 h 403224"/>
                  <a:gd name="connsiteX81" fmla="*/ 273353 w 526593"/>
                  <a:gd name="connsiteY81" fmla="*/ 18927 h 403224"/>
                  <a:gd name="connsiteX82" fmla="*/ 288124 w 526593"/>
                  <a:gd name="connsiteY82" fmla="*/ 823 h 403224"/>
                  <a:gd name="connsiteX83" fmla="*/ 288124 w 526593"/>
                  <a:gd name="connsiteY83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11921 w 526593"/>
                  <a:gd name="connsiteY6" fmla="*/ 116851 h 403224"/>
                  <a:gd name="connsiteX7" fmla="*/ 300433 w 526593"/>
                  <a:gd name="connsiteY7" fmla="*/ 180214 h 403224"/>
                  <a:gd name="connsiteX8" fmla="*/ 259403 w 526593"/>
                  <a:gd name="connsiteY8" fmla="*/ 200786 h 403224"/>
                  <a:gd name="connsiteX9" fmla="*/ 240529 w 526593"/>
                  <a:gd name="connsiteY9" fmla="*/ 232056 h 403224"/>
                  <a:gd name="connsiteX10" fmla="*/ 300480 w 526593"/>
                  <a:gd name="connsiteY10" fmla="*/ 180387 h 403224"/>
                  <a:gd name="connsiteX11" fmla="*/ 311991 w 526593"/>
                  <a:gd name="connsiteY11" fmla="*/ 117072 h 403224"/>
                  <a:gd name="connsiteX12" fmla="*/ 311991 w 526593"/>
                  <a:gd name="connsiteY12" fmla="*/ 96515 h 403224"/>
                  <a:gd name="connsiteX13" fmla="*/ 346524 w 526593"/>
                  <a:gd name="connsiteY13" fmla="*/ 98159 h 403224"/>
                  <a:gd name="connsiteX14" fmla="*/ 373658 w 526593"/>
                  <a:gd name="connsiteY14" fmla="*/ 69380 h 403224"/>
                  <a:gd name="connsiteX15" fmla="*/ 370780 w 526593"/>
                  <a:gd name="connsiteY15" fmla="*/ 60026 h 403224"/>
                  <a:gd name="connsiteX16" fmla="*/ 370369 w 526593"/>
                  <a:gd name="connsiteY16" fmla="*/ 58690 h 403224"/>
                  <a:gd name="connsiteX17" fmla="*/ 403258 w 526593"/>
                  <a:gd name="connsiteY17" fmla="*/ 50467 h 403224"/>
                  <a:gd name="connsiteX18" fmla="*/ 428748 w 526593"/>
                  <a:gd name="connsiteY18" fmla="*/ 66091 h 403224"/>
                  <a:gd name="connsiteX19" fmla="*/ 442417 w 526593"/>
                  <a:gd name="connsiteY19" fmla="*/ 61054 h 403224"/>
                  <a:gd name="connsiteX20" fmla="*/ 444340 w 526593"/>
                  <a:gd name="connsiteY20" fmla="*/ 60346 h 403224"/>
                  <a:gd name="connsiteX21" fmla="*/ 430394 w 526593"/>
                  <a:gd name="connsiteY21" fmla="*/ 65112 h 403224"/>
                  <a:gd name="connsiteX22" fmla="*/ 428445 w 526593"/>
                  <a:gd name="connsiteY22" fmla="*/ 65832 h 403224"/>
                  <a:gd name="connsiteX23" fmla="*/ 403007 w 526593"/>
                  <a:gd name="connsiteY23" fmla="*/ 50197 h 403224"/>
                  <a:gd name="connsiteX24" fmla="*/ 288124 w 526593"/>
                  <a:gd name="connsiteY24" fmla="*/ 0 h 403224"/>
                  <a:gd name="connsiteX25" fmla="*/ 514607 w 526593"/>
                  <a:gd name="connsiteY25" fmla="*/ 13989 h 403224"/>
                  <a:gd name="connsiteX26" fmla="*/ 516761 w 526593"/>
                  <a:gd name="connsiteY26" fmla="*/ 29110 h 403224"/>
                  <a:gd name="connsiteX27" fmla="*/ 517069 w 526593"/>
                  <a:gd name="connsiteY27" fmla="*/ 31270 h 403224"/>
                  <a:gd name="connsiteX28" fmla="*/ 514197 w 526593"/>
                  <a:gd name="connsiteY28" fmla="*/ 43511 h 403224"/>
                  <a:gd name="connsiteX29" fmla="*/ 513787 w 526593"/>
                  <a:gd name="connsiteY29" fmla="*/ 45259 h 403224"/>
                  <a:gd name="connsiteX30" fmla="*/ 513787 w 526593"/>
                  <a:gd name="connsiteY30" fmla="*/ 51019 h 403224"/>
                  <a:gd name="connsiteX31" fmla="*/ 513787 w 526593"/>
                  <a:gd name="connsiteY31" fmla="*/ 51842 h 403224"/>
                  <a:gd name="connsiteX32" fmla="*/ 479322 w 526593"/>
                  <a:gd name="connsiteY32" fmla="*/ 55134 h 403224"/>
                  <a:gd name="connsiteX33" fmla="*/ 452285 w 526593"/>
                  <a:gd name="connsiteY33" fmla="*/ 67458 h 403224"/>
                  <a:gd name="connsiteX34" fmla="*/ 479726 w 526593"/>
                  <a:gd name="connsiteY34" fmla="*/ 55401 h 403224"/>
                  <a:gd name="connsiteX35" fmla="*/ 510971 w 526593"/>
                  <a:gd name="connsiteY35" fmla="*/ 55401 h 403224"/>
                  <a:gd name="connsiteX36" fmla="*/ 514260 w 526593"/>
                  <a:gd name="connsiteY36" fmla="*/ 46356 h 403224"/>
                  <a:gd name="connsiteX37" fmla="*/ 514260 w 526593"/>
                  <a:gd name="connsiteY37" fmla="*/ 45534 h 403224"/>
                  <a:gd name="connsiteX38" fmla="*/ 517137 w 526593"/>
                  <a:gd name="connsiteY38" fmla="*/ 33302 h 403224"/>
                  <a:gd name="connsiteX39" fmla="*/ 517549 w 526593"/>
                  <a:gd name="connsiteY39" fmla="*/ 31555 h 403224"/>
                  <a:gd name="connsiteX40" fmla="*/ 515390 w 526593"/>
                  <a:gd name="connsiteY40" fmla="*/ 16446 h 403224"/>
                  <a:gd name="connsiteX41" fmla="*/ 515082 w 526593"/>
                  <a:gd name="connsiteY41" fmla="*/ 14287 h 403224"/>
                  <a:gd name="connsiteX42" fmla="*/ 526593 w 526593"/>
                  <a:gd name="connsiteY42" fmla="*/ 15109 h 403224"/>
                  <a:gd name="connsiteX43" fmla="*/ 523304 w 526593"/>
                  <a:gd name="connsiteY43" fmla="*/ 38133 h 403224"/>
                  <a:gd name="connsiteX44" fmla="*/ 510971 w 526593"/>
                  <a:gd name="connsiteY44" fmla="*/ 117894 h 403224"/>
                  <a:gd name="connsiteX45" fmla="*/ 325969 w 526593"/>
                  <a:gd name="connsiteY45" fmla="*/ 108027 h 403224"/>
                  <a:gd name="connsiteX46" fmla="*/ 301302 w 526593"/>
                  <a:gd name="connsiteY46" fmla="*/ 265904 h 403224"/>
                  <a:gd name="connsiteX47" fmla="*/ 270879 w 526593"/>
                  <a:gd name="connsiteY47" fmla="*/ 274127 h 403224"/>
                  <a:gd name="connsiteX48" fmla="*/ 234701 w 526593"/>
                  <a:gd name="connsiteY48" fmla="*/ 296328 h 403224"/>
                  <a:gd name="connsiteX49" fmla="*/ 231412 w 526593"/>
                  <a:gd name="connsiteY49" fmla="*/ 322641 h 403224"/>
                  <a:gd name="connsiteX50" fmla="*/ 225657 w 526593"/>
                  <a:gd name="connsiteY50" fmla="*/ 395001 h 403224"/>
                  <a:gd name="connsiteX51" fmla="*/ 24210 w 526593"/>
                  <a:gd name="connsiteY51" fmla="*/ 384312 h 403224"/>
                  <a:gd name="connsiteX52" fmla="*/ 5299 w 526593"/>
                  <a:gd name="connsiteY52" fmla="*/ 392535 h 403224"/>
                  <a:gd name="connsiteX53" fmla="*/ 365 w 526593"/>
                  <a:gd name="connsiteY53" fmla="*/ 403224 h 403224"/>
                  <a:gd name="connsiteX54" fmla="*/ 365 w 526593"/>
                  <a:gd name="connsiteY54" fmla="*/ 395824 h 403224"/>
                  <a:gd name="connsiteX55" fmla="*/ 6943 w 526593"/>
                  <a:gd name="connsiteY55" fmla="*/ 373622 h 403224"/>
                  <a:gd name="connsiteX56" fmla="*/ 63677 w 526593"/>
                  <a:gd name="connsiteY56" fmla="*/ 374444 h 403224"/>
                  <a:gd name="connsiteX57" fmla="*/ 118767 w 526593"/>
                  <a:gd name="connsiteY57" fmla="*/ 381023 h 403224"/>
                  <a:gd name="connsiteX58" fmla="*/ 139322 w 526593"/>
                  <a:gd name="connsiteY58" fmla="*/ 381023 h 403224"/>
                  <a:gd name="connsiteX59" fmla="*/ 139335 w 526593"/>
                  <a:gd name="connsiteY59" fmla="*/ 381000 h 403224"/>
                  <a:gd name="connsiteX60" fmla="*/ 119082 w 526593"/>
                  <a:gd name="connsiteY60" fmla="*/ 381000 h 403224"/>
                  <a:gd name="connsiteX61" fmla="*/ 64102 w 526593"/>
                  <a:gd name="connsiteY61" fmla="*/ 374417 h 403224"/>
                  <a:gd name="connsiteX62" fmla="*/ 7481 w 526593"/>
                  <a:gd name="connsiteY62" fmla="*/ 374417 h 403224"/>
                  <a:gd name="connsiteX63" fmla="*/ 12405 w 526593"/>
                  <a:gd name="connsiteY63" fmla="*/ 353845 h 403224"/>
                  <a:gd name="connsiteX64" fmla="*/ 27996 w 526593"/>
                  <a:gd name="connsiteY64" fmla="*/ 326689 h 403224"/>
                  <a:gd name="connsiteX65" fmla="*/ 41125 w 526593"/>
                  <a:gd name="connsiteY65" fmla="*/ 320106 h 403224"/>
                  <a:gd name="connsiteX66" fmla="*/ 53434 w 526593"/>
                  <a:gd name="connsiteY66" fmla="*/ 302002 h 403224"/>
                  <a:gd name="connsiteX67" fmla="*/ 68205 w 526593"/>
                  <a:gd name="connsiteY67" fmla="*/ 281430 h 403224"/>
                  <a:gd name="connsiteX68" fmla="*/ 69025 w 526593"/>
                  <a:gd name="connsiteY68" fmla="*/ 269909 h 403224"/>
                  <a:gd name="connsiteX69" fmla="*/ 97746 w 526593"/>
                  <a:gd name="connsiteY69" fmla="*/ 234525 h 403224"/>
                  <a:gd name="connsiteX70" fmla="*/ 106773 w 526593"/>
                  <a:gd name="connsiteY70" fmla="*/ 217244 h 403224"/>
                  <a:gd name="connsiteX71" fmla="*/ 144520 w 526593"/>
                  <a:gd name="connsiteY71" fmla="*/ 182683 h 403224"/>
                  <a:gd name="connsiteX72" fmla="*/ 160932 w 526593"/>
                  <a:gd name="connsiteY72" fmla="*/ 161287 h 403224"/>
                  <a:gd name="connsiteX73" fmla="*/ 167497 w 526593"/>
                  <a:gd name="connsiteY73" fmla="*/ 147298 h 403224"/>
                  <a:gd name="connsiteX74" fmla="*/ 177344 w 526593"/>
                  <a:gd name="connsiteY74" fmla="*/ 126726 h 403224"/>
                  <a:gd name="connsiteX75" fmla="*/ 192935 w 526593"/>
                  <a:gd name="connsiteY75" fmla="*/ 94633 h 403224"/>
                  <a:gd name="connsiteX76" fmla="*/ 210167 w 526593"/>
                  <a:gd name="connsiteY76" fmla="*/ 76529 h 403224"/>
                  <a:gd name="connsiteX77" fmla="*/ 225759 w 526593"/>
                  <a:gd name="connsiteY77" fmla="*/ 68300 h 403224"/>
                  <a:gd name="connsiteX78" fmla="*/ 250376 w 526593"/>
                  <a:gd name="connsiteY78" fmla="*/ 54311 h 403224"/>
                  <a:gd name="connsiteX79" fmla="*/ 257762 w 526593"/>
                  <a:gd name="connsiteY79" fmla="*/ 45259 h 403224"/>
                  <a:gd name="connsiteX80" fmla="*/ 273353 w 526593"/>
                  <a:gd name="connsiteY80" fmla="*/ 18927 h 403224"/>
                  <a:gd name="connsiteX81" fmla="*/ 288124 w 526593"/>
                  <a:gd name="connsiteY81" fmla="*/ 823 h 403224"/>
                  <a:gd name="connsiteX82" fmla="*/ 288124 w 526593"/>
                  <a:gd name="connsiteY82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11921 w 526593"/>
                  <a:gd name="connsiteY6" fmla="*/ 116851 h 403224"/>
                  <a:gd name="connsiteX7" fmla="*/ 300433 w 526593"/>
                  <a:gd name="connsiteY7" fmla="*/ 180214 h 403224"/>
                  <a:gd name="connsiteX8" fmla="*/ 259403 w 526593"/>
                  <a:gd name="connsiteY8" fmla="*/ 200786 h 403224"/>
                  <a:gd name="connsiteX9" fmla="*/ 300480 w 526593"/>
                  <a:gd name="connsiteY9" fmla="*/ 180387 h 403224"/>
                  <a:gd name="connsiteX10" fmla="*/ 311991 w 526593"/>
                  <a:gd name="connsiteY10" fmla="*/ 117072 h 403224"/>
                  <a:gd name="connsiteX11" fmla="*/ 311991 w 526593"/>
                  <a:gd name="connsiteY11" fmla="*/ 96515 h 403224"/>
                  <a:gd name="connsiteX12" fmla="*/ 346524 w 526593"/>
                  <a:gd name="connsiteY12" fmla="*/ 98159 h 403224"/>
                  <a:gd name="connsiteX13" fmla="*/ 373658 w 526593"/>
                  <a:gd name="connsiteY13" fmla="*/ 69380 h 403224"/>
                  <a:gd name="connsiteX14" fmla="*/ 370780 w 526593"/>
                  <a:gd name="connsiteY14" fmla="*/ 60026 h 403224"/>
                  <a:gd name="connsiteX15" fmla="*/ 370369 w 526593"/>
                  <a:gd name="connsiteY15" fmla="*/ 58690 h 403224"/>
                  <a:gd name="connsiteX16" fmla="*/ 403258 w 526593"/>
                  <a:gd name="connsiteY16" fmla="*/ 50467 h 403224"/>
                  <a:gd name="connsiteX17" fmla="*/ 428748 w 526593"/>
                  <a:gd name="connsiteY17" fmla="*/ 66091 h 403224"/>
                  <a:gd name="connsiteX18" fmla="*/ 442417 w 526593"/>
                  <a:gd name="connsiteY18" fmla="*/ 61054 h 403224"/>
                  <a:gd name="connsiteX19" fmla="*/ 444340 w 526593"/>
                  <a:gd name="connsiteY19" fmla="*/ 60346 h 403224"/>
                  <a:gd name="connsiteX20" fmla="*/ 430394 w 526593"/>
                  <a:gd name="connsiteY20" fmla="*/ 65112 h 403224"/>
                  <a:gd name="connsiteX21" fmla="*/ 428445 w 526593"/>
                  <a:gd name="connsiteY21" fmla="*/ 65832 h 403224"/>
                  <a:gd name="connsiteX22" fmla="*/ 403007 w 526593"/>
                  <a:gd name="connsiteY22" fmla="*/ 50197 h 403224"/>
                  <a:gd name="connsiteX23" fmla="*/ 288124 w 526593"/>
                  <a:gd name="connsiteY23" fmla="*/ 0 h 403224"/>
                  <a:gd name="connsiteX24" fmla="*/ 514607 w 526593"/>
                  <a:gd name="connsiteY24" fmla="*/ 13989 h 403224"/>
                  <a:gd name="connsiteX25" fmla="*/ 516761 w 526593"/>
                  <a:gd name="connsiteY25" fmla="*/ 29110 h 403224"/>
                  <a:gd name="connsiteX26" fmla="*/ 517069 w 526593"/>
                  <a:gd name="connsiteY26" fmla="*/ 31270 h 403224"/>
                  <a:gd name="connsiteX27" fmla="*/ 514197 w 526593"/>
                  <a:gd name="connsiteY27" fmla="*/ 43511 h 403224"/>
                  <a:gd name="connsiteX28" fmla="*/ 513787 w 526593"/>
                  <a:gd name="connsiteY28" fmla="*/ 45259 h 403224"/>
                  <a:gd name="connsiteX29" fmla="*/ 513787 w 526593"/>
                  <a:gd name="connsiteY29" fmla="*/ 51019 h 403224"/>
                  <a:gd name="connsiteX30" fmla="*/ 513787 w 526593"/>
                  <a:gd name="connsiteY30" fmla="*/ 51842 h 403224"/>
                  <a:gd name="connsiteX31" fmla="*/ 479322 w 526593"/>
                  <a:gd name="connsiteY31" fmla="*/ 55134 h 403224"/>
                  <a:gd name="connsiteX32" fmla="*/ 452285 w 526593"/>
                  <a:gd name="connsiteY32" fmla="*/ 67458 h 403224"/>
                  <a:gd name="connsiteX33" fmla="*/ 479726 w 526593"/>
                  <a:gd name="connsiteY33" fmla="*/ 55401 h 403224"/>
                  <a:gd name="connsiteX34" fmla="*/ 510971 w 526593"/>
                  <a:gd name="connsiteY34" fmla="*/ 55401 h 403224"/>
                  <a:gd name="connsiteX35" fmla="*/ 514260 w 526593"/>
                  <a:gd name="connsiteY35" fmla="*/ 46356 h 403224"/>
                  <a:gd name="connsiteX36" fmla="*/ 514260 w 526593"/>
                  <a:gd name="connsiteY36" fmla="*/ 45534 h 403224"/>
                  <a:gd name="connsiteX37" fmla="*/ 517137 w 526593"/>
                  <a:gd name="connsiteY37" fmla="*/ 33302 h 403224"/>
                  <a:gd name="connsiteX38" fmla="*/ 517549 w 526593"/>
                  <a:gd name="connsiteY38" fmla="*/ 31555 h 403224"/>
                  <a:gd name="connsiteX39" fmla="*/ 515390 w 526593"/>
                  <a:gd name="connsiteY39" fmla="*/ 16446 h 403224"/>
                  <a:gd name="connsiteX40" fmla="*/ 515082 w 526593"/>
                  <a:gd name="connsiteY40" fmla="*/ 14287 h 403224"/>
                  <a:gd name="connsiteX41" fmla="*/ 526593 w 526593"/>
                  <a:gd name="connsiteY41" fmla="*/ 15109 h 403224"/>
                  <a:gd name="connsiteX42" fmla="*/ 523304 w 526593"/>
                  <a:gd name="connsiteY42" fmla="*/ 38133 h 403224"/>
                  <a:gd name="connsiteX43" fmla="*/ 510971 w 526593"/>
                  <a:gd name="connsiteY43" fmla="*/ 117894 h 403224"/>
                  <a:gd name="connsiteX44" fmla="*/ 325969 w 526593"/>
                  <a:gd name="connsiteY44" fmla="*/ 108027 h 403224"/>
                  <a:gd name="connsiteX45" fmla="*/ 301302 w 526593"/>
                  <a:gd name="connsiteY45" fmla="*/ 265904 h 403224"/>
                  <a:gd name="connsiteX46" fmla="*/ 270879 w 526593"/>
                  <a:gd name="connsiteY46" fmla="*/ 274127 h 403224"/>
                  <a:gd name="connsiteX47" fmla="*/ 234701 w 526593"/>
                  <a:gd name="connsiteY47" fmla="*/ 296328 h 403224"/>
                  <a:gd name="connsiteX48" fmla="*/ 231412 w 526593"/>
                  <a:gd name="connsiteY48" fmla="*/ 322641 h 403224"/>
                  <a:gd name="connsiteX49" fmla="*/ 225657 w 526593"/>
                  <a:gd name="connsiteY49" fmla="*/ 395001 h 403224"/>
                  <a:gd name="connsiteX50" fmla="*/ 24210 w 526593"/>
                  <a:gd name="connsiteY50" fmla="*/ 384312 h 403224"/>
                  <a:gd name="connsiteX51" fmla="*/ 5299 w 526593"/>
                  <a:gd name="connsiteY51" fmla="*/ 392535 h 403224"/>
                  <a:gd name="connsiteX52" fmla="*/ 365 w 526593"/>
                  <a:gd name="connsiteY52" fmla="*/ 403224 h 403224"/>
                  <a:gd name="connsiteX53" fmla="*/ 365 w 526593"/>
                  <a:gd name="connsiteY53" fmla="*/ 395824 h 403224"/>
                  <a:gd name="connsiteX54" fmla="*/ 6943 w 526593"/>
                  <a:gd name="connsiteY54" fmla="*/ 373622 h 403224"/>
                  <a:gd name="connsiteX55" fmla="*/ 63677 w 526593"/>
                  <a:gd name="connsiteY55" fmla="*/ 374444 h 403224"/>
                  <a:gd name="connsiteX56" fmla="*/ 118767 w 526593"/>
                  <a:gd name="connsiteY56" fmla="*/ 381023 h 403224"/>
                  <a:gd name="connsiteX57" fmla="*/ 139322 w 526593"/>
                  <a:gd name="connsiteY57" fmla="*/ 381023 h 403224"/>
                  <a:gd name="connsiteX58" fmla="*/ 139335 w 526593"/>
                  <a:gd name="connsiteY58" fmla="*/ 381000 h 403224"/>
                  <a:gd name="connsiteX59" fmla="*/ 119082 w 526593"/>
                  <a:gd name="connsiteY59" fmla="*/ 381000 h 403224"/>
                  <a:gd name="connsiteX60" fmla="*/ 64102 w 526593"/>
                  <a:gd name="connsiteY60" fmla="*/ 374417 h 403224"/>
                  <a:gd name="connsiteX61" fmla="*/ 7481 w 526593"/>
                  <a:gd name="connsiteY61" fmla="*/ 374417 h 403224"/>
                  <a:gd name="connsiteX62" fmla="*/ 12405 w 526593"/>
                  <a:gd name="connsiteY62" fmla="*/ 353845 h 403224"/>
                  <a:gd name="connsiteX63" fmla="*/ 27996 w 526593"/>
                  <a:gd name="connsiteY63" fmla="*/ 326689 h 403224"/>
                  <a:gd name="connsiteX64" fmla="*/ 41125 w 526593"/>
                  <a:gd name="connsiteY64" fmla="*/ 320106 h 403224"/>
                  <a:gd name="connsiteX65" fmla="*/ 53434 w 526593"/>
                  <a:gd name="connsiteY65" fmla="*/ 302002 h 403224"/>
                  <a:gd name="connsiteX66" fmla="*/ 68205 w 526593"/>
                  <a:gd name="connsiteY66" fmla="*/ 281430 h 403224"/>
                  <a:gd name="connsiteX67" fmla="*/ 69025 w 526593"/>
                  <a:gd name="connsiteY67" fmla="*/ 269909 h 403224"/>
                  <a:gd name="connsiteX68" fmla="*/ 97746 w 526593"/>
                  <a:gd name="connsiteY68" fmla="*/ 234525 h 403224"/>
                  <a:gd name="connsiteX69" fmla="*/ 106773 w 526593"/>
                  <a:gd name="connsiteY69" fmla="*/ 217244 h 403224"/>
                  <a:gd name="connsiteX70" fmla="*/ 144520 w 526593"/>
                  <a:gd name="connsiteY70" fmla="*/ 182683 h 403224"/>
                  <a:gd name="connsiteX71" fmla="*/ 160932 w 526593"/>
                  <a:gd name="connsiteY71" fmla="*/ 161287 h 403224"/>
                  <a:gd name="connsiteX72" fmla="*/ 167497 w 526593"/>
                  <a:gd name="connsiteY72" fmla="*/ 147298 h 403224"/>
                  <a:gd name="connsiteX73" fmla="*/ 177344 w 526593"/>
                  <a:gd name="connsiteY73" fmla="*/ 126726 h 403224"/>
                  <a:gd name="connsiteX74" fmla="*/ 192935 w 526593"/>
                  <a:gd name="connsiteY74" fmla="*/ 94633 h 403224"/>
                  <a:gd name="connsiteX75" fmla="*/ 210167 w 526593"/>
                  <a:gd name="connsiteY75" fmla="*/ 76529 h 403224"/>
                  <a:gd name="connsiteX76" fmla="*/ 225759 w 526593"/>
                  <a:gd name="connsiteY76" fmla="*/ 68300 h 403224"/>
                  <a:gd name="connsiteX77" fmla="*/ 250376 w 526593"/>
                  <a:gd name="connsiteY77" fmla="*/ 54311 h 403224"/>
                  <a:gd name="connsiteX78" fmla="*/ 257762 w 526593"/>
                  <a:gd name="connsiteY78" fmla="*/ 45259 h 403224"/>
                  <a:gd name="connsiteX79" fmla="*/ 273353 w 526593"/>
                  <a:gd name="connsiteY79" fmla="*/ 18927 h 403224"/>
                  <a:gd name="connsiteX80" fmla="*/ 288124 w 526593"/>
                  <a:gd name="connsiteY80" fmla="*/ 823 h 403224"/>
                  <a:gd name="connsiteX81" fmla="*/ 288124 w 526593"/>
                  <a:gd name="connsiteY81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11921 w 526593"/>
                  <a:gd name="connsiteY6" fmla="*/ 116851 h 403224"/>
                  <a:gd name="connsiteX7" fmla="*/ 300433 w 526593"/>
                  <a:gd name="connsiteY7" fmla="*/ 180214 h 403224"/>
                  <a:gd name="connsiteX8" fmla="*/ 300480 w 526593"/>
                  <a:gd name="connsiteY8" fmla="*/ 180387 h 403224"/>
                  <a:gd name="connsiteX9" fmla="*/ 311991 w 526593"/>
                  <a:gd name="connsiteY9" fmla="*/ 117072 h 403224"/>
                  <a:gd name="connsiteX10" fmla="*/ 311991 w 526593"/>
                  <a:gd name="connsiteY10" fmla="*/ 96515 h 403224"/>
                  <a:gd name="connsiteX11" fmla="*/ 346524 w 526593"/>
                  <a:gd name="connsiteY11" fmla="*/ 98159 h 403224"/>
                  <a:gd name="connsiteX12" fmla="*/ 373658 w 526593"/>
                  <a:gd name="connsiteY12" fmla="*/ 69380 h 403224"/>
                  <a:gd name="connsiteX13" fmla="*/ 370780 w 526593"/>
                  <a:gd name="connsiteY13" fmla="*/ 60026 h 403224"/>
                  <a:gd name="connsiteX14" fmla="*/ 370369 w 526593"/>
                  <a:gd name="connsiteY14" fmla="*/ 58690 h 403224"/>
                  <a:gd name="connsiteX15" fmla="*/ 403258 w 526593"/>
                  <a:gd name="connsiteY15" fmla="*/ 50467 h 403224"/>
                  <a:gd name="connsiteX16" fmla="*/ 428748 w 526593"/>
                  <a:gd name="connsiteY16" fmla="*/ 66091 h 403224"/>
                  <a:gd name="connsiteX17" fmla="*/ 442417 w 526593"/>
                  <a:gd name="connsiteY17" fmla="*/ 61054 h 403224"/>
                  <a:gd name="connsiteX18" fmla="*/ 444340 w 526593"/>
                  <a:gd name="connsiteY18" fmla="*/ 60346 h 403224"/>
                  <a:gd name="connsiteX19" fmla="*/ 430394 w 526593"/>
                  <a:gd name="connsiteY19" fmla="*/ 65112 h 403224"/>
                  <a:gd name="connsiteX20" fmla="*/ 428445 w 526593"/>
                  <a:gd name="connsiteY20" fmla="*/ 65832 h 403224"/>
                  <a:gd name="connsiteX21" fmla="*/ 403007 w 526593"/>
                  <a:gd name="connsiteY21" fmla="*/ 50197 h 403224"/>
                  <a:gd name="connsiteX22" fmla="*/ 288124 w 526593"/>
                  <a:gd name="connsiteY22" fmla="*/ 0 h 403224"/>
                  <a:gd name="connsiteX23" fmla="*/ 514607 w 526593"/>
                  <a:gd name="connsiteY23" fmla="*/ 13989 h 403224"/>
                  <a:gd name="connsiteX24" fmla="*/ 516761 w 526593"/>
                  <a:gd name="connsiteY24" fmla="*/ 29110 h 403224"/>
                  <a:gd name="connsiteX25" fmla="*/ 517069 w 526593"/>
                  <a:gd name="connsiteY25" fmla="*/ 31270 h 403224"/>
                  <a:gd name="connsiteX26" fmla="*/ 514197 w 526593"/>
                  <a:gd name="connsiteY26" fmla="*/ 43511 h 403224"/>
                  <a:gd name="connsiteX27" fmla="*/ 513787 w 526593"/>
                  <a:gd name="connsiteY27" fmla="*/ 45259 h 403224"/>
                  <a:gd name="connsiteX28" fmla="*/ 513787 w 526593"/>
                  <a:gd name="connsiteY28" fmla="*/ 51019 h 403224"/>
                  <a:gd name="connsiteX29" fmla="*/ 513787 w 526593"/>
                  <a:gd name="connsiteY29" fmla="*/ 51842 h 403224"/>
                  <a:gd name="connsiteX30" fmla="*/ 479322 w 526593"/>
                  <a:gd name="connsiteY30" fmla="*/ 55134 h 403224"/>
                  <a:gd name="connsiteX31" fmla="*/ 452285 w 526593"/>
                  <a:gd name="connsiteY31" fmla="*/ 67458 h 403224"/>
                  <a:gd name="connsiteX32" fmla="*/ 479726 w 526593"/>
                  <a:gd name="connsiteY32" fmla="*/ 55401 h 403224"/>
                  <a:gd name="connsiteX33" fmla="*/ 510971 w 526593"/>
                  <a:gd name="connsiteY33" fmla="*/ 55401 h 403224"/>
                  <a:gd name="connsiteX34" fmla="*/ 514260 w 526593"/>
                  <a:gd name="connsiteY34" fmla="*/ 46356 h 403224"/>
                  <a:gd name="connsiteX35" fmla="*/ 514260 w 526593"/>
                  <a:gd name="connsiteY35" fmla="*/ 45534 h 403224"/>
                  <a:gd name="connsiteX36" fmla="*/ 517137 w 526593"/>
                  <a:gd name="connsiteY36" fmla="*/ 33302 h 403224"/>
                  <a:gd name="connsiteX37" fmla="*/ 517549 w 526593"/>
                  <a:gd name="connsiteY37" fmla="*/ 31555 h 403224"/>
                  <a:gd name="connsiteX38" fmla="*/ 515390 w 526593"/>
                  <a:gd name="connsiteY38" fmla="*/ 16446 h 403224"/>
                  <a:gd name="connsiteX39" fmla="*/ 515082 w 526593"/>
                  <a:gd name="connsiteY39" fmla="*/ 14287 h 403224"/>
                  <a:gd name="connsiteX40" fmla="*/ 526593 w 526593"/>
                  <a:gd name="connsiteY40" fmla="*/ 15109 h 403224"/>
                  <a:gd name="connsiteX41" fmla="*/ 523304 w 526593"/>
                  <a:gd name="connsiteY41" fmla="*/ 38133 h 403224"/>
                  <a:gd name="connsiteX42" fmla="*/ 510971 w 526593"/>
                  <a:gd name="connsiteY42" fmla="*/ 117894 h 403224"/>
                  <a:gd name="connsiteX43" fmla="*/ 325969 w 526593"/>
                  <a:gd name="connsiteY43" fmla="*/ 108027 h 403224"/>
                  <a:gd name="connsiteX44" fmla="*/ 301302 w 526593"/>
                  <a:gd name="connsiteY44" fmla="*/ 265904 h 403224"/>
                  <a:gd name="connsiteX45" fmla="*/ 270879 w 526593"/>
                  <a:gd name="connsiteY45" fmla="*/ 274127 h 403224"/>
                  <a:gd name="connsiteX46" fmla="*/ 234701 w 526593"/>
                  <a:gd name="connsiteY46" fmla="*/ 296328 h 403224"/>
                  <a:gd name="connsiteX47" fmla="*/ 231412 w 526593"/>
                  <a:gd name="connsiteY47" fmla="*/ 322641 h 403224"/>
                  <a:gd name="connsiteX48" fmla="*/ 225657 w 526593"/>
                  <a:gd name="connsiteY48" fmla="*/ 395001 h 403224"/>
                  <a:gd name="connsiteX49" fmla="*/ 24210 w 526593"/>
                  <a:gd name="connsiteY49" fmla="*/ 384312 h 403224"/>
                  <a:gd name="connsiteX50" fmla="*/ 5299 w 526593"/>
                  <a:gd name="connsiteY50" fmla="*/ 392535 h 403224"/>
                  <a:gd name="connsiteX51" fmla="*/ 365 w 526593"/>
                  <a:gd name="connsiteY51" fmla="*/ 403224 h 403224"/>
                  <a:gd name="connsiteX52" fmla="*/ 365 w 526593"/>
                  <a:gd name="connsiteY52" fmla="*/ 395824 h 403224"/>
                  <a:gd name="connsiteX53" fmla="*/ 6943 w 526593"/>
                  <a:gd name="connsiteY53" fmla="*/ 373622 h 403224"/>
                  <a:gd name="connsiteX54" fmla="*/ 63677 w 526593"/>
                  <a:gd name="connsiteY54" fmla="*/ 374444 h 403224"/>
                  <a:gd name="connsiteX55" fmla="*/ 118767 w 526593"/>
                  <a:gd name="connsiteY55" fmla="*/ 381023 h 403224"/>
                  <a:gd name="connsiteX56" fmla="*/ 139322 w 526593"/>
                  <a:gd name="connsiteY56" fmla="*/ 381023 h 403224"/>
                  <a:gd name="connsiteX57" fmla="*/ 139335 w 526593"/>
                  <a:gd name="connsiteY57" fmla="*/ 381000 h 403224"/>
                  <a:gd name="connsiteX58" fmla="*/ 119082 w 526593"/>
                  <a:gd name="connsiteY58" fmla="*/ 381000 h 403224"/>
                  <a:gd name="connsiteX59" fmla="*/ 64102 w 526593"/>
                  <a:gd name="connsiteY59" fmla="*/ 374417 h 403224"/>
                  <a:gd name="connsiteX60" fmla="*/ 7481 w 526593"/>
                  <a:gd name="connsiteY60" fmla="*/ 374417 h 403224"/>
                  <a:gd name="connsiteX61" fmla="*/ 12405 w 526593"/>
                  <a:gd name="connsiteY61" fmla="*/ 353845 h 403224"/>
                  <a:gd name="connsiteX62" fmla="*/ 27996 w 526593"/>
                  <a:gd name="connsiteY62" fmla="*/ 326689 h 403224"/>
                  <a:gd name="connsiteX63" fmla="*/ 41125 w 526593"/>
                  <a:gd name="connsiteY63" fmla="*/ 320106 h 403224"/>
                  <a:gd name="connsiteX64" fmla="*/ 53434 w 526593"/>
                  <a:gd name="connsiteY64" fmla="*/ 302002 h 403224"/>
                  <a:gd name="connsiteX65" fmla="*/ 68205 w 526593"/>
                  <a:gd name="connsiteY65" fmla="*/ 281430 h 403224"/>
                  <a:gd name="connsiteX66" fmla="*/ 69025 w 526593"/>
                  <a:gd name="connsiteY66" fmla="*/ 269909 h 403224"/>
                  <a:gd name="connsiteX67" fmla="*/ 97746 w 526593"/>
                  <a:gd name="connsiteY67" fmla="*/ 234525 h 403224"/>
                  <a:gd name="connsiteX68" fmla="*/ 106773 w 526593"/>
                  <a:gd name="connsiteY68" fmla="*/ 217244 h 403224"/>
                  <a:gd name="connsiteX69" fmla="*/ 144520 w 526593"/>
                  <a:gd name="connsiteY69" fmla="*/ 182683 h 403224"/>
                  <a:gd name="connsiteX70" fmla="*/ 160932 w 526593"/>
                  <a:gd name="connsiteY70" fmla="*/ 161287 h 403224"/>
                  <a:gd name="connsiteX71" fmla="*/ 167497 w 526593"/>
                  <a:gd name="connsiteY71" fmla="*/ 147298 h 403224"/>
                  <a:gd name="connsiteX72" fmla="*/ 177344 w 526593"/>
                  <a:gd name="connsiteY72" fmla="*/ 126726 h 403224"/>
                  <a:gd name="connsiteX73" fmla="*/ 192935 w 526593"/>
                  <a:gd name="connsiteY73" fmla="*/ 94633 h 403224"/>
                  <a:gd name="connsiteX74" fmla="*/ 210167 w 526593"/>
                  <a:gd name="connsiteY74" fmla="*/ 76529 h 403224"/>
                  <a:gd name="connsiteX75" fmla="*/ 225759 w 526593"/>
                  <a:gd name="connsiteY75" fmla="*/ 68300 h 403224"/>
                  <a:gd name="connsiteX76" fmla="*/ 250376 w 526593"/>
                  <a:gd name="connsiteY76" fmla="*/ 54311 h 403224"/>
                  <a:gd name="connsiteX77" fmla="*/ 257762 w 526593"/>
                  <a:gd name="connsiteY77" fmla="*/ 45259 h 403224"/>
                  <a:gd name="connsiteX78" fmla="*/ 273353 w 526593"/>
                  <a:gd name="connsiteY78" fmla="*/ 18927 h 403224"/>
                  <a:gd name="connsiteX79" fmla="*/ 288124 w 526593"/>
                  <a:gd name="connsiteY79" fmla="*/ 823 h 403224"/>
                  <a:gd name="connsiteX80" fmla="*/ 288124 w 526593"/>
                  <a:gd name="connsiteY80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11921 w 526593"/>
                  <a:gd name="connsiteY6" fmla="*/ 116851 h 403224"/>
                  <a:gd name="connsiteX7" fmla="*/ 300433 w 526593"/>
                  <a:gd name="connsiteY7" fmla="*/ 180214 h 403224"/>
                  <a:gd name="connsiteX8" fmla="*/ 311991 w 526593"/>
                  <a:gd name="connsiteY8" fmla="*/ 117072 h 403224"/>
                  <a:gd name="connsiteX9" fmla="*/ 311991 w 526593"/>
                  <a:gd name="connsiteY9" fmla="*/ 96515 h 403224"/>
                  <a:gd name="connsiteX10" fmla="*/ 346524 w 526593"/>
                  <a:gd name="connsiteY10" fmla="*/ 98159 h 403224"/>
                  <a:gd name="connsiteX11" fmla="*/ 373658 w 526593"/>
                  <a:gd name="connsiteY11" fmla="*/ 69380 h 403224"/>
                  <a:gd name="connsiteX12" fmla="*/ 370780 w 526593"/>
                  <a:gd name="connsiteY12" fmla="*/ 60026 h 403224"/>
                  <a:gd name="connsiteX13" fmla="*/ 370369 w 526593"/>
                  <a:gd name="connsiteY13" fmla="*/ 58690 h 403224"/>
                  <a:gd name="connsiteX14" fmla="*/ 403258 w 526593"/>
                  <a:gd name="connsiteY14" fmla="*/ 50467 h 403224"/>
                  <a:gd name="connsiteX15" fmla="*/ 428748 w 526593"/>
                  <a:gd name="connsiteY15" fmla="*/ 66091 h 403224"/>
                  <a:gd name="connsiteX16" fmla="*/ 442417 w 526593"/>
                  <a:gd name="connsiteY16" fmla="*/ 61054 h 403224"/>
                  <a:gd name="connsiteX17" fmla="*/ 444340 w 526593"/>
                  <a:gd name="connsiteY17" fmla="*/ 60346 h 403224"/>
                  <a:gd name="connsiteX18" fmla="*/ 430394 w 526593"/>
                  <a:gd name="connsiteY18" fmla="*/ 65112 h 403224"/>
                  <a:gd name="connsiteX19" fmla="*/ 428445 w 526593"/>
                  <a:gd name="connsiteY19" fmla="*/ 65832 h 403224"/>
                  <a:gd name="connsiteX20" fmla="*/ 403007 w 526593"/>
                  <a:gd name="connsiteY20" fmla="*/ 50197 h 403224"/>
                  <a:gd name="connsiteX21" fmla="*/ 288124 w 526593"/>
                  <a:gd name="connsiteY21" fmla="*/ 0 h 403224"/>
                  <a:gd name="connsiteX22" fmla="*/ 514607 w 526593"/>
                  <a:gd name="connsiteY22" fmla="*/ 13989 h 403224"/>
                  <a:gd name="connsiteX23" fmla="*/ 516761 w 526593"/>
                  <a:gd name="connsiteY23" fmla="*/ 29110 h 403224"/>
                  <a:gd name="connsiteX24" fmla="*/ 517069 w 526593"/>
                  <a:gd name="connsiteY24" fmla="*/ 31270 h 403224"/>
                  <a:gd name="connsiteX25" fmla="*/ 514197 w 526593"/>
                  <a:gd name="connsiteY25" fmla="*/ 43511 h 403224"/>
                  <a:gd name="connsiteX26" fmla="*/ 513787 w 526593"/>
                  <a:gd name="connsiteY26" fmla="*/ 45259 h 403224"/>
                  <a:gd name="connsiteX27" fmla="*/ 513787 w 526593"/>
                  <a:gd name="connsiteY27" fmla="*/ 51019 h 403224"/>
                  <a:gd name="connsiteX28" fmla="*/ 513787 w 526593"/>
                  <a:gd name="connsiteY28" fmla="*/ 51842 h 403224"/>
                  <a:gd name="connsiteX29" fmla="*/ 479322 w 526593"/>
                  <a:gd name="connsiteY29" fmla="*/ 55134 h 403224"/>
                  <a:gd name="connsiteX30" fmla="*/ 452285 w 526593"/>
                  <a:gd name="connsiteY30" fmla="*/ 67458 h 403224"/>
                  <a:gd name="connsiteX31" fmla="*/ 479726 w 526593"/>
                  <a:gd name="connsiteY31" fmla="*/ 55401 h 403224"/>
                  <a:gd name="connsiteX32" fmla="*/ 510971 w 526593"/>
                  <a:gd name="connsiteY32" fmla="*/ 55401 h 403224"/>
                  <a:gd name="connsiteX33" fmla="*/ 514260 w 526593"/>
                  <a:gd name="connsiteY33" fmla="*/ 46356 h 403224"/>
                  <a:gd name="connsiteX34" fmla="*/ 514260 w 526593"/>
                  <a:gd name="connsiteY34" fmla="*/ 45534 h 403224"/>
                  <a:gd name="connsiteX35" fmla="*/ 517137 w 526593"/>
                  <a:gd name="connsiteY35" fmla="*/ 33302 h 403224"/>
                  <a:gd name="connsiteX36" fmla="*/ 517549 w 526593"/>
                  <a:gd name="connsiteY36" fmla="*/ 31555 h 403224"/>
                  <a:gd name="connsiteX37" fmla="*/ 515390 w 526593"/>
                  <a:gd name="connsiteY37" fmla="*/ 16446 h 403224"/>
                  <a:gd name="connsiteX38" fmla="*/ 515082 w 526593"/>
                  <a:gd name="connsiteY38" fmla="*/ 14287 h 403224"/>
                  <a:gd name="connsiteX39" fmla="*/ 526593 w 526593"/>
                  <a:gd name="connsiteY39" fmla="*/ 15109 h 403224"/>
                  <a:gd name="connsiteX40" fmla="*/ 523304 w 526593"/>
                  <a:gd name="connsiteY40" fmla="*/ 38133 h 403224"/>
                  <a:gd name="connsiteX41" fmla="*/ 510971 w 526593"/>
                  <a:gd name="connsiteY41" fmla="*/ 117894 h 403224"/>
                  <a:gd name="connsiteX42" fmla="*/ 325969 w 526593"/>
                  <a:gd name="connsiteY42" fmla="*/ 108027 h 403224"/>
                  <a:gd name="connsiteX43" fmla="*/ 301302 w 526593"/>
                  <a:gd name="connsiteY43" fmla="*/ 265904 h 403224"/>
                  <a:gd name="connsiteX44" fmla="*/ 270879 w 526593"/>
                  <a:gd name="connsiteY44" fmla="*/ 274127 h 403224"/>
                  <a:gd name="connsiteX45" fmla="*/ 234701 w 526593"/>
                  <a:gd name="connsiteY45" fmla="*/ 296328 h 403224"/>
                  <a:gd name="connsiteX46" fmla="*/ 231412 w 526593"/>
                  <a:gd name="connsiteY46" fmla="*/ 322641 h 403224"/>
                  <a:gd name="connsiteX47" fmla="*/ 225657 w 526593"/>
                  <a:gd name="connsiteY47" fmla="*/ 395001 h 403224"/>
                  <a:gd name="connsiteX48" fmla="*/ 24210 w 526593"/>
                  <a:gd name="connsiteY48" fmla="*/ 384312 h 403224"/>
                  <a:gd name="connsiteX49" fmla="*/ 5299 w 526593"/>
                  <a:gd name="connsiteY49" fmla="*/ 392535 h 403224"/>
                  <a:gd name="connsiteX50" fmla="*/ 365 w 526593"/>
                  <a:gd name="connsiteY50" fmla="*/ 403224 h 403224"/>
                  <a:gd name="connsiteX51" fmla="*/ 365 w 526593"/>
                  <a:gd name="connsiteY51" fmla="*/ 395824 h 403224"/>
                  <a:gd name="connsiteX52" fmla="*/ 6943 w 526593"/>
                  <a:gd name="connsiteY52" fmla="*/ 373622 h 403224"/>
                  <a:gd name="connsiteX53" fmla="*/ 63677 w 526593"/>
                  <a:gd name="connsiteY53" fmla="*/ 374444 h 403224"/>
                  <a:gd name="connsiteX54" fmla="*/ 118767 w 526593"/>
                  <a:gd name="connsiteY54" fmla="*/ 381023 h 403224"/>
                  <a:gd name="connsiteX55" fmla="*/ 139322 w 526593"/>
                  <a:gd name="connsiteY55" fmla="*/ 381023 h 403224"/>
                  <a:gd name="connsiteX56" fmla="*/ 139335 w 526593"/>
                  <a:gd name="connsiteY56" fmla="*/ 381000 h 403224"/>
                  <a:gd name="connsiteX57" fmla="*/ 119082 w 526593"/>
                  <a:gd name="connsiteY57" fmla="*/ 381000 h 403224"/>
                  <a:gd name="connsiteX58" fmla="*/ 64102 w 526593"/>
                  <a:gd name="connsiteY58" fmla="*/ 374417 h 403224"/>
                  <a:gd name="connsiteX59" fmla="*/ 7481 w 526593"/>
                  <a:gd name="connsiteY59" fmla="*/ 374417 h 403224"/>
                  <a:gd name="connsiteX60" fmla="*/ 12405 w 526593"/>
                  <a:gd name="connsiteY60" fmla="*/ 353845 h 403224"/>
                  <a:gd name="connsiteX61" fmla="*/ 27996 w 526593"/>
                  <a:gd name="connsiteY61" fmla="*/ 326689 h 403224"/>
                  <a:gd name="connsiteX62" fmla="*/ 41125 w 526593"/>
                  <a:gd name="connsiteY62" fmla="*/ 320106 h 403224"/>
                  <a:gd name="connsiteX63" fmla="*/ 53434 w 526593"/>
                  <a:gd name="connsiteY63" fmla="*/ 302002 h 403224"/>
                  <a:gd name="connsiteX64" fmla="*/ 68205 w 526593"/>
                  <a:gd name="connsiteY64" fmla="*/ 281430 h 403224"/>
                  <a:gd name="connsiteX65" fmla="*/ 69025 w 526593"/>
                  <a:gd name="connsiteY65" fmla="*/ 269909 h 403224"/>
                  <a:gd name="connsiteX66" fmla="*/ 97746 w 526593"/>
                  <a:gd name="connsiteY66" fmla="*/ 234525 h 403224"/>
                  <a:gd name="connsiteX67" fmla="*/ 106773 w 526593"/>
                  <a:gd name="connsiteY67" fmla="*/ 217244 h 403224"/>
                  <a:gd name="connsiteX68" fmla="*/ 144520 w 526593"/>
                  <a:gd name="connsiteY68" fmla="*/ 182683 h 403224"/>
                  <a:gd name="connsiteX69" fmla="*/ 160932 w 526593"/>
                  <a:gd name="connsiteY69" fmla="*/ 161287 h 403224"/>
                  <a:gd name="connsiteX70" fmla="*/ 167497 w 526593"/>
                  <a:gd name="connsiteY70" fmla="*/ 147298 h 403224"/>
                  <a:gd name="connsiteX71" fmla="*/ 177344 w 526593"/>
                  <a:gd name="connsiteY71" fmla="*/ 126726 h 403224"/>
                  <a:gd name="connsiteX72" fmla="*/ 192935 w 526593"/>
                  <a:gd name="connsiteY72" fmla="*/ 94633 h 403224"/>
                  <a:gd name="connsiteX73" fmla="*/ 210167 w 526593"/>
                  <a:gd name="connsiteY73" fmla="*/ 76529 h 403224"/>
                  <a:gd name="connsiteX74" fmla="*/ 225759 w 526593"/>
                  <a:gd name="connsiteY74" fmla="*/ 68300 h 403224"/>
                  <a:gd name="connsiteX75" fmla="*/ 250376 w 526593"/>
                  <a:gd name="connsiteY75" fmla="*/ 54311 h 403224"/>
                  <a:gd name="connsiteX76" fmla="*/ 257762 w 526593"/>
                  <a:gd name="connsiteY76" fmla="*/ 45259 h 403224"/>
                  <a:gd name="connsiteX77" fmla="*/ 273353 w 526593"/>
                  <a:gd name="connsiteY77" fmla="*/ 18927 h 403224"/>
                  <a:gd name="connsiteX78" fmla="*/ 288124 w 526593"/>
                  <a:gd name="connsiteY78" fmla="*/ 823 h 403224"/>
                  <a:gd name="connsiteX79" fmla="*/ 288124 w 526593"/>
                  <a:gd name="connsiteY79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11921 w 526593"/>
                  <a:gd name="connsiteY6" fmla="*/ 116851 h 403224"/>
                  <a:gd name="connsiteX7" fmla="*/ 311991 w 526593"/>
                  <a:gd name="connsiteY7" fmla="*/ 117072 h 403224"/>
                  <a:gd name="connsiteX8" fmla="*/ 311991 w 526593"/>
                  <a:gd name="connsiteY8" fmla="*/ 96515 h 403224"/>
                  <a:gd name="connsiteX9" fmla="*/ 346524 w 526593"/>
                  <a:gd name="connsiteY9" fmla="*/ 98159 h 403224"/>
                  <a:gd name="connsiteX10" fmla="*/ 373658 w 526593"/>
                  <a:gd name="connsiteY10" fmla="*/ 69380 h 403224"/>
                  <a:gd name="connsiteX11" fmla="*/ 370780 w 526593"/>
                  <a:gd name="connsiteY11" fmla="*/ 60026 h 403224"/>
                  <a:gd name="connsiteX12" fmla="*/ 370369 w 526593"/>
                  <a:gd name="connsiteY12" fmla="*/ 58690 h 403224"/>
                  <a:gd name="connsiteX13" fmla="*/ 403258 w 526593"/>
                  <a:gd name="connsiteY13" fmla="*/ 50467 h 403224"/>
                  <a:gd name="connsiteX14" fmla="*/ 428748 w 526593"/>
                  <a:gd name="connsiteY14" fmla="*/ 66091 h 403224"/>
                  <a:gd name="connsiteX15" fmla="*/ 442417 w 526593"/>
                  <a:gd name="connsiteY15" fmla="*/ 61054 h 403224"/>
                  <a:gd name="connsiteX16" fmla="*/ 444340 w 526593"/>
                  <a:gd name="connsiteY16" fmla="*/ 60346 h 403224"/>
                  <a:gd name="connsiteX17" fmla="*/ 430394 w 526593"/>
                  <a:gd name="connsiteY17" fmla="*/ 65112 h 403224"/>
                  <a:gd name="connsiteX18" fmla="*/ 428445 w 526593"/>
                  <a:gd name="connsiteY18" fmla="*/ 65832 h 403224"/>
                  <a:gd name="connsiteX19" fmla="*/ 403007 w 526593"/>
                  <a:gd name="connsiteY19" fmla="*/ 50197 h 403224"/>
                  <a:gd name="connsiteX20" fmla="*/ 288124 w 526593"/>
                  <a:gd name="connsiteY20" fmla="*/ 0 h 403224"/>
                  <a:gd name="connsiteX21" fmla="*/ 514607 w 526593"/>
                  <a:gd name="connsiteY21" fmla="*/ 13989 h 403224"/>
                  <a:gd name="connsiteX22" fmla="*/ 516761 w 526593"/>
                  <a:gd name="connsiteY22" fmla="*/ 29110 h 403224"/>
                  <a:gd name="connsiteX23" fmla="*/ 517069 w 526593"/>
                  <a:gd name="connsiteY23" fmla="*/ 31270 h 403224"/>
                  <a:gd name="connsiteX24" fmla="*/ 514197 w 526593"/>
                  <a:gd name="connsiteY24" fmla="*/ 43511 h 403224"/>
                  <a:gd name="connsiteX25" fmla="*/ 513787 w 526593"/>
                  <a:gd name="connsiteY25" fmla="*/ 45259 h 403224"/>
                  <a:gd name="connsiteX26" fmla="*/ 513787 w 526593"/>
                  <a:gd name="connsiteY26" fmla="*/ 51019 h 403224"/>
                  <a:gd name="connsiteX27" fmla="*/ 513787 w 526593"/>
                  <a:gd name="connsiteY27" fmla="*/ 51842 h 403224"/>
                  <a:gd name="connsiteX28" fmla="*/ 479322 w 526593"/>
                  <a:gd name="connsiteY28" fmla="*/ 55134 h 403224"/>
                  <a:gd name="connsiteX29" fmla="*/ 452285 w 526593"/>
                  <a:gd name="connsiteY29" fmla="*/ 67458 h 403224"/>
                  <a:gd name="connsiteX30" fmla="*/ 479726 w 526593"/>
                  <a:gd name="connsiteY30" fmla="*/ 55401 h 403224"/>
                  <a:gd name="connsiteX31" fmla="*/ 510971 w 526593"/>
                  <a:gd name="connsiteY31" fmla="*/ 55401 h 403224"/>
                  <a:gd name="connsiteX32" fmla="*/ 514260 w 526593"/>
                  <a:gd name="connsiteY32" fmla="*/ 46356 h 403224"/>
                  <a:gd name="connsiteX33" fmla="*/ 514260 w 526593"/>
                  <a:gd name="connsiteY33" fmla="*/ 45534 h 403224"/>
                  <a:gd name="connsiteX34" fmla="*/ 517137 w 526593"/>
                  <a:gd name="connsiteY34" fmla="*/ 33302 h 403224"/>
                  <a:gd name="connsiteX35" fmla="*/ 517549 w 526593"/>
                  <a:gd name="connsiteY35" fmla="*/ 31555 h 403224"/>
                  <a:gd name="connsiteX36" fmla="*/ 515390 w 526593"/>
                  <a:gd name="connsiteY36" fmla="*/ 16446 h 403224"/>
                  <a:gd name="connsiteX37" fmla="*/ 515082 w 526593"/>
                  <a:gd name="connsiteY37" fmla="*/ 14287 h 403224"/>
                  <a:gd name="connsiteX38" fmla="*/ 526593 w 526593"/>
                  <a:gd name="connsiteY38" fmla="*/ 15109 h 403224"/>
                  <a:gd name="connsiteX39" fmla="*/ 523304 w 526593"/>
                  <a:gd name="connsiteY39" fmla="*/ 38133 h 403224"/>
                  <a:gd name="connsiteX40" fmla="*/ 510971 w 526593"/>
                  <a:gd name="connsiteY40" fmla="*/ 117894 h 403224"/>
                  <a:gd name="connsiteX41" fmla="*/ 325969 w 526593"/>
                  <a:gd name="connsiteY41" fmla="*/ 108027 h 403224"/>
                  <a:gd name="connsiteX42" fmla="*/ 301302 w 526593"/>
                  <a:gd name="connsiteY42" fmla="*/ 265904 h 403224"/>
                  <a:gd name="connsiteX43" fmla="*/ 270879 w 526593"/>
                  <a:gd name="connsiteY43" fmla="*/ 274127 h 403224"/>
                  <a:gd name="connsiteX44" fmla="*/ 234701 w 526593"/>
                  <a:gd name="connsiteY44" fmla="*/ 296328 h 403224"/>
                  <a:gd name="connsiteX45" fmla="*/ 231412 w 526593"/>
                  <a:gd name="connsiteY45" fmla="*/ 322641 h 403224"/>
                  <a:gd name="connsiteX46" fmla="*/ 225657 w 526593"/>
                  <a:gd name="connsiteY46" fmla="*/ 395001 h 403224"/>
                  <a:gd name="connsiteX47" fmla="*/ 24210 w 526593"/>
                  <a:gd name="connsiteY47" fmla="*/ 384312 h 403224"/>
                  <a:gd name="connsiteX48" fmla="*/ 5299 w 526593"/>
                  <a:gd name="connsiteY48" fmla="*/ 392535 h 403224"/>
                  <a:gd name="connsiteX49" fmla="*/ 365 w 526593"/>
                  <a:gd name="connsiteY49" fmla="*/ 403224 h 403224"/>
                  <a:gd name="connsiteX50" fmla="*/ 365 w 526593"/>
                  <a:gd name="connsiteY50" fmla="*/ 395824 h 403224"/>
                  <a:gd name="connsiteX51" fmla="*/ 6943 w 526593"/>
                  <a:gd name="connsiteY51" fmla="*/ 373622 h 403224"/>
                  <a:gd name="connsiteX52" fmla="*/ 63677 w 526593"/>
                  <a:gd name="connsiteY52" fmla="*/ 374444 h 403224"/>
                  <a:gd name="connsiteX53" fmla="*/ 118767 w 526593"/>
                  <a:gd name="connsiteY53" fmla="*/ 381023 h 403224"/>
                  <a:gd name="connsiteX54" fmla="*/ 139322 w 526593"/>
                  <a:gd name="connsiteY54" fmla="*/ 381023 h 403224"/>
                  <a:gd name="connsiteX55" fmla="*/ 139335 w 526593"/>
                  <a:gd name="connsiteY55" fmla="*/ 381000 h 403224"/>
                  <a:gd name="connsiteX56" fmla="*/ 119082 w 526593"/>
                  <a:gd name="connsiteY56" fmla="*/ 381000 h 403224"/>
                  <a:gd name="connsiteX57" fmla="*/ 64102 w 526593"/>
                  <a:gd name="connsiteY57" fmla="*/ 374417 h 403224"/>
                  <a:gd name="connsiteX58" fmla="*/ 7481 w 526593"/>
                  <a:gd name="connsiteY58" fmla="*/ 374417 h 403224"/>
                  <a:gd name="connsiteX59" fmla="*/ 12405 w 526593"/>
                  <a:gd name="connsiteY59" fmla="*/ 353845 h 403224"/>
                  <a:gd name="connsiteX60" fmla="*/ 27996 w 526593"/>
                  <a:gd name="connsiteY60" fmla="*/ 326689 h 403224"/>
                  <a:gd name="connsiteX61" fmla="*/ 41125 w 526593"/>
                  <a:gd name="connsiteY61" fmla="*/ 320106 h 403224"/>
                  <a:gd name="connsiteX62" fmla="*/ 53434 w 526593"/>
                  <a:gd name="connsiteY62" fmla="*/ 302002 h 403224"/>
                  <a:gd name="connsiteX63" fmla="*/ 68205 w 526593"/>
                  <a:gd name="connsiteY63" fmla="*/ 281430 h 403224"/>
                  <a:gd name="connsiteX64" fmla="*/ 69025 w 526593"/>
                  <a:gd name="connsiteY64" fmla="*/ 269909 h 403224"/>
                  <a:gd name="connsiteX65" fmla="*/ 97746 w 526593"/>
                  <a:gd name="connsiteY65" fmla="*/ 234525 h 403224"/>
                  <a:gd name="connsiteX66" fmla="*/ 106773 w 526593"/>
                  <a:gd name="connsiteY66" fmla="*/ 217244 h 403224"/>
                  <a:gd name="connsiteX67" fmla="*/ 144520 w 526593"/>
                  <a:gd name="connsiteY67" fmla="*/ 182683 h 403224"/>
                  <a:gd name="connsiteX68" fmla="*/ 160932 w 526593"/>
                  <a:gd name="connsiteY68" fmla="*/ 161287 h 403224"/>
                  <a:gd name="connsiteX69" fmla="*/ 167497 w 526593"/>
                  <a:gd name="connsiteY69" fmla="*/ 147298 h 403224"/>
                  <a:gd name="connsiteX70" fmla="*/ 177344 w 526593"/>
                  <a:gd name="connsiteY70" fmla="*/ 126726 h 403224"/>
                  <a:gd name="connsiteX71" fmla="*/ 192935 w 526593"/>
                  <a:gd name="connsiteY71" fmla="*/ 94633 h 403224"/>
                  <a:gd name="connsiteX72" fmla="*/ 210167 w 526593"/>
                  <a:gd name="connsiteY72" fmla="*/ 76529 h 403224"/>
                  <a:gd name="connsiteX73" fmla="*/ 225759 w 526593"/>
                  <a:gd name="connsiteY73" fmla="*/ 68300 h 403224"/>
                  <a:gd name="connsiteX74" fmla="*/ 250376 w 526593"/>
                  <a:gd name="connsiteY74" fmla="*/ 54311 h 403224"/>
                  <a:gd name="connsiteX75" fmla="*/ 257762 w 526593"/>
                  <a:gd name="connsiteY75" fmla="*/ 45259 h 403224"/>
                  <a:gd name="connsiteX76" fmla="*/ 273353 w 526593"/>
                  <a:gd name="connsiteY76" fmla="*/ 18927 h 403224"/>
                  <a:gd name="connsiteX77" fmla="*/ 288124 w 526593"/>
                  <a:gd name="connsiteY77" fmla="*/ 823 h 403224"/>
                  <a:gd name="connsiteX78" fmla="*/ 288124 w 526593"/>
                  <a:gd name="connsiteY78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11921 w 526593"/>
                  <a:gd name="connsiteY6" fmla="*/ 116851 h 403224"/>
                  <a:gd name="connsiteX7" fmla="*/ 311991 w 526593"/>
                  <a:gd name="connsiteY7" fmla="*/ 96515 h 403224"/>
                  <a:gd name="connsiteX8" fmla="*/ 346524 w 526593"/>
                  <a:gd name="connsiteY8" fmla="*/ 98159 h 403224"/>
                  <a:gd name="connsiteX9" fmla="*/ 373658 w 526593"/>
                  <a:gd name="connsiteY9" fmla="*/ 69380 h 403224"/>
                  <a:gd name="connsiteX10" fmla="*/ 370780 w 526593"/>
                  <a:gd name="connsiteY10" fmla="*/ 60026 h 403224"/>
                  <a:gd name="connsiteX11" fmla="*/ 370369 w 526593"/>
                  <a:gd name="connsiteY11" fmla="*/ 58690 h 403224"/>
                  <a:gd name="connsiteX12" fmla="*/ 403258 w 526593"/>
                  <a:gd name="connsiteY12" fmla="*/ 50467 h 403224"/>
                  <a:gd name="connsiteX13" fmla="*/ 428748 w 526593"/>
                  <a:gd name="connsiteY13" fmla="*/ 66091 h 403224"/>
                  <a:gd name="connsiteX14" fmla="*/ 442417 w 526593"/>
                  <a:gd name="connsiteY14" fmla="*/ 61054 h 403224"/>
                  <a:gd name="connsiteX15" fmla="*/ 444340 w 526593"/>
                  <a:gd name="connsiteY15" fmla="*/ 60346 h 403224"/>
                  <a:gd name="connsiteX16" fmla="*/ 430394 w 526593"/>
                  <a:gd name="connsiteY16" fmla="*/ 65112 h 403224"/>
                  <a:gd name="connsiteX17" fmla="*/ 428445 w 526593"/>
                  <a:gd name="connsiteY17" fmla="*/ 65832 h 403224"/>
                  <a:gd name="connsiteX18" fmla="*/ 403007 w 526593"/>
                  <a:gd name="connsiteY18" fmla="*/ 50197 h 403224"/>
                  <a:gd name="connsiteX19" fmla="*/ 288124 w 526593"/>
                  <a:gd name="connsiteY19" fmla="*/ 0 h 403224"/>
                  <a:gd name="connsiteX20" fmla="*/ 514607 w 526593"/>
                  <a:gd name="connsiteY20" fmla="*/ 13989 h 403224"/>
                  <a:gd name="connsiteX21" fmla="*/ 516761 w 526593"/>
                  <a:gd name="connsiteY21" fmla="*/ 29110 h 403224"/>
                  <a:gd name="connsiteX22" fmla="*/ 517069 w 526593"/>
                  <a:gd name="connsiteY22" fmla="*/ 31270 h 403224"/>
                  <a:gd name="connsiteX23" fmla="*/ 514197 w 526593"/>
                  <a:gd name="connsiteY23" fmla="*/ 43511 h 403224"/>
                  <a:gd name="connsiteX24" fmla="*/ 513787 w 526593"/>
                  <a:gd name="connsiteY24" fmla="*/ 45259 h 403224"/>
                  <a:gd name="connsiteX25" fmla="*/ 513787 w 526593"/>
                  <a:gd name="connsiteY25" fmla="*/ 51019 h 403224"/>
                  <a:gd name="connsiteX26" fmla="*/ 513787 w 526593"/>
                  <a:gd name="connsiteY26" fmla="*/ 51842 h 403224"/>
                  <a:gd name="connsiteX27" fmla="*/ 479322 w 526593"/>
                  <a:gd name="connsiteY27" fmla="*/ 55134 h 403224"/>
                  <a:gd name="connsiteX28" fmla="*/ 452285 w 526593"/>
                  <a:gd name="connsiteY28" fmla="*/ 67458 h 403224"/>
                  <a:gd name="connsiteX29" fmla="*/ 479726 w 526593"/>
                  <a:gd name="connsiteY29" fmla="*/ 55401 h 403224"/>
                  <a:gd name="connsiteX30" fmla="*/ 510971 w 526593"/>
                  <a:gd name="connsiteY30" fmla="*/ 55401 h 403224"/>
                  <a:gd name="connsiteX31" fmla="*/ 514260 w 526593"/>
                  <a:gd name="connsiteY31" fmla="*/ 46356 h 403224"/>
                  <a:gd name="connsiteX32" fmla="*/ 514260 w 526593"/>
                  <a:gd name="connsiteY32" fmla="*/ 45534 h 403224"/>
                  <a:gd name="connsiteX33" fmla="*/ 517137 w 526593"/>
                  <a:gd name="connsiteY33" fmla="*/ 33302 h 403224"/>
                  <a:gd name="connsiteX34" fmla="*/ 517549 w 526593"/>
                  <a:gd name="connsiteY34" fmla="*/ 31555 h 403224"/>
                  <a:gd name="connsiteX35" fmla="*/ 515390 w 526593"/>
                  <a:gd name="connsiteY35" fmla="*/ 16446 h 403224"/>
                  <a:gd name="connsiteX36" fmla="*/ 515082 w 526593"/>
                  <a:gd name="connsiteY36" fmla="*/ 14287 h 403224"/>
                  <a:gd name="connsiteX37" fmla="*/ 526593 w 526593"/>
                  <a:gd name="connsiteY37" fmla="*/ 15109 h 403224"/>
                  <a:gd name="connsiteX38" fmla="*/ 523304 w 526593"/>
                  <a:gd name="connsiteY38" fmla="*/ 38133 h 403224"/>
                  <a:gd name="connsiteX39" fmla="*/ 510971 w 526593"/>
                  <a:gd name="connsiteY39" fmla="*/ 117894 h 403224"/>
                  <a:gd name="connsiteX40" fmla="*/ 325969 w 526593"/>
                  <a:gd name="connsiteY40" fmla="*/ 108027 h 403224"/>
                  <a:gd name="connsiteX41" fmla="*/ 301302 w 526593"/>
                  <a:gd name="connsiteY41" fmla="*/ 265904 h 403224"/>
                  <a:gd name="connsiteX42" fmla="*/ 270879 w 526593"/>
                  <a:gd name="connsiteY42" fmla="*/ 274127 h 403224"/>
                  <a:gd name="connsiteX43" fmla="*/ 234701 w 526593"/>
                  <a:gd name="connsiteY43" fmla="*/ 296328 h 403224"/>
                  <a:gd name="connsiteX44" fmla="*/ 231412 w 526593"/>
                  <a:gd name="connsiteY44" fmla="*/ 322641 h 403224"/>
                  <a:gd name="connsiteX45" fmla="*/ 225657 w 526593"/>
                  <a:gd name="connsiteY45" fmla="*/ 395001 h 403224"/>
                  <a:gd name="connsiteX46" fmla="*/ 24210 w 526593"/>
                  <a:gd name="connsiteY46" fmla="*/ 384312 h 403224"/>
                  <a:gd name="connsiteX47" fmla="*/ 5299 w 526593"/>
                  <a:gd name="connsiteY47" fmla="*/ 392535 h 403224"/>
                  <a:gd name="connsiteX48" fmla="*/ 365 w 526593"/>
                  <a:gd name="connsiteY48" fmla="*/ 403224 h 403224"/>
                  <a:gd name="connsiteX49" fmla="*/ 365 w 526593"/>
                  <a:gd name="connsiteY49" fmla="*/ 395824 h 403224"/>
                  <a:gd name="connsiteX50" fmla="*/ 6943 w 526593"/>
                  <a:gd name="connsiteY50" fmla="*/ 373622 h 403224"/>
                  <a:gd name="connsiteX51" fmla="*/ 63677 w 526593"/>
                  <a:gd name="connsiteY51" fmla="*/ 374444 h 403224"/>
                  <a:gd name="connsiteX52" fmla="*/ 118767 w 526593"/>
                  <a:gd name="connsiteY52" fmla="*/ 381023 h 403224"/>
                  <a:gd name="connsiteX53" fmla="*/ 139322 w 526593"/>
                  <a:gd name="connsiteY53" fmla="*/ 381023 h 403224"/>
                  <a:gd name="connsiteX54" fmla="*/ 139335 w 526593"/>
                  <a:gd name="connsiteY54" fmla="*/ 381000 h 403224"/>
                  <a:gd name="connsiteX55" fmla="*/ 119082 w 526593"/>
                  <a:gd name="connsiteY55" fmla="*/ 381000 h 403224"/>
                  <a:gd name="connsiteX56" fmla="*/ 64102 w 526593"/>
                  <a:gd name="connsiteY56" fmla="*/ 374417 h 403224"/>
                  <a:gd name="connsiteX57" fmla="*/ 7481 w 526593"/>
                  <a:gd name="connsiteY57" fmla="*/ 374417 h 403224"/>
                  <a:gd name="connsiteX58" fmla="*/ 12405 w 526593"/>
                  <a:gd name="connsiteY58" fmla="*/ 353845 h 403224"/>
                  <a:gd name="connsiteX59" fmla="*/ 27996 w 526593"/>
                  <a:gd name="connsiteY59" fmla="*/ 326689 h 403224"/>
                  <a:gd name="connsiteX60" fmla="*/ 41125 w 526593"/>
                  <a:gd name="connsiteY60" fmla="*/ 320106 h 403224"/>
                  <a:gd name="connsiteX61" fmla="*/ 53434 w 526593"/>
                  <a:gd name="connsiteY61" fmla="*/ 302002 h 403224"/>
                  <a:gd name="connsiteX62" fmla="*/ 68205 w 526593"/>
                  <a:gd name="connsiteY62" fmla="*/ 281430 h 403224"/>
                  <a:gd name="connsiteX63" fmla="*/ 69025 w 526593"/>
                  <a:gd name="connsiteY63" fmla="*/ 269909 h 403224"/>
                  <a:gd name="connsiteX64" fmla="*/ 97746 w 526593"/>
                  <a:gd name="connsiteY64" fmla="*/ 234525 h 403224"/>
                  <a:gd name="connsiteX65" fmla="*/ 106773 w 526593"/>
                  <a:gd name="connsiteY65" fmla="*/ 217244 h 403224"/>
                  <a:gd name="connsiteX66" fmla="*/ 144520 w 526593"/>
                  <a:gd name="connsiteY66" fmla="*/ 182683 h 403224"/>
                  <a:gd name="connsiteX67" fmla="*/ 160932 w 526593"/>
                  <a:gd name="connsiteY67" fmla="*/ 161287 h 403224"/>
                  <a:gd name="connsiteX68" fmla="*/ 167497 w 526593"/>
                  <a:gd name="connsiteY68" fmla="*/ 147298 h 403224"/>
                  <a:gd name="connsiteX69" fmla="*/ 177344 w 526593"/>
                  <a:gd name="connsiteY69" fmla="*/ 126726 h 403224"/>
                  <a:gd name="connsiteX70" fmla="*/ 192935 w 526593"/>
                  <a:gd name="connsiteY70" fmla="*/ 94633 h 403224"/>
                  <a:gd name="connsiteX71" fmla="*/ 210167 w 526593"/>
                  <a:gd name="connsiteY71" fmla="*/ 76529 h 403224"/>
                  <a:gd name="connsiteX72" fmla="*/ 225759 w 526593"/>
                  <a:gd name="connsiteY72" fmla="*/ 68300 h 403224"/>
                  <a:gd name="connsiteX73" fmla="*/ 250376 w 526593"/>
                  <a:gd name="connsiteY73" fmla="*/ 54311 h 403224"/>
                  <a:gd name="connsiteX74" fmla="*/ 257762 w 526593"/>
                  <a:gd name="connsiteY74" fmla="*/ 45259 h 403224"/>
                  <a:gd name="connsiteX75" fmla="*/ 273353 w 526593"/>
                  <a:gd name="connsiteY75" fmla="*/ 18927 h 403224"/>
                  <a:gd name="connsiteX76" fmla="*/ 288124 w 526593"/>
                  <a:gd name="connsiteY76" fmla="*/ 823 h 403224"/>
                  <a:gd name="connsiteX77" fmla="*/ 288124 w 526593"/>
                  <a:gd name="connsiteY77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11921 w 526593"/>
                  <a:gd name="connsiteY6" fmla="*/ 116851 h 403224"/>
                  <a:gd name="connsiteX7" fmla="*/ 346524 w 526593"/>
                  <a:gd name="connsiteY7" fmla="*/ 98159 h 403224"/>
                  <a:gd name="connsiteX8" fmla="*/ 373658 w 526593"/>
                  <a:gd name="connsiteY8" fmla="*/ 69380 h 403224"/>
                  <a:gd name="connsiteX9" fmla="*/ 370780 w 526593"/>
                  <a:gd name="connsiteY9" fmla="*/ 60026 h 403224"/>
                  <a:gd name="connsiteX10" fmla="*/ 370369 w 526593"/>
                  <a:gd name="connsiteY10" fmla="*/ 58690 h 403224"/>
                  <a:gd name="connsiteX11" fmla="*/ 403258 w 526593"/>
                  <a:gd name="connsiteY11" fmla="*/ 50467 h 403224"/>
                  <a:gd name="connsiteX12" fmla="*/ 428748 w 526593"/>
                  <a:gd name="connsiteY12" fmla="*/ 66091 h 403224"/>
                  <a:gd name="connsiteX13" fmla="*/ 442417 w 526593"/>
                  <a:gd name="connsiteY13" fmla="*/ 61054 h 403224"/>
                  <a:gd name="connsiteX14" fmla="*/ 444340 w 526593"/>
                  <a:gd name="connsiteY14" fmla="*/ 60346 h 403224"/>
                  <a:gd name="connsiteX15" fmla="*/ 430394 w 526593"/>
                  <a:gd name="connsiteY15" fmla="*/ 65112 h 403224"/>
                  <a:gd name="connsiteX16" fmla="*/ 428445 w 526593"/>
                  <a:gd name="connsiteY16" fmla="*/ 65832 h 403224"/>
                  <a:gd name="connsiteX17" fmla="*/ 403007 w 526593"/>
                  <a:gd name="connsiteY17" fmla="*/ 50197 h 403224"/>
                  <a:gd name="connsiteX18" fmla="*/ 288124 w 526593"/>
                  <a:gd name="connsiteY18" fmla="*/ 0 h 403224"/>
                  <a:gd name="connsiteX19" fmla="*/ 514607 w 526593"/>
                  <a:gd name="connsiteY19" fmla="*/ 13989 h 403224"/>
                  <a:gd name="connsiteX20" fmla="*/ 516761 w 526593"/>
                  <a:gd name="connsiteY20" fmla="*/ 29110 h 403224"/>
                  <a:gd name="connsiteX21" fmla="*/ 517069 w 526593"/>
                  <a:gd name="connsiteY21" fmla="*/ 31270 h 403224"/>
                  <a:gd name="connsiteX22" fmla="*/ 514197 w 526593"/>
                  <a:gd name="connsiteY22" fmla="*/ 43511 h 403224"/>
                  <a:gd name="connsiteX23" fmla="*/ 513787 w 526593"/>
                  <a:gd name="connsiteY23" fmla="*/ 45259 h 403224"/>
                  <a:gd name="connsiteX24" fmla="*/ 513787 w 526593"/>
                  <a:gd name="connsiteY24" fmla="*/ 51019 h 403224"/>
                  <a:gd name="connsiteX25" fmla="*/ 513787 w 526593"/>
                  <a:gd name="connsiteY25" fmla="*/ 51842 h 403224"/>
                  <a:gd name="connsiteX26" fmla="*/ 479322 w 526593"/>
                  <a:gd name="connsiteY26" fmla="*/ 55134 h 403224"/>
                  <a:gd name="connsiteX27" fmla="*/ 452285 w 526593"/>
                  <a:gd name="connsiteY27" fmla="*/ 67458 h 403224"/>
                  <a:gd name="connsiteX28" fmla="*/ 479726 w 526593"/>
                  <a:gd name="connsiteY28" fmla="*/ 55401 h 403224"/>
                  <a:gd name="connsiteX29" fmla="*/ 510971 w 526593"/>
                  <a:gd name="connsiteY29" fmla="*/ 55401 h 403224"/>
                  <a:gd name="connsiteX30" fmla="*/ 514260 w 526593"/>
                  <a:gd name="connsiteY30" fmla="*/ 46356 h 403224"/>
                  <a:gd name="connsiteX31" fmla="*/ 514260 w 526593"/>
                  <a:gd name="connsiteY31" fmla="*/ 45534 h 403224"/>
                  <a:gd name="connsiteX32" fmla="*/ 517137 w 526593"/>
                  <a:gd name="connsiteY32" fmla="*/ 33302 h 403224"/>
                  <a:gd name="connsiteX33" fmla="*/ 517549 w 526593"/>
                  <a:gd name="connsiteY33" fmla="*/ 31555 h 403224"/>
                  <a:gd name="connsiteX34" fmla="*/ 515390 w 526593"/>
                  <a:gd name="connsiteY34" fmla="*/ 16446 h 403224"/>
                  <a:gd name="connsiteX35" fmla="*/ 515082 w 526593"/>
                  <a:gd name="connsiteY35" fmla="*/ 14287 h 403224"/>
                  <a:gd name="connsiteX36" fmla="*/ 526593 w 526593"/>
                  <a:gd name="connsiteY36" fmla="*/ 15109 h 403224"/>
                  <a:gd name="connsiteX37" fmla="*/ 523304 w 526593"/>
                  <a:gd name="connsiteY37" fmla="*/ 38133 h 403224"/>
                  <a:gd name="connsiteX38" fmla="*/ 510971 w 526593"/>
                  <a:gd name="connsiteY38" fmla="*/ 117894 h 403224"/>
                  <a:gd name="connsiteX39" fmla="*/ 325969 w 526593"/>
                  <a:gd name="connsiteY39" fmla="*/ 108027 h 403224"/>
                  <a:gd name="connsiteX40" fmla="*/ 301302 w 526593"/>
                  <a:gd name="connsiteY40" fmla="*/ 265904 h 403224"/>
                  <a:gd name="connsiteX41" fmla="*/ 270879 w 526593"/>
                  <a:gd name="connsiteY41" fmla="*/ 274127 h 403224"/>
                  <a:gd name="connsiteX42" fmla="*/ 234701 w 526593"/>
                  <a:gd name="connsiteY42" fmla="*/ 296328 h 403224"/>
                  <a:gd name="connsiteX43" fmla="*/ 231412 w 526593"/>
                  <a:gd name="connsiteY43" fmla="*/ 322641 h 403224"/>
                  <a:gd name="connsiteX44" fmla="*/ 225657 w 526593"/>
                  <a:gd name="connsiteY44" fmla="*/ 395001 h 403224"/>
                  <a:gd name="connsiteX45" fmla="*/ 24210 w 526593"/>
                  <a:gd name="connsiteY45" fmla="*/ 384312 h 403224"/>
                  <a:gd name="connsiteX46" fmla="*/ 5299 w 526593"/>
                  <a:gd name="connsiteY46" fmla="*/ 392535 h 403224"/>
                  <a:gd name="connsiteX47" fmla="*/ 365 w 526593"/>
                  <a:gd name="connsiteY47" fmla="*/ 403224 h 403224"/>
                  <a:gd name="connsiteX48" fmla="*/ 365 w 526593"/>
                  <a:gd name="connsiteY48" fmla="*/ 395824 h 403224"/>
                  <a:gd name="connsiteX49" fmla="*/ 6943 w 526593"/>
                  <a:gd name="connsiteY49" fmla="*/ 373622 h 403224"/>
                  <a:gd name="connsiteX50" fmla="*/ 63677 w 526593"/>
                  <a:gd name="connsiteY50" fmla="*/ 374444 h 403224"/>
                  <a:gd name="connsiteX51" fmla="*/ 118767 w 526593"/>
                  <a:gd name="connsiteY51" fmla="*/ 381023 h 403224"/>
                  <a:gd name="connsiteX52" fmla="*/ 139322 w 526593"/>
                  <a:gd name="connsiteY52" fmla="*/ 381023 h 403224"/>
                  <a:gd name="connsiteX53" fmla="*/ 139335 w 526593"/>
                  <a:gd name="connsiteY53" fmla="*/ 381000 h 403224"/>
                  <a:gd name="connsiteX54" fmla="*/ 119082 w 526593"/>
                  <a:gd name="connsiteY54" fmla="*/ 381000 h 403224"/>
                  <a:gd name="connsiteX55" fmla="*/ 64102 w 526593"/>
                  <a:gd name="connsiteY55" fmla="*/ 374417 h 403224"/>
                  <a:gd name="connsiteX56" fmla="*/ 7481 w 526593"/>
                  <a:gd name="connsiteY56" fmla="*/ 374417 h 403224"/>
                  <a:gd name="connsiteX57" fmla="*/ 12405 w 526593"/>
                  <a:gd name="connsiteY57" fmla="*/ 353845 h 403224"/>
                  <a:gd name="connsiteX58" fmla="*/ 27996 w 526593"/>
                  <a:gd name="connsiteY58" fmla="*/ 326689 h 403224"/>
                  <a:gd name="connsiteX59" fmla="*/ 41125 w 526593"/>
                  <a:gd name="connsiteY59" fmla="*/ 320106 h 403224"/>
                  <a:gd name="connsiteX60" fmla="*/ 53434 w 526593"/>
                  <a:gd name="connsiteY60" fmla="*/ 302002 h 403224"/>
                  <a:gd name="connsiteX61" fmla="*/ 68205 w 526593"/>
                  <a:gd name="connsiteY61" fmla="*/ 281430 h 403224"/>
                  <a:gd name="connsiteX62" fmla="*/ 69025 w 526593"/>
                  <a:gd name="connsiteY62" fmla="*/ 269909 h 403224"/>
                  <a:gd name="connsiteX63" fmla="*/ 97746 w 526593"/>
                  <a:gd name="connsiteY63" fmla="*/ 234525 h 403224"/>
                  <a:gd name="connsiteX64" fmla="*/ 106773 w 526593"/>
                  <a:gd name="connsiteY64" fmla="*/ 217244 h 403224"/>
                  <a:gd name="connsiteX65" fmla="*/ 144520 w 526593"/>
                  <a:gd name="connsiteY65" fmla="*/ 182683 h 403224"/>
                  <a:gd name="connsiteX66" fmla="*/ 160932 w 526593"/>
                  <a:gd name="connsiteY66" fmla="*/ 161287 h 403224"/>
                  <a:gd name="connsiteX67" fmla="*/ 167497 w 526593"/>
                  <a:gd name="connsiteY67" fmla="*/ 147298 h 403224"/>
                  <a:gd name="connsiteX68" fmla="*/ 177344 w 526593"/>
                  <a:gd name="connsiteY68" fmla="*/ 126726 h 403224"/>
                  <a:gd name="connsiteX69" fmla="*/ 192935 w 526593"/>
                  <a:gd name="connsiteY69" fmla="*/ 94633 h 403224"/>
                  <a:gd name="connsiteX70" fmla="*/ 210167 w 526593"/>
                  <a:gd name="connsiteY70" fmla="*/ 76529 h 403224"/>
                  <a:gd name="connsiteX71" fmla="*/ 225759 w 526593"/>
                  <a:gd name="connsiteY71" fmla="*/ 68300 h 403224"/>
                  <a:gd name="connsiteX72" fmla="*/ 250376 w 526593"/>
                  <a:gd name="connsiteY72" fmla="*/ 54311 h 403224"/>
                  <a:gd name="connsiteX73" fmla="*/ 257762 w 526593"/>
                  <a:gd name="connsiteY73" fmla="*/ 45259 h 403224"/>
                  <a:gd name="connsiteX74" fmla="*/ 273353 w 526593"/>
                  <a:gd name="connsiteY74" fmla="*/ 18927 h 403224"/>
                  <a:gd name="connsiteX75" fmla="*/ 288124 w 526593"/>
                  <a:gd name="connsiteY75" fmla="*/ 823 h 403224"/>
                  <a:gd name="connsiteX76" fmla="*/ 288124 w 526593"/>
                  <a:gd name="connsiteY76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11921 w 526593"/>
                  <a:gd name="connsiteY5" fmla="*/ 96279 h 403224"/>
                  <a:gd name="connsiteX6" fmla="*/ 346524 w 526593"/>
                  <a:gd name="connsiteY6" fmla="*/ 98159 h 403224"/>
                  <a:gd name="connsiteX7" fmla="*/ 373658 w 526593"/>
                  <a:gd name="connsiteY7" fmla="*/ 69380 h 403224"/>
                  <a:gd name="connsiteX8" fmla="*/ 370780 w 526593"/>
                  <a:gd name="connsiteY8" fmla="*/ 60026 h 403224"/>
                  <a:gd name="connsiteX9" fmla="*/ 370369 w 526593"/>
                  <a:gd name="connsiteY9" fmla="*/ 58690 h 403224"/>
                  <a:gd name="connsiteX10" fmla="*/ 403258 w 526593"/>
                  <a:gd name="connsiteY10" fmla="*/ 50467 h 403224"/>
                  <a:gd name="connsiteX11" fmla="*/ 428748 w 526593"/>
                  <a:gd name="connsiteY11" fmla="*/ 66091 h 403224"/>
                  <a:gd name="connsiteX12" fmla="*/ 442417 w 526593"/>
                  <a:gd name="connsiteY12" fmla="*/ 61054 h 403224"/>
                  <a:gd name="connsiteX13" fmla="*/ 444340 w 526593"/>
                  <a:gd name="connsiteY13" fmla="*/ 60346 h 403224"/>
                  <a:gd name="connsiteX14" fmla="*/ 430394 w 526593"/>
                  <a:gd name="connsiteY14" fmla="*/ 65112 h 403224"/>
                  <a:gd name="connsiteX15" fmla="*/ 428445 w 526593"/>
                  <a:gd name="connsiteY15" fmla="*/ 65832 h 403224"/>
                  <a:gd name="connsiteX16" fmla="*/ 403007 w 526593"/>
                  <a:gd name="connsiteY16" fmla="*/ 50197 h 403224"/>
                  <a:gd name="connsiteX17" fmla="*/ 288124 w 526593"/>
                  <a:gd name="connsiteY17" fmla="*/ 0 h 403224"/>
                  <a:gd name="connsiteX18" fmla="*/ 514607 w 526593"/>
                  <a:gd name="connsiteY18" fmla="*/ 13989 h 403224"/>
                  <a:gd name="connsiteX19" fmla="*/ 516761 w 526593"/>
                  <a:gd name="connsiteY19" fmla="*/ 29110 h 403224"/>
                  <a:gd name="connsiteX20" fmla="*/ 517069 w 526593"/>
                  <a:gd name="connsiteY20" fmla="*/ 31270 h 403224"/>
                  <a:gd name="connsiteX21" fmla="*/ 514197 w 526593"/>
                  <a:gd name="connsiteY21" fmla="*/ 43511 h 403224"/>
                  <a:gd name="connsiteX22" fmla="*/ 513787 w 526593"/>
                  <a:gd name="connsiteY22" fmla="*/ 45259 h 403224"/>
                  <a:gd name="connsiteX23" fmla="*/ 513787 w 526593"/>
                  <a:gd name="connsiteY23" fmla="*/ 51019 h 403224"/>
                  <a:gd name="connsiteX24" fmla="*/ 513787 w 526593"/>
                  <a:gd name="connsiteY24" fmla="*/ 51842 h 403224"/>
                  <a:gd name="connsiteX25" fmla="*/ 479322 w 526593"/>
                  <a:gd name="connsiteY25" fmla="*/ 55134 h 403224"/>
                  <a:gd name="connsiteX26" fmla="*/ 452285 w 526593"/>
                  <a:gd name="connsiteY26" fmla="*/ 67458 h 403224"/>
                  <a:gd name="connsiteX27" fmla="*/ 479726 w 526593"/>
                  <a:gd name="connsiteY27" fmla="*/ 55401 h 403224"/>
                  <a:gd name="connsiteX28" fmla="*/ 510971 w 526593"/>
                  <a:gd name="connsiteY28" fmla="*/ 55401 h 403224"/>
                  <a:gd name="connsiteX29" fmla="*/ 514260 w 526593"/>
                  <a:gd name="connsiteY29" fmla="*/ 46356 h 403224"/>
                  <a:gd name="connsiteX30" fmla="*/ 514260 w 526593"/>
                  <a:gd name="connsiteY30" fmla="*/ 45534 h 403224"/>
                  <a:gd name="connsiteX31" fmla="*/ 517137 w 526593"/>
                  <a:gd name="connsiteY31" fmla="*/ 33302 h 403224"/>
                  <a:gd name="connsiteX32" fmla="*/ 517549 w 526593"/>
                  <a:gd name="connsiteY32" fmla="*/ 31555 h 403224"/>
                  <a:gd name="connsiteX33" fmla="*/ 515390 w 526593"/>
                  <a:gd name="connsiteY33" fmla="*/ 16446 h 403224"/>
                  <a:gd name="connsiteX34" fmla="*/ 515082 w 526593"/>
                  <a:gd name="connsiteY34" fmla="*/ 14287 h 403224"/>
                  <a:gd name="connsiteX35" fmla="*/ 526593 w 526593"/>
                  <a:gd name="connsiteY35" fmla="*/ 15109 h 403224"/>
                  <a:gd name="connsiteX36" fmla="*/ 523304 w 526593"/>
                  <a:gd name="connsiteY36" fmla="*/ 38133 h 403224"/>
                  <a:gd name="connsiteX37" fmla="*/ 510971 w 526593"/>
                  <a:gd name="connsiteY37" fmla="*/ 117894 h 403224"/>
                  <a:gd name="connsiteX38" fmla="*/ 325969 w 526593"/>
                  <a:gd name="connsiteY38" fmla="*/ 108027 h 403224"/>
                  <a:gd name="connsiteX39" fmla="*/ 301302 w 526593"/>
                  <a:gd name="connsiteY39" fmla="*/ 265904 h 403224"/>
                  <a:gd name="connsiteX40" fmla="*/ 270879 w 526593"/>
                  <a:gd name="connsiteY40" fmla="*/ 274127 h 403224"/>
                  <a:gd name="connsiteX41" fmla="*/ 234701 w 526593"/>
                  <a:gd name="connsiteY41" fmla="*/ 296328 h 403224"/>
                  <a:gd name="connsiteX42" fmla="*/ 231412 w 526593"/>
                  <a:gd name="connsiteY42" fmla="*/ 322641 h 403224"/>
                  <a:gd name="connsiteX43" fmla="*/ 225657 w 526593"/>
                  <a:gd name="connsiteY43" fmla="*/ 395001 h 403224"/>
                  <a:gd name="connsiteX44" fmla="*/ 24210 w 526593"/>
                  <a:gd name="connsiteY44" fmla="*/ 384312 h 403224"/>
                  <a:gd name="connsiteX45" fmla="*/ 5299 w 526593"/>
                  <a:gd name="connsiteY45" fmla="*/ 392535 h 403224"/>
                  <a:gd name="connsiteX46" fmla="*/ 365 w 526593"/>
                  <a:gd name="connsiteY46" fmla="*/ 403224 h 403224"/>
                  <a:gd name="connsiteX47" fmla="*/ 365 w 526593"/>
                  <a:gd name="connsiteY47" fmla="*/ 395824 h 403224"/>
                  <a:gd name="connsiteX48" fmla="*/ 6943 w 526593"/>
                  <a:gd name="connsiteY48" fmla="*/ 373622 h 403224"/>
                  <a:gd name="connsiteX49" fmla="*/ 63677 w 526593"/>
                  <a:gd name="connsiteY49" fmla="*/ 374444 h 403224"/>
                  <a:gd name="connsiteX50" fmla="*/ 118767 w 526593"/>
                  <a:gd name="connsiteY50" fmla="*/ 381023 h 403224"/>
                  <a:gd name="connsiteX51" fmla="*/ 139322 w 526593"/>
                  <a:gd name="connsiteY51" fmla="*/ 381023 h 403224"/>
                  <a:gd name="connsiteX52" fmla="*/ 139335 w 526593"/>
                  <a:gd name="connsiteY52" fmla="*/ 381000 h 403224"/>
                  <a:gd name="connsiteX53" fmla="*/ 119082 w 526593"/>
                  <a:gd name="connsiteY53" fmla="*/ 381000 h 403224"/>
                  <a:gd name="connsiteX54" fmla="*/ 64102 w 526593"/>
                  <a:gd name="connsiteY54" fmla="*/ 374417 h 403224"/>
                  <a:gd name="connsiteX55" fmla="*/ 7481 w 526593"/>
                  <a:gd name="connsiteY55" fmla="*/ 374417 h 403224"/>
                  <a:gd name="connsiteX56" fmla="*/ 12405 w 526593"/>
                  <a:gd name="connsiteY56" fmla="*/ 353845 h 403224"/>
                  <a:gd name="connsiteX57" fmla="*/ 27996 w 526593"/>
                  <a:gd name="connsiteY57" fmla="*/ 326689 h 403224"/>
                  <a:gd name="connsiteX58" fmla="*/ 41125 w 526593"/>
                  <a:gd name="connsiteY58" fmla="*/ 320106 h 403224"/>
                  <a:gd name="connsiteX59" fmla="*/ 53434 w 526593"/>
                  <a:gd name="connsiteY59" fmla="*/ 302002 h 403224"/>
                  <a:gd name="connsiteX60" fmla="*/ 68205 w 526593"/>
                  <a:gd name="connsiteY60" fmla="*/ 281430 h 403224"/>
                  <a:gd name="connsiteX61" fmla="*/ 69025 w 526593"/>
                  <a:gd name="connsiteY61" fmla="*/ 269909 h 403224"/>
                  <a:gd name="connsiteX62" fmla="*/ 97746 w 526593"/>
                  <a:gd name="connsiteY62" fmla="*/ 234525 h 403224"/>
                  <a:gd name="connsiteX63" fmla="*/ 106773 w 526593"/>
                  <a:gd name="connsiteY63" fmla="*/ 217244 h 403224"/>
                  <a:gd name="connsiteX64" fmla="*/ 144520 w 526593"/>
                  <a:gd name="connsiteY64" fmla="*/ 182683 h 403224"/>
                  <a:gd name="connsiteX65" fmla="*/ 160932 w 526593"/>
                  <a:gd name="connsiteY65" fmla="*/ 161287 h 403224"/>
                  <a:gd name="connsiteX66" fmla="*/ 167497 w 526593"/>
                  <a:gd name="connsiteY66" fmla="*/ 147298 h 403224"/>
                  <a:gd name="connsiteX67" fmla="*/ 177344 w 526593"/>
                  <a:gd name="connsiteY67" fmla="*/ 126726 h 403224"/>
                  <a:gd name="connsiteX68" fmla="*/ 192935 w 526593"/>
                  <a:gd name="connsiteY68" fmla="*/ 94633 h 403224"/>
                  <a:gd name="connsiteX69" fmla="*/ 210167 w 526593"/>
                  <a:gd name="connsiteY69" fmla="*/ 76529 h 403224"/>
                  <a:gd name="connsiteX70" fmla="*/ 225759 w 526593"/>
                  <a:gd name="connsiteY70" fmla="*/ 68300 h 403224"/>
                  <a:gd name="connsiteX71" fmla="*/ 250376 w 526593"/>
                  <a:gd name="connsiteY71" fmla="*/ 54311 h 403224"/>
                  <a:gd name="connsiteX72" fmla="*/ 257762 w 526593"/>
                  <a:gd name="connsiteY72" fmla="*/ 45259 h 403224"/>
                  <a:gd name="connsiteX73" fmla="*/ 273353 w 526593"/>
                  <a:gd name="connsiteY73" fmla="*/ 18927 h 403224"/>
                  <a:gd name="connsiteX74" fmla="*/ 288124 w 526593"/>
                  <a:gd name="connsiteY74" fmla="*/ 823 h 403224"/>
                  <a:gd name="connsiteX75" fmla="*/ 288124 w 526593"/>
                  <a:gd name="connsiteY75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46524 w 526593"/>
                  <a:gd name="connsiteY5" fmla="*/ 98159 h 403224"/>
                  <a:gd name="connsiteX6" fmla="*/ 373658 w 526593"/>
                  <a:gd name="connsiteY6" fmla="*/ 69380 h 403224"/>
                  <a:gd name="connsiteX7" fmla="*/ 370780 w 526593"/>
                  <a:gd name="connsiteY7" fmla="*/ 60026 h 403224"/>
                  <a:gd name="connsiteX8" fmla="*/ 370369 w 526593"/>
                  <a:gd name="connsiteY8" fmla="*/ 58690 h 403224"/>
                  <a:gd name="connsiteX9" fmla="*/ 403258 w 526593"/>
                  <a:gd name="connsiteY9" fmla="*/ 50467 h 403224"/>
                  <a:gd name="connsiteX10" fmla="*/ 428748 w 526593"/>
                  <a:gd name="connsiteY10" fmla="*/ 66091 h 403224"/>
                  <a:gd name="connsiteX11" fmla="*/ 442417 w 526593"/>
                  <a:gd name="connsiteY11" fmla="*/ 61054 h 403224"/>
                  <a:gd name="connsiteX12" fmla="*/ 444340 w 526593"/>
                  <a:gd name="connsiteY12" fmla="*/ 60346 h 403224"/>
                  <a:gd name="connsiteX13" fmla="*/ 430394 w 526593"/>
                  <a:gd name="connsiteY13" fmla="*/ 65112 h 403224"/>
                  <a:gd name="connsiteX14" fmla="*/ 428445 w 526593"/>
                  <a:gd name="connsiteY14" fmla="*/ 65832 h 403224"/>
                  <a:gd name="connsiteX15" fmla="*/ 403007 w 526593"/>
                  <a:gd name="connsiteY15" fmla="*/ 50197 h 403224"/>
                  <a:gd name="connsiteX16" fmla="*/ 288124 w 526593"/>
                  <a:gd name="connsiteY16" fmla="*/ 0 h 403224"/>
                  <a:gd name="connsiteX17" fmla="*/ 514607 w 526593"/>
                  <a:gd name="connsiteY17" fmla="*/ 13989 h 403224"/>
                  <a:gd name="connsiteX18" fmla="*/ 516761 w 526593"/>
                  <a:gd name="connsiteY18" fmla="*/ 29110 h 403224"/>
                  <a:gd name="connsiteX19" fmla="*/ 517069 w 526593"/>
                  <a:gd name="connsiteY19" fmla="*/ 31270 h 403224"/>
                  <a:gd name="connsiteX20" fmla="*/ 514197 w 526593"/>
                  <a:gd name="connsiteY20" fmla="*/ 43511 h 403224"/>
                  <a:gd name="connsiteX21" fmla="*/ 513787 w 526593"/>
                  <a:gd name="connsiteY21" fmla="*/ 45259 h 403224"/>
                  <a:gd name="connsiteX22" fmla="*/ 513787 w 526593"/>
                  <a:gd name="connsiteY22" fmla="*/ 51019 h 403224"/>
                  <a:gd name="connsiteX23" fmla="*/ 513787 w 526593"/>
                  <a:gd name="connsiteY23" fmla="*/ 51842 h 403224"/>
                  <a:gd name="connsiteX24" fmla="*/ 479322 w 526593"/>
                  <a:gd name="connsiteY24" fmla="*/ 55134 h 403224"/>
                  <a:gd name="connsiteX25" fmla="*/ 452285 w 526593"/>
                  <a:gd name="connsiteY25" fmla="*/ 67458 h 403224"/>
                  <a:gd name="connsiteX26" fmla="*/ 479726 w 526593"/>
                  <a:gd name="connsiteY26" fmla="*/ 55401 h 403224"/>
                  <a:gd name="connsiteX27" fmla="*/ 510971 w 526593"/>
                  <a:gd name="connsiteY27" fmla="*/ 55401 h 403224"/>
                  <a:gd name="connsiteX28" fmla="*/ 514260 w 526593"/>
                  <a:gd name="connsiteY28" fmla="*/ 46356 h 403224"/>
                  <a:gd name="connsiteX29" fmla="*/ 514260 w 526593"/>
                  <a:gd name="connsiteY29" fmla="*/ 45534 h 403224"/>
                  <a:gd name="connsiteX30" fmla="*/ 517137 w 526593"/>
                  <a:gd name="connsiteY30" fmla="*/ 33302 h 403224"/>
                  <a:gd name="connsiteX31" fmla="*/ 517549 w 526593"/>
                  <a:gd name="connsiteY31" fmla="*/ 31555 h 403224"/>
                  <a:gd name="connsiteX32" fmla="*/ 515390 w 526593"/>
                  <a:gd name="connsiteY32" fmla="*/ 16446 h 403224"/>
                  <a:gd name="connsiteX33" fmla="*/ 515082 w 526593"/>
                  <a:gd name="connsiteY33" fmla="*/ 14287 h 403224"/>
                  <a:gd name="connsiteX34" fmla="*/ 526593 w 526593"/>
                  <a:gd name="connsiteY34" fmla="*/ 15109 h 403224"/>
                  <a:gd name="connsiteX35" fmla="*/ 523304 w 526593"/>
                  <a:gd name="connsiteY35" fmla="*/ 38133 h 403224"/>
                  <a:gd name="connsiteX36" fmla="*/ 510971 w 526593"/>
                  <a:gd name="connsiteY36" fmla="*/ 117894 h 403224"/>
                  <a:gd name="connsiteX37" fmla="*/ 325969 w 526593"/>
                  <a:gd name="connsiteY37" fmla="*/ 108027 h 403224"/>
                  <a:gd name="connsiteX38" fmla="*/ 301302 w 526593"/>
                  <a:gd name="connsiteY38" fmla="*/ 265904 h 403224"/>
                  <a:gd name="connsiteX39" fmla="*/ 270879 w 526593"/>
                  <a:gd name="connsiteY39" fmla="*/ 274127 h 403224"/>
                  <a:gd name="connsiteX40" fmla="*/ 234701 w 526593"/>
                  <a:gd name="connsiteY40" fmla="*/ 296328 h 403224"/>
                  <a:gd name="connsiteX41" fmla="*/ 231412 w 526593"/>
                  <a:gd name="connsiteY41" fmla="*/ 322641 h 403224"/>
                  <a:gd name="connsiteX42" fmla="*/ 225657 w 526593"/>
                  <a:gd name="connsiteY42" fmla="*/ 395001 h 403224"/>
                  <a:gd name="connsiteX43" fmla="*/ 24210 w 526593"/>
                  <a:gd name="connsiteY43" fmla="*/ 384312 h 403224"/>
                  <a:gd name="connsiteX44" fmla="*/ 5299 w 526593"/>
                  <a:gd name="connsiteY44" fmla="*/ 392535 h 403224"/>
                  <a:gd name="connsiteX45" fmla="*/ 365 w 526593"/>
                  <a:gd name="connsiteY45" fmla="*/ 403224 h 403224"/>
                  <a:gd name="connsiteX46" fmla="*/ 365 w 526593"/>
                  <a:gd name="connsiteY46" fmla="*/ 395824 h 403224"/>
                  <a:gd name="connsiteX47" fmla="*/ 6943 w 526593"/>
                  <a:gd name="connsiteY47" fmla="*/ 373622 h 403224"/>
                  <a:gd name="connsiteX48" fmla="*/ 63677 w 526593"/>
                  <a:gd name="connsiteY48" fmla="*/ 374444 h 403224"/>
                  <a:gd name="connsiteX49" fmla="*/ 118767 w 526593"/>
                  <a:gd name="connsiteY49" fmla="*/ 381023 h 403224"/>
                  <a:gd name="connsiteX50" fmla="*/ 139322 w 526593"/>
                  <a:gd name="connsiteY50" fmla="*/ 381023 h 403224"/>
                  <a:gd name="connsiteX51" fmla="*/ 139335 w 526593"/>
                  <a:gd name="connsiteY51" fmla="*/ 381000 h 403224"/>
                  <a:gd name="connsiteX52" fmla="*/ 119082 w 526593"/>
                  <a:gd name="connsiteY52" fmla="*/ 381000 h 403224"/>
                  <a:gd name="connsiteX53" fmla="*/ 64102 w 526593"/>
                  <a:gd name="connsiteY53" fmla="*/ 374417 h 403224"/>
                  <a:gd name="connsiteX54" fmla="*/ 7481 w 526593"/>
                  <a:gd name="connsiteY54" fmla="*/ 374417 h 403224"/>
                  <a:gd name="connsiteX55" fmla="*/ 12405 w 526593"/>
                  <a:gd name="connsiteY55" fmla="*/ 353845 h 403224"/>
                  <a:gd name="connsiteX56" fmla="*/ 27996 w 526593"/>
                  <a:gd name="connsiteY56" fmla="*/ 326689 h 403224"/>
                  <a:gd name="connsiteX57" fmla="*/ 41125 w 526593"/>
                  <a:gd name="connsiteY57" fmla="*/ 320106 h 403224"/>
                  <a:gd name="connsiteX58" fmla="*/ 53434 w 526593"/>
                  <a:gd name="connsiteY58" fmla="*/ 302002 h 403224"/>
                  <a:gd name="connsiteX59" fmla="*/ 68205 w 526593"/>
                  <a:gd name="connsiteY59" fmla="*/ 281430 h 403224"/>
                  <a:gd name="connsiteX60" fmla="*/ 69025 w 526593"/>
                  <a:gd name="connsiteY60" fmla="*/ 269909 h 403224"/>
                  <a:gd name="connsiteX61" fmla="*/ 97746 w 526593"/>
                  <a:gd name="connsiteY61" fmla="*/ 234525 h 403224"/>
                  <a:gd name="connsiteX62" fmla="*/ 106773 w 526593"/>
                  <a:gd name="connsiteY62" fmla="*/ 217244 h 403224"/>
                  <a:gd name="connsiteX63" fmla="*/ 144520 w 526593"/>
                  <a:gd name="connsiteY63" fmla="*/ 182683 h 403224"/>
                  <a:gd name="connsiteX64" fmla="*/ 160932 w 526593"/>
                  <a:gd name="connsiteY64" fmla="*/ 161287 h 403224"/>
                  <a:gd name="connsiteX65" fmla="*/ 167497 w 526593"/>
                  <a:gd name="connsiteY65" fmla="*/ 147298 h 403224"/>
                  <a:gd name="connsiteX66" fmla="*/ 177344 w 526593"/>
                  <a:gd name="connsiteY66" fmla="*/ 126726 h 403224"/>
                  <a:gd name="connsiteX67" fmla="*/ 192935 w 526593"/>
                  <a:gd name="connsiteY67" fmla="*/ 94633 h 403224"/>
                  <a:gd name="connsiteX68" fmla="*/ 210167 w 526593"/>
                  <a:gd name="connsiteY68" fmla="*/ 76529 h 403224"/>
                  <a:gd name="connsiteX69" fmla="*/ 225759 w 526593"/>
                  <a:gd name="connsiteY69" fmla="*/ 68300 h 403224"/>
                  <a:gd name="connsiteX70" fmla="*/ 250376 w 526593"/>
                  <a:gd name="connsiteY70" fmla="*/ 54311 h 403224"/>
                  <a:gd name="connsiteX71" fmla="*/ 257762 w 526593"/>
                  <a:gd name="connsiteY71" fmla="*/ 45259 h 403224"/>
                  <a:gd name="connsiteX72" fmla="*/ 273353 w 526593"/>
                  <a:gd name="connsiteY72" fmla="*/ 18927 h 403224"/>
                  <a:gd name="connsiteX73" fmla="*/ 288124 w 526593"/>
                  <a:gd name="connsiteY73" fmla="*/ 823 h 403224"/>
                  <a:gd name="connsiteX74" fmla="*/ 288124 w 526593"/>
                  <a:gd name="connsiteY74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46386 w 526593"/>
                  <a:gd name="connsiteY4" fmla="*/ 97925 h 403224"/>
                  <a:gd name="connsiteX5" fmla="*/ 373658 w 526593"/>
                  <a:gd name="connsiteY5" fmla="*/ 69380 h 403224"/>
                  <a:gd name="connsiteX6" fmla="*/ 370780 w 526593"/>
                  <a:gd name="connsiteY6" fmla="*/ 60026 h 403224"/>
                  <a:gd name="connsiteX7" fmla="*/ 370369 w 526593"/>
                  <a:gd name="connsiteY7" fmla="*/ 58690 h 403224"/>
                  <a:gd name="connsiteX8" fmla="*/ 403258 w 526593"/>
                  <a:gd name="connsiteY8" fmla="*/ 50467 h 403224"/>
                  <a:gd name="connsiteX9" fmla="*/ 428748 w 526593"/>
                  <a:gd name="connsiteY9" fmla="*/ 66091 h 403224"/>
                  <a:gd name="connsiteX10" fmla="*/ 442417 w 526593"/>
                  <a:gd name="connsiteY10" fmla="*/ 61054 h 403224"/>
                  <a:gd name="connsiteX11" fmla="*/ 444340 w 526593"/>
                  <a:gd name="connsiteY11" fmla="*/ 60346 h 403224"/>
                  <a:gd name="connsiteX12" fmla="*/ 430394 w 526593"/>
                  <a:gd name="connsiteY12" fmla="*/ 65112 h 403224"/>
                  <a:gd name="connsiteX13" fmla="*/ 428445 w 526593"/>
                  <a:gd name="connsiteY13" fmla="*/ 65832 h 403224"/>
                  <a:gd name="connsiteX14" fmla="*/ 403007 w 526593"/>
                  <a:gd name="connsiteY14" fmla="*/ 50197 h 403224"/>
                  <a:gd name="connsiteX15" fmla="*/ 288124 w 526593"/>
                  <a:gd name="connsiteY15" fmla="*/ 0 h 403224"/>
                  <a:gd name="connsiteX16" fmla="*/ 514607 w 526593"/>
                  <a:gd name="connsiteY16" fmla="*/ 13989 h 403224"/>
                  <a:gd name="connsiteX17" fmla="*/ 516761 w 526593"/>
                  <a:gd name="connsiteY17" fmla="*/ 29110 h 403224"/>
                  <a:gd name="connsiteX18" fmla="*/ 517069 w 526593"/>
                  <a:gd name="connsiteY18" fmla="*/ 31270 h 403224"/>
                  <a:gd name="connsiteX19" fmla="*/ 514197 w 526593"/>
                  <a:gd name="connsiteY19" fmla="*/ 43511 h 403224"/>
                  <a:gd name="connsiteX20" fmla="*/ 513787 w 526593"/>
                  <a:gd name="connsiteY20" fmla="*/ 45259 h 403224"/>
                  <a:gd name="connsiteX21" fmla="*/ 513787 w 526593"/>
                  <a:gd name="connsiteY21" fmla="*/ 51019 h 403224"/>
                  <a:gd name="connsiteX22" fmla="*/ 513787 w 526593"/>
                  <a:gd name="connsiteY22" fmla="*/ 51842 h 403224"/>
                  <a:gd name="connsiteX23" fmla="*/ 479322 w 526593"/>
                  <a:gd name="connsiteY23" fmla="*/ 55134 h 403224"/>
                  <a:gd name="connsiteX24" fmla="*/ 452285 w 526593"/>
                  <a:gd name="connsiteY24" fmla="*/ 67458 h 403224"/>
                  <a:gd name="connsiteX25" fmla="*/ 479726 w 526593"/>
                  <a:gd name="connsiteY25" fmla="*/ 55401 h 403224"/>
                  <a:gd name="connsiteX26" fmla="*/ 510971 w 526593"/>
                  <a:gd name="connsiteY26" fmla="*/ 55401 h 403224"/>
                  <a:gd name="connsiteX27" fmla="*/ 514260 w 526593"/>
                  <a:gd name="connsiteY27" fmla="*/ 46356 h 403224"/>
                  <a:gd name="connsiteX28" fmla="*/ 514260 w 526593"/>
                  <a:gd name="connsiteY28" fmla="*/ 45534 h 403224"/>
                  <a:gd name="connsiteX29" fmla="*/ 517137 w 526593"/>
                  <a:gd name="connsiteY29" fmla="*/ 33302 h 403224"/>
                  <a:gd name="connsiteX30" fmla="*/ 517549 w 526593"/>
                  <a:gd name="connsiteY30" fmla="*/ 31555 h 403224"/>
                  <a:gd name="connsiteX31" fmla="*/ 515390 w 526593"/>
                  <a:gd name="connsiteY31" fmla="*/ 16446 h 403224"/>
                  <a:gd name="connsiteX32" fmla="*/ 515082 w 526593"/>
                  <a:gd name="connsiteY32" fmla="*/ 14287 h 403224"/>
                  <a:gd name="connsiteX33" fmla="*/ 526593 w 526593"/>
                  <a:gd name="connsiteY33" fmla="*/ 15109 h 403224"/>
                  <a:gd name="connsiteX34" fmla="*/ 523304 w 526593"/>
                  <a:gd name="connsiteY34" fmla="*/ 38133 h 403224"/>
                  <a:gd name="connsiteX35" fmla="*/ 510971 w 526593"/>
                  <a:gd name="connsiteY35" fmla="*/ 117894 h 403224"/>
                  <a:gd name="connsiteX36" fmla="*/ 325969 w 526593"/>
                  <a:gd name="connsiteY36" fmla="*/ 108027 h 403224"/>
                  <a:gd name="connsiteX37" fmla="*/ 301302 w 526593"/>
                  <a:gd name="connsiteY37" fmla="*/ 265904 h 403224"/>
                  <a:gd name="connsiteX38" fmla="*/ 270879 w 526593"/>
                  <a:gd name="connsiteY38" fmla="*/ 274127 h 403224"/>
                  <a:gd name="connsiteX39" fmla="*/ 234701 w 526593"/>
                  <a:gd name="connsiteY39" fmla="*/ 296328 h 403224"/>
                  <a:gd name="connsiteX40" fmla="*/ 231412 w 526593"/>
                  <a:gd name="connsiteY40" fmla="*/ 322641 h 403224"/>
                  <a:gd name="connsiteX41" fmla="*/ 225657 w 526593"/>
                  <a:gd name="connsiteY41" fmla="*/ 395001 h 403224"/>
                  <a:gd name="connsiteX42" fmla="*/ 24210 w 526593"/>
                  <a:gd name="connsiteY42" fmla="*/ 384312 h 403224"/>
                  <a:gd name="connsiteX43" fmla="*/ 5299 w 526593"/>
                  <a:gd name="connsiteY43" fmla="*/ 392535 h 403224"/>
                  <a:gd name="connsiteX44" fmla="*/ 365 w 526593"/>
                  <a:gd name="connsiteY44" fmla="*/ 403224 h 403224"/>
                  <a:gd name="connsiteX45" fmla="*/ 365 w 526593"/>
                  <a:gd name="connsiteY45" fmla="*/ 395824 h 403224"/>
                  <a:gd name="connsiteX46" fmla="*/ 6943 w 526593"/>
                  <a:gd name="connsiteY46" fmla="*/ 373622 h 403224"/>
                  <a:gd name="connsiteX47" fmla="*/ 63677 w 526593"/>
                  <a:gd name="connsiteY47" fmla="*/ 374444 h 403224"/>
                  <a:gd name="connsiteX48" fmla="*/ 118767 w 526593"/>
                  <a:gd name="connsiteY48" fmla="*/ 381023 h 403224"/>
                  <a:gd name="connsiteX49" fmla="*/ 139322 w 526593"/>
                  <a:gd name="connsiteY49" fmla="*/ 381023 h 403224"/>
                  <a:gd name="connsiteX50" fmla="*/ 139335 w 526593"/>
                  <a:gd name="connsiteY50" fmla="*/ 381000 h 403224"/>
                  <a:gd name="connsiteX51" fmla="*/ 119082 w 526593"/>
                  <a:gd name="connsiteY51" fmla="*/ 381000 h 403224"/>
                  <a:gd name="connsiteX52" fmla="*/ 64102 w 526593"/>
                  <a:gd name="connsiteY52" fmla="*/ 374417 h 403224"/>
                  <a:gd name="connsiteX53" fmla="*/ 7481 w 526593"/>
                  <a:gd name="connsiteY53" fmla="*/ 374417 h 403224"/>
                  <a:gd name="connsiteX54" fmla="*/ 12405 w 526593"/>
                  <a:gd name="connsiteY54" fmla="*/ 353845 h 403224"/>
                  <a:gd name="connsiteX55" fmla="*/ 27996 w 526593"/>
                  <a:gd name="connsiteY55" fmla="*/ 326689 h 403224"/>
                  <a:gd name="connsiteX56" fmla="*/ 41125 w 526593"/>
                  <a:gd name="connsiteY56" fmla="*/ 320106 h 403224"/>
                  <a:gd name="connsiteX57" fmla="*/ 53434 w 526593"/>
                  <a:gd name="connsiteY57" fmla="*/ 302002 h 403224"/>
                  <a:gd name="connsiteX58" fmla="*/ 68205 w 526593"/>
                  <a:gd name="connsiteY58" fmla="*/ 281430 h 403224"/>
                  <a:gd name="connsiteX59" fmla="*/ 69025 w 526593"/>
                  <a:gd name="connsiteY59" fmla="*/ 269909 h 403224"/>
                  <a:gd name="connsiteX60" fmla="*/ 97746 w 526593"/>
                  <a:gd name="connsiteY60" fmla="*/ 234525 h 403224"/>
                  <a:gd name="connsiteX61" fmla="*/ 106773 w 526593"/>
                  <a:gd name="connsiteY61" fmla="*/ 217244 h 403224"/>
                  <a:gd name="connsiteX62" fmla="*/ 144520 w 526593"/>
                  <a:gd name="connsiteY62" fmla="*/ 182683 h 403224"/>
                  <a:gd name="connsiteX63" fmla="*/ 160932 w 526593"/>
                  <a:gd name="connsiteY63" fmla="*/ 161287 h 403224"/>
                  <a:gd name="connsiteX64" fmla="*/ 167497 w 526593"/>
                  <a:gd name="connsiteY64" fmla="*/ 147298 h 403224"/>
                  <a:gd name="connsiteX65" fmla="*/ 177344 w 526593"/>
                  <a:gd name="connsiteY65" fmla="*/ 126726 h 403224"/>
                  <a:gd name="connsiteX66" fmla="*/ 192935 w 526593"/>
                  <a:gd name="connsiteY66" fmla="*/ 94633 h 403224"/>
                  <a:gd name="connsiteX67" fmla="*/ 210167 w 526593"/>
                  <a:gd name="connsiteY67" fmla="*/ 76529 h 403224"/>
                  <a:gd name="connsiteX68" fmla="*/ 225759 w 526593"/>
                  <a:gd name="connsiteY68" fmla="*/ 68300 h 403224"/>
                  <a:gd name="connsiteX69" fmla="*/ 250376 w 526593"/>
                  <a:gd name="connsiteY69" fmla="*/ 54311 h 403224"/>
                  <a:gd name="connsiteX70" fmla="*/ 257762 w 526593"/>
                  <a:gd name="connsiteY70" fmla="*/ 45259 h 403224"/>
                  <a:gd name="connsiteX71" fmla="*/ 273353 w 526593"/>
                  <a:gd name="connsiteY71" fmla="*/ 18927 h 403224"/>
                  <a:gd name="connsiteX72" fmla="*/ 288124 w 526593"/>
                  <a:gd name="connsiteY72" fmla="*/ 823 h 403224"/>
                  <a:gd name="connsiteX73" fmla="*/ 288124 w 526593"/>
                  <a:gd name="connsiteY73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73658 w 526593"/>
                  <a:gd name="connsiteY4" fmla="*/ 69380 h 403224"/>
                  <a:gd name="connsiteX5" fmla="*/ 370780 w 526593"/>
                  <a:gd name="connsiteY5" fmla="*/ 60026 h 403224"/>
                  <a:gd name="connsiteX6" fmla="*/ 370369 w 526593"/>
                  <a:gd name="connsiteY6" fmla="*/ 58690 h 403224"/>
                  <a:gd name="connsiteX7" fmla="*/ 403258 w 526593"/>
                  <a:gd name="connsiteY7" fmla="*/ 50467 h 403224"/>
                  <a:gd name="connsiteX8" fmla="*/ 428748 w 526593"/>
                  <a:gd name="connsiteY8" fmla="*/ 66091 h 403224"/>
                  <a:gd name="connsiteX9" fmla="*/ 442417 w 526593"/>
                  <a:gd name="connsiteY9" fmla="*/ 61054 h 403224"/>
                  <a:gd name="connsiteX10" fmla="*/ 444340 w 526593"/>
                  <a:gd name="connsiteY10" fmla="*/ 60346 h 403224"/>
                  <a:gd name="connsiteX11" fmla="*/ 430394 w 526593"/>
                  <a:gd name="connsiteY11" fmla="*/ 65112 h 403224"/>
                  <a:gd name="connsiteX12" fmla="*/ 428445 w 526593"/>
                  <a:gd name="connsiteY12" fmla="*/ 65832 h 403224"/>
                  <a:gd name="connsiteX13" fmla="*/ 403007 w 526593"/>
                  <a:gd name="connsiteY13" fmla="*/ 50197 h 403224"/>
                  <a:gd name="connsiteX14" fmla="*/ 288124 w 526593"/>
                  <a:gd name="connsiteY14" fmla="*/ 0 h 403224"/>
                  <a:gd name="connsiteX15" fmla="*/ 514607 w 526593"/>
                  <a:gd name="connsiteY15" fmla="*/ 13989 h 403224"/>
                  <a:gd name="connsiteX16" fmla="*/ 516761 w 526593"/>
                  <a:gd name="connsiteY16" fmla="*/ 29110 h 403224"/>
                  <a:gd name="connsiteX17" fmla="*/ 517069 w 526593"/>
                  <a:gd name="connsiteY17" fmla="*/ 31270 h 403224"/>
                  <a:gd name="connsiteX18" fmla="*/ 514197 w 526593"/>
                  <a:gd name="connsiteY18" fmla="*/ 43511 h 403224"/>
                  <a:gd name="connsiteX19" fmla="*/ 513787 w 526593"/>
                  <a:gd name="connsiteY19" fmla="*/ 45259 h 403224"/>
                  <a:gd name="connsiteX20" fmla="*/ 513787 w 526593"/>
                  <a:gd name="connsiteY20" fmla="*/ 51019 h 403224"/>
                  <a:gd name="connsiteX21" fmla="*/ 513787 w 526593"/>
                  <a:gd name="connsiteY21" fmla="*/ 51842 h 403224"/>
                  <a:gd name="connsiteX22" fmla="*/ 479322 w 526593"/>
                  <a:gd name="connsiteY22" fmla="*/ 55134 h 403224"/>
                  <a:gd name="connsiteX23" fmla="*/ 452285 w 526593"/>
                  <a:gd name="connsiteY23" fmla="*/ 67458 h 403224"/>
                  <a:gd name="connsiteX24" fmla="*/ 479726 w 526593"/>
                  <a:gd name="connsiteY24" fmla="*/ 55401 h 403224"/>
                  <a:gd name="connsiteX25" fmla="*/ 510971 w 526593"/>
                  <a:gd name="connsiteY25" fmla="*/ 55401 h 403224"/>
                  <a:gd name="connsiteX26" fmla="*/ 514260 w 526593"/>
                  <a:gd name="connsiteY26" fmla="*/ 46356 h 403224"/>
                  <a:gd name="connsiteX27" fmla="*/ 514260 w 526593"/>
                  <a:gd name="connsiteY27" fmla="*/ 45534 h 403224"/>
                  <a:gd name="connsiteX28" fmla="*/ 517137 w 526593"/>
                  <a:gd name="connsiteY28" fmla="*/ 33302 h 403224"/>
                  <a:gd name="connsiteX29" fmla="*/ 517549 w 526593"/>
                  <a:gd name="connsiteY29" fmla="*/ 31555 h 403224"/>
                  <a:gd name="connsiteX30" fmla="*/ 515390 w 526593"/>
                  <a:gd name="connsiteY30" fmla="*/ 16446 h 403224"/>
                  <a:gd name="connsiteX31" fmla="*/ 515082 w 526593"/>
                  <a:gd name="connsiteY31" fmla="*/ 14287 h 403224"/>
                  <a:gd name="connsiteX32" fmla="*/ 526593 w 526593"/>
                  <a:gd name="connsiteY32" fmla="*/ 15109 h 403224"/>
                  <a:gd name="connsiteX33" fmla="*/ 523304 w 526593"/>
                  <a:gd name="connsiteY33" fmla="*/ 38133 h 403224"/>
                  <a:gd name="connsiteX34" fmla="*/ 510971 w 526593"/>
                  <a:gd name="connsiteY34" fmla="*/ 117894 h 403224"/>
                  <a:gd name="connsiteX35" fmla="*/ 325969 w 526593"/>
                  <a:gd name="connsiteY35" fmla="*/ 108027 h 403224"/>
                  <a:gd name="connsiteX36" fmla="*/ 301302 w 526593"/>
                  <a:gd name="connsiteY36" fmla="*/ 265904 h 403224"/>
                  <a:gd name="connsiteX37" fmla="*/ 270879 w 526593"/>
                  <a:gd name="connsiteY37" fmla="*/ 274127 h 403224"/>
                  <a:gd name="connsiteX38" fmla="*/ 234701 w 526593"/>
                  <a:gd name="connsiteY38" fmla="*/ 296328 h 403224"/>
                  <a:gd name="connsiteX39" fmla="*/ 231412 w 526593"/>
                  <a:gd name="connsiteY39" fmla="*/ 322641 h 403224"/>
                  <a:gd name="connsiteX40" fmla="*/ 225657 w 526593"/>
                  <a:gd name="connsiteY40" fmla="*/ 395001 h 403224"/>
                  <a:gd name="connsiteX41" fmla="*/ 24210 w 526593"/>
                  <a:gd name="connsiteY41" fmla="*/ 384312 h 403224"/>
                  <a:gd name="connsiteX42" fmla="*/ 5299 w 526593"/>
                  <a:gd name="connsiteY42" fmla="*/ 392535 h 403224"/>
                  <a:gd name="connsiteX43" fmla="*/ 365 w 526593"/>
                  <a:gd name="connsiteY43" fmla="*/ 403224 h 403224"/>
                  <a:gd name="connsiteX44" fmla="*/ 365 w 526593"/>
                  <a:gd name="connsiteY44" fmla="*/ 395824 h 403224"/>
                  <a:gd name="connsiteX45" fmla="*/ 6943 w 526593"/>
                  <a:gd name="connsiteY45" fmla="*/ 373622 h 403224"/>
                  <a:gd name="connsiteX46" fmla="*/ 63677 w 526593"/>
                  <a:gd name="connsiteY46" fmla="*/ 374444 h 403224"/>
                  <a:gd name="connsiteX47" fmla="*/ 118767 w 526593"/>
                  <a:gd name="connsiteY47" fmla="*/ 381023 h 403224"/>
                  <a:gd name="connsiteX48" fmla="*/ 139322 w 526593"/>
                  <a:gd name="connsiteY48" fmla="*/ 381023 h 403224"/>
                  <a:gd name="connsiteX49" fmla="*/ 139335 w 526593"/>
                  <a:gd name="connsiteY49" fmla="*/ 381000 h 403224"/>
                  <a:gd name="connsiteX50" fmla="*/ 119082 w 526593"/>
                  <a:gd name="connsiteY50" fmla="*/ 381000 h 403224"/>
                  <a:gd name="connsiteX51" fmla="*/ 64102 w 526593"/>
                  <a:gd name="connsiteY51" fmla="*/ 374417 h 403224"/>
                  <a:gd name="connsiteX52" fmla="*/ 7481 w 526593"/>
                  <a:gd name="connsiteY52" fmla="*/ 374417 h 403224"/>
                  <a:gd name="connsiteX53" fmla="*/ 12405 w 526593"/>
                  <a:gd name="connsiteY53" fmla="*/ 353845 h 403224"/>
                  <a:gd name="connsiteX54" fmla="*/ 27996 w 526593"/>
                  <a:gd name="connsiteY54" fmla="*/ 326689 h 403224"/>
                  <a:gd name="connsiteX55" fmla="*/ 41125 w 526593"/>
                  <a:gd name="connsiteY55" fmla="*/ 320106 h 403224"/>
                  <a:gd name="connsiteX56" fmla="*/ 53434 w 526593"/>
                  <a:gd name="connsiteY56" fmla="*/ 302002 h 403224"/>
                  <a:gd name="connsiteX57" fmla="*/ 68205 w 526593"/>
                  <a:gd name="connsiteY57" fmla="*/ 281430 h 403224"/>
                  <a:gd name="connsiteX58" fmla="*/ 69025 w 526593"/>
                  <a:gd name="connsiteY58" fmla="*/ 269909 h 403224"/>
                  <a:gd name="connsiteX59" fmla="*/ 97746 w 526593"/>
                  <a:gd name="connsiteY59" fmla="*/ 234525 h 403224"/>
                  <a:gd name="connsiteX60" fmla="*/ 106773 w 526593"/>
                  <a:gd name="connsiteY60" fmla="*/ 217244 h 403224"/>
                  <a:gd name="connsiteX61" fmla="*/ 144520 w 526593"/>
                  <a:gd name="connsiteY61" fmla="*/ 182683 h 403224"/>
                  <a:gd name="connsiteX62" fmla="*/ 160932 w 526593"/>
                  <a:gd name="connsiteY62" fmla="*/ 161287 h 403224"/>
                  <a:gd name="connsiteX63" fmla="*/ 167497 w 526593"/>
                  <a:gd name="connsiteY63" fmla="*/ 147298 h 403224"/>
                  <a:gd name="connsiteX64" fmla="*/ 177344 w 526593"/>
                  <a:gd name="connsiteY64" fmla="*/ 126726 h 403224"/>
                  <a:gd name="connsiteX65" fmla="*/ 192935 w 526593"/>
                  <a:gd name="connsiteY65" fmla="*/ 94633 h 403224"/>
                  <a:gd name="connsiteX66" fmla="*/ 210167 w 526593"/>
                  <a:gd name="connsiteY66" fmla="*/ 76529 h 403224"/>
                  <a:gd name="connsiteX67" fmla="*/ 225759 w 526593"/>
                  <a:gd name="connsiteY67" fmla="*/ 68300 h 403224"/>
                  <a:gd name="connsiteX68" fmla="*/ 250376 w 526593"/>
                  <a:gd name="connsiteY68" fmla="*/ 54311 h 403224"/>
                  <a:gd name="connsiteX69" fmla="*/ 257762 w 526593"/>
                  <a:gd name="connsiteY69" fmla="*/ 45259 h 403224"/>
                  <a:gd name="connsiteX70" fmla="*/ 273353 w 526593"/>
                  <a:gd name="connsiteY70" fmla="*/ 18927 h 403224"/>
                  <a:gd name="connsiteX71" fmla="*/ 288124 w 526593"/>
                  <a:gd name="connsiteY71" fmla="*/ 823 h 403224"/>
                  <a:gd name="connsiteX72" fmla="*/ 288124 w 526593"/>
                  <a:gd name="connsiteY72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70780 w 526593"/>
                  <a:gd name="connsiteY4" fmla="*/ 60026 h 403224"/>
                  <a:gd name="connsiteX5" fmla="*/ 370369 w 526593"/>
                  <a:gd name="connsiteY5" fmla="*/ 58690 h 403224"/>
                  <a:gd name="connsiteX6" fmla="*/ 403258 w 526593"/>
                  <a:gd name="connsiteY6" fmla="*/ 50467 h 403224"/>
                  <a:gd name="connsiteX7" fmla="*/ 428748 w 526593"/>
                  <a:gd name="connsiteY7" fmla="*/ 66091 h 403224"/>
                  <a:gd name="connsiteX8" fmla="*/ 442417 w 526593"/>
                  <a:gd name="connsiteY8" fmla="*/ 61054 h 403224"/>
                  <a:gd name="connsiteX9" fmla="*/ 444340 w 526593"/>
                  <a:gd name="connsiteY9" fmla="*/ 60346 h 403224"/>
                  <a:gd name="connsiteX10" fmla="*/ 430394 w 526593"/>
                  <a:gd name="connsiteY10" fmla="*/ 65112 h 403224"/>
                  <a:gd name="connsiteX11" fmla="*/ 428445 w 526593"/>
                  <a:gd name="connsiteY11" fmla="*/ 65832 h 403224"/>
                  <a:gd name="connsiteX12" fmla="*/ 403007 w 526593"/>
                  <a:gd name="connsiteY12" fmla="*/ 50197 h 403224"/>
                  <a:gd name="connsiteX13" fmla="*/ 288124 w 526593"/>
                  <a:gd name="connsiteY13" fmla="*/ 0 h 403224"/>
                  <a:gd name="connsiteX14" fmla="*/ 514607 w 526593"/>
                  <a:gd name="connsiteY14" fmla="*/ 13989 h 403224"/>
                  <a:gd name="connsiteX15" fmla="*/ 516761 w 526593"/>
                  <a:gd name="connsiteY15" fmla="*/ 29110 h 403224"/>
                  <a:gd name="connsiteX16" fmla="*/ 517069 w 526593"/>
                  <a:gd name="connsiteY16" fmla="*/ 31270 h 403224"/>
                  <a:gd name="connsiteX17" fmla="*/ 514197 w 526593"/>
                  <a:gd name="connsiteY17" fmla="*/ 43511 h 403224"/>
                  <a:gd name="connsiteX18" fmla="*/ 513787 w 526593"/>
                  <a:gd name="connsiteY18" fmla="*/ 45259 h 403224"/>
                  <a:gd name="connsiteX19" fmla="*/ 513787 w 526593"/>
                  <a:gd name="connsiteY19" fmla="*/ 51019 h 403224"/>
                  <a:gd name="connsiteX20" fmla="*/ 513787 w 526593"/>
                  <a:gd name="connsiteY20" fmla="*/ 51842 h 403224"/>
                  <a:gd name="connsiteX21" fmla="*/ 479322 w 526593"/>
                  <a:gd name="connsiteY21" fmla="*/ 55134 h 403224"/>
                  <a:gd name="connsiteX22" fmla="*/ 452285 w 526593"/>
                  <a:gd name="connsiteY22" fmla="*/ 67458 h 403224"/>
                  <a:gd name="connsiteX23" fmla="*/ 479726 w 526593"/>
                  <a:gd name="connsiteY23" fmla="*/ 55401 h 403224"/>
                  <a:gd name="connsiteX24" fmla="*/ 510971 w 526593"/>
                  <a:gd name="connsiteY24" fmla="*/ 55401 h 403224"/>
                  <a:gd name="connsiteX25" fmla="*/ 514260 w 526593"/>
                  <a:gd name="connsiteY25" fmla="*/ 46356 h 403224"/>
                  <a:gd name="connsiteX26" fmla="*/ 514260 w 526593"/>
                  <a:gd name="connsiteY26" fmla="*/ 45534 h 403224"/>
                  <a:gd name="connsiteX27" fmla="*/ 517137 w 526593"/>
                  <a:gd name="connsiteY27" fmla="*/ 33302 h 403224"/>
                  <a:gd name="connsiteX28" fmla="*/ 517549 w 526593"/>
                  <a:gd name="connsiteY28" fmla="*/ 31555 h 403224"/>
                  <a:gd name="connsiteX29" fmla="*/ 515390 w 526593"/>
                  <a:gd name="connsiteY29" fmla="*/ 16446 h 403224"/>
                  <a:gd name="connsiteX30" fmla="*/ 515082 w 526593"/>
                  <a:gd name="connsiteY30" fmla="*/ 14287 h 403224"/>
                  <a:gd name="connsiteX31" fmla="*/ 526593 w 526593"/>
                  <a:gd name="connsiteY31" fmla="*/ 15109 h 403224"/>
                  <a:gd name="connsiteX32" fmla="*/ 523304 w 526593"/>
                  <a:gd name="connsiteY32" fmla="*/ 38133 h 403224"/>
                  <a:gd name="connsiteX33" fmla="*/ 510971 w 526593"/>
                  <a:gd name="connsiteY33" fmla="*/ 117894 h 403224"/>
                  <a:gd name="connsiteX34" fmla="*/ 325969 w 526593"/>
                  <a:gd name="connsiteY34" fmla="*/ 108027 h 403224"/>
                  <a:gd name="connsiteX35" fmla="*/ 301302 w 526593"/>
                  <a:gd name="connsiteY35" fmla="*/ 265904 h 403224"/>
                  <a:gd name="connsiteX36" fmla="*/ 270879 w 526593"/>
                  <a:gd name="connsiteY36" fmla="*/ 274127 h 403224"/>
                  <a:gd name="connsiteX37" fmla="*/ 234701 w 526593"/>
                  <a:gd name="connsiteY37" fmla="*/ 296328 h 403224"/>
                  <a:gd name="connsiteX38" fmla="*/ 231412 w 526593"/>
                  <a:gd name="connsiteY38" fmla="*/ 322641 h 403224"/>
                  <a:gd name="connsiteX39" fmla="*/ 225657 w 526593"/>
                  <a:gd name="connsiteY39" fmla="*/ 395001 h 403224"/>
                  <a:gd name="connsiteX40" fmla="*/ 24210 w 526593"/>
                  <a:gd name="connsiteY40" fmla="*/ 384312 h 403224"/>
                  <a:gd name="connsiteX41" fmla="*/ 5299 w 526593"/>
                  <a:gd name="connsiteY41" fmla="*/ 392535 h 403224"/>
                  <a:gd name="connsiteX42" fmla="*/ 365 w 526593"/>
                  <a:gd name="connsiteY42" fmla="*/ 403224 h 403224"/>
                  <a:gd name="connsiteX43" fmla="*/ 365 w 526593"/>
                  <a:gd name="connsiteY43" fmla="*/ 395824 h 403224"/>
                  <a:gd name="connsiteX44" fmla="*/ 6943 w 526593"/>
                  <a:gd name="connsiteY44" fmla="*/ 373622 h 403224"/>
                  <a:gd name="connsiteX45" fmla="*/ 63677 w 526593"/>
                  <a:gd name="connsiteY45" fmla="*/ 374444 h 403224"/>
                  <a:gd name="connsiteX46" fmla="*/ 118767 w 526593"/>
                  <a:gd name="connsiteY46" fmla="*/ 381023 h 403224"/>
                  <a:gd name="connsiteX47" fmla="*/ 139322 w 526593"/>
                  <a:gd name="connsiteY47" fmla="*/ 381023 h 403224"/>
                  <a:gd name="connsiteX48" fmla="*/ 139335 w 526593"/>
                  <a:gd name="connsiteY48" fmla="*/ 381000 h 403224"/>
                  <a:gd name="connsiteX49" fmla="*/ 119082 w 526593"/>
                  <a:gd name="connsiteY49" fmla="*/ 381000 h 403224"/>
                  <a:gd name="connsiteX50" fmla="*/ 64102 w 526593"/>
                  <a:gd name="connsiteY50" fmla="*/ 374417 h 403224"/>
                  <a:gd name="connsiteX51" fmla="*/ 7481 w 526593"/>
                  <a:gd name="connsiteY51" fmla="*/ 374417 h 403224"/>
                  <a:gd name="connsiteX52" fmla="*/ 12405 w 526593"/>
                  <a:gd name="connsiteY52" fmla="*/ 353845 h 403224"/>
                  <a:gd name="connsiteX53" fmla="*/ 27996 w 526593"/>
                  <a:gd name="connsiteY53" fmla="*/ 326689 h 403224"/>
                  <a:gd name="connsiteX54" fmla="*/ 41125 w 526593"/>
                  <a:gd name="connsiteY54" fmla="*/ 320106 h 403224"/>
                  <a:gd name="connsiteX55" fmla="*/ 53434 w 526593"/>
                  <a:gd name="connsiteY55" fmla="*/ 302002 h 403224"/>
                  <a:gd name="connsiteX56" fmla="*/ 68205 w 526593"/>
                  <a:gd name="connsiteY56" fmla="*/ 281430 h 403224"/>
                  <a:gd name="connsiteX57" fmla="*/ 69025 w 526593"/>
                  <a:gd name="connsiteY57" fmla="*/ 269909 h 403224"/>
                  <a:gd name="connsiteX58" fmla="*/ 97746 w 526593"/>
                  <a:gd name="connsiteY58" fmla="*/ 234525 h 403224"/>
                  <a:gd name="connsiteX59" fmla="*/ 106773 w 526593"/>
                  <a:gd name="connsiteY59" fmla="*/ 217244 h 403224"/>
                  <a:gd name="connsiteX60" fmla="*/ 144520 w 526593"/>
                  <a:gd name="connsiteY60" fmla="*/ 182683 h 403224"/>
                  <a:gd name="connsiteX61" fmla="*/ 160932 w 526593"/>
                  <a:gd name="connsiteY61" fmla="*/ 161287 h 403224"/>
                  <a:gd name="connsiteX62" fmla="*/ 167497 w 526593"/>
                  <a:gd name="connsiteY62" fmla="*/ 147298 h 403224"/>
                  <a:gd name="connsiteX63" fmla="*/ 177344 w 526593"/>
                  <a:gd name="connsiteY63" fmla="*/ 126726 h 403224"/>
                  <a:gd name="connsiteX64" fmla="*/ 192935 w 526593"/>
                  <a:gd name="connsiteY64" fmla="*/ 94633 h 403224"/>
                  <a:gd name="connsiteX65" fmla="*/ 210167 w 526593"/>
                  <a:gd name="connsiteY65" fmla="*/ 76529 h 403224"/>
                  <a:gd name="connsiteX66" fmla="*/ 225759 w 526593"/>
                  <a:gd name="connsiteY66" fmla="*/ 68300 h 403224"/>
                  <a:gd name="connsiteX67" fmla="*/ 250376 w 526593"/>
                  <a:gd name="connsiteY67" fmla="*/ 54311 h 403224"/>
                  <a:gd name="connsiteX68" fmla="*/ 257762 w 526593"/>
                  <a:gd name="connsiteY68" fmla="*/ 45259 h 403224"/>
                  <a:gd name="connsiteX69" fmla="*/ 273353 w 526593"/>
                  <a:gd name="connsiteY69" fmla="*/ 18927 h 403224"/>
                  <a:gd name="connsiteX70" fmla="*/ 288124 w 526593"/>
                  <a:gd name="connsiteY70" fmla="*/ 823 h 403224"/>
                  <a:gd name="connsiteX71" fmla="*/ 288124 w 526593"/>
                  <a:gd name="connsiteY71" fmla="*/ 0 h 403224"/>
                  <a:gd name="connsiteX0" fmla="*/ 403007 w 526593"/>
                  <a:gd name="connsiteY0" fmla="*/ 50197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70780 w 526593"/>
                  <a:gd name="connsiteY4" fmla="*/ 60026 h 403224"/>
                  <a:gd name="connsiteX5" fmla="*/ 403258 w 526593"/>
                  <a:gd name="connsiteY5" fmla="*/ 50467 h 403224"/>
                  <a:gd name="connsiteX6" fmla="*/ 428748 w 526593"/>
                  <a:gd name="connsiteY6" fmla="*/ 66091 h 403224"/>
                  <a:gd name="connsiteX7" fmla="*/ 442417 w 526593"/>
                  <a:gd name="connsiteY7" fmla="*/ 61054 h 403224"/>
                  <a:gd name="connsiteX8" fmla="*/ 444340 w 526593"/>
                  <a:gd name="connsiteY8" fmla="*/ 60346 h 403224"/>
                  <a:gd name="connsiteX9" fmla="*/ 430394 w 526593"/>
                  <a:gd name="connsiteY9" fmla="*/ 65112 h 403224"/>
                  <a:gd name="connsiteX10" fmla="*/ 428445 w 526593"/>
                  <a:gd name="connsiteY10" fmla="*/ 65832 h 403224"/>
                  <a:gd name="connsiteX11" fmla="*/ 403007 w 526593"/>
                  <a:gd name="connsiteY11" fmla="*/ 50197 h 403224"/>
                  <a:gd name="connsiteX12" fmla="*/ 288124 w 526593"/>
                  <a:gd name="connsiteY12" fmla="*/ 0 h 403224"/>
                  <a:gd name="connsiteX13" fmla="*/ 514607 w 526593"/>
                  <a:gd name="connsiteY13" fmla="*/ 13989 h 403224"/>
                  <a:gd name="connsiteX14" fmla="*/ 516761 w 526593"/>
                  <a:gd name="connsiteY14" fmla="*/ 29110 h 403224"/>
                  <a:gd name="connsiteX15" fmla="*/ 517069 w 526593"/>
                  <a:gd name="connsiteY15" fmla="*/ 31270 h 403224"/>
                  <a:gd name="connsiteX16" fmla="*/ 514197 w 526593"/>
                  <a:gd name="connsiteY16" fmla="*/ 43511 h 403224"/>
                  <a:gd name="connsiteX17" fmla="*/ 513787 w 526593"/>
                  <a:gd name="connsiteY17" fmla="*/ 45259 h 403224"/>
                  <a:gd name="connsiteX18" fmla="*/ 513787 w 526593"/>
                  <a:gd name="connsiteY18" fmla="*/ 51019 h 403224"/>
                  <a:gd name="connsiteX19" fmla="*/ 513787 w 526593"/>
                  <a:gd name="connsiteY19" fmla="*/ 51842 h 403224"/>
                  <a:gd name="connsiteX20" fmla="*/ 479322 w 526593"/>
                  <a:gd name="connsiteY20" fmla="*/ 55134 h 403224"/>
                  <a:gd name="connsiteX21" fmla="*/ 452285 w 526593"/>
                  <a:gd name="connsiteY21" fmla="*/ 67458 h 403224"/>
                  <a:gd name="connsiteX22" fmla="*/ 479726 w 526593"/>
                  <a:gd name="connsiteY22" fmla="*/ 55401 h 403224"/>
                  <a:gd name="connsiteX23" fmla="*/ 510971 w 526593"/>
                  <a:gd name="connsiteY23" fmla="*/ 55401 h 403224"/>
                  <a:gd name="connsiteX24" fmla="*/ 514260 w 526593"/>
                  <a:gd name="connsiteY24" fmla="*/ 46356 h 403224"/>
                  <a:gd name="connsiteX25" fmla="*/ 514260 w 526593"/>
                  <a:gd name="connsiteY25" fmla="*/ 45534 h 403224"/>
                  <a:gd name="connsiteX26" fmla="*/ 517137 w 526593"/>
                  <a:gd name="connsiteY26" fmla="*/ 33302 h 403224"/>
                  <a:gd name="connsiteX27" fmla="*/ 517549 w 526593"/>
                  <a:gd name="connsiteY27" fmla="*/ 31555 h 403224"/>
                  <a:gd name="connsiteX28" fmla="*/ 515390 w 526593"/>
                  <a:gd name="connsiteY28" fmla="*/ 16446 h 403224"/>
                  <a:gd name="connsiteX29" fmla="*/ 515082 w 526593"/>
                  <a:gd name="connsiteY29" fmla="*/ 14287 h 403224"/>
                  <a:gd name="connsiteX30" fmla="*/ 526593 w 526593"/>
                  <a:gd name="connsiteY30" fmla="*/ 15109 h 403224"/>
                  <a:gd name="connsiteX31" fmla="*/ 523304 w 526593"/>
                  <a:gd name="connsiteY31" fmla="*/ 38133 h 403224"/>
                  <a:gd name="connsiteX32" fmla="*/ 510971 w 526593"/>
                  <a:gd name="connsiteY32" fmla="*/ 117894 h 403224"/>
                  <a:gd name="connsiteX33" fmla="*/ 325969 w 526593"/>
                  <a:gd name="connsiteY33" fmla="*/ 108027 h 403224"/>
                  <a:gd name="connsiteX34" fmla="*/ 301302 w 526593"/>
                  <a:gd name="connsiteY34" fmla="*/ 265904 h 403224"/>
                  <a:gd name="connsiteX35" fmla="*/ 270879 w 526593"/>
                  <a:gd name="connsiteY35" fmla="*/ 274127 h 403224"/>
                  <a:gd name="connsiteX36" fmla="*/ 234701 w 526593"/>
                  <a:gd name="connsiteY36" fmla="*/ 296328 h 403224"/>
                  <a:gd name="connsiteX37" fmla="*/ 231412 w 526593"/>
                  <a:gd name="connsiteY37" fmla="*/ 322641 h 403224"/>
                  <a:gd name="connsiteX38" fmla="*/ 225657 w 526593"/>
                  <a:gd name="connsiteY38" fmla="*/ 395001 h 403224"/>
                  <a:gd name="connsiteX39" fmla="*/ 24210 w 526593"/>
                  <a:gd name="connsiteY39" fmla="*/ 384312 h 403224"/>
                  <a:gd name="connsiteX40" fmla="*/ 5299 w 526593"/>
                  <a:gd name="connsiteY40" fmla="*/ 392535 h 403224"/>
                  <a:gd name="connsiteX41" fmla="*/ 365 w 526593"/>
                  <a:gd name="connsiteY41" fmla="*/ 403224 h 403224"/>
                  <a:gd name="connsiteX42" fmla="*/ 365 w 526593"/>
                  <a:gd name="connsiteY42" fmla="*/ 395824 h 403224"/>
                  <a:gd name="connsiteX43" fmla="*/ 6943 w 526593"/>
                  <a:gd name="connsiteY43" fmla="*/ 373622 h 403224"/>
                  <a:gd name="connsiteX44" fmla="*/ 63677 w 526593"/>
                  <a:gd name="connsiteY44" fmla="*/ 374444 h 403224"/>
                  <a:gd name="connsiteX45" fmla="*/ 118767 w 526593"/>
                  <a:gd name="connsiteY45" fmla="*/ 381023 h 403224"/>
                  <a:gd name="connsiteX46" fmla="*/ 139322 w 526593"/>
                  <a:gd name="connsiteY46" fmla="*/ 381023 h 403224"/>
                  <a:gd name="connsiteX47" fmla="*/ 139335 w 526593"/>
                  <a:gd name="connsiteY47" fmla="*/ 381000 h 403224"/>
                  <a:gd name="connsiteX48" fmla="*/ 119082 w 526593"/>
                  <a:gd name="connsiteY48" fmla="*/ 381000 h 403224"/>
                  <a:gd name="connsiteX49" fmla="*/ 64102 w 526593"/>
                  <a:gd name="connsiteY49" fmla="*/ 374417 h 403224"/>
                  <a:gd name="connsiteX50" fmla="*/ 7481 w 526593"/>
                  <a:gd name="connsiteY50" fmla="*/ 374417 h 403224"/>
                  <a:gd name="connsiteX51" fmla="*/ 12405 w 526593"/>
                  <a:gd name="connsiteY51" fmla="*/ 353845 h 403224"/>
                  <a:gd name="connsiteX52" fmla="*/ 27996 w 526593"/>
                  <a:gd name="connsiteY52" fmla="*/ 326689 h 403224"/>
                  <a:gd name="connsiteX53" fmla="*/ 41125 w 526593"/>
                  <a:gd name="connsiteY53" fmla="*/ 320106 h 403224"/>
                  <a:gd name="connsiteX54" fmla="*/ 53434 w 526593"/>
                  <a:gd name="connsiteY54" fmla="*/ 302002 h 403224"/>
                  <a:gd name="connsiteX55" fmla="*/ 68205 w 526593"/>
                  <a:gd name="connsiteY55" fmla="*/ 281430 h 403224"/>
                  <a:gd name="connsiteX56" fmla="*/ 69025 w 526593"/>
                  <a:gd name="connsiteY56" fmla="*/ 269909 h 403224"/>
                  <a:gd name="connsiteX57" fmla="*/ 97746 w 526593"/>
                  <a:gd name="connsiteY57" fmla="*/ 234525 h 403224"/>
                  <a:gd name="connsiteX58" fmla="*/ 106773 w 526593"/>
                  <a:gd name="connsiteY58" fmla="*/ 217244 h 403224"/>
                  <a:gd name="connsiteX59" fmla="*/ 144520 w 526593"/>
                  <a:gd name="connsiteY59" fmla="*/ 182683 h 403224"/>
                  <a:gd name="connsiteX60" fmla="*/ 160932 w 526593"/>
                  <a:gd name="connsiteY60" fmla="*/ 161287 h 403224"/>
                  <a:gd name="connsiteX61" fmla="*/ 167497 w 526593"/>
                  <a:gd name="connsiteY61" fmla="*/ 147298 h 403224"/>
                  <a:gd name="connsiteX62" fmla="*/ 177344 w 526593"/>
                  <a:gd name="connsiteY62" fmla="*/ 126726 h 403224"/>
                  <a:gd name="connsiteX63" fmla="*/ 192935 w 526593"/>
                  <a:gd name="connsiteY63" fmla="*/ 94633 h 403224"/>
                  <a:gd name="connsiteX64" fmla="*/ 210167 w 526593"/>
                  <a:gd name="connsiteY64" fmla="*/ 76529 h 403224"/>
                  <a:gd name="connsiteX65" fmla="*/ 225759 w 526593"/>
                  <a:gd name="connsiteY65" fmla="*/ 68300 h 403224"/>
                  <a:gd name="connsiteX66" fmla="*/ 250376 w 526593"/>
                  <a:gd name="connsiteY66" fmla="*/ 54311 h 403224"/>
                  <a:gd name="connsiteX67" fmla="*/ 257762 w 526593"/>
                  <a:gd name="connsiteY67" fmla="*/ 45259 h 403224"/>
                  <a:gd name="connsiteX68" fmla="*/ 273353 w 526593"/>
                  <a:gd name="connsiteY68" fmla="*/ 18927 h 403224"/>
                  <a:gd name="connsiteX69" fmla="*/ 288124 w 526593"/>
                  <a:gd name="connsiteY69" fmla="*/ 823 h 403224"/>
                  <a:gd name="connsiteX70" fmla="*/ 288124 w 526593"/>
                  <a:gd name="connsiteY70" fmla="*/ 0 h 403224"/>
                  <a:gd name="connsiteX0" fmla="*/ 428445 w 526593"/>
                  <a:gd name="connsiteY0" fmla="*/ 65832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370780 w 526593"/>
                  <a:gd name="connsiteY4" fmla="*/ 60026 h 403224"/>
                  <a:gd name="connsiteX5" fmla="*/ 403258 w 526593"/>
                  <a:gd name="connsiteY5" fmla="*/ 50467 h 403224"/>
                  <a:gd name="connsiteX6" fmla="*/ 428748 w 526593"/>
                  <a:gd name="connsiteY6" fmla="*/ 66091 h 403224"/>
                  <a:gd name="connsiteX7" fmla="*/ 442417 w 526593"/>
                  <a:gd name="connsiteY7" fmla="*/ 61054 h 403224"/>
                  <a:gd name="connsiteX8" fmla="*/ 444340 w 526593"/>
                  <a:gd name="connsiteY8" fmla="*/ 60346 h 403224"/>
                  <a:gd name="connsiteX9" fmla="*/ 430394 w 526593"/>
                  <a:gd name="connsiteY9" fmla="*/ 65112 h 403224"/>
                  <a:gd name="connsiteX10" fmla="*/ 428445 w 526593"/>
                  <a:gd name="connsiteY10" fmla="*/ 65832 h 403224"/>
                  <a:gd name="connsiteX11" fmla="*/ 288124 w 526593"/>
                  <a:gd name="connsiteY11" fmla="*/ 0 h 403224"/>
                  <a:gd name="connsiteX12" fmla="*/ 514607 w 526593"/>
                  <a:gd name="connsiteY12" fmla="*/ 13989 h 403224"/>
                  <a:gd name="connsiteX13" fmla="*/ 516761 w 526593"/>
                  <a:gd name="connsiteY13" fmla="*/ 29110 h 403224"/>
                  <a:gd name="connsiteX14" fmla="*/ 517069 w 526593"/>
                  <a:gd name="connsiteY14" fmla="*/ 31270 h 403224"/>
                  <a:gd name="connsiteX15" fmla="*/ 514197 w 526593"/>
                  <a:gd name="connsiteY15" fmla="*/ 43511 h 403224"/>
                  <a:gd name="connsiteX16" fmla="*/ 513787 w 526593"/>
                  <a:gd name="connsiteY16" fmla="*/ 45259 h 403224"/>
                  <a:gd name="connsiteX17" fmla="*/ 513787 w 526593"/>
                  <a:gd name="connsiteY17" fmla="*/ 51019 h 403224"/>
                  <a:gd name="connsiteX18" fmla="*/ 513787 w 526593"/>
                  <a:gd name="connsiteY18" fmla="*/ 51842 h 403224"/>
                  <a:gd name="connsiteX19" fmla="*/ 479322 w 526593"/>
                  <a:gd name="connsiteY19" fmla="*/ 55134 h 403224"/>
                  <a:gd name="connsiteX20" fmla="*/ 452285 w 526593"/>
                  <a:gd name="connsiteY20" fmla="*/ 67458 h 403224"/>
                  <a:gd name="connsiteX21" fmla="*/ 479726 w 526593"/>
                  <a:gd name="connsiteY21" fmla="*/ 55401 h 403224"/>
                  <a:gd name="connsiteX22" fmla="*/ 510971 w 526593"/>
                  <a:gd name="connsiteY22" fmla="*/ 55401 h 403224"/>
                  <a:gd name="connsiteX23" fmla="*/ 514260 w 526593"/>
                  <a:gd name="connsiteY23" fmla="*/ 46356 h 403224"/>
                  <a:gd name="connsiteX24" fmla="*/ 514260 w 526593"/>
                  <a:gd name="connsiteY24" fmla="*/ 45534 h 403224"/>
                  <a:gd name="connsiteX25" fmla="*/ 517137 w 526593"/>
                  <a:gd name="connsiteY25" fmla="*/ 33302 h 403224"/>
                  <a:gd name="connsiteX26" fmla="*/ 517549 w 526593"/>
                  <a:gd name="connsiteY26" fmla="*/ 31555 h 403224"/>
                  <a:gd name="connsiteX27" fmla="*/ 515390 w 526593"/>
                  <a:gd name="connsiteY27" fmla="*/ 16446 h 403224"/>
                  <a:gd name="connsiteX28" fmla="*/ 515082 w 526593"/>
                  <a:gd name="connsiteY28" fmla="*/ 14287 h 403224"/>
                  <a:gd name="connsiteX29" fmla="*/ 526593 w 526593"/>
                  <a:gd name="connsiteY29" fmla="*/ 15109 h 403224"/>
                  <a:gd name="connsiteX30" fmla="*/ 523304 w 526593"/>
                  <a:gd name="connsiteY30" fmla="*/ 38133 h 403224"/>
                  <a:gd name="connsiteX31" fmla="*/ 510971 w 526593"/>
                  <a:gd name="connsiteY31" fmla="*/ 117894 h 403224"/>
                  <a:gd name="connsiteX32" fmla="*/ 325969 w 526593"/>
                  <a:gd name="connsiteY32" fmla="*/ 108027 h 403224"/>
                  <a:gd name="connsiteX33" fmla="*/ 301302 w 526593"/>
                  <a:gd name="connsiteY33" fmla="*/ 265904 h 403224"/>
                  <a:gd name="connsiteX34" fmla="*/ 270879 w 526593"/>
                  <a:gd name="connsiteY34" fmla="*/ 274127 h 403224"/>
                  <a:gd name="connsiteX35" fmla="*/ 234701 w 526593"/>
                  <a:gd name="connsiteY35" fmla="*/ 296328 h 403224"/>
                  <a:gd name="connsiteX36" fmla="*/ 231412 w 526593"/>
                  <a:gd name="connsiteY36" fmla="*/ 322641 h 403224"/>
                  <a:gd name="connsiteX37" fmla="*/ 225657 w 526593"/>
                  <a:gd name="connsiteY37" fmla="*/ 395001 h 403224"/>
                  <a:gd name="connsiteX38" fmla="*/ 24210 w 526593"/>
                  <a:gd name="connsiteY38" fmla="*/ 384312 h 403224"/>
                  <a:gd name="connsiteX39" fmla="*/ 5299 w 526593"/>
                  <a:gd name="connsiteY39" fmla="*/ 392535 h 403224"/>
                  <a:gd name="connsiteX40" fmla="*/ 365 w 526593"/>
                  <a:gd name="connsiteY40" fmla="*/ 403224 h 403224"/>
                  <a:gd name="connsiteX41" fmla="*/ 365 w 526593"/>
                  <a:gd name="connsiteY41" fmla="*/ 395824 h 403224"/>
                  <a:gd name="connsiteX42" fmla="*/ 6943 w 526593"/>
                  <a:gd name="connsiteY42" fmla="*/ 373622 h 403224"/>
                  <a:gd name="connsiteX43" fmla="*/ 63677 w 526593"/>
                  <a:gd name="connsiteY43" fmla="*/ 374444 h 403224"/>
                  <a:gd name="connsiteX44" fmla="*/ 118767 w 526593"/>
                  <a:gd name="connsiteY44" fmla="*/ 381023 h 403224"/>
                  <a:gd name="connsiteX45" fmla="*/ 139322 w 526593"/>
                  <a:gd name="connsiteY45" fmla="*/ 381023 h 403224"/>
                  <a:gd name="connsiteX46" fmla="*/ 139335 w 526593"/>
                  <a:gd name="connsiteY46" fmla="*/ 381000 h 403224"/>
                  <a:gd name="connsiteX47" fmla="*/ 119082 w 526593"/>
                  <a:gd name="connsiteY47" fmla="*/ 381000 h 403224"/>
                  <a:gd name="connsiteX48" fmla="*/ 64102 w 526593"/>
                  <a:gd name="connsiteY48" fmla="*/ 374417 h 403224"/>
                  <a:gd name="connsiteX49" fmla="*/ 7481 w 526593"/>
                  <a:gd name="connsiteY49" fmla="*/ 374417 h 403224"/>
                  <a:gd name="connsiteX50" fmla="*/ 12405 w 526593"/>
                  <a:gd name="connsiteY50" fmla="*/ 353845 h 403224"/>
                  <a:gd name="connsiteX51" fmla="*/ 27996 w 526593"/>
                  <a:gd name="connsiteY51" fmla="*/ 326689 h 403224"/>
                  <a:gd name="connsiteX52" fmla="*/ 41125 w 526593"/>
                  <a:gd name="connsiteY52" fmla="*/ 320106 h 403224"/>
                  <a:gd name="connsiteX53" fmla="*/ 53434 w 526593"/>
                  <a:gd name="connsiteY53" fmla="*/ 302002 h 403224"/>
                  <a:gd name="connsiteX54" fmla="*/ 68205 w 526593"/>
                  <a:gd name="connsiteY54" fmla="*/ 281430 h 403224"/>
                  <a:gd name="connsiteX55" fmla="*/ 69025 w 526593"/>
                  <a:gd name="connsiteY55" fmla="*/ 269909 h 403224"/>
                  <a:gd name="connsiteX56" fmla="*/ 97746 w 526593"/>
                  <a:gd name="connsiteY56" fmla="*/ 234525 h 403224"/>
                  <a:gd name="connsiteX57" fmla="*/ 106773 w 526593"/>
                  <a:gd name="connsiteY57" fmla="*/ 217244 h 403224"/>
                  <a:gd name="connsiteX58" fmla="*/ 144520 w 526593"/>
                  <a:gd name="connsiteY58" fmla="*/ 182683 h 403224"/>
                  <a:gd name="connsiteX59" fmla="*/ 160932 w 526593"/>
                  <a:gd name="connsiteY59" fmla="*/ 161287 h 403224"/>
                  <a:gd name="connsiteX60" fmla="*/ 167497 w 526593"/>
                  <a:gd name="connsiteY60" fmla="*/ 147298 h 403224"/>
                  <a:gd name="connsiteX61" fmla="*/ 177344 w 526593"/>
                  <a:gd name="connsiteY61" fmla="*/ 126726 h 403224"/>
                  <a:gd name="connsiteX62" fmla="*/ 192935 w 526593"/>
                  <a:gd name="connsiteY62" fmla="*/ 94633 h 403224"/>
                  <a:gd name="connsiteX63" fmla="*/ 210167 w 526593"/>
                  <a:gd name="connsiteY63" fmla="*/ 76529 h 403224"/>
                  <a:gd name="connsiteX64" fmla="*/ 225759 w 526593"/>
                  <a:gd name="connsiteY64" fmla="*/ 68300 h 403224"/>
                  <a:gd name="connsiteX65" fmla="*/ 250376 w 526593"/>
                  <a:gd name="connsiteY65" fmla="*/ 54311 h 403224"/>
                  <a:gd name="connsiteX66" fmla="*/ 257762 w 526593"/>
                  <a:gd name="connsiteY66" fmla="*/ 45259 h 403224"/>
                  <a:gd name="connsiteX67" fmla="*/ 273353 w 526593"/>
                  <a:gd name="connsiteY67" fmla="*/ 18927 h 403224"/>
                  <a:gd name="connsiteX68" fmla="*/ 288124 w 526593"/>
                  <a:gd name="connsiteY68" fmla="*/ 823 h 403224"/>
                  <a:gd name="connsiteX69" fmla="*/ 288124 w 526593"/>
                  <a:gd name="connsiteY69" fmla="*/ 0 h 403224"/>
                  <a:gd name="connsiteX0" fmla="*/ 428445 w 526593"/>
                  <a:gd name="connsiteY0" fmla="*/ 65832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373465 w 526593"/>
                  <a:gd name="connsiteY3" fmla="*/ 69123 h 403224"/>
                  <a:gd name="connsiteX4" fmla="*/ 403258 w 526593"/>
                  <a:gd name="connsiteY4" fmla="*/ 50467 h 403224"/>
                  <a:gd name="connsiteX5" fmla="*/ 428748 w 526593"/>
                  <a:gd name="connsiteY5" fmla="*/ 66091 h 403224"/>
                  <a:gd name="connsiteX6" fmla="*/ 442417 w 526593"/>
                  <a:gd name="connsiteY6" fmla="*/ 61054 h 403224"/>
                  <a:gd name="connsiteX7" fmla="*/ 444340 w 526593"/>
                  <a:gd name="connsiteY7" fmla="*/ 60346 h 403224"/>
                  <a:gd name="connsiteX8" fmla="*/ 430394 w 526593"/>
                  <a:gd name="connsiteY8" fmla="*/ 65112 h 403224"/>
                  <a:gd name="connsiteX9" fmla="*/ 428445 w 526593"/>
                  <a:gd name="connsiteY9" fmla="*/ 65832 h 403224"/>
                  <a:gd name="connsiteX10" fmla="*/ 288124 w 526593"/>
                  <a:gd name="connsiteY10" fmla="*/ 0 h 403224"/>
                  <a:gd name="connsiteX11" fmla="*/ 514607 w 526593"/>
                  <a:gd name="connsiteY11" fmla="*/ 13989 h 403224"/>
                  <a:gd name="connsiteX12" fmla="*/ 516761 w 526593"/>
                  <a:gd name="connsiteY12" fmla="*/ 29110 h 403224"/>
                  <a:gd name="connsiteX13" fmla="*/ 517069 w 526593"/>
                  <a:gd name="connsiteY13" fmla="*/ 31270 h 403224"/>
                  <a:gd name="connsiteX14" fmla="*/ 514197 w 526593"/>
                  <a:gd name="connsiteY14" fmla="*/ 43511 h 403224"/>
                  <a:gd name="connsiteX15" fmla="*/ 513787 w 526593"/>
                  <a:gd name="connsiteY15" fmla="*/ 45259 h 403224"/>
                  <a:gd name="connsiteX16" fmla="*/ 513787 w 526593"/>
                  <a:gd name="connsiteY16" fmla="*/ 51019 h 403224"/>
                  <a:gd name="connsiteX17" fmla="*/ 513787 w 526593"/>
                  <a:gd name="connsiteY17" fmla="*/ 51842 h 403224"/>
                  <a:gd name="connsiteX18" fmla="*/ 479322 w 526593"/>
                  <a:gd name="connsiteY18" fmla="*/ 55134 h 403224"/>
                  <a:gd name="connsiteX19" fmla="*/ 452285 w 526593"/>
                  <a:gd name="connsiteY19" fmla="*/ 67458 h 403224"/>
                  <a:gd name="connsiteX20" fmla="*/ 479726 w 526593"/>
                  <a:gd name="connsiteY20" fmla="*/ 55401 h 403224"/>
                  <a:gd name="connsiteX21" fmla="*/ 510971 w 526593"/>
                  <a:gd name="connsiteY21" fmla="*/ 55401 h 403224"/>
                  <a:gd name="connsiteX22" fmla="*/ 514260 w 526593"/>
                  <a:gd name="connsiteY22" fmla="*/ 46356 h 403224"/>
                  <a:gd name="connsiteX23" fmla="*/ 514260 w 526593"/>
                  <a:gd name="connsiteY23" fmla="*/ 45534 h 403224"/>
                  <a:gd name="connsiteX24" fmla="*/ 517137 w 526593"/>
                  <a:gd name="connsiteY24" fmla="*/ 33302 h 403224"/>
                  <a:gd name="connsiteX25" fmla="*/ 517549 w 526593"/>
                  <a:gd name="connsiteY25" fmla="*/ 31555 h 403224"/>
                  <a:gd name="connsiteX26" fmla="*/ 515390 w 526593"/>
                  <a:gd name="connsiteY26" fmla="*/ 16446 h 403224"/>
                  <a:gd name="connsiteX27" fmla="*/ 515082 w 526593"/>
                  <a:gd name="connsiteY27" fmla="*/ 14287 h 403224"/>
                  <a:gd name="connsiteX28" fmla="*/ 526593 w 526593"/>
                  <a:gd name="connsiteY28" fmla="*/ 15109 h 403224"/>
                  <a:gd name="connsiteX29" fmla="*/ 523304 w 526593"/>
                  <a:gd name="connsiteY29" fmla="*/ 38133 h 403224"/>
                  <a:gd name="connsiteX30" fmla="*/ 510971 w 526593"/>
                  <a:gd name="connsiteY30" fmla="*/ 117894 h 403224"/>
                  <a:gd name="connsiteX31" fmla="*/ 325969 w 526593"/>
                  <a:gd name="connsiteY31" fmla="*/ 108027 h 403224"/>
                  <a:gd name="connsiteX32" fmla="*/ 301302 w 526593"/>
                  <a:gd name="connsiteY32" fmla="*/ 265904 h 403224"/>
                  <a:gd name="connsiteX33" fmla="*/ 270879 w 526593"/>
                  <a:gd name="connsiteY33" fmla="*/ 274127 h 403224"/>
                  <a:gd name="connsiteX34" fmla="*/ 234701 w 526593"/>
                  <a:gd name="connsiteY34" fmla="*/ 296328 h 403224"/>
                  <a:gd name="connsiteX35" fmla="*/ 231412 w 526593"/>
                  <a:gd name="connsiteY35" fmla="*/ 322641 h 403224"/>
                  <a:gd name="connsiteX36" fmla="*/ 225657 w 526593"/>
                  <a:gd name="connsiteY36" fmla="*/ 395001 h 403224"/>
                  <a:gd name="connsiteX37" fmla="*/ 24210 w 526593"/>
                  <a:gd name="connsiteY37" fmla="*/ 384312 h 403224"/>
                  <a:gd name="connsiteX38" fmla="*/ 5299 w 526593"/>
                  <a:gd name="connsiteY38" fmla="*/ 392535 h 403224"/>
                  <a:gd name="connsiteX39" fmla="*/ 365 w 526593"/>
                  <a:gd name="connsiteY39" fmla="*/ 403224 h 403224"/>
                  <a:gd name="connsiteX40" fmla="*/ 365 w 526593"/>
                  <a:gd name="connsiteY40" fmla="*/ 395824 h 403224"/>
                  <a:gd name="connsiteX41" fmla="*/ 6943 w 526593"/>
                  <a:gd name="connsiteY41" fmla="*/ 373622 h 403224"/>
                  <a:gd name="connsiteX42" fmla="*/ 63677 w 526593"/>
                  <a:gd name="connsiteY42" fmla="*/ 374444 h 403224"/>
                  <a:gd name="connsiteX43" fmla="*/ 118767 w 526593"/>
                  <a:gd name="connsiteY43" fmla="*/ 381023 h 403224"/>
                  <a:gd name="connsiteX44" fmla="*/ 139322 w 526593"/>
                  <a:gd name="connsiteY44" fmla="*/ 381023 h 403224"/>
                  <a:gd name="connsiteX45" fmla="*/ 139335 w 526593"/>
                  <a:gd name="connsiteY45" fmla="*/ 381000 h 403224"/>
                  <a:gd name="connsiteX46" fmla="*/ 119082 w 526593"/>
                  <a:gd name="connsiteY46" fmla="*/ 381000 h 403224"/>
                  <a:gd name="connsiteX47" fmla="*/ 64102 w 526593"/>
                  <a:gd name="connsiteY47" fmla="*/ 374417 h 403224"/>
                  <a:gd name="connsiteX48" fmla="*/ 7481 w 526593"/>
                  <a:gd name="connsiteY48" fmla="*/ 374417 h 403224"/>
                  <a:gd name="connsiteX49" fmla="*/ 12405 w 526593"/>
                  <a:gd name="connsiteY49" fmla="*/ 353845 h 403224"/>
                  <a:gd name="connsiteX50" fmla="*/ 27996 w 526593"/>
                  <a:gd name="connsiteY50" fmla="*/ 326689 h 403224"/>
                  <a:gd name="connsiteX51" fmla="*/ 41125 w 526593"/>
                  <a:gd name="connsiteY51" fmla="*/ 320106 h 403224"/>
                  <a:gd name="connsiteX52" fmla="*/ 53434 w 526593"/>
                  <a:gd name="connsiteY52" fmla="*/ 302002 h 403224"/>
                  <a:gd name="connsiteX53" fmla="*/ 68205 w 526593"/>
                  <a:gd name="connsiteY53" fmla="*/ 281430 h 403224"/>
                  <a:gd name="connsiteX54" fmla="*/ 69025 w 526593"/>
                  <a:gd name="connsiteY54" fmla="*/ 269909 h 403224"/>
                  <a:gd name="connsiteX55" fmla="*/ 97746 w 526593"/>
                  <a:gd name="connsiteY55" fmla="*/ 234525 h 403224"/>
                  <a:gd name="connsiteX56" fmla="*/ 106773 w 526593"/>
                  <a:gd name="connsiteY56" fmla="*/ 217244 h 403224"/>
                  <a:gd name="connsiteX57" fmla="*/ 144520 w 526593"/>
                  <a:gd name="connsiteY57" fmla="*/ 182683 h 403224"/>
                  <a:gd name="connsiteX58" fmla="*/ 160932 w 526593"/>
                  <a:gd name="connsiteY58" fmla="*/ 161287 h 403224"/>
                  <a:gd name="connsiteX59" fmla="*/ 167497 w 526593"/>
                  <a:gd name="connsiteY59" fmla="*/ 147298 h 403224"/>
                  <a:gd name="connsiteX60" fmla="*/ 177344 w 526593"/>
                  <a:gd name="connsiteY60" fmla="*/ 126726 h 403224"/>
                  <a:gd name="connsiteX61" fmla="*/ 192935 w 526593"/>
                  <a:gd name="connsiteY61" fmla="*/ 94633 h 403224"/>
                  <a:gd name="connsiteX62" fmla="*/ 210167 w 526593"/>
                  <a:gd name="connsiteY62" fmla="*/ 76529 h 403224"/>
                  <a:gd name="connsiteX63" fmla="*/ 225759 w 526593"/>
                  <a:gd name="connsiteY63" fmla="*/ 68300 h 403224"/>
                  <a:gd name="connsiteX64" fmla="*/ 250376 w 526593"/>
                  <a:gd name="connsiteY64" fmla="*/ 54311 h 403224"/>
                  <a:gd name="connsiteX65" fmla="*/ 257762 w 526593"/>
                  <a:gd name="connsiteY65" fmla="*/ 45259 h 403224"/>
                  <a:gd name="connsiteX66" fmla="*/ 273353 w 526593"/>
                  <a:gd name="connsiteY66" fmla="*/ 18927 h 403224"/>
                  <a:gd name="connsiteX67" fmla="*/ 288124 w 526593"/>
                  <a:gd name="connsiteY67" fmla="*/ 823 h 403224"/>
                  <a:gd name="connsiteX68" fmla="*/ 288124 w 526593"/>
                  <a:gd name="connsiteY68" fmla="*/ 0 h 403224"/>
                  <a:gd name="connsiteX0" fmla="*/ 428445 w 526593"/>
                  <a:gd name="connsiteY0" fmla="*/ 65832 h 403224"/>
                  <a:gd name="connsiteX1" fmla="*/ 370183 w 526593"/>
                  <a:gd name="connsiteY1" fmla="*/ 58426 h 403224"/>
                  <a:gd name="connsiteX2" fmla="*/ 373055 w 526593"/>
                  <a:gd name="connsiteY2" fmla="*/ 67786 h 403224"/>
                  <a:gd name="connsiteX3" fmla="*/ 403258 w 526593"/>
                  <a:gd name="connsiteY3" fmla="*/ 50467 h 403224"/>
                  <a:gd name="connsiteX4" fmla="*/ 428748 w 526593"/>
                  <a:gd name="connsiteY4" fmla="*/ 66091 h 403224"/>
                  <a:gd name="connsiteX5" fmla="*/ 442417 w 526593"/>
                  <a:gd name="connsiteY5" fmla="*/ 61054 h 403224"/>
                  <a:gd name="connsiteX6" fmla="*/ 444340 w 526593"/>
                  <a:gd name="connsiteY6" fmla="*/ 60346 h 403224"/>
                  <a:gd name="connsiteX7" fmla="*/ 430394 w 526593"/>
                  <a:gd name="connsiteY7" fmla="*/ 65112 h 403224"/>
                  <a:gd name="connsiteX8" fmla="*/ 428445 w 526593"/>
                  <a:gd name="connsiteY8" fmla="*/ 65832 h 403224"/>
                  <a:gd name="connsiteX9" fmla="*/ 288124 w 526593"/>
                  <a:gd name="connsiteY9" fmla="*/ 0 h 403224"/>
                  <a:gd name="connsiteX10" fmla="*/ 514607 w 526593"/>
                  <a:gd name="connsiteY10" fmla="*/ 13989 h 403224"/>
                  <a:gd name="connsiteX11" fmla="*/ 516761 w 526593"/>
                  <a:gd name="connsiteY11" fmla="*/ 29110 h 403224"/>
                  <a:gd name="connsiteX12" fmla="*/ 517069 w 526593"/>
                  <a:gd name="connsiteY12" fmla="*/ 31270 h 403224"/>
                  <a:gd name="connsiteX13" fmla="*/ 514197 w 526593"/>
                  <a:gd name="connsiteY13" fmla="*/ 43511 h 403224"/>
                  <a:gd name="connsiteX14" fmla="*/ 513787 w 526593"/>
                  <a:gd name="connsiteY14" fmla="*/ 45259 h 403224"/>
                  <a:gd name="connsiteX15" fmla="*/ 513787 w 526593"/>
                  <a:gd name="connsiteY15" fmla="*/ 51019 h 403224"/>
                  <a:gd name="connsiteX16" fmla="*/ 513787 w 526593"/>
                  <a:gd name="connsiteY16" fmla="*/ 51842 h 403224"/>
                  <a:gd name="connsiteX17" fmla="*/ 479322 w 526593"/>
                  <a:gd name="connsiteY17" fmla="*/ 55134 h 403224"/>
                  <a:gd name="connsiteX18" fmla="*/ 452285 w 526593"/>
                  <a:gd name="connsiteY18" fmla="*/ 67458 h 403224"/>
                  <a:gd name="connsiteX19" fmla="*/ 479726 w 526593"/>
                  <a:gd name="connsiteY19" fmla="*/ 55401 h 403224"/>
                  <a:gd name="connsiteX20" fmla="*/ 510971 w 526593"/>
                  <a:gd name="connsiteY20" fmla="*/ 55401 h 403224"/>
                  <a:gd name="connsiteX21" fmla="*/ 514260 w 526593"/>
                  <a:gd name="connsiteY21" fmla="*/ 46356 h 403224"/>
                  <a:gd name="connsiteX22" fmla="*/ 514260 w 526593"/>
                  <a:gd name="connsiteY22" fmla="*/ 45534 h 403224"/>
                  <a:gd name="connsiteX23" fmla="*/ 517137 w 526593"/>
                  <a:gd name="connsiteY23" fmla="*/ 33302 h 403224"/>
                  <a:gd name="connsiteX24" fmla="*/ 517549 w 526593"/>
                  <a:gd name="connsiteY24" fmla="*/ 31555 h 403224"/>
                  <a:gd name="connsiteX25" fmla="*/ 515390 w 526593"/>
                  <a:gd name="connsiteY25" fmla="*/ 16446 h 403224"/>
                  <a:gd name="connsiteX26" fmla="*/ 515082 w 526593"/>
                  <a:gd name="connsiteY26" fmla="*/ 14287 h 403224"/>
                  <a:gd name="connsiteX27" fmla="*/ 526593 w 526593"/>
                  <a:gd name="connsiteY27" fmla="*/ 15109 h 403224"/>
                  <a:gd name="connsiteX28" fmla="*/ 523304 w 526593"/>
                  <a:gd name="connsiteY28" fmla="*/ 38133 h 403224"/>
                  <a:gd name="connsiteX29" fmla="*/ 510971 w 526593"/>
                  <a:gd name="connsiteY29" fmla="*/ 117894 h 403224"/>
                  <a:gd name="connsiteX30" fmla="*/ 325969 w 526593"/>
                  <a:gd name="connsiteY30" fmla="*/ 108027 h 403224"/>
                  <a:gd name="connsiteX31" fmla="*/ 301302 w 526593"/>
                  <a:gd name="connsiteY31" fmla="*/ 265904 h 403224"/>
                  <a:gd name="connsiteX32" fmla="*/ 270879 w 526593"/>
                  <a:gd name="connsiteY32" fmla="*/ 274127 h 403224"/>
                  <a:gd name="connsiteX33" fmla="*/ 234701 w 526593"/>
                  <a:gd name="connsiteY33" fmla="*/ 296328 h 403224"/>
                  <a:gd name="connsiteX34" fmla="*/ 231412 w 526593"/>
                  <a:gd name="connsiteY34" fmla="*/ 322641 h 403224"/>
                  <a:gd name="connsiteX35" fmla="*/ 225657 w 526593"/>
                  <a:gd name="connsiteY35" fmla="*/ 395001 h 403224"/>
                  <a:gd name="connsiteX36" fmla="*/ 24210 w 526593"/>
                  <a:gd name="connsiteY36" fmla="*/ 384312 h 403224"/>
                  <a:gd name="connsiteX37" fmla="*/ 5299 w 526593"/>
                  <a:gd name="connsiteY37" fmla="*/ 392535 h 403224"/>
                  <a:gd name="connsiteX38" fmla="*/ 365 w 526593"/>
                  <a:gd name="connsiteY38" fmla="*/ 403224 h 403224"/>
                  <a:gd name="connsiteX39" fmla="*/ 365 w 526593"/>
                  <a:gd name="connsiteY39" fmla="*/ 395824 h 403224"/>
                  <a:gd name="connsiteX40" fmla="*/ 6943 w 526593"/>
                  <a:gd name="connsiteY40" fmla="*/ 373622 h 403224"/>
                  <a:gd name="connsiteX41" fmla="*/ 63677 w 526593"/>
                  <a:gd name="connsiteY41" fmla="*/ 374444 h 403224"/>
                  <a:gd name="connsiteX42" fmla="*/ 118767 w 526593"/>
                  <a:gd name="connsiteY42" fmla="*/ 381023 h 403224"/>
                  <a:gd name="connsiteX43" fmla="*/ 139322 w 526593"/>
                  <a:gd name="connsiteY43" fmla="*/ 381023 h 403224"/>
                  <a:gd name="connsiteX44" fmla="*/ 139335 w 526593"/>
                  <a:gd name="connsiteY44" fmla="*/ 381000 h 403224"/>
                  <a:gd name="connsiteX45" fmla="*/ 119082 w 526593"/>
                  <a:gd name="connsiteY45" fmla="*/ 381000 h 403224"/>
                  <a:gd name="connsiteX46" fmla="*/ 64102 w 526593"/>
                  <a:gd name="connsiteY46" fmla="*/ 374417 h 403224"/>
                  <a:gd name="connsiteX47" fmla="*/ 7481 w 526593"/>
                  <a:gd name="connsiteY47" fmla="*/ 374417 h 403224"/>
                  <a:gd name="connsiteX48" fmla="*/ 12405 w 526593"/>
                  <a:gd name="connsiteY48" fmla="*/ 353845 h 403224"/>
                  <a:gd name="connsiteX49" fmla="*/ 27996 w 526593"/>
                  <a:gd name="connsiteY49" fmla="*/ 326689 h 403224"/>
                  <a:gd name="connsiteX50" fmla="*/ 41125 w 526593"/>
                  <a:gd name="connsiteY50" fmla="*/ 320106 h 403224"/>
                  <a:gd name="connsiteX51" fmla="*/ 53434 w 526593"/>
                  <a:gd name="connsiteY51" fmla="*/ 302002 h 403224"/>
                  <a:gd name="connsiteX52" fmla="*/ 68205 w 526593"/>
                  <a:gd name="connsiteY52" fmla="*/ 281430 h 403224"/>
                  <a:gd name="connsiteX53" fmla="*/ 69025 w 526593"/>
                  <a:gd name="connsiteY53" fmla="*/ 269909 h 403224"/>
                  <a:gd name="connsiteX54" fmla="*/ 97746 w 526593"/>
                  <a:gd name="connsiteY54" fmla="*/ 234525 h 403224"/>
                  <a:gd name="connsiteX55" fmla="*/ 106773 w 526593"/>
                  <a:gd name="connsiteY55" fmla="*/ 217244 h 403224"/>
                  <a:gd name="connsiteX56" fmla="*/ 144520 w 526593"/>
                  <a:gd name="connsiteY56" fmla="*/ 182683 h 403224"/>
                  <a:gd name="connsiteX57" fmla="*/ 160932 w 526593"/>
                  <a:gd name="connsiteY57" fmla="*/ 161287 h 403224"/>
                  <a:gd name="connsiteX58" fmla="*/ 167497 w 526593"/>
                  <a:gd name="connsiteY58" fmla="*/ 147298 h 403224"/>
                  <a:gd name="connsiteX59" fmla="*/ 177344 w 526593"/>
                  <a:gd name="connsiteY59" fmla="*/ 126726 h 403224"/>
                  <a:gd name="connsiteX60" fmla="*/ 192935 w 526593"/>
                  <a:gd name="connsiteY60" fmla="*/ 94633 h 403224"/>
                  <a:gd name="connsiteX61" fmla="*/ 210167 w 526593"/>
                  <a:gd name="connsiteY61" fmla="*/ 76529 h 403224"/>
                  <a:gd name="connsiteX62" fmla="*/ 225759 w 526593"/>
                  <a:gd name="connsiteY62" fmla="*/ 68300 h 403224"/>
                  <a:gd name="connsiteX63" fmla="*/ 250376 w 526593"/>
                  <a:gd name="connsiteY63" fmla="*/ 54311 h 403224"/>
                  <a:gd name="connsiteX64" fmla="*/ 257762 w 526593"/>
                  <a:gd name="connsiteY64" fmla="*/ 45259 h 403224"/>
                  <a:gd name="connsiteX65" fmla="*/ 273353 w 526593"/>
                  <a:gd name="connsiteY65" fmla="*/ 18927 h 403224"/>
                  <a:gd name="connsiteX66" fmla="*/ 288124 w 526593"/>
                  <a:gd name="connsiteY66" fmla="*/ 823 h 403224"/>
                  <a:gd name="connsiteX67" fmla="*/ 288124 w 526593"/>
                  <a:gd name="connsiteY67" fmla="*/ 0 h 403224"/>
                  <a:gd name="connsiteX0" fmla="*/ 428445 w 526593"/>
                  <a:gd name="connsiteY0" fmla="*/ 65832 h 403224"/>
                  <a:gd name="connsiteX1" fmla="*/ 370183 w 526593"/>
                  <a:gd name="connsiteY1" fmla="*/ 58426 h 403224"/>
                  <a:gd name="connsiteX2" fmla="*/ 403258 w 526593"/>
                  <a:gd name="connsiteY2" fmla="*/ 50467 h 403224"/>
                  <a:gd name="connsiteX3" fmla="*/ 428748 w 526593"/>
                  <a:gd name="connsiteY3" fmla="*/ 66091 h 403224"/>
                  <a:gd name="connsiteX4" fmla="*/ 442417 w 526593"/>
                  <a:gd name="connsiteY4" fmla="*/ 61054 h 403224"/>
                  <a:gd name="connsiteX5" fmla="*/ 444340 w 526593"/>
                  <a:gd name="connsiteY5" fmla="*/ 60346 h 403224"/>
                  <a:gd name="connsiteX6" fmla="*/ 430394 w 526593"/>
                  <a:gd name="connsiteY6" fmla="*/ 65112 h 403224"/>
                  <a:gd name="connsiteX7" fmla="*/ 428445 w 526593"/>
                  <a:gd name="connsiteY7" fmla="*/ 65832 h 403224"/>
                  <a:gd name="connsiteX8" fmla="*/ 288124 w 526593"/>
                  <a:gd name="connsiteY8" fmla="*/ 0 h 403224"/>
                  <a:gd name="connsiteX9" fmla="*/ 514607 w 526593"/>
                  <a:gd name="connsiteY9" fmla="*/ 13989 h 403224"/>
                  <a:gd name="connsiteX10" fmla="*/ 516761 w 526593"/>
                  <a:gd name="connsiteY10" fmla="*/ 29110 h 403224"/>
                  <a:gd name="connsiteX11" fmla="*/ 517069 w 526593"/>
                  <a:gd name="connsiteY11" fmla="*/ 31270 h 403224"/>
                  <a:gd name="connsiteX12" fmla="*/ 514197 w 526593"/>
                  <a:gd name="connsiteY12" fmla="*/ 43511 h 403224"/>
                  <a:gd name="connsiteX13" fmla="*/ 513787 w 526593"/>
                  <a:gd name="connsiteY13" fmla="*/ 45259 h 403224"/>
                  <a:gd name="connsiteX14" fmla="*/ 513787 w 526593"/>
                  <a:gd name="connsiteY14" fmla="*/ 51019 h 403224"/>
                  <a:gd name="connsiteX15" fmla="*/ 513787 w 526593"/>
                  <a:gd name="connsiteY15" fmla="*/ 51842 h 403224"/>
                  <a:gd name="connsiteX16" fmla="*/ 479322 w 526593"/>
                  <a:gd name="connsiteY16" fmla="*/ 55134 h 403224"/>
                  <a:gd name="connsiteX17" fmla="*/ 452285 w 526593"/>
                  <a:gd name="connsiteY17" fmla="*/ 67458 h 403224"/>
                  <a:gd name="connsiteX18" fmla="*/ 479726 w 526593"/>
                  <a:gd name="connsiteY18" fmla="*/ 55401 h 403224"/>
                  <a:gd name="connsiteX19" fmla="*/ 510971 w 526593"/>
                  <a:gd name="connsiteY19" fmla="*/ 55401 h 403224"/>
                  <a:gd name="connsiteX20" fmla="*/ 514260 w 526593"/>
                  <a:gd name="connsiteY20" fmla="*/ 46356 h 403224"/>
                  <a:gd name="connsiteX21" fmla="*/ 514260 w 526593"/>
                  <a:gd name="connsiteY21" fmla="*/ 45534 h 403224"/>
                  <a:gd name="connsiteX22" fmla="*/ 517137 w 526593"/>
                  <a:gd name="connsiteY22" fmla="*/ 33302 h 403224"/>
                  <a:gd name="connsiteX23" fmla="*/ 517549 w 526593"/>
                  <a:gd name="connsiteY23" fmla="*/ 31555 h 403224"/>
                  <a:gd name="connsiteX24" fmla="*/ 515390 w 526593"/>
                  <a:gd name="connsiteY24" fmla="*/ 16446 h 403224"/>
                  <a:gd name="connsiteX25" fmla="*/ 515082 w 526593"/>
                  <a:gd name="connsiteY25" fmla="*/ 14287 h 403224"/>
                  <a:gd name="connsiteX26" fmla="*/ 526593 w 526593"/>
                  <a:gd name="connsiteY26" fmla="*/ 15109 h 403224"/>
                  <a:gd name="connsiteX27" fmla="*/ 523304 w 526593"/>
                  <a:gd name="connsiteY27" fmla="*/ 38133 h 403224"/>
                  <a:gd name="connsiteX28" fmla="*/ 510971 w 526593"/>
                  <a:gd name="connsiteY28" fmla="*/ 117894 h 403224"/>
                  <a:gd name="connsiteX29" fmla="*/ 325969 w 526593"/>
                  <a:gd name="connsiteY29" fmla="*/ 108027 h 403224"/>
                  <a:gd name="connsiteX30" fmla="*/ 301302 w 526593"/>
                  <a:gd name="connsiteY30" fmla="*/ 265904 h 403224"/>
                  <a:gd name="connsiteX31" fmla="*/ 270879 w 526593"/>
                  <a:gd name="connsiteY31" fmla="*/ 274127 h 403224"/>
                  <a:gd name="connsiteX32" fmla="*/ 234701 w 526593"/>
                  <a:gd name="connsiteY32" fmla="*/ 296328 h 403224"/>
                  <a:gd name="connsiteX33" fmla="*/ 231412 w 526593"/>
                  <a:gd name="connsiteY33" fmla="*/ 322641 h 403224"/>
                  <a:gd name="connsiteX34" fmla="*/ 225657 w 526593"/>
                  <a:gd name="connsiteY34" fmla="*/ 395001 h 403224"/>
                  <a:gd name="connsiteX35" fmla="*/ 24210 w 526593"/>
                  <a:gd name="connsiteY35" fmla="*/ 384312 h 403224"/>
                  <a:gd name="connsiteX36" fmla="*/ 5299 w 526593"/>
                  <a:gd name="connsiteY36" fmla="*/ 392535 h 403224"/>
                  <a:gd name="connsiteX37" fmla="*/ 365 w 526593"/>
                  <a:gd name="connsiteY37" fmla="*/ 403224 h 403224"/>
                  <a:gd name="connsiteX38" fmla="*/ 365 w 526593"/>
                  <a:gd name="connsiteY38" fmla="*/ 395824 h 403224"/>
                  <a:gd name="connsiteX39" fmla="*/ 6943 w 526593"/>
                  <a:gd name="connsiteY39" fmla="*/ 373622 h 403224"/>
                  <a:gd name="connsiteX40" fmla="*/ 63677 w 526593"/>
                  <a:gd name="connsiteY40" fmla="*/ 374444 h 403224"/>
                  <a:gd name="connsiteX41" fmla="*/ 118767 w 526593"/>
                  <a:gd name="connsiteY41" fmla="*/ 381023 h 403224"/>
                  <a:gd name="connsiteX42" fmla="*/ 139322 w 526593"/>
                  <a:gd name="connsiteY42" fmla="*/ 381023 h 403224"/>
                  <a:gd name="connsiteX43" fmla="*/ 139335 w 526593"/>
                  <a:gd name="connsiteY43" fmla="*/ 381000 h 403224"/>
                  <a:gd name="connsiteX44" fmla="*/ 119082 w 526593"/>
                  <a:gd name="connsiteY44" fmla="*/ 381000 h 403224"/>
                  <a:gd name="connsiteX45" fmla="*/ 64102 w 526593"/>
                  <a:gd name="connsiteY45" fmla="*/ 374417 h 403224"/>
                  <a:gd name="connsiteX46" fmla="*/ 7481 w 526593"/>
                  <a:gd name="connsiteY46" fmla="*/ 374417 h 403224"/>
                  <a:gd name="connsiteX47" fmla="*/ 12405 w 526593"/>
                  <a:gd name="connsiteY47" fmla="*/ 353845 h 403224"/>
                  <a:gd name="connsiteX48" fmla="*/ 27996 w 526593"/>
                  <a:gd name="connsiteY48" fmla="*/ 326689 h 403224"/>
                  <a:gd name="connsiteX49" fmla="*/ 41125 w 526593"/>
                  <a:gd name="connsiteY49" fmla="*/ 320106 h 403224"/>
                  <a:gd name="connsiteX50" fmla="*/ 53434 w 526593"/>
                  <a:gd name="connsiteY50" fmla="*/ 302002 h 403224"/>
                  <a:gd name="connsiteX51" fmla="*/ 68205 w 526593"/>
                  <a:gd name="connsiteY51" fmla="*/ 281430 h 403224"/>
                  <a:gd name="connsiteX52" fmla="*/ 69025 w 526593"/>
                  <a:gd name="connsiteY52" fmla="*/ 269909 h 403224"/>
                  <a:gd name="connsiteX53" fmla="*/ 97746 w 526593"/>
                  <a:gd name="connsiteY53" fmla="*/ 234525 h 403224"/>
                  <a:gd name="connsiteX54" fmla="*/ 106773 w 526593"/>
                  <a:gd name="connsiteY54" fmla="*/ 217244 h 403224"/>
                  <a:gd name="connsiteX55" fmla="*/ 144520 w 526593"/>
                  <a:gd name="connsiteY55" fmla="*/ 182683 h 403224"/>
                  <a:gd name="connsiteX56" fmla="*/ 160932 w 526593"/>
                  <a:gd name="connsiteY56" fmla="*/ 161287 h 403224"/>
                  <a:gd name="connsiteX57" fmla="*/ 167497 w 526593"/>
                  <a:gd name="connsiteY57" fmla="*/ 147298 h 403224"/>
                  <a:gd name="connsiteX58" fmla="*/ 177344 w 526593"/>
                  <a:gd name="connsiteY58" fmla="*/ 126726 h 403224"/>
                  <a:gd name="connsiteX59" fmla="*/ 192935 w 526593"/>
                  <a:gd name="connsiteY59" fmla="*/ 94633 h 403224"/>
                  <a:gd name="connsiteX60" fmla="*/ 210167 w 526593"/>
                  <a:gd name="connsiteY60" fmla="*/ 76529 h 403224"/>
                  <a:gd name="connsiteX61" fmla="*/ 225759 w 526593"/>
                  <a:gd name="connsiteY61" fmla="*/ 68300 h 403224"/>
                  <a:gd name="connsiteX62" fmla="*/ 250376 w 526593"/>
                  <a:gd name="connsiteY62" fmla="*/ 54311 h 403224"/>
                  <a:gd name="connsiteX63" fmla="*/ 257762 w 526593"/>
                  <a:gd name="connsiteY63" fmla="*/ 45259 h 403224"/>
                  <a:gd name="connsiteX64" fmla="*/ 273353 w 526593"/>
                  <a:gd name="connsiteY64" fmla="*/ 18927 h 403224"/>
                  <a:gd name="connsiteX65" fmla="*/ 288124 w 526593"/>
                  <a:gd name="connsiteY65" fmla="*/ 823 h 403224"/>
                  <a:gd name="connsiteX66" fmla="*/ 288124 w 526593"/>
                  <a:gd name="connsiteY66" fmla="*/ 0 h 403224"/>
                  <a:gd name="connsiteX0" fmla="*/ 428445 w 526593"/>
                  <a:gd name="connsiteY0" fmla="*/ 65832 h 403224"/>
                  <a:gd name="connsiteX1" fmla="*/ 403258 w 526593"/>
                  <a:gd name="connsiteY1" fmla="*/ 50467 h 403224"/>
                  <a:gd name="connsiteX2" fmla="*/ 428748 w 526593"/>
                  <a:gd name="connsiteY2" fmla="*/ 66091 h 403224"/>
                  <a:gd name="connsiteX3" fmla="*/ 442417 w 526593"/>
                  <a:gd name="connsiteY3" fmla="*/ 61054 h 403224"/>
                  <a:gd name="connsiteX4" fmla="*/ 444340 w 526593"/>
                  <a:gd name="connsiteY4" fmla="*/ 60346 h 403224"/>
                  <a:gd name="connsiteX5" fmla="*/ 430394 w 526593"/>
                  <a:gd name="connsiteY5" fmla="*/ 65112 h 403224"/>
                  <a:gd name="connsiteX6" fmla="*/ 428445 w 526593"/>
                  <a:gd name="connsiteY6" fmla="*/ 65832 h 403224"/>
                  <a:gd name="connsiteX7" fmla="*/ 288124 w 526593"/>
                  <a:gd name="connsiteY7" fmla="*/ 0 h 403224"/>
                  <a:gd name="connsiteX8" fmla="*/ 514607 w 526593"/>
                  <a:gd name="connsiteY8" fmla="*/ 13989 h 403224"/>
                  <a:gd name="connsiteX9" fmla="*/ 516761 w 526593"/>
                  <a:gd name="connsiteY9" fmla="*/ 29110 h 403224"/>
                  <a:gd name="connsiteX10" fmla="*/ 517069 w 526593"/>
                  <a:gd name="connsiteY10" fmla="*/ 31270 h 403224"/>
                  <a:gd name="connsiteX11" fmla="*/ 514197 w 526593"/>
                  <a:gd name="connsiteY11" fmla="*/ 43511 h 403224"/>
                  <a:gd name="connsiteX12" fmla="*/ 513787 w 526593"/>
                  <a:gd name="connsiteY12" fmla="*/ 45259 h 403224"/>
                  <a:gd name="connsiteX13" fmla="*/ 513787 w 526593"/>
                  <a:gd name="connsiteY13" fmla="*/ 51019 h 403224"/>
                  <a:gd name="connsiteX14" fmla="*/ 513787 w 526593"/>
                  <a:gd name="connsiteY14" fmla="*/ 51842 h 403224"/>
                  <a:gd name="connsiteX15" fmla="*/ 479322 w 526593"/>
                  <a:gd name="connsiteY15" fmla="*/ 55134 h 403224"/>
                  <a:gd name="connsiteX16" fmla="*/ 452285 w 526593"/>
                  <a:gd name="connsiteY16" fmla="*/ 67458 h 403224"/>
                  <a:gd name="connsiteX17" fmla="*/ 479726 w 526593"/>
                  <a:gd name="connsiteY17" fmla="*/ 55401 h 403224"/>
                  <a:gd name="connsiteX18" fmla="*/ 510971 w 526593"/>
                  <a:gd name="connsiteY18" fmla="*/ 55401 h 403224"/>
                  <a:gd name="connsiteX19" fmla="*/ 514260 w 526593"/>
                  <a:gd name="connsiteY19" fmla="*/ 46356 h 403224"/>
                  <a:gd name="connsiteX20" fmla="*/ 514260 w 526593"/>
                  <a:gd name="connsiteY20" fmla="*/ 45534 h 403224"/>
                  <a:gd name="connsiteX21" fmla="*/ 517137 w 526593"/>
                  <a:gd name="connsiteY21" fmla="*/ 33302 h 403224"/>
                  <a:gd name="connsiteX22" fmla="*/ 517549 w 526593"/>
                  <a:gd name="connsiteY22" fmla="*/ 31555 h 403224"/>
                  <a:gd name="connsiteX23" fmla="*/ 515390 w 526593"/>
                  <a:gd name="connsiteY23" fmla="*/ 16446 h 403224"/>
                  <a:gd name="connsiteX24" fmla="*/ 515082 w 526593"/>
                  <a:gd name="connsiteY24" fmla="*/ 14287 h 403224"/>
                  <a:gd name="connsiteX25" fmla="*/ 526593 w 526593"/>
                  <a:gd name="connsiteY25" fmla="*/ 15109 h 403224"/>
                  <a:gd name="connsiteX26" fmla="*/ 523304 w 526593"/>
                  <a:gd name="connsiteY26" fmla="*/ 38133 h 403224"/>
                  <a:gd name="connsiteX27" fmla="*/ 510971 w 526593"/>
                  <a:gd name="connsiteY27" fmla="*/ 117894 h 403224"/>
                  <a:gd name="connsiteX28" fmla="*/ 325969 w 526593"/>
                  <a:gd name="connsiteY28" fmla="*/ 108027 h 403224"/>
                  <a:gd name="connsiteX29" fmla="*/ 301302 w 526593"/>
                  <a:gd name="connsiteY29" fmla="*/ 265904 h 403224"/>
                  <a:gd name="connsiteX30" fmla="*/ 270879 w 526593"/>
                  <a:gd name="connsiteY30" fmla="*/ 274127 h 403224"/>
                  <a:gd name="connsiteX31" fmla="*/ 234701 w 526593"/>
                  <a:gd name="connsiteY31" fmla="*/ 296328 h 403224"/>
                  <a:gd name="connsiteX32" fmla="*/ 231412 w 526593"/>
                  <a:gd name="connsiteY32" fmla="*/ 322641 h 403224"/>
                  <a:gd name="connsiteX33" fmla="*/ 225657 w 526593"/>
                  <a:gd name="connsiteY33" fmla="*/ 395001 h 403224"/>
                  <a:gd name="connsiteX34" fmla="*/ 24210 w 526593"/>
                  <a:gd name="connsiteY34" fmla="*/ 384312 h 403224"/>
                  <a:gd name="connsiteX35" fmla="*/ 5299 w 526593"/>
                  <a:gd name="connsiteY35" fmla="*/ 392535 h 403224"/>
                  <a:gd name="connsiteX36" fmla="*/ 365 w 526593"/>
                  <a:gd name="connsiteY36" fmla="*/ 403224 h 403224"/>
                  <a:gd name="connsiteX37" fmla="*/ 365 w 526593"/>
                  <a:gd name="connsiteY37" fmla="*/ 395824 h 403224"/>
                  <a:gd name="connsiteX38" fmla="*/ 6943 w 526593"/>
                  <a:gd name="connsiteY38" fmla="*/ 373622 h 403224"/>
                  <a:gd name="connsiteX39" fmla="*/ 63677 w 526593"/>
                  <a:gd name="connsiteY39" fmla="*/ 374444 h 403224"/>
                  <a:gd name="connsiteX40" fmla="*/ 118767 w 526593"/>
                  <a:gd name="connsiteY40" fmla="*/ 381023 h 403224"/>
                  <a:gd name="connsiteX41" fmla="*/ 139322 w 526593"/>
                  <a:gd name="connsiteY41" fmla="*/ 381023 h 403224"/>
                  <a:gd name="connsiteX42" fmla="*/ 139335 w 526593"/>
                  <a:gd name="connsiteY42" fmla="*/ 381000 h 403224"/>
                  <a:gd name="connsiteX43" fmla="*/ 119082 w 526593"/>
                  <a:gd name="connsiteY43" fmla="*/ 381000 h 403224"/>
                  <a:gd name="connsiteX44" fmla="*/ 64102 w 526593"/>
                  <a:gd name="connsiteY44" fmla="*/ 374417 h 403224"/>
                  <a:gd name="connsiteX45" fmla="*/ 7481 w 526593"/>
                  <a:gd name="connsiteY45" fmla="*/ 374417 h 403224"/>
                  <a:gd name="connsiteX46" fmla="*/ 12405 w 526593"/>
                  <a:gd name="connsiteY46" fmla="*/ 353845 h 403224"/>
                  <a:gd name="connsiteX47" fmla="*/ 27996 w 526593"/>
                  <a:gd name="connsiteY47" fmla="*/ 326689 h 403224"/>
                  <a:gd name="connsiteX48" fmla="*/ 41125 w 526593"/>
                  <a:gd name="connsiteY48" fmla="*/ 320106 h 403224"/>
                  <a:gd name="connsiteX49" fmla="*/ 53434 w 526593"/>
                  <a:gd name="connsiteY49" fmla="*/ 302002 h 403224"/>
                  <a:gd name="connsiteX50" fmla="*/ 68205 w 526593"/>
                  <a:gd name="connsiteY50" fmla="*/ 281430 h 403224"/>
                  <a:gd name="connsiteX51" fmla="*/ 69025 w 526593"/>
                  <a:gd name="connsiteY51" fmla="*/ 269909 h 403224"/>
                  <a:gd name="connsiteX52" fmla="*/ 97746 w 526593"/>
                  <a:gd name="connsiteY52" fmla="*/ 234525 h 403224"/>
                  <a:gd name="connsiteX53" fmla="*/ 106773 w 526593"/>
                  <a:gd name="connsiteY53" fmla="*/ 217244 h 403224"/>
                  <a:gd name="connsiteX54" fmla="*/ 144520 w 526593"/>
                  <a:gd name="connsiteY54" fmla="*/ 182683 h 403224"/>
                  <a:gd name="connsiteX55" fmla="*/ 160932 w 526593"/>
                  <a:gd name="connsiteY55" fmla="*/ 161287 h 403224"/>
                  <a:gd name="connsiteX56" fmla="*/ 167497 w 526593"/>
                  <a:gd name="connsiteY56" fmla="*/ 147298 h 403224"/>
                  <a:gd name="connsiteX57" fmla="*/ 177344 w 526593"/>
                  <a:gd name="connsiteY57" fmla="*/ 126726 h 403224"/>
                  <a:gd name="connsiteX58" fmla="*/ 192935 w 526593"/>
                  <a:gd name="connsiteY58" fmla="*/ 94633 h 403224"/>
                  <a:gd name="connsiteX59" fmla="*/ 210167 w 526593"/>
                  <a:gd name="connsiteY59" fmla="*/ 76529 h 403224"/>
                  <a:gd name="connsiteX60" fmla="*/ 225759 w 526593"/>
                  <a:gd name="connsiteY60" fmla="*/ 68300 h 403224"/>
                  <a:gd name="connsiteX61" fmla="*/ 250376 w 526593"/>
                  <a:gd name="connsiteY61" fmla="*/ 54311 h 403224"/>
                  <a:gd name="connsiteX62" fmla="*/ 257762 w 526593"/>
                  <a:gd name="connsiteY62" fmla="*/ 45259 h 403224"/>
                  <a:gd name="connsiteX63" fmla="*/ 273353 w 526593"/>
                  <a:gd name="connsiteY63" fmla="*/ 18927 h 403224"/>
                  <a:gd name="connsiteX64" fmla="*/ 288124 w 526593"/>
                  <a:gd name="connsiteY64" fmla="*/ 823 h 403224"/>
                  <a:gd name="connsiteX65" fmla="*/ 288124 w 526593"/>
                  <a:gd name="connsiteY65" fmla="*/ 0 h 403224"/>
                  <a:gd name="connsiteX0" fmla="*/ 428445 w 526593"/>
                  <a:gd name="connsiteY0" fmla="*/ 65832 h 403224"/>
                  <a:gd name="connsiteX1" fmla="*/ 428748 w 526593"/>
                  <a:gd name="connsiteY1" fmla="*/ 66091 h 403224"/>
                  <a:gd name="connsiteX2" fmla="*/ 442417 w 526593"/>
                  <a:gd name="connsiteY2" fmla="*/ 61054 h 403224"/>
                  <a:gd name="connsiteX3" fmla="*/ 444340 w 526593"/>
                  <a:gd name="connsiteY3" fmla="*/ 60346 h 403224"/>
                  <a:gd name="connsiteX4" fmla="*/ 430394 w 526593"/>
                  <a:gd name="connsiteY4" fmla="*/ 65112 h 403224"/>
                  <a:gd name="connsiteX5" fmla="*/ 428445 w 526593"/>
                  <a:gd name="connsiteY5" fmla="*/ 65832 h 403224"/>
                  <a:gd name="connsiteX6" fmla="*/ 288124 w 526593"/>
                  <a:gd name="connsiteY6" fmla="*/ 0 h 403224"/>
                  <a:gd name="connsiteX7" fmla="*/ 514607 w 526593"/>
                  <a:gd name="connsiteY7" fmla="*/ 13989 h 403224"/>
                  <a:gd name="connsiteX8" fmla="*/ 516761 w 526593"/>
                  <a:gd name="connsiteY8" fmla="*/ 29110 h 403224"/>
                  <a:gd name="connsiteX9" fmla="*/ 517069 w 526593"/>
                  <a:gd name="connsiteY9" fmla="*/ 31270 h 403224"/>
                  <a:gd name="connsiteX10" fmla="*/ 514197 w 526593"/>
                  <a:gd name="connsiteY10" fmla="*/ 43511 h 403224"/>
                  <a:gd name="connsiteX11" fmla="*/ 513787 w 526593"/>
                  <a:gd name="connsiteY11" fmla="*/ 45259 h 403224"/>
                  <a:gd name="connsiteX12" fmla="*/ 513787 w 526593"/>
                  <a:gd name="connsiteY12" fmla="*/ 51019 h 403224"/>
                  <a:gd name="connsiteX13" fmla="*/ 513787 w 526593"/>
                  <a:gd name="connsiteY13" fmla="*/ 51842 h 403224"/>
                  <a:gd name="connsiteX14" fmla="*/ 479322 w 526593"/>
                  <a:gd name="connsiteY14" fmla="*/ 55134 h 403224"/>
                  <a:gd name="connsiteX15" fmla="*/ 452285 w 526593"/>
                  <a:gd name="connsiteY15" fmla="*/ 67458 h 403224"/>
                  <a:gd name="connsiteX16" fmla="*/ 479726 w 526593"/>
                  <a:gd name="connsiteY16" fmla="*/ 55401 h 403224"/>
                  <a:gd name="connsiteX17" fmla="*/ 510971 w 526593"/>
                  <a:gd name="connsiteY17" fmla="*/ 55401 h 403224"/>
                  <a:gd name="connsiteX18" fmla="*/ 514260 w 526593"/>
                  <a:gd name="connsiteY18" fmla="*/ 46356 h 403224"/>
                  <a:gd name="connsiteX19" fmla="*/ 514260 w 526593"/>
                  <a:gd name="connsiteY19" fmla="*/ 45534 h 403224"/>
                  <a:gd name="connsiteX20" fmla="*/ 517137 w 526593"/>
                  <a:gd name="connsiteY20" fmla="*/ 33302 h 403224"/>
                  <a:gd name="connsiteX21" fmla="*/ 517549 w 526593"/>
                  <a:gd name="connsiteY21" fmla="*/ 31555 h 403224"/>
                  <a:gd name="connsiteX22" fmla="*/ 515390 w 526593"/>
                  <a:gd name="connsiteY22" fmla="*/ 16446 h 403224"/>
                  <a:gd name="connsiteX23" fmla="*/ 515082 w 526593"/>
                  <a:gd name="connsiteY23" fmla="*/ 14287 h 403224"/>
                  <a:gd name="connsiteX24" fmla="*/ 526593 w 526593"/>
                  <a:gd name="connsiteY24" fmla="*/ 15109 h 403224"/>
                  <a:gd name="connsiteX25" fmla="*/ 523304 w 526593"/>
                  <a:gd name="connsiteY25" fmla="*/ 38133 h 403224"/>
                  <a:gd name="connsiteX26" fmla="*/ 510971 w 526593"/>
                  <a:gd name="connsiteY26" fmla="*/ 117894 h 403224"/>
                  <a:gd name="connsiteX27" fmla="*/ 325969 w 526593"/>
                  <a:gd name="connsiteY27" fmla="*/ 108027 h 403224"/>
                  <a:gd name="connsiteX28" fmla="*/ 301302 w 526593"/>
                  <a:gd name="connsiteY28" fmla="*/ 265904 h 403224"/>
                  <a:gd name="connsiteX29" fmla="*/ 270879 w 526593"/>
                  <a:gd name="connsiteY29" fmla="*/ 274127 h 403224"/>
                  <a:gd name="connsiteX30" fmla="*/ 234701 w 526593"/>
                  <a:gd name="connsiteY30" fmla="*/ 296328 h 403224"/>
                  <a:gd name="connsiteX31" fmla="*/ 231412 w 526593"/>
                  <a:gd name="connsiteY31" fmla="*/ 322641 h 403224"/>
                  <a:gd name="connsiteX32" fmla="*/ 225657 w 526593"/>
                  <a:gd name="connsiteY32" fmla="*/ 395001 h 403224"/>
                  <a:gd name="connsiteX33" fmla="*/ 24210 w 526593"/>
                  <a:gd name="connsiteY33" fmla="*/ 384312 h 403224"/>
                  <a:gd name="connsiteX34" fmla="*/ 5299 w 526593"/>
                  <a:gd name="connsiteY34" fmla="*/ 392535 h 403224"/>
                  <a:gd name="connsiteX35" fmla="*/ 365 w 526593"/>
                  <a:gd name="connsiteY35" fmla="*/ 403224 h 403224"/>
                  <a:gd name="connsiteX36" fmla="*/ 365 w 526593"/>
                  <a:gd name="connsiteY36" fmla="*/ 395824 h 403224"/>
                  <a:gd name="connsiteX37" fmla="*/ 6943 w 526593"/>
                  <a:gd name="connsiteY37" fmla="*/ 373622 h 403224"/>
                  <a:gd name="connsiteX38" fmla="*/ 63677 w 526593"/>
                  <a:gd name="connsiteY38" fmla="*/ 374444 h 403224"/>
                  <a:gd name="connsiteX39" fmla="*/ 118767 w 526593"/>
                  <a:gd name="connsiteY39" fmla="*/ 381023 h 403224"/>
                  <a:gd name="connsiteX40" fmla="*/ 139322 w 526593"/>
                  <a:gd name="connsiteY40" fmla="*/ 381023 h 403224"/>
                  <a:gd name="connsiteX41" fmla="*/ 139335 w 526593"/>
                  <a:gd name="connsiteY41" fmla="*/ 381000 h 403224"/>
                  <a:gd name="connsiteX42" fmla="*/ 119082 w 526593"/>
                  <a:gd name="connsiteY42" fmla="*/ 381000 h 403224"/>
                  <a:gd name="connsiteX43" fmla="*/ 64102 w 526593"/>
                  <a:gd name="connsiteY43" fmla="*/ 374417 h 403224"/>
                  <a:gd name="connsiteX44" fmla="*/ 7481 w 526593"/>
                  <a:gd name="connsiteY44" fmla="*/ 374417 h 403224"/>
                  <a:gd name="connsiteX45" fmla="*/ 12405 w 526593"/>
                  <a:gd name="connsiteY45" fmla="*/ 353845 h 403224"/>
                  <a:gd name="connsiteX46" fmla="*/ 27996 w 526593"/>
                  <a:gd name="connsiteY46" fmla="*/ 326689 h 403224"/>
                  <a:gd name="connsiteX47" fmla="*/ 41125 w 526593"/>
                  <a:gd name="connsiteY47" fmla="*/ 320106 h 403224"/>
                  <a:gd name="connsiteX48" fmla="*/ 53434 w 526593"/>
                  <a:gd name="connsiteY48" fmla="*/ 302002 h 403224"/>
                  <a:gd name="connsiteX49" fmla="*/ 68205 w 526593"/>
                  <a:gd name="connsiteY49" fmla="*/ 281430 h 403224"/>
                  <a:gd name="connsiteX50" fmla="*/ 69025 w 526593"/>
                  <a:gd name="connsiteY50" fmla="*/ 269909 h 403224"/>
                  <a:gd name="connsiteX51" fmla="*/ 97746 w 526593"/>
                  <a:gd name="connsiteY51" fmla="*/ 234525 h 403224"/>
                  <a:gd name="connsiteX52" fmla="*/ 106773 w 526593"/>
                  <a:gd name="connsiteY52" fmla="*/ 217244 h 403224"/>
                  <a:gd name="connsiteX53" fmla="*/ 144520 w 526593"/>
                  <a:gd name="connsiteY53" fmla="*/ 182683 h 403224"/>
                  <a:gd name="connsiteX54" fmla="*/ 160932 w 526593"/>
                  <a:gd name="connsiteY54" fmla="*/ 161287 h 403224"/>
                  <a:gd name="connsiteX55" fmla="*/ 167497 w 526593"/>
                  <a:gd name="connsiteY55" fmla="*/ 147298 h 403224"/>
                  <a:gd name="connsiteX56" fmla="*/ 177344 w 526593"/>
                  <a:gd name="connsiteY56" fmla="*/ 126726 h 403224"/>
                  <a:gd name="connsiteX57" fmla="*/ 192935 w 526593"/>
                  <a:gd name="connsiteY57" fmla="*/ 94633 h 403224"/>
                  <a:gd name="connsiteX58" fmla="*/ 210167 w 526593"/>
                  <a:gd name="connsiteY58" fmla="*/ 76529 h 403224"/>
                  <a:gd name="connsiteX59" fmla="*/ 225759 w 526593"/>
                  <a:gd name="connsiteY59" fmla="*/ 68300 h 403224"/>
                  <a:gd name="connsiteX60" fmla="*/ 250376 w 526593"/>
                  <a:gd name="connsiteY60" fmla="*/ 54311 h 403224"/>
                  <a:gd name="connsiteX61" fmla="*/ 257762 w 526593"/>
                  <a:gd name="connsiteY61" fmla="*/ 45259 h 403224"/>
                  <a:gd name="connsiteX62" fmla="*/ 273353 w 526593"/>
                  <a:gd name="connsiteY62" fmla="*/ 18927 h 403224"/>
                  <a:gd name="connsiteX63" fmla="*/ 288124 w 526593"/>
                  <a:gd name="connsiteY63" fmla="*/ 823 h 403224"/>
                  <a:gd name="connsiteX64" fmla="*/ 288124 w 526593"/>
                  <a:gd name="connsiteY64" fmla="*/ 0 h 403224"/>
                  <a:gd name="connsiteX0" fmla="*/ 430394 w 526593"/>
                  <a:gd name="connsiteY0" fmla="*/ 65112 h 403224"/>
                  <a:gd name="connsiteX1" fmla="*/ 428748 w 526593"/>
                  <a:gd name="connsiteY1" fmla="*/ 66091 h 403224"/>
                  <a:gd name="connsiteX2" fmla="*/ 442417 w 526593"/>
                  <a:gd name="connsiteY2" fmla="*/ 61054 h 403224"/>
                  <a:gd name="connsiteX3" fmla="*/ 444340 w 526593"/>
                  <a:gd name="connsiteY3" fmla="*/ 60346 h 403224"/>
                  <a:gd name="connsiteX4" fmla="*/ 430394 w 526593"/>
                  <a:gd name="connsiteY4" fmla="*/ 65112 h 403224"/>
                  <a:gd name="connsiteX5" fmla="*/ 288124 w 526593"/>
                  <a:gd name="connsiteY5" fmla="*/ 0 h 403224"/>
                  <a:gd name="connsiteX6" fmla="*/ 514607 w 526593"/>
                  <a:gd name="connsiteY6" fmla="*/ 13989 h 403224"/>
                  <a:gd name="connsiteX7" fmla="*/ 516761 w 526593"/>
                  <a:gd name="connsiteY7" fmla="*/ 29110 h 403224"/>
                  <a:gd name="connsiteX8" fmla="*/ 517069 w 526593"/>
                  <a:gd name="connsiteY8" fmla="*/ 31270 h 403224"/>
                  <a:gd name="connsiteX9" fmla="*/ 514197 w 526593"/>
                  <a:gd name="connsiteY9" fmla="*/ 43511 h 403224"/>
                  <a:gd name="connsiteX10" fmla="*/ 513787 w 526593"/>
                  <a:gd name="connsiteY10" fmla="*/ 45259 h 403224"/>
                  <a:gd name="connsiteX11" fmla="*/ 513787 w 526593"/>
                  <a:gd name="connsiteY11" fmla="*/ 51019 h 403224"/>
                  <a:gd name="connsiteX12" fmla="*/ 513787 w 526593"/>
                  <a:gd name="connsiteY12" fmla="*/ 51842 h 403224"/>
                  <a:gd name="connsiteX13" fmla="*/ 479322 w 526593"/>
                  <a:gd name="connsiteY13" fmla="*/ 55134 h 403224"/>
                  <a:gd name="connsiteX14" fmla="*/ 452285 w 526593"/>
                  <a:gd name="connsiteY14" fmla="*/ 67458 h 403224"/>
                  <a:gd name="connsiteX15" fmla="*/ 479726 w 526593"/>
                  <a:gd name="connsiteY15" fmla="*/ 55401 h 403224"/>
                  <a:gd name="connsiteX16" fmla="*/ 510971 w 526593"/>
                  <a:gd name="connsiteY16" fmla="*/ 55401 h 403224"/>
                  <a:gd name="connsiteX17" fmla="*/ 514260 w 526593"/>
                  <a:gd name="connsiteY17" fmla="*/ 46356 h 403224"/>
                  <a:gd name="connsiteX18" fmla="*/ 514260 w 526593"/>
                  <a:gd name="connsiteY18" fmla="*/ 45534 h 403224"/>
                  <a:gd name="connsiteX19" fmla="*/ 517137 w 526593"/>
                  <a:gd name="connsiteY19" fmla="*/ 33302 h 403224"/>
                  <a:gd name="connsiteX20" fmla="*/ 517549 w 526593"/>
                  <a:gd name="connsiteY20" fmla="*/ 31555 h 403224"/>
                  <a:gd name="connsiteX21" fmla="*/ 515390 w 526593"/>
                  <a:gd name="connsiteY21" fmla="*/ 16446 h 403224"/>
                  <a:gd name="connsiteX22" fmla="*/ 515082 w 526593"/>
                  <a:gd name="connsiteY22" fmla="*/ 14287 h 403224"/>
                  <a:gd name="connsiteX23" fmla="*/ 526593 w 526593"/>
                  <a:gd name="connsiteY23" fmla="*/ 15109 h 403224"/>
                  <a:gd name="connsiteX24" fmla="*/ 523304 w 526593"/>
                  <a:gd name="connsiteY24" fmla="*/ 38133 h 403224"/>
                  <a:gd name="connsiteX25" fmla="*/ 510971 w 526593"/>
                  <a:gd name="connsiteY25" fmla="*/ 117894 h 403224"/>
                  <a:gd name="connsiteX26" fmla="*/ 325969 w 526593"/>
                  <a:gd name="connsiteY26" fmla="*/ 108027 h 403224"/>
                  <a:gd name="connsiteX27" fmla="*/ 301302 w 526593"/>
                  <a:gd name="connsiteY27" fmla="*/ 265904 h 403224"/>
                  <a:gd name="connsiteX28" fmla="*/ 270879 w 526593"/>
                  <a:gd name="connsiteY28" fmla="*/ 274127 h 403224"/>
                  <a:gd name="connsiteX29" fmla="*/ 234701 w 526593"/>
                  <a:gd name="connsiteY29" fmla="*/ 296328 h 403224"/>
                  <a:gd name="connsiteX30" fmla="*/ 231412 w 526593"/>
                  <a:gd name="connsiteY30" fmla="*/ 322641 h 403224"/>
                  <a:gd name="connsiteX31" fmla="*/ 225657 w 526593"/>
                  <a:gd name="connsiteY31" fmla="*/ 395001 h 403224"/>
                  <a:gd name="connsiteX32" fmla="*/ 24210 w 526593"/>
                  <a:gd name="connsiteY32" fmla="*/ 384312 h 403224"/>
                  <a:gd name="connsiteX33" fmla="*/ 5299 w 526593"/>
                  <a:gd name="connsiteY33" fmla="*/ 392535 h 403224"/>
                  <a:gd name="connsiteX34" fmla="*/ 365 w 526593"/>
                  <a:gd name="connsiteY34" fmla="*/ 403224 h 403224"/>
                  <a:gd name="connsiteX35" fmla="*/ 365 w 526593"/>
                  <a:gd name="connsiteY35" fmla="*/ 395824 h 403224"/>
                  <a:gd name="connsiteX36" fmla="*/ 6943 w 526593"/>
                  <a:gd name="connsiteY36" fmla="*/ 373622 h 403224"/>
                  <a:gd name="connsiteX37" fmla="*/ 63677 w 526593"/>
                  <a:gd name="connsiteY37" fmla="*/ 374444 h 403224"/>
                  <a:gd name="connsiteX38" fmla="*/ 118767 w 526593"/>
                  <a:gd name="connsiteY38" fmla="*/ 381023 h 403224"/>
                  <a:gd name="connsiteX39" fmla="*/ 139322 w 526593"/>
                  <a:gd name="connsiteY39" fmla="*/ 381023 h 403224"/>
                  <a:gd name="connsiteX40" fmla="*/ 139335 w 526593"/>
                  <a:gd name="connsiteY40" fmla="*/ 381000 h 403224"/>
                  <a:gd name="connsiteX41" fmla="*/ 119082 w 526593"/>
                  <a:gd name="connsiteY41" fmla="*/ 381000 h 403224"/>
                  <a:gd name="connsiteX42" fmla="*/ 64102 w 526593"/>
                  <a:gd name="connsiteY42" fmla="*/ 374417 h 403224"/>
                  <a:gd name="connsiteX43" fmla="*/ 7481 w 526593"/>
                  <a:gd name="connsiteY43" fmla="*/ 374417 h 403224"/>
                  <a:gd name="connsiteX44" fmla="*/ 12405 w 526593"/>
                  <a:gd name="connsiteY44" fmla="*/ 353845 h 403224"/>
                  <a:gd name="connsiteX45" fmla="*/ 27996 w 526593"/>
                  <a:gd name="connsiteY45" fmla="*/ 326689 h 403224"/>
                  <a:gd name="connsiteX46" fmla="*/ 41125 w 526593"/>
                  <a:gd name="connsiteY46" fmla="*/ 320106 h 403224"/>
                  <a:gd name="connsiteX47" fmla="*/ 53434 w 526593"/>
                  <a:gd name="connsiteY47" fmla="*/ 302002 h 403224"/>
                  <a:gd name="connsiteX48" fmla="*/ 68205 w 526593"/>
                  <a:gd name="connsiteY48" fmla="*/ 281430 h 403224"/>
                  <a:gd name="connsiteX49" fmla="*/ 69025 w 526593"/>
                  <a:gd name="connsiteY49" fmla="*/ 269909 h 403224"/>
                  <a:gd name="connsiteX50" fmla="*/ 97746 w 526593"/>
                  <a:gd name="connsiteY50" fmla="*/ 234525 h 403224"/>
                  <a:gd name="connsiteX51" fmla="*/ 106773 w 526593"/>
                  <a:gd name="connsiteY51" fmla="*/ 217244 h 403224"/>
                  <a:gd name="connsiteX52" fmla="*/ 144520 w 526593"/>
                  <a:gd name="connsiteY52" fmla="*/ 182683 h 403224"/>
                  <a:gd name="connsiteX53" fmla="*/ 160932 w 526593"/>
                  <a:gd name="connsiteY53" fmla="*/ 161287 h 403224"/>
                  <a:gd name="connsiteX54" fmla="*/ 167497 w 526593"/>
                  <a:gd name="connsiteY54" fmla="*/ 147298 h 403224"/>
                  <a:gd name="connsiteX55" fmla="*/ 177344 w 526593"/>
                  <a:gd name="connsiteY55" fmla="*/ 126726 h 403224"/>
                  <a:gd name="connsiteX56" fmla="*/ 192935 w 526593"/>
                  <a:gd name="connsiteY56" fmla="*/ 94633 h 403224"/>
                  <a:gd name="connsiteX57" fmla="*/ 210167 w 526593"/>
                  <a:gd name="connsiteY57" fmla="*/ 76529 h 403224"/>
                  <a:gd name="connsiteX58" fmla="*/ 225759 w 526593"/>
                  <a:gd name="connsiteY58" fmla="*/ 68300 h 403224"/>
                  <a:gd name="connsiteX59" fmla="*/ 250376 w 526593"/>
                  <a:gd name="connsiteY59" fmla="*/ 54311 h 403224"/>
                  <a:gd name="connsiteX60" fmla="*/ 257762 w 526593"/>
                  <a:gd name="connsiteY60" fmla="*/ 45259 h 403224"/>
                  <a:gd name="connsiteX61" fmla="*/ 273353 w 526593"/>
                  <a:gd name="connsiteY61" fmla="*/ 18927 h 403224"/>
                  <a:gd name="connsiteX62" fmla="*/ 288124 w 526593"/>
                  <a:gd name="connsiteY62" fmla="*/ 823 h 403224"/>
                  <a:gd name="connsiteX63" fmla="*/ 288124 w 526593"/>
                  <a:gd name="connsiteY63" fmla="*/ 0 h 403224"/>
                  <a:gd name="connsiteX0" fmla="*/ 444340 w 526593"/>
                  <a:gd name="connsiteY0" fmla="*/ 60346 h 403224"/>
                  <a:gd name="connsiteX1" fmla="*/ 428748 w 526593"/>
                  <a:gd name="connsiteY1" fmla="*/ 66091 h 403224"/>
                  <a:gd name="connsiteX2" fmla="*/ 442417 w 526593"/>
                  <a:gd name="connsiteY2" fmla="*/ 61054 h 403224"/>
                  <a:gd name="connsiteX3" fmla="*/ 444340 w 526593"/>
                  <a:gd name="connsiteY3" fmla="*/ 60346 h 403224"/>
                  <a:gd name="connsiteX4" fmla="*/ 288124 w 526593"/>
                  <a:gd name="connsiteY4" fmla="*/ 0 h 403224"/>
                  <a:gd name="connsiteX5" fmla="*/ 514607 w 526593"/>
                  <a:gd name="connsiteY5" fmla="*/ 13989 h 403224"/>
                  <a:gd name="connsiteX6" fmla="*/ 516761 w 526593"/>
                  <a:gd name="connsiteY6" fmla="*/ 29110 h 403224"/>
                  <a:gd name="connsiteX7" fmla="*/ 517069 w 526593"/>
                  <a:gd name="connsiteY7" fmla="*/ 31270 h 403224"/>
                  <a:gd name="connsiteX8" fmla="*/ 514197 w 526593"/>
                  <a:gd name="connsiteY8" fmla="*/ 43511 h 403224"/>
                  <a:gd name="connsiteX9" fmla="*/ 513787 w 526593"/>
                  <a:gd name="connsiteY9" fmla="*/ 45259 h 403224"/>
                  <a:gd name="connsiteX10" fmla="*/ 513787 w 526593"/>
                  <a:gd name="connsiteY10" fmla="*/ 51019 h 403224"/>
                  <a:gd name="connsiteX11" fmla="*/ 513787 w 526593"/>
                  <a:gd name="connsiteY11" fmla="*/ 51842 h 403224"/>
                  <a:gd name="connsiteX12" fmla="*/ 479322 w 526593"/>
                  <a:gd name="connsiteY12" fmla="*/ 55134 h 403224"/>
                  <a:gd name="connsiteX13" fmla="*/ 452285 w 526593"/>
                  <a:gd name="connsiteY13" fmla="*/ 67458 h 403224"/>
                  <a:gd name="connsiteX14" fmla="*/ 479726 w 526593"/>
                  <a:gd name="connsiteY14" fmla="*/ 55401 h 403224"/>
                  <a:gd name="connsiteX15" fmla="*/ 510971 w 526593"/>
                  <a:gd name="connsiteY15" fmla="*/ 55401 h 403224"/>
                  <a:gd name="connsiteX16" fmla="*/ 514260 w 526593"/>
                  <a:gd name="connsiteY16" fmla="*/ 46356 h 403224"/>
                  <a:gd name="connsiteX17" fmla="*/ 514260 w 526593"/>
                  <a:gd name="connsiteY17" fmla="*/ 45534 h 403224"/>
                  <a:gd name="connsiteX18" fmla="*/ 517137 w 526593"/>
                  <a:gd name="connsiteY18" fmla="*/ 33302 h 403224"/>
                  <a:gd name="connsiteX19" fmla="*/ 517549 w 526593"/>
                  <a:gd name="connsiteY19" fmla="*/ 31555 h 403224"/>
                  <a:gd name="connsiteX20" fmla="*/ 515390 w 526593"/>
                  <a:gd name="connsiteY20" fmla="*/ 16446 h 403224"/>
                  <a:gd name="connsiteX21" fmla="*/ 515082 w 526593"/>
                  <a:gd name="connsiteY21" fmla="*/ 14287 h 403224"/>
                  <a:gd name="connsiteX22" fmla="*/ 526593 w 526593"/>
                  <a:gd name="connsiteY22" fmla="*/ 15109 h 403224"/>
                  <a:gd name="connsiteX23" fmla="*/ 523304 w 526593"/>
                  <a:gd name="connsiteY23" fmla="*/ 38133 h 403224"/>
                  <a:gd name="connsiteX24" fmla="*/ 510971 w 526593"/>
                  <a:gd name="connsiteY24" fmla="*/ 117894 h 403224"/>
                  <a:gd name="connsiteX25" fmla="*/ 325969 w 526593"/>
                  <a:gd name="connsiteY25" fmla="*/ 108027 h 403224"/>
                  <a:gd name="connsiteX26" fmla="*/ 301302 w 526593"/>
                  <a:gd name="connsiteY26" fmla="*/ 265904 h 403224"/>
                  <a:gd name="connsiteX27" fmla="*/ 270879 w 526593"/>
                  <a:gd name="connsiteY27" fmla="*/ 274127 h 403224"/>
                  <a:gd name="connsiteX28" fmla="*/ 234701 w 526593"/>
                  <a:gd name="connsiteY28" fmla="*/ 296328 h 403224"/>
                  <a:gd name="connsiteX29" fmla="*/ 231412 w 526593"/>
                  <a:gd name="connsiteY29" fmla="*/ 322641 h 403224"/>
                  <a:gd name="connsiteX30" fmla="*/ 225657 w 526593"/>
                  <a:gd name="connsiteY30" fmla="*/ 395001 h 403224"/>
                  <a:gd name="connsiteX31" fmla="*/ 24210 w 526593"/>
                  <a:gd name="connsiteY31" fmla="*/ 384312 h 403224"/>
                  <a:gd name="connsiteX32" fmla="*/ 5299 w 526593"/>
                  <a:gd name="connsiteY32" fmla="*/ 392535 h 403224"/>
                  <a:gd name="connsiteX33" fmla="*/ 365 w 526593"/>
                  <a:gd name="connsiteY33" fmla="*/ 403224 h 403224"/>
                  <a:gd name="connsiteX34" fmla="*/ 365 w 526593"/>
                  <a:gd name="connsiteY34" fmla="*/ 395824 h 403224"/>
                  <a:gd name="connsiteX35" fmla="*/ 6943 w 526593"/>
                  <a:gd name="connsiteY35" fmla="*/ 373622 h 403224"/>
                  <a:gd name="connsiteX36" fmla="*/ 63677 w 526593"/>
                  <a:gd name="connsiteY36" fmla="*/ 374444 h 403224"/>
                  <a:gd name="connsiteX37" fmla="*/ 118767 w 526593"/>
                  <a:gd name="connsiteY37" fmla="*/ 381023 h 403224"/>
                  <a:gd name="connsiteX38" fmla="*/ 139322 w 526593"/>
                  <a:gd name="connsiteY38" fmla="*/ 381023 h 403224"/>
                  <a:gd name="connsiteX39" fmla="*/ 139335 w 526593"/>
                  <a:gd name="connsiteY39" fmla="*/ 381000 h 403224"/>
                  <a:gd name="connsiteX40" fmla="*/ 119082 w 526593"/>
                  <a:gd name="connsiteY40" fmla="*/ 381000 h 403224"/>
                  <a:gd name="connsiteX41" fmla="*/ 64102 w 526593"/>
                  <a:gd name="connsiteY41" fmla="*/ 374417 h 403224"/>
                  <a:gd name="connsiteX42" fmla="*/ 7481 w 526593"/>
                  <a:gd name="connsiteY42" fmla="*/ 374417 h 403224"/>
                  <a:gd name="connsiteX43" fmla="*/ 12405 w 526593"/>
                  <a:gd name="connsiteY43" fmla="*/ 353845 h 403224"/>
                  <a:gd name="connsiteX44" fmla="*/ 27996 w 526593"/>
                  <a:gd name="connsiteY44" fmla="*/ 326689 h 403224"/>
                  <a:gd name="connsiteX45" fmla="*/ 41125 w 526593"/>
                  <a:gd name="connsiteY45" fmla="*/ 320106 h 403224"/>
                  <a:gd name="connsiteX46" fmla="*/ 53434 w 526593"/>
                  <a:gd name="connsiteY46" fmla="*/ 302002 h 403224"/>
                  <a:gd name="connsiteX47" fmla="*/ 68205 w 526593"/>
                  <a:gd name="connsiteY47" fmla="*/ 281430 h 403224"/>
                  <a:gd name="connsiteX48" fmla="*/ 69025 w 526593"/>
                  <a:gd name="connsiteY48" fmla="*/ 269909 h 403224"/>
                  <a:gd name="connsiteX49" fmla="*/ 97746 w 526593"/>
                  <a:gd name="connsiteY49" fmla="*/ 234525 h 403224"/>
                  <a:gd name="connsiteX50" fmla="*/ 106773 w 526593"/>
                  <a:gd name="connsiteY50" fmla="*/ 217244 h 403224"/>
                  <a:gd name="connsiteX51" fmla="*/ 144520 w 526593"/>
                  <a:gd name="connsiteY51" fmla="*/ 182683 h 403224"/>
                  <a:gd name="connsiteX52" fmla="*/ 160932 w 526593"/>
                  <a:gd name="connsiteY52" fmla="*/ 161287 h 403224"/>
                  <a:gd name="connsiteX53" fmla="*/ 167497 w 526593"/>
                  <a:gd name="connsiteY53" fmla="*/ 147298 h 403224"/>
                  <a:gd name="connsiteX54" fmla="*/ 177344 w 526593"/>
                  <a:gd name="connsiteY54" fmla="*/ 126726 h 403224"/>
                  <a:gd name="connsiteX55" fmla="*/ 192935 w 526593"/>
                  <a:gd name="connsiteY55" fmla="*/ 94633 h 403224"/>
                  <a:gd name="connsiteX56" fmla="*/ 210167 w 526593"/>
                  <a:gd name="connsiteY56" fmla="*/ 76529 h 403224"/>
                  <a:gd name="connsiteX57" fmla="*/ 225759 w 526593"/>
                  <a:gd name="connsiteY57" fmla="*/ 68300 h 403224"/>
                  <a:gd name="connsiteX58" fmla="*/ 250376 w 526593"/>
                  <a:gd name="connsiteY58" fmla="*/ 54311 h 403224"/>
                  <a:gd name="connsiteX59" fmla="*/ 257762 w 526593"/>
                  <a:gd name="connsiteY59" fmla="*/ 45259 h 403224"/>
                  <a:gd name="connsiteX60" fmla="*/ 273353 w 526593"/>
                  <a:gd name="connsiteY60" fmla="*/ 18927 h 403224"/>
                  <a:gd name="connsiteX61" fmla="*/ 288124 w 526593"/>
                  <a:gd name="connsiteY61" fmla="*/ 823 h 403224"/>
                  <a:gd name="connsiteX62" fmla="*/ 288124 w 526593"/>
                  <a:gd name="connsiteY62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52285 w 526593"/>
                  <a:gd name="connsiteY12" fmla="*/ 67458 h 403224"/>
                  <a:gd name="connsiteX13" fmla="*/ 479726 w 526593"/>
                  <a:gd name="connsiteY13" fmla="*/ 55401 h 403224"/>
                  <a:gd name="connsiteX14" fmla="*/ 510971 w 526593"/>
                  <a:gd name="connsiteY14" fmla="*/ 55401 h 403224"/>
                  <a:gd name="connsiteX15" fmla="*/ 514260 w 526593"/>
                  <a:gd name="connsiteY15" fmla="*/ 46356 h 403224"/>
                  <a:gd name="connsiteX16" fmla="*/ 514260 w 526593"/>
                  <a:gd name="connsiteY16" fmla="*/ 45534 h 403224"/>
                  <a:gd name="connsiteX17" fmla="*/ 517137 w 526593"/>
                  <a:gd name="connsiteY17" fmla="*/ 33302 h 403224"/>
                  <a:gd name="connsiteX18" fmla="*/ 517549 w 526593"/>
                  <a:gd name="connsiteY18" fmla="*/ 31555 h 403224"/>
                  <a:gd name="connsiteX19" fmla="*/ 515390 w 526593"/>
                  <a:gd name="connsiteY19" fmla="*/ 16446 h 403224"/>
                  <a:gd name="connsiteX20" fmla="*/ 515082 w 526593"/>
                  <a:gd name="connsiteY20" fmla="*/ 14287 h 403224"/>
                  <a:gd name="connsiteX21" fmla="*/ 526593 w 526593"/>
                  <a:gd name="connsiteY21" fmla="*/ 15109 h 403224"/>
                  <a:gd name="connsiteX22" fmla="*/ 523304 w 526593"/>
                  <a:gd name="connsiteY22" fmla="*/ 38133 h 403224"/>
                  <a:gd name="connsiteX23" fmla="*/ 510971 w 526593"/>
                  <a:gd name="connsiteY23" fmla="*/ 117894 h 403224"/>
                  <a:gd name="connsiteX24" fmla="*/ 325969 w 526593"/>
                  <a:gd name="connsiteY24" fmla="*/ 108027 h 403224"/>
                  <a:gd name="connsiteX25" fmla="*/ 301302 w 526593"/>
                  <a:gd name="connsiteY25" fmla="*/ 265904 h 403224"/>
                  <a:gd name="connsiteX26" fmla="*/ 270879 w 526593"/>
                  <a:gd name="connsiteY26" fmla="*/ 274127 h 403224"/>
                  <a:gd name="connsiteX27" fmla="*/ 234701 w 526593"/>
                  <a:gd name="connsiteY27" fmla="*/ 296328 h 403224"/>
                  <a:gd name="connsiteX28" fmla="*/ 231412 w 526593"/>
                  <a:gd name="connsiteY28" fmla="*/ 322641 h 403224"/>
                  <a:gd name="connsiteX29" fmla="*/ 225657 w 526593"/>
                  <a:gd name="connsiteY29" fmla="*/ 395001 h 403224"/>
                  <a:gd name="connsiteX30" fmla="*/ 24210 w 526593"/>
                  <a:gd name="connsiteY30" fmla="*/ 384312 h 403224"/>
                  <a:gd name="connsiteX31" fmla="*/ 5299 w 526593"/>
                  <a:gd name="connsiteY31" fmla="*/ 392535 h 403224"/>
                  <a:gd name="connsiteX32" fmla="*/ 365 w 526593"/>
                  <a:gd name="connsiteY32" fmla="*/ 403224 h 403224"/>
                  <a:gd name="connsiteX33" fmla="*/ 365 w 526593"/>
                  <a:gd name="connsiteY33" fmla="*/ 395824 h 403224"/>
                  <a:gd name="connsiteX34" fmla="*/ 6943 w 526593"/>
                  <a:gd name="connsiteY34" fmla="*/ 373622 h 403224"/>
                  <a:gd name="connsiteX35" fmla="*/ 63677 w 526593"/>
                  <a:gd name="connsiteY35" fmla="*/ 374444 h 403224"/>
                  <a:gd name="connsiteX36" fmla="*/ 118767 w 526593"/>
                  <a:gd name="connsiteY36" fmla="*/ 381023 h 403224"/>
                  <a:gd name="connsiteX37" fmla="*/ 139322 w 526593"/>
                  <a:gd name="connsiteY37" fmla="*/ 381023 h 403224"/>
                  <a:gd name="connsiteX38" fmla="*/ 139335 w 526593"/>
                  <a:gd name="connsiteY38" fmla="*/ 381000 h 403224"/>
                  <a:gd name="connsiteX39" fmla="*/ 119082 w 526593"/>
                  <a:gd name="connsiteY39" fmla="*/ 381000 h 403224"/>
                  <a:gd name="connsiteX40" fmla="*/ 64102 w 526593"/>
                  <a:gd name="connsiteY40" fmla="*/ 374417 h 403224"/>
                  <a:gd name="connsiteX41" fmla="*/ 7481 w 526593"/>
                  <a:gd name="connsiteY41" fmla="*/ 374417 h 403224"/>
                  <a:gd name="connsiteX42" fmla="*/ 12405 w 526593"/>
                  <a:gd name="connsiteY42" fmla="*/ 353845 h 403224"/>
                  <a:gd name="connsiteX43" fmla="*/ 27996 w 526593"/>
                  <a:gd name="connsiteY43" fmla="*/ 326689 h 403224"/>
                  <a:gd name="connsiteX44" fmla="*/ 41125 w 526593"/>
                  <a:gd name="connsiteY44" fmla="*/ 320106 h 403224"/>
                  <a:gd name="connsiteX45" fmla="*/ 53434 w 526593"/>
                  <a:gd name="connsiteY45" fmla="*/ 302002 h 403224"/>
                  <a:gd name="connsiteX46" fmla="*/ 68205 w 526593"/>
                  <a:gd name="connsiteY46" fmla="*/ 281430 h 403224"/>
                  <a:gd name="connsiteX47" fmla="*/ 69025 w 526593"/>
                  <a:gd name="connsiteY47" fmla="*/ 269909 h 403224"/>
                  <a:gd name="connsiteX48" fmla="*/ 97746 w 526593"/>
                  <a:gd name="connsiteY48" fmla="*/ 234525 h 403224"/>
                  <a:gd name="connsiteX49" fmla="*/ 106773 w 526593"/>
                  <a:gd name="connsiteY49" fmla="*/ 217244 h 403224"/>
                  <a:gd name="connsiteX50" fmla="*/ 144520 w 526593"/>
                  <a:gd name="connsiteY50" fmla="*/ 182683 h 403224"/>
                  <a:gd name="connsiteX51" fmla="*/ 160932 w 526593"/>
                  <a:gd name="connsiteY51" fmla="*/ 161287 h 403224"/>
                  <a:gd name="connsiteX52" fmla="*/ 167497 w 526593"/>
                  <a:gd name="connsiteY52" fmla="*/ 147298 h 403224"/>
                  <a:gd name="connsiteX53" fmla="*/ 177344 w 526593"/>
                  <a:gd name="connsiteY53" fmla="*/ 126726 h 403224"/>
                  <a:gd name="connsiteX54" fmla="*/ 192935 w 526593"/>
                  <a:gd name="connsiteY54" fmla="*/ 94633 h 403224"/>
                  <a:gd name="connsiteX55" fmla="*/ 210167 w 526593"/>
                  <a:gd name="connsiteY55" fmla="*/ 76529 h 403224"/>
                  <a:gd name="connsiteX56" fmla="*/ 225759 w 526593"/>
                  <a:gd name="connsiteY56" fmla="*/ 68300 h 403224"/>
                  <a:gd name="connsiteX57" fmla="*/ 250376 w 526593"/>
                  <a:gd name="connsiteY57" fmla="*/ 54311 h 403224"/>
                  <a:gd name="connsiteX58" fmla="*/ 257762 w 526593"/>
                  <a:gd name="connsiteY58" fmla="*/ 45259 h 403224"/>
                  <a:gd name="connsiteX59" fmla="*/ 273353 w 526593"/>
                  <a:gd name="connsiteY59" fmla="*/ 18927 h 403224"/>
                  <a:gd name="connsiteX60" fmla="*/ 288124 w 526593"/>
                  <a:gd name="connsiteY60" fmla="*/ 823 h 403224"/>
                  <a:gd name="connsiteX61" fmla="*/ 288124 w 526593"/>
                  <a:gd name="connsiteY61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52285 w 526593"/>
                  <a:gd name="connsiteY12" fmla="*/ 67458 h 403224"/>
                  <a:gd name="connsiteX13" fmla="*/ 479726 w 526593"/>
                  <a:gd name="connsiteY13" fmla="*/ 55401 h 403224"/>
                  <a:gd name="connsiteX14" fmla="*/ 510971 w 526593"/>
                  <a:gd name="connsiteY14" fmla="*/ 55401 h 403224"/>
                  <a:gd name="connsiteX15" fmla="*/ 514260 w 526593"/>
                  <a:gd name="connsiteY15" fmla="*/ 46356 h 403224"/>
                  <a:gd name="connsiteX16" fmla="*/ 514260 w 526593"/>
                  <a:gd name="connsiteY16" fmla="*/ 45534 h 403224"/>
                  <a:gd name="connsiteX17" fmla="*/ 517137 w 526593"/>
                  <a:gd name="connsiteY17" fmla="*/ 33302 h 403224"/>
                  <a:gd name="connsiteX18" fmla="*/ 517549 w 526593"/>
                  <a:gd name="connsiteY18" fmla="*/ 31555 h 403224"/>
                  <a:gd name="connsiteX19" fmla="*/ 515390 w 526593"/>
                  <a:gd name="connsiteY19" fmla="*/ 16446 h 403224"/>
                  <a:gd name="connsiteX20" fmla="*/ 515082 w 526593"/>
                  <a:gd name="connsiteY20" fmla="*/ 14287 h 403224"/>
                  <a:gd name="connsiteX21" fmla="*/ 526593 w 526593"/>
                  <a:gd name="connsiteY21" fmla="*/ 15109 h 403224"/>
                  <a:gd name="connsiteX22" fmla="*/ 523304 w 526593"/>
                  <a:gd name="connsiteY22" fmla="*/ 38133 h 403224"/>
                  <a:gd name="connsiteX23" fmla="*/ 510971 w 526593"/>
                  <a:gd name="connsiteY23" fmla="*/ 117894 h 403224"/>
                  <a:gd name="connsiteX24" fmla="*/ 325969 w 526593"/>
                  <a:gd name="connsiteY24" fmla="*/ 108027 h 403224"/>
                  <a:gd name="connsiteX25" fmla="*/ 301302 w 526593"/>
                  <a:gd name="connsiteY25" fmla="*/ 265904 h 403224"/>
                  <a:gd name="connsiteX26" fmla="*/ 270879 w 526593"/>
                  <a:gd name="connsiteY26" fmla="*/ 274127 h 403224"/>
                  <a:gd name="connsiteX27" fmla="*/ 234701 w 526593"/>
                  <a:gd name="connsiteY27" fmla="*/ 296328 h 403224"/>
                  <a:gd name="connsiteX28" fmla="*/ 231412 w 526593"/>
                  <a:gd name="connsiteY28" fmla="*/ 322641 h 403224"/>
                  <a:gd name="connsiteX29" fmla="*/ 225657 w 526593"/>
                  <a:gd name="connsiteY29" fmla="*/ 395001 h 403224"/>
                  <a:gd name="connsiteX30" fmla="*/ 24210 w 526593"/>
                  <a:gd name="connsiteY30" fmla="*/ 384312 h 403224"/>
                  <a:gd name="connsiteX31" fmla="*/ 5299 w 526593"/>
                  <a:gd name="connsiteY31" fmla="*/ 392535 h 403224"/>
                  <a:gd name="connsiteX32" fmla="*/ 365 w 526593"/>
                  <a:gd name="connsiteY32" fmla="*/ 403224 h 403224"/>
                  <a:gd name="connsiteX33" fmla="*/ 365 w 526593"/>
                  <a:gd name="connsiteY33" fmla="*/ 395824 h 403224"/>
                  <a:gd name="connsiteX34" fmla="*/ 6943 w 526593"/>
                  <a:gd name="connsiteY34" fmla="*/ 373622 h 403224"/>
                  <a:gd name="connsiteX35" fmla="*/ 63677 w 526593"/>
                  <a:gd name="connsiteY35" fmla="*/ 374444 h 403224"/>
                  <a:gd name="connsiteX36" fmla="*/ 118767 w 526593"/>
                  <a:gd name="connsiteY36" fmla="*/ 381023 h 403224"/>
                  <a:gd name="connsiteX37" fmla="*/ 139322 w 526593"/>
                  <a:gd name="connsiteY37" fmla="*/ 381023 h 403224"/>
                  <a:gd name="connsiteX38" fmla="*/ 160766 w 526593"/>
                  <a:gd name="connsiteY38" fmla="*/ 311943 h 403224"/>
                  <a:gd name="connsiteX39" fmla="*/ 119082 w 526593"/>
                  <a:gd name="connsiteY39" fmla="*/ 381000 h 403224"/>
                  <a:gd name="connsiteX40" fmla="*/ 64102 w 526593"/>
                  <a:gd name="connsiteY40" fmla="*/ 374417 h 403224"/>
                  <a:gd name="connsiteX41" fmla="*/ 7481 w 526593"/>
                  <a:gd name="connsiteY41" fmla="*/ 374417 h 403224"/>
                  <a:gd name="connsiteX42" fmla="*/ 12405 w 526593"/>
                  <a:gd name="connsiteY42" fmla="*/ 353845 h 403224"/>
                  <a:gd name="connsiteX43" fmla="*/ 27996 w 526593"/>
                  <a:gd name="connsiteY43" fmla="*/ 326689 h 403224"/>
                  <a:gd name="connsiteX44" fmla="*/ 41125 w 526593"/>
                  <a:gd name="connsiteY44" fmla="*/ 320106 h 403224"/>
                  <a:gd name="connsiteX45" fmla="*/ 53434 w 526593"/>
                  <a:gd name="connsiteY45" fmla="*/ 302002 h 403224"/>
                  <a:gd name="connsiteX46" fmla="*/ 68205 w 526593"/>
                  <a:gd name="connsiteY46" fmla="*/ 281430 h 403224"/>
                  <a:gd name="connsiteX47" fmla="*/ 69025 w 526593"/>
                  <a:gd name="connsiteY47" fmla="*/ 269909 h 403224"/>
                  <a:gd name="connsiteX48" fmla="*/ 97746 w 526593"/>
                  <a:gd name="connsiteY48" fmla="*/ 234525 h 403224"/>
                  <a:gd name="connsiteX49" fmla="*/ 106773 w 526593"/>
                  <a:gd name="connsiteY49" fmla="*/ 217244 h 403224"/>
                  <a:gd name="connsiteX50" fmla="*/ 144520 w 526593"/>
                  <a:gd name="connsiteY50" fmla="*/ 182683 h 403224"/>
                  <a:gd name="connsiteX51" fmla="*/ 160932 w 526593"/>
                  <a:gd name="connsiteY51" fmla="*/ 161287 h 403224"/>
                  <a:gd name="connsiteX52" fmla="*/ 167497 w 526593"/>
                  <a:gd name="connsiteY52" fmla="*/ 147298 h 403224"/>
                  <a:gd name="connsiteX53" fmla="*/ 177344 w 526593"/>
                  <a:gd name="connsiteY53" fmla="*/ 126726 h 403224"/>
                  <a:gd name="connsiteX54" fmla="*/ 192935 w 526593"/>
                  <a:gd name="connsiteY54" fmla="*/ 94633 h 403224"/>
                  <a:gd name="connsiteX55" fmla="*/ 210167 w 526593"/>
                  <a:gd name="connsiteY55" fmla="*/ 76529 h 403224"/>
                  <a:gd name="connsiteX56" fmla="*/ 225759 w 526593"/>
                  <a:gd name="connsiteY56" fmla="*/ 68300 h 403224"/>
                  <a:gd name="connsiteX57" fmla="*/ 250376 w 526593"/>
                  <a:gd name="connsiteY57" fmla="*/ 54311 h 403224"/>
                  <a:gd name="connsiteX58" fmla="*/ 257762 w 526593"/>
                  <a:gd name="connsiteY58" fmla="*/ 45259 h 403224"/>
                  <a:gd name="connsiteX59" fmla="*/ 273353 w 526593"/>
                  <a:gd name="connsiteY59" fmla="*/ 18927 h 403224"/>
                  <a:gd name="connsiteX60" fmla="*/ 288124 w 526593"/>
                  <a:gd name="connsiteY60" fmla="*/ 823 h 403224"/>
                  <a:gd name="connsiteX61" fmla="*/ 288124 w 526593"/>
                  <a:gd name="connsiteY61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52285 w 526593"/>
                  <a:gd name="connsiteY12" fmla="*/ 67458 h 403224"/>
                  <a:gd name="connsiteX13" fmla="*/ 479726 w 526593"/>
                  <a:gd name="connsiteY13" fmla="*/ 55401 h 403224"/>
                  <a:gd name="connsiteX14" fmla="*/ 510971 w 526593"/>
                  <a:gd name="connsiteY14" fmla="*/ 55401 h 403224"/>
                  <a:gd name="connsiteX15" fmla="*/ 514260 w 526593"/>
                  <a:gd name="connsiteY15" fmla="*/ 46356 h 403224"/>
                  <a:gd name="connsiteX16" fmla="*/ 514260 w 526593"/>
                  <a:gd name="connsiteY16" fmla="*/ 45534 h 403224"/>
                  <a:gd name="connsiteX17" fmla="*/ 517137 w 526593"/>
                  <a:gd name="connsiteY17" fmla="*/ 33302 h 403224"/>
                  <a:gd name="connsiteX18" fmla="*/ 517549 w 526593"/>
                  <a:gd name="connsiteY18" fmla="*/ 31555 h 403224"/>
                  <a:gd name="connsiteX19" fmla="*/ 515390 w 526593"/>
                  <a:gd name="connsiteY19" fmla="*/ 16446 h 403224"/>
                  <a:gd name="connsiteX20" fmla="*/ 515082 w 526593"/>
                  <a:gd name="connsiteY20" fmla="*/ 14287 h 403224"/>
                  <a:gd name="connsiteX21" fmla="*/ 526593 w 526593"/>
                  <a:gd name="connsiteY21" fmla="*/ 15109 h 403224"/>
                  <a:gd name="connsiteX22" fmla="*/ 523304 w 526593"/>
                  <a:gd name="connsiteY22" fmla="*/ 38133 h 403224"/>
                  <a:gd name="connsiteX23" fmla="*/ 510971 w 526593"/>
                  <a:gd name="connsiteY23" fmla="*/ 117894 h 403224"/>
                  <a:gd name="connsiteX24" fmla="*/ 325969 w 526593"/>
                  <a:gd name="connsiteY24" fmla="*/ 108027 h 403224"/>
                  <a:gd name="connsiteX25" fmla="*/ 301302 w 526593"/>
                  <a:gd name="connsiteY25" fmla="*/ 265904 h 403224"/>
                  <a:gd name="connsiteX26" fmla="*/ 270879 w 526593"/>
                  <a:gd name="connsiteY26" fmla="*/ 274127 h 403224"/>
                  <a:gd name="connsiteX27" fmla="*/ 234701 w 526593"/>
                  <a:gd name="connsiteY27" fmla="*/ 296328 h 403224"/>
                  <a:gd name="connsiteX28" fmla="*/ 231412 w 526593"/>
                  <a:gd name="connsiteY28" fmla="*/ 322641 h 403224"/>
                  <a:gd name="connsiteX29" fmla="*/ 225657 w 526593"/>
                  <a:gd name="connsiteY29" fmla="*/ 395001 h 403224"/>
                  <a:gd name="connsiteX30" fmla="*/ 24210 w 526593"/>
                  <a:gd name="connsiteY30" fmla="*/ 384312 h 403224"/>
                  <a:gd name="connsiteX31" fmla="*/ 5299 w 526593"/>
                  <a:gd name="connsiteY31" fmla="*/ 392535 h 403224"/>
                  <a:gd name="connsiteX32" fmla="*/ 365 w 526593"/>
                  <a:gd name="connsiteY32" fmla="*/ 403224 h 403224"/>
                  <a:gd name="connsiteX33" fmla="*/ 365 w 526593"/>
                  <a:gd name="connsiteY33" fmla="*/ 395824 h 403224"/>
                  <a:gd name="connsiteX34" fmla="*/ 6943 w 526593"/>
                  <a:gd name="connsiteY34" fmla="*/ 373622 h 403224"/>
                  <a:gd name="connsiteX35" fmla="*/ 63677 w 526593"/>
                  <a:gd name="connsiteY35" fmla="*/ 374444 h 403224"/>
                  <a:gd name="connsiteX36" fmla="*/ 118767 w 526593"/>
                  <a:gd name="connsiteY36" fmla="*/ 381023 h 403224"/>
                  <a:gd name="connsiteX37" fmla="*/ 139322 w 526593"/>
                  <a:gd name="connsiteY37" fmla="*/ 381023 h 403224"/>
                  <a:gd name="connsiteX38" fmla="*/ 160766 w 526593"/>
                  <a:gd name="connsiteY38" fmla="*/ 311943 h 403224"/>
                  <a:gd name="connsiteX39" fmla="*/ 95270 w 526593"/>
                  <a:gd name="connsiteY39" fmla="*/ 326231 h 403224"/>
                  <a:gd name="connsiteX40" fmla="*/ 64102 w 526593"/>
                  <a:gd name="connsiteY40" fmla="*/ 374417 h 403224"/>
                  <a:gd name="connsiteX41" fmla="*/ 7481 w 526593"/>
                  <a:gd name="connsiteY41" fmla="*/ 374417 h 403224"/>
                  <a:gd name="connsiteX42" fmla="*/ 12405 w 526593"/>
                  <a:gd name="connsiteY42" fmla="*/ 353845 h 403224"/>
                  <a:gd name="connsiteX43" fmla="*/ 27996 w 526593"/>
                  <a:gd name="connsiteY43" fmla="*/ 326689 h 403224"/>
                  <a:gd name="connsiteX44" fmla="*/ 41125 w 526593"/>
                  <a:gd name="connsiteY44" fmla="*/ 320106 h 403224"/>
                  <a:gd name="connsiteX45" fmla="*/ 53434 w 526593"/>
                  <a:gd name="connsiteY45" fmla="*/ 302002 h 403224"/>
                  <a:gd name="connsiteX46" fmla="*/ 68205 w 526593"/>
                  <a:gd name="connsiteY46" fmla="*/ 281430 h 403224"/>
                  <a:gd name="connsiteX47" fmla="*/ 69025 w 526593"/>
                  <a:gd name="connsiteY47" fmla="*/ 269909 h 403224"/>
                  <a:gd name="connsiteX48" fmla="*/ 97746 w 526593"/>
                  <a:gd name="connsiteY48" fmla="*/ 234525 h 403224"/>
                  <a:gd name="connsiteX49" fmla="*/ 106773 w 526593"/>
                  <a:gd name="connsiteY49" fmla="*/ 217244 h 403224"/>
                  <a:gd name="connsiteX50" fmla="*/ 144520 w 526593"/>
                  <a:gd name="connsiteY50" fmla="*/ 182683 h 403224"/>
                  <a:gd name="connsiteX51" fmla="*/ 160932 w 526593"/>
                  <a:gd name="connsiteY51" fmla="*/ 161287 h 403224"/>
                  <a:gd name="connsiteX52" fmla="*/ 167497 w 526593"/>
                  <a:gd name="connsiteY52" fmla="*/ 147298 h 403224"/>
                  <a:gd name="connsiteX53" fmla="*/ 177344 w 526593"/>
                  <a:gd name="connsiteY53" fmla="*/ 126726 h 403224"/>
                  <a:gd name="connsiteX54" fmla="*/ 192935 w 526593"/>
                  <a:gd name="connsiteY54" fmla="*/ 94633 h 403224"/>
                  <a:gd name="connsiteX55" fmla="*/ 210167 w 526593"/>
                  <a:gd name="connsiteY55" fmla="*/ 76529 h 403224"/>
                  <a:gd name="connsiteX56" fmla="*/ 225759 w 526593"/>
                  <a:gd name="connsiteY56" fmla="*/ 68300 h 403224"/>
                  <a:gd name="connsiteX57" fmla="*/ 250376 w 526593"/>
                  <a:gd name="connsiteY57" fmla="*/ 54311 h 403224"/>
                  <a:gd name="connsiteX58" fmla="*/ 257762 w 526593"/>
                  <a:gd name="connsiteY58" fmla="*/ 45259 h 403224"/>
                  <a:gd name="connsiteX59" fmla="*/ 273353 w 526593"/>
                  <a:gd name="connsiteY59" fmla="*/ 18927 h 403224"/>
                  <a:gd name="connsiteX60" fmla="*/ 288124 w 526593"/>
                  <a:gd name="connsiteY60" fmla="*/ 823 h 403224"/>
                  <a:gd name="connsiteX61" fmla="*/ 288124 w 526593"/>
                  <a:gd name="connsiteY61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52285 w 526593"/>
                  <a:gd name="connsiteY12" fmla="*/ 67458 h 403224"/>
                  <a:gd name="connsiteX13" fmla="*/ 479726 w 526593"/>
                  <a:gd name="connsiteY13" fmla="*/ 55401 h 403224"/>
                  <a:gd name="connsiteX14" fmla="*/ 510971 w 526593"/>
                  <a:gd name="connsiteY14" fmla="*/ 55401 h 403224"/>
                  <a:gd name="connsiteX15" fmla="*/ 514260 w 526593"/>
                  <a:gd name="connsiteY15" fmla="*/ 46356 h 403224"/>
                  <a:gd name="connsiteX16" fmla="*/ 514260 w 526593"/>
                  <a:gd name="connsiteY16" fmla="*/ 45534 h 403224"/>
                  <a:gd name="connsiteX17" fmla="*/ 517137 w 526593"/>
                  <a:gd name="connsiteY17" fmla="*/ 33302 h 403224"/>
                  <a:gd name="connsiteX18" fmla="*/ 517549 w 526593"/>
                  <a:gd name="connsiteY18" fmla="*/ 31555 h 403224"/>
                  <a:gd name="connsiteX19" fmla="*/ 515390 w 526593"/>
                  <a:gd name="connsiteY19" fmla="*/ 16446 h 403224"/>
                  <a:gd name="connsiteX20" fmla="*/ 515082 w 526593"/>
                  <a:gd name="connsiteY20" fmla="*/ 14287 h 403224"/>
                  <a:gd name="connsiteX21" fmla="*/ 526593 w 526593"/>
                  <a:gd name="connsiteY21" fmla="*/ 15109 h 403224"/>
                  <a:gd name="connsiteX22" fmla="*/ 523304 w 526593"/>
                  <a:gd name="connsiteY22" fmla="*/ 38133 h 403224"/>
                  <a:gd name="connsiteX23" fmla="*/ 510971 w 526593"/>
                  <a:gd name="connsiteY23" fmla="*/ 117894 h 403224"/>
                  <a:gd name="connsiteX24" fmla="*/ 325969 w 526593"/>
                  <a:gd name="connsiteY24" fmla="*/ 108027 h 403224"/>
                  <a:gd name="connsiteX25" fmla="*/ 301302 w 526593"/>
                  <a:gd name="connsiteY25" fmla="*/ 265904 h 403224"/>
                  <a:gd name="connsiteX26" fmla="*/ 270879 w 526593"/>
                  <a:gd name="connsiteY26" fmla="*/ 274127 h 403224"/>
                  <a:gd name="connsiteX27" fmla="*/ 234701 w 526593"/>
                  <a:gd name="connsiteY27" fmla="*/ 296328 h 403224"/>
                  <a:gd name="connsiteX28" fmla="*/ 231412 w 526593"/>
                  <a:gd name="connsiteY28" fmla="*/ 322641 h 403224"/>
                  <a:gd name="connsiteX29" fmla="*/ 225657 w 526593"/>
                  <a:gd name="connsiteY29" fmla="*/ 395001 h 403224"/>
                  <a:gd name="connsiteX30" fmla="*/ 24210 w 526593"/>
                  <a:gd name="connsiteY30" fmla="*/ 384312 h 403224"/>
                  <a:gd name="connsiteX31" fmla="*/ 5299 w 526593"/>
                  <a:gd name="connsiteY31" fmla="*/ 392535 h 403224"/>
                  <a:gd name="connsiteX32" fmla="*/ 365 w 526593"/>
                  <a:gd name="connsiteY32" fmla="*/ 403224 h 403224"/>
                  <a:gd name="connsiteX33" fmla="*/ 365 w 526593"/>
                  <a:gd name="connsiteY33" fmla="*/ 395824 h 403224"/>
                  <a:gd name="connsiteX34" fmla="*/ 6943 w 526593"/>
                  <a:gd name="connsiteY34" fmla="*/ 373622 h 403224"/>
                  <a:gd name="connsiteX35" fmla="*/ 63677 w 526593"/>
                  <a:gd name="connsiteY35" fmla="*/ 374444 h 403224"/>
                  <a:gd name="connsiteX36" fmla="*/ 118767 w 526593"/>
                  <a:gd name="connsiteY36" fmla="*/ 381023 h 403224"/>
                  <a:gd name="connsiteX37" fmla="*/ 189328 w 526593"/>
                  <a:gd name="connsiteY37" fmla="*/ 345304 h 403224"/>
                  <a:gd name="connsiteX38" fmla="*/ 160766 w 526593"/>
                  <a:gd name="connsiteY38" fmla="*/ 311943 h 403224"/>
                  <a:gd name="connsiteX39" fmla="*/ 95270 w 526593"/>
                  <a:gd name="connsiteY39" fmla="*/ 326231 h 403224"/>
                  <a:gd name="connsiteX40" fmla="*/ 64102 w 526593"/>
                  <a:gd name="connsiteY40" fmla="*/ 374417 h 403224"/>
                  <a:gd name="connsiteX41" fmla="*/ 7481 w 526593"/>
                  <a:gd name="connsiteY41" fmla="*/ 374417 h 403224"/>
                  <a:gd name="connsiteX42" fmla="*/ 12405 w 526593"/>
                  <a:gd name="connsiteY42" fmla="*/ 353845 h 403224"/>
                  <a:gd name="connsiteX43" fmla="*/ 27996 w 526593"/>
                  <a:gd name="connsiteY43" fmla="*/ 326689 h 403224"/>
                  <a:gd name="connsiteX44" fmla="*/ 41125 w 526593"/>
                  <a:gd name="connsiteY44" fmla="*/ 320106 h 403224"/>
                  <a:gd name="connsiteX45" fmla="*/ 53434 w 526593"/>
                  <a:gd name="connsiteY45" fmla="*/ 302002 h 403224"/>
                  <a:gd name="connsiteX46" fmla="*/ 68205 w 526593"/>
                  <a:gd name="connsiteY46" fmla="*/ 281430 h 403224"/>
                  <a:gd name="connsiteX47" fmla="*/ 69025 w 526593"/>
                  <a:gd name="connsiteY47" fmla="*/ 269909 h 403224"/>
                  <a:gd name="connsiteX48" fmla="*/ 97746 w 526593"/>
                  <a:gd name="connsiteY48" fmla="*/ 234525 h 403224"/>
                  <a:gd name="connsiteX49" fmla="*/ 106773 w 526593"/>
                  <a:gd name="connsiteY49" fmla="*/ 217244 h 403224"/>
                  <a:gd name="connsiteX50" fmla="*/ 144520 w 526593"/>
                  <a:gd name="connsiteY50" fmla="*/ 182683 h 403224"/>
                  <a:gd name="connsiteX51" fmla="*/ 160932 w 526593"/>
                  <a:gd name="connsiteY51" fmla="*/ 161287 h 403224"/>
                  <a:gd name="connsiteX52" fmla="*/ 167497 w 526593"/>
                  <a:gd name="connsiteY52" fmla="*/ 147298 h 403224"/>
                  <a:gd name="connsiteX53" fmla="*/ 177344 w 526593"/>
                  <a:gd name="connsiteY53" fmla="*/ 126726 h 403224"/>
                  <a:gd name="connsiteX54" fmla="*/ 192935 w 526593"/>
                  <a:gd name="connsiteY54" fmla="*/ 94633 h 403224"/>
                  <a:gd name="connsiteX55" fmla="*/ 210167 w 526593"/>
                  <a:gd name="connsiteY55" fmla="*/ 76529 h 403224"/>
                  <a:gd name="connsiteX56" fmla="*/ 225759 w 526593"/>
                  <a:gd name="connsiteY56" fmla="*/ 68300 h 403224"/>
                  <a:gd name="connsiteX57" fmla="*/ 250376 w 526593"/>
                  <a:gd name="connsiteY57" fmla="*/ 54311 h 403224"/>
                  <a:gd name="connsiteX58" fmla="*/ 257762 w 526593"/>
                  <a:gd name="connsiteY58" fmla="*/ 45259 h 403224"/>
                  <a:gd name="connsiteX59" fmla="*/ 273353 w 526593"/>
                  <a:gd name="connsiteY59" fmla="*/ 18927 h 403224"/>
                  <a:gd name="connsiteX60" fmla="*/ 288124 w 526593"/>
                  <a:gd name="connsiteY60" fmla="*/ 823 h 403224"/>
                  <a:gd name="connsiteX61" fmla="*/ 288124 w 526593"/>
                  <a:gd name="connsiteY61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52285 w 526593"/>
                  <a:gd name="connsiteY12" fmla="*/ 67458 h 403224"/>
                  <a:gd name="connsiteX13" fmla="*/ 479726 w 526593"/>
                  <a:gd name="connsiteY13" fmla="*/ 55401 h 403224"/>
                  <a:gd name="connsiteX14" fmla="*/ 510971 w 526593"/>
                  <a:gd name="connsiteY14" fmla="*/ 55401 h 403224"/>
                  <a:gd name="connsiteX15" fmla="*/ 514260 w 526593"/>
                  <a:gd name="connsiteY15" fmla="*/ 46356 h 403224"/>
                  <a:gd name="connsiteX16" fmla="*/ 514260 w 526593"/>
                  <a:gd name="connsiteY16" fmla="*/ 45534 h 403224"/>
                  <a:gd name="connsiteX17" fmla="*/ 517137 w 526593"/>
                  <a:gd name="connsiteY17" fmla="*/ 33302 h 403224"/>
                  <a:gd name="connsiteX18" fmla="*/ 517549 w 526593"/>
                  <a:gd name="connsiteY18" fmla="*/ 31555 h 403224"/>
                  <a:gd name="connsiteX19" fmla="*/ 515390 w 526593"/>
                  <a:gd name="connsiteY19" fmla="*/ 16446 h 403224"/>
                  <a:gd name="connsiteX20" fmla="*/ 515082 w 526593"/>
                  <a:gd name="connsiteY20" fmla="*/ 14287 h 403224"/>
                  <a:gd name="connsiteX21" fmla="*/ 526593 w 526593"/>
                  <a:gd name="connsiteY21" fmla="*/ 15109 h 403224"/>
                  <a:gd name="connsiteX22" fmla="*/ 523304 w 526593"/>
                  <a:gd name="connsiteY22" fmla="*/ 38133 h 403224"/>
                  <a:gd name="connsiteX23" fmla="*/ 510971 w 526593"/>
                  <a:gd name="connsiteY23" fmla="*/ 117894 h 403224"/>
                  <a:gd name="connsiteX24" fmla="*/ 325969 w 526593"/>
                  <a:gd name="connsiteY24" fmla="*/ 108027 h 403224"/>
                  <a:gd name="connsiteX25" fmla="*/ 301302 w 526593"/>
                  <a:gd name="connsiteY25" fmla="*/ 265904 h 403224"/>
                  <a:gd name="connsiteX26" fmla="*/ 270879 w 526593"/>
                  <a:gd name="connsiteY26" fmla="*/ 274127 h 403224"/>
                  <a:gd name="connsiteX27" fmla="*/ 234701 w 526593"/>
                  <a:gd name="connsiteY27" fmla="*/ 296328 h 403224"/>
                  <a:gd name="connsiteX28" fmla="*/ 231412 w 526593"/>
                  <a:gd name="connsiteY28" fmla="*/ 322641 h 403224"/>
                  <a:gd name="connsiteX29" fmla="*/ 225657 w 526593"/>
                  <a:gd name="connsiteY29" fmla="*/ 395001 h 403224"/>
                  <a:gd name="connsiteX30" fmla="*/ 24210 w 526593"/>
                  <a:gd name="connsiteY30" fmla="*/ 384312 h 403224"/>
                  <a:gd name="connsiteX31" fmla="*/ 5299 w 526593"/>
                  <a:gd name="connsiteY31" fmla="*/ 392535 h 403224"/>
                  <a:gd name="connsiteX32" fmla="*/ 365 w 526593"/>
                  <a:gd name="connsiteY32" fmla="*/ 403224 h 403224"/>
                  <a:gd name="connsiteX33" fmla="*/ 365 w 526593"/>
                  <a:gd name="connsiteY33" fmla="*/ 395824 h 403224"/>
                  <a:gd name="connsiteX34" fmla="*/ 6943 w 526593"/>
                  <a:gd name="connsiteY34" fmla="*/ 373622 h 403224"/>
                  <a:gd name="connsiteX35" fmla="*/ 63677 w 526593"/>
                  <a:gd name="connsiteY35" fmla="*/ 374444 h 403224"/>
                  <a:gd name="connsiteX36" fmla="*/ 118767 w 526593"/>
                  <a:gd name="connsiteY36" fmla="*/ 381023 h 403224"/>
                  <a:gd name="connsiteX37" fmla="*/ 189328 w 526593"/>
                  <a:gd name="connsiteY37" fmla="*/ 345304 h 403224"/>
                  <a:gd name="connsiteX38" fmla="*/ 95270 w 526593"/>
                  <a:gd name="connsiteY38" fmla="*/ 326231 h 403224"/>
                  <a:gd name="connsiteX39" fmla="*/ 64102 w 526593"/>
                  <a:gd name="connsiteY39" fmla="*/ 374417 h 403224"/>
                  <a:gd name="connsiteX40" fmla="*/ 7481 w 526593"/>
                  <a:gd name="connsiteY40" fmla="*/ 374417 h 403224"/>
                  <a:gd name="connsiteX41" fmla="*/ 12405 w 526593"/>
                  <a:gd name="connsiteY41" fmla="*/ 353845 h 403224"/>
                  <a:gd name="connsiteX42" fmla="*/ 27996 w 526593"/>
                  <a:gd name="connsiteY42" fmla="*/ 326689 h 403224"/>
                  <a:gd name="connsiteX43" fmla="*/ 41125 w 526593"/>
                  <a:gd name="connsiteY43" fmla="*/ 320106 h 403224"/>
                  <a:gd name="connsiteX44" fmla="*/ 53434 w 526593"/>
                  <a:gd name="connsiteY44" fmla="*/ 302002 h 403224"/>
                  <a:gd name="connsiteX45" fmla="*/ 68205 w 526593"/>
                  <a:gd name="connsiteY45" fmla="*/ 281430 h 403224"/>
                  <a:gd name="connsiteX46" fmla="*/ 69025 w 526593"/>
                  <a:gd name="connsiteY46" fmla="*/ 269909 h 403224"/>
                  <a:gd name="connsiteX47" fmla="*/ 97746 w 526593"/>
                  <a:gd name="connsiteY47" fmla="*/ 234525 h 403224"/>
                  <a:gd name="connsiteX48" fmla="*/ 106773 w 526593"/>
                  <a:gd name="connsiteY48" fmla="*/ 217244 h 403224"/>
                  <a:gd name="connsiteX49" fmla="*/ 144520 w 526593"/>
                  <a:gd name="connsiteY49" fmla="*/ 182683 h 403224"/>
                  <a:gd name="connsiteX50" fmla="*/ 160932 w 526593"/>
                  <a:gd name="connsiteY50" fmla="*/ 161287 h 403224"/>
                  <a:gd name="connsiteX51" fmla="*/ 167497 w 526593"/>
                  <a:gd name="connsiteY51" fmla="*/ 147298 h 403224"/>
                  <a:gd name="connsiteX52" fmla="*/ 177344 w 526593"/>
                  <a:gd name="connsiteY52" fmla="*/ 126726 h 403224"/>
                  <a:gd name="connsiteX53" fmla="*/ 192935 w 526593"/>
                  <a:gd name="connsiteY53" fmla="*/ 94633 h 403224"/>
                  <a:gd name="connsiteX54" fmla="*/ 210167 w 526593"/>
                  <a:gd name="connsiteY54" fmla="*/ 76529 h 403224"/>
                  <a:gd name="connsiteX55" fmla="*/ 225759 w 526593"/>
                  <a:gd name="connsiteY55" fmla="*/ 68300 h 403224"/>
                  <a:gd name="connsiteX56" fmla="*/ 250376 w 526593"/>
                  <a:gd name="connsiteY56" fmla="*/ 54311 h 403224"/>
                  <a:gd name="connsiteX57" fmla="*/ 257762 w 526593"/>
                  <a:gd name="connsiteY57" fmla="*/ 45259 h 403224"/>
                  <a:gd name="connsiteX58" fmla="*/ 273353 w 526593"/>
                  <a:gd name="connsiteY58" fmla="*/ 18927 h 403224"/>
                  <a:gd name="connsiteX59" fmla="*/ 288124 w 526593"/>
                  <a:gd name="connsiteY59" fmla="*/ 823 h 403224"/>
                  <a:gd name="connsiteX60" fmla="*/ 288124 w 526593"/>
                  <a:gd name="connsiteY60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52285 w 526593"/>
                  <a:gd name="connsiteY12" fmla="*/ 67458 h 403224"/>
                  <a:gd name="connsiteX13" fmla="*/ 479726 w 526593"/>
                  <a:gd name="connsiteY13" fmla="*/ 55401 h 403224"/>
                  <a:gd name="connsiteX14" fmla="*/ 510971 w 526593"/>
                  <a:gd name="connsiteY14" fmla="*/ 55401 h 403224"/>
                  <a:gd name="connsiteX15" fmla="*/ 514260 w 526593"/>
                  <a:gd name="connsiteY15" fmla="*/ 46356 h 403224"/>
                  <a:gd name="connsiteX16" fmla="*/ 514260 w 526593"/>
                  <a:gd name="connsiteY16" fmla="*/ 45534 h 403224"/>
                  <a:gd name="connsiteX17" fmla="*/ 517137 w 526593"/>
                  <a:gd name="connsiteY17" fmla="*/ 33302 h 403224"/>
                  <a:gd name="connsiteX18" fmla="*/ 517549 w 526593"/>
                  <a:gd name="connsiteY18" fmla="*/ 31555 h 403224"/>
                  <a:gd name="connsiteX19" fmla="*/ 515390 w 526593"/>
                  <a:gd name="connsiteY19" fmla="*/ 16446 h 403224"/>
                  <a:gd name="connsiteX20" fmla="*/ 515082 w 526593"/>
                  <a:gd name="connsiteY20" fmla="*/ 14287 h 403224"/>
                  <a:gd name="connsiteX21" fmla="*/ 526593 w 526593"/>
                  <a:gd name="connsiteY21" fmla="*/ 15109 h 403224"/>
                  <a:gd name="connsiteX22" fmla="*/ 523304 w 526593"/>
                  <a:gd name="connsiteY22" fmla="*/ 38133 h 403224"/>
                  <a:gd name="connsiteX23" fmla="*/ 510971 w 526593"/>
                  <a:gd name="connsiteY23" fmla="*/ 117894 h 403224"/>
                  <a:gd name="connsiteX24" fmla="*/ 325969 w 526593"/>
                  <a:gd name="connsiteY24" fmla="*/ 108027 h 403224"/>
                  <a:gd name="connsiteX25" fmla="*/ 301302 w 526593"/>
                  <a:gd name="connsiteY25" fmla="*/ 265904 h 403224"/>
                  <a:gd name="connsiteX26" fmla="*/ 270879 w 526593"/>
                  <a:gd name="connsiteY26" fmla="*/ 274127 h 403224"/>
                  <a:gd name="connsiteX27" fmla="*/ 234701 w 526593"/>
                  <a:gd name="connsiteY27" fmla="*/ 296328 h 403224"/>
                  <a:gd name="connsiteX28" fmla="*/ 231412 w 526593"/>
                  <a:gd name="connsiteY28" fmla="*/ 322641 h 403224"/>
                  <a:gd name="connsiteX29" fmla="*/ 225657 w 526593"/>
                  <a:gd name="connsiteY29" fmla="*/ 395001 h 403224"/>
                  <a:gd name="connsiteX30" fmla="*/ 24210 w 526593"/>
                  <a:gd name="connsiteY30" fmla="*/ 384312 h 403224"/>
                  <a:gd name="connsiteX31" fmla="*/ 5299 w 526593"/>
                  <a:gd name="connsiteY31" fmla="*/ 392535 h 403224"/>
                  <a:gd name="connsiteX32" fmla="*/ 365 w 526593"/>
                  <a:gd name="connsiteY32" fmla="*/ 403224 h 403224"/>
                  <a:gd name="connsiteX33" fmla="*/ 365 w 526593"/>
                  <a:gd name="connsiteY33" fmla="*/ 395824 h 403224"/>
                  <a:gd name="connsiteX34" fmla="*/ 6943 w 526593"/>
                  <a:gd name="connsiteY34" fmla="*/ 373622 h 403224"/>
                  <a:gd name="connsiteX35" fmla="*/ 63677 w 526593"/>
                  <a:gd name="connsiteY35" fmla="*/ 374444 h 403224"/>
                  <a:gd name="connsiteX36" fmla="*/ 118767 w 526593"/>
                  <a:gd name="connsiteY36" fmla="*/ 381023 h 403224"/>
                  <a:gd name="connsiteX37" fmla="*/ 95270 w 526593"/>
                  <a:gd name="connsiteY37" fmla="*/ 326231 h 403224"/>
                  <a:gd name="connsiteX38" fmla="*/ 64102 w 526593"/>
                  <a:gd name="connsiteY38" fmla="*/ 374417 h 403224"/>
                  <a:gd name="connsiteX39" fmla="*/ 7481 w 526593"/>
                  <a:gd name="connsiteY39" fmla="*/ 374417 h 403224"/>
                  <a:gd name="connsiteX40" fmla="*/ 12405 w 526593"/>
                  <a:gd name="connsiteY40" fmla="*/ 353845 h 403224"/>
                  <a:gd name="connsiteX41" fmla="*/ 27996 w 526593"/>
                  <a:gd name="connsiteY41" fmla="*/ 326689 h 403224"/>
                  <a:gd name="connsiteX42" fmla="*/ 41125 w 526593"/>
                  <a:gd name="connsiteY42" fmla="*/ 320106 h 403224"/>
                  <a:gd name="connsiteX43" fmla="*/ 53434 w 526593"/>
                  <a:gd name="connsiteY43" fmla="*/ 302002 h 403224"/>
                  <a:gd name="connsiteX44" fmla="*/ 68205 w 526593"/>
                  <a:gd name="connsiteY44" fmla="*/ 281430 h 403224"/>
                  <a:gd name="connsiteX45" fmla="*/ 69025 w 526593"/>
                  <a:gd name="connsiteY45" fmla="*/ 269909 h 403224"/>
                  <a:gd name="connsiteX46" fmla="*/ 97746 w 526593"/>
                  <a:gd name="connsiteY46" fmla="*/ 234525 h 403224"/>
                  <a:gd name="connsiteX47" fmla="*/ 106773 w 526593"/>
                  <a:gd name="connsiteY47" fmla="*/ 217244 h 403224"/>
                  <a:gd name="connsiteX48" fmla="*/ 144520 w 526593"/>
                  <a:gd name="connsiteY48" fmla="*/ 182683 h 403224"/>
                  <a:gd name="connsiteX49" fmla="*/ 160932 w 526593"/>
                  <a:gd name="connsiteY49" fmla="*/ 161287 h 403224"/>
                  <a:gd name="connsiteX50" fmla="*/ 167497 w 526593"/>
                  <a:gd name="connsiteY50" fmla="*/ 147298 h 403224"/>
                  <a:gd name="connsiteX51" fmla="*/ 177344 w 526593"/>
                  <a:gd name="connsiteY51" fmla="*/ 126726 h 403224"/>
                  <a:gd name="connsiteX52" fmla="*/ 192935 w 526593"/>
                  <a:gd name="connsiteY52" fmla="*/ 94633 h 403224"/>
                  <a:gd name="connsiteX53" fmla="*/ 210167 w 526593"/>
                  <a:gd name="connsiteY53" fmla="*/ 76529 h 403224"/>
                  <a:gd name="connsiteX54" fmla="*/ 225759 w 526593"/>
                  <a:gd name="connsiteY54" fmla="*/ 68300 h 403224"/>
                  <a:gd name="connsiteX55" fmla="*/ 250376 w 526593"/>
                  <a:gd name="connsiteY55" fmla="*/ 54311 h 403224"/>
                  <a:gd name="connsiteX56" fmla="*/ 257762 w 526593"/>
                  <a:gd name="connsiteY56" fmla="*/ 45259 h 403224"/>
                  <a:gd name="connsiteX57" fmla="*/ 273353 w 526593"/>
                  <a:gd name="connsiteY57" fmla="*/ 18927 h 403224"/>
                  <a:gd name="connsiteX58" fmla="*/ 288124 w 526593"/>
                  <a:gd name="connsiteY58" fmla="*/ 823 h 403224"/>
                  <a:gd name="connsiteX59" fmla="*/ 288124 w 526593"/>
                  <a:gd name="connsiteY59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52285 w 526593"/>
                  <a:gd name="connsiteY12" fmla="*/ 67458 h 403224"/>
                  <a:gd name="connsiteX13" fmla="*/ 479726 w 526593"/>
                  <a:gd name="connsiteY13" fmla="*/ 55401 h 403224"/>
                  <a:gd name="connsiteX14" fmla="*/ 510971 w 526593"/>
                  <a:gd name="connsiteY14" fmla="*/ 55401 h 403224"/>
                  <a:gd name="connsiteX15" fmla="*/ 514260 w 526593"/>
                  <a:gd name="connsiteY15" fmla="*/ 46356 h 403224"/>
                  <a:gd name="connsiteX16" fmla="*/ 514260 w 526593"/>
                  <a:gd name="connsiteY16" fmla="*/ 45534 h 403224"/>
                  <a:gd name="connsiteX17" fmla="*/ 517137 w 526593"/>
                  <a:gd name="connsiteY17" fmla="*/ 33302 h 403224"/>
                  <a:gd name="connsiteX18" fmla="*/ 517549 w 526593"/>
                  <a:gd name="connsiteY18" fmla="*/ 31555 h 403224"/>
                  <a:gd name="connsiteX19" fmla="*/ 515390 w 526593"/>
                  <a:gd name="connsiteY19" fmla="*/ 16446 h 403224"/>
                  <a:gd name="connsiteX20" fmla="*/ 515082 w 526593"/>
                  <a:gd name="connsiteY20" fmla="*/ 14287 h 403224"/>
                  <a:gd name="connsiteX21" fmla="*/ 526593 w 526593"/>
                  <a:gd name="connsiteY21" fmla="*/ 15109 h 403224"/>
                  <a:gd name="connsiteX22" fmla="*/ 523304 w 526593"/>
                  <a:gd name="connsiteY22" fmla="*/ 38133 h 403224"/>
                  <a:gd name="connsiteX23" fmla="*/ 510971 w 526593"/>
                  <a:gd name="connsiteY23" fmla="*/ 117894 h 403224"/>
                  <a:gd name="connsiteX24" fmla="*/ 325969 w 526593"/>
                  <a:gd name="connsiteY24" fmla="*/ 108027 h 403224"/>
                  <a:gd name="connsiteX25" fmla="*/ 301302 w 526593"/>
                  <a:gd name="connsiteY25" fmla="*/ 265904 h 403224"/>
                  <a:gd name="connsiteX26" fmla="*/ 270879 w 526593"/>
                  <a:gd name="connsiteY26" fmla="*/ 274127 h 403224"/>
                  <a:gd name="connsiteX27" fmla="*/ 234701 w 526593"/>
                  <a:gd name="connsiteY27" fmla="*/ 296328 h 403224"/>
                  <a:gd name="connsiteX28" fmla="*/ 231412 w 526593"/>
                  <a:gd name="connsiteY28" fmla="*/ 322641 h 403224"/>
                  <a:gd name="connsiteX29" fmla="*/ 225657 w 526593"/>
                  <a:gd name="connsiteY29" fmla="*/ 395001 h 403224"/>
                  <a:gd name="connsiteX30" fmla="*/ 24210 w 526593"/>
                  <a:gd name="connsiteY30" fmla="*/ 384312 h 403224"/>
                  <a:gd name="connsiteX31" fmla="*/ 5299 w 526593"/>
                  <a:gd name="connsiteY31" fmla="*/ 392535 h 403224"/>
                  <a:gd name="connsiteX32" fmla="*/ 365 w 526593"/>
                  <a:gd name="connsiteY32" fmla="*/ 403224 h 403224"/>
                  <a:gd name="connsiteX33" fmla="*/ 365 w 526593"/>
                  <a:gd name="connsiteY33" fmla="*/ 395824 h 403224"/>
                  <a:gd name="connsiteX34" fmla="*/ 6943 w 526593"/>
                  <a:gd name="connsiteY34" fmla="*/ 373622 h 403224"/>
                  <a:gd name="connsiteX35" fmla="*/ 63677 w 526593"/>
                  <a:gd name="connsiteY35" fmla="*/ 374444 h 403224"/>
                  <a:gd name="connsiteX36" fmla="*/ 95270 w 526593"/>
                  <a:gd name="connsiteY36" fmla="*/ 326231 h 403224"/>
                  <a:gd name="connsiteX37" fmla="*/ 64102 w 526593"/>
                  <a:gd name="connsiteY37" fmla="*/ 374417 h 403224"/>
                  <a:gd name="connsiteX38" fmla="*/ 7481 w 526593"/>
                  <a:gd name="connsiteY38" fmla="*/ 374417 h 403224"/>
                  <a:gd name="connsiteX39" fmla="*/ 12405 w 526593"/>
                  <a:gd name="connsiteY39" fmla="*/ 353845 h 403224"/>
                  <a:gd name="connsiteX40" fmla="*/ 27996 w 526593"/>
                  <a:gd name="connsiteY40" fmla="*/ 326689 h 403224"/>
                  <a:gd name="connsiteX41" fmla="*/ 41125 w 526593"/>
                  <a:gd name="connsiteY41" fmla="*/ 320106 h 403224"/>
                  <a:gd name="connsiteX42" fmla="*/ 53434 w 526593"/>
                  <a:gd name="connsiteY42" fmla="*/ 302002 h 403224"/>
                  <a:gd name="connsiteX43" fmla="*/ 68205 w 526593"/>
                  <a:gd name="connsiteY43" fmla="*/ 281430 h 403224"/>
                  <a:gd name="connsiteX44" fmla="*/ 69025 w 526593"/>
                  <a:gd name="connsiteY44" fmla="*/ 269909 h 403224"/>
                  <a:gd name="connsiteX45" fmla="*/ 97746 w 526593"/>
                  <a:gd name="connsiteY45" fmla="*/ 234525 h 403224"/>
                  <a:gd name="connsiteX46" fmla="*/ 106773 w 526593"/>
                  <a:gd name="connsiteY46" fmla="*/ 217244 h 403224"/>
                  <a:gd name="connsiteX47" fmla="*/ 144520 w 526593"/>
                  <a:gd name="connsiteY47" fmla="*/ 182683 h 403224"/>
                  <a:gd name="connsiteX48" fmla="*/ 160932 w 526593"/>
                  <a:gd name="connsiteY48" fmla="*/ 161287 h 403224"/>
                  <a:gd name="connsiteX49" fmla="*/ 167497 w 526593"/>
                  <a:gd name="connsiteY49" fmla="*/ 147298 h 403224"/>
                  <a:gd name="connsiteX50" fmla="*/ 177344 w 526593"/>
                  <a:gd name="connsiteY50" fmla="*/ 126726 h 403224"/>
                  <a:gd name="connsiteX51" fmla="*/ 192935 w 526593"/>
                  <a:gd name="connsiteY51" fmla="*/ 94633 h 403224"/>
                  <a:gd name="connsiteX52" fmla="*/ 210167 w 526593"/>
                  <a:gd name="connsiteY52" fmla="*/ 76529 h 403224"/>
                  <a:gd name="connsiteX53" fmla="*/ 225759 w 526593"/>
                  <a:gd name="connsiteY53" fmla="*/ 68300 h 403224"/>
                  <a:gd name="connsiteX54" fmla="*/ 250376 w 526593"/>
                  <a:gd name="connsiteY54" fmla="*/ 54311 h 403224"/>
                  <a:gd name="connsiteX55" fmla="*/ 257762 w 526593"/>
                  <a:gd name="connsiteY55" fmla="*/ 45259 h 403224"/>
                  <a:gd name="connsiteX56" fmla="*/ 273353 w 526593"/>
                  <a:gd name="connsiteY56" fmla="*/ 18927 h 403224"/>
                  <a:gd name="connsiteX57" fmla="*/ 288124 w 526593"/>
                  <a:gd name="connsiteY57" fmla="*/ 823 h 403224"/>
                  <a:gd name="connsiteX58" fmla="*/ 288124 w 526593"/>
                  <a:gd name="connsiteY58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52285 w 526593"/>
                  <a:gd name="connsiteY12" fmla="*/ 67458 h 403224"/>
                  <a:gd name="connsiteX13" fmla="*/ 479726 w 526593"/>
                  <a:gd name="connsiteY13" fmla="*/ 55401 h 403224"/>
                  <a:gd name="connsiteX14" fmla="*/ 510971 w 526593"/>
                  <a:gd name="connsiteY14" fmla="*/ 55401 h 403224"/>
                  <a:gd name="connsiteX15" fmla="*/ 514260 w 526593"/>
                  <a:gd name="connsiteY15" fmla="*/ 46356 h 403224"/>
                  <a:gd name="connsiteX16" fmla="*/ 514260 w 526593"/>
                  <a:gd name="connsiteY16" fmla="*/ 45534 h 403224"/>
                  <a:gd name="connsiteX17" fmla="*/ 517137 w 526593"/>
                  <a:gd name="connsiteY17" fmla="*/ 33302 h 403224"/>
                  <a:gd name="connsiteX18" fmla="*/ 517549 w 526593"/>
                  <a:gd name="connsiteY18" fmla="*/ 31555 h 403224"/>
                  <a:gd name="connsiteX19" fmla="*/ 515390 w 526593"/>
                  <a:gd name="connsiteY19" fmla="*/ 16446 h 403224"/>
                  <a:gd name="connsiteX20" fmla="*/ 515082 w 526593"/>
                  <a:gd name="connsiteY20" fmla="*/ 14287 h 403224"/>
                  <a:gd name="connsiteX21" fmla="*/ 526593 w 526593"/>
                  <a:gd name="connsiteY21" fmla="*/ 15109 h 403224"/>
                  <a:gd name="connsiteX22" fmla="*/ 523304 w 526593"/>
                  <a:gd name="connsiteY22" fmla="*/ 38133 h 403224"/>
                  <a:gd name="connsiteX23" fmla="*/ 510971 w 526593"/>
                  <a:gd name="connsiteY23" fmla="*/ 117894 h 403224"/>
                  <a:gd name="connsiteX24" fmla="*/ 325969 w 526593"/>
                  <a:gd name="connsiteY24" fmla="*/ 108027 h 403224"/>
                  <a:gd name="connsiteX25" fmla="*/ 301302 w 526593"/>
                  <a:gd name="connsiteY25" fmla="*/ 265904 h 403224"/>
                  <a:gd name="connsiteX26" fmla="*/ 270879 w 526593"/>
                  <a:gd name="connsiteY26" fmla="*/ 274127 h 403224"/>
                  <a:gd name="connsiteX27" fmla="*/ 234701 w 526593"/>
                  <a:gd name="connsiteY27" fmla="*/ 296328 h 403224"/>
                  <a:gd name="connsiteX28" fmla="*/ 231412 w 526593"/>
                  <a:gd name="connsiteY28" fmla="*/ 322641 h 403224"/>
                  <a:gd name="connsiteX29" fmla="*/ 225657 w 526593"/>
                  <a:gd name="connsiteY29" fmla="*/ 395001 h 403224"/>
                  <a:gd name="connsiteX30" fmla="*/ 24210 w 526593"/>
                  <a:gd name="connsiteY30" fmla="*/ 384312 h 403224"/>
                  <a:gd name="connsiteX31" fmla="*/ 5299 w 526593"/>
                  <a:gd name="connsiteY31" fmla="*/ 392535 h 403224"/>
                  <a:gd name="connsiteX32" fmla="*/ 365 w 526593"/>
                  <a:gd name="connsiteY32" fmla="*/ 403224 h 403224"/>
                  <a:gd name="connsiteX33" fmla="*/ 365 w 526593"/>
                  <a:gd name="connsiteY33" fmla="*/ 395824 h 403224"/>
                  <a:gd name="connsiteX34" fmla="*/ 6943 w 526593"/>
                  <a:gd name="connsiteY34" fmla="*/ 373622 h 403224"/>
                  <a:gd name="connsiteX35" fmla="*/ 63677 w 526593"/>
                  <a:gd name="connsiteY35" fmla="*/ 374444 h 403224"/>
                  <a:gd name="connsiteX36" fmla="*/ 64102 w 526593"/>
                  <a:gd name="connsiteY36" fmla="*/ 374417 h 403224"/>
                  <a:gd name="connsiteX37" fmla="*/ 7481 w 526593"/>
                  <a:gd name="connsiteY37" fmla="*/ 374417 h 403224"/>
                  <a:gd name="connsiteX38" fmla="*/ 12405 w 526593"/>
                  <a:gd name="connsiteY38" fmla="*/ 353845 h 403224"/>
                  <a:gd name="connsiteX39" fmla="*/ 27996 w 526593"/>
                  <a:gd name="connsiteY39" fmla="*/ 326689 h 403224"/>
                  <a:gd name="connsiteX40" fmla="*/ 41125 w 526593"/>
                  <a:gd name="connsiteY40" fmla="*/ 320106 h 403224"/>
                  <a:gd name="connsiteX41" fmla="*/ 53434 w 526593"/>
                  <a:gd name="connsiteY41" fmla="*/ 302002 h 403224"/>
                  <a:gd name="connsiteX42" fmla="*/ 68205 w 526593"/>
                  <a:gd name="connsiteY42" fmla="*/ 281430 h 403224"/>
                  <a:gd name="connsiteX43" fmla="*/ 69025 w 526593"/>
                  <a:gd name="connsiteY43" fmla="*/ 269909 h 403224"/>
                  <a:gd name="connsiteX44" fmla="*/ 97746 w 526593"/>
                  <a:gd name="connsiteY44" fmla="*/ 234525 h 403224"/>
                  <a:gd name="connsiteX45" fmla="*/ 106773 w 526593"/>
                  <a:gd name="connsiteY45" fmla="*/ 217244 h 403224"/>
                  <a:gd name="connsiteX46" fmla="*/ 144520 w 526593"/>
                  <a:gd name="connsiteY46" fmla="*/ 182683 h 403224"/>
                  <a:gd name="connsiteX47" fmla="*/ 160932 w 526593"/>
                  <a:gd name="connsiteY47" fmla="*/ 161287 h 403224"/>
                  <a:gd name="connsiteX48" fmla="*/ 167497 w 526593"/>
                  <a:gd name="connsiteY48" fmla="*/ 147298 h 403224"/>
                  <a:gd name="connsiteX49" fmla="*/ 177344 w 526593"/>
                  <a:gd name="connsiteY49" fmla="*/ 126726 h 403224"/>
                  <a:gd name="connsiteX50" fmla="*/ 192935 w 526593"/>
                  <a:gd name="connsiteY50" fmla="*/ 94633 h 403224"/>
                  <a:gd name="connsiteX51" fmla="*/ 210167 w 526593"/>
                  <a:gd name="connsiteY51" fmla="*/ 76529 h 403224"/>
                  <a:gd name="connsiteX52" fmla="*/ 225759 w 526593"/>
                  <a:gd name="connsiteY52" fmla="*/ 68300 h 403224"/>
                  <a:gd name="connsiteX53" fmla="*/ 250376 w 526593"/>
                  <a:gd name="connsiteY53" fmla="*/ 54311 h 403224"/>
                  <a:gd name="connsiteX54" fmla="*/ 257762 w 526593"/>
                  <a:gd name="connsiteY54" fmla="*/ 45259 h 403224"/>
                  <a:gd name="connsiteX55" fmla="*/ 273353 w 526593"/>
                  <a:gd name="connsiteY55" fmla="*/ 18927 h 403224"/>
                  <a:gd name="connsiteX56" fmla="*/ 288124 w 526593"/>
                  <a:gd name="connsiteY56" fmla="*/ 823 h 403224"/>
                  <a:gd name="connsiteX57" fmla="*/ 288124 w 526593"/>
                  <a:gd name="connsiteY57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52285 w 526593"/>
                  <a:gd name="connsiteY12" fmla="*/ 67458 h 403224"/>
                  <a:gd name="connsiteX13" fmla="*/ 479726 w 526593"/>
                  <a:gd name="connsiteY13" fmla="*/ 55401 h 403224"/>
                  <a:gd name="connsiteX14" fmla="*/ 510971 w 526593"/>
                  <a:gd name="connsiteY14" fmla="*/ 55401 h 403224"/>
                  <a:gd name="connsiteX15" fmla="*/ 514260 w 526593"/>
                  <a:gd name="connsiteY15" fmla="*/ 46356 h 403224"/>
                  <a:gd name="connsiteX16" fmla="*/ 514260 w 526593"/>
                  <a:gd name="connsiteY16" fmla="*/ 45534 h 403224"/>
                  <a:gd name="connsiteX17" fmla="*/ 517137 w 526593"/>
                  <a:gd name="connsiteY17" fmla="*/ 33302 h 403224"/>
                  <a:gd name="connsiteX18" fmla="*/ 517549 w 526593"/>
                  <a:gd name="connsiteY18" fmla="*/ 31555 h 403224"/>
                  <a:gd name="connsiteX19" fmla="*/ 515390 w 526593"/>
                  <a:gd name="connsiteY19" fmla="*/ 16446 h 403224"/>
                  <a:gd name="connsiteX20" fmla="*/ 515082 w 526593"/>
                  <a:gd name="connsiteY20" fmla="*/ 14287 h 403224"/>
                  <a:gd name="connsiteX21" fmla="*/ 526593 w 526593"/>
                  <a:gd name="connsiteY21" fmla="*/ 15109 h 403224"/>
                  <a:gd name="connsiteX22" fmla="*/ 523304 w 526593"/>
                  <a:gd name="connsiteY22" fmla="*/ 38133 h 403224"/>
                  <a:gd name="connsiteX23" fmla="*/ 510971 w 526593"/>
                  <a:gd name="connsiteY23" fmla="*/ 117894 h 403224"/>
                  <a:gd name="connsiteX24" fmla="*/ 325969 w 526593"/>
                  <a:gd name="connsiteY24" fmla="*/ 108027 h 403224"/>
                  <a:gd name="connsiteX25" fmla="*/ 301302 w 526593"/>
                  <a:gd name="connsiteY25" fmla="*/ 265904 h 403224"/>
                  <a:gd name="connsiteX26" fmla="*/ 270879 w 526593"/>
                  <a:gd name="connsiteY26" fmla="*/ 274127 h 403224"/>
                  <a:gd name="connsiteX27" fmla="*/ 234701 w 526593"/>
                  <a:gd name="connsiteY27" fmla="*/ 296328 h 403224"/>
                  <a:gd name="connsiteX28" fmla="*/ 231412 w 526593"/>
                  <a:gd name="connsiteY28" fmla="*/ 322641 h 403224"/>
                  <a:gd name="connsiteX29" fmla="*/ 225657 w 526593"/>
                  <a:gd name="connsiteY29" fmla="*/ 395001 h 403224"/>
                  <a:gd name="connsiteX30" fmla="*/ 24210 w 526593"/>
                  <a:gd name="connsiteY30" fmla="*/ 384312 h 403224"/>
                  <a:gd name="connsiteX31" fmla="*/ 5299 w 526593"/>
                  <a:gd name="connsiteY31" fmla="*/ 392535 h 403224"/>
                  <a:gd name="connsiteX32" fmla="*/ 365 w 526593"/>
                  <a:gd name="connsiteY32" fmla="*/ 403224 h 403224"/>
                  <a:gd name="connsiteX33" fmla="*/ 365 w 526593"/>
                  <a:gd name="connsiteY33" fmla="*/ 395824 h 403224"/>
                  <a:gd name="connsiteX34" fmla="*/ 6943 w 526593"/>
                  <a:gd name="connsiteY34" fmla="*/ 373622 h 403224"/>
                  <a:gd name="connsiteX35" fmla="*/ 63677 w 526593"/>
                  <a:gd name="connsiteY35" fmla="*/ 374444 h 403224"/>
                  <a:gd name="connsiteX36" fmla="*/ 7481 w 526593"/>
                  <a:gd name="connsiteY36" fmla="*/ 374417 h 403224"/>
                  <a:gd name="connsiteX37" fmla="*/ 12405 w 526593"/>
                  <a:gd name="connsiteY37" fmla="*/ 353845 h 403224"/>
                  <a:gd name="connsiteX38" fmla="*/ 27996 w 526593"/>
                  <a:gd name="connsiteY38" fmla="*/ 326689 h 403224"/>
                  <a:gd name="connsiteX39" fmla="*/ 41125 w 526593"/>
                  <a:gd name="connsiteY39" fmla="*/ 320106 h 403224"/>
                  <a:gd name="connsiteX40" fmla="*/ 53434 w 526593"/>
                  <a:gd name="connsiteY40" fmla="*/ 302002 h 403224"/>
                  <a:gd name="connsiteX41" fmla="*/ 68205 w 526593"/>
                  <a:gd name="connsiteY41" fmla="*/ 281430 h 403224"/>
                  <a:gd name="connsiteX42" fmla="*/ 69025 w 526593"/>
                  <a:gd name="connsiteY42" fmla="*/ 269909 h 403224"/>
                  <a:gd name="connsiteX43" fmla="*/ 97746 w 526593"/>
                  <a:gd name="connsiteY43" fmla="*/ 234525 h 403224"/>
                  <a:gd name="connsiteX44" fmla="*/ 106773 w 526593"/>
                  <a:gd name="connsiteY44" fmla="*/ 217244 h 403224"/>
                  <a:gd name="connsiteX45" fmla="*/ 144520 w 526593"/>
                  <a:gd name="connsiteY45" fmla="*/ 182683 h 403224"/>
                  <a:gd name="connsiteX46" fmla="*/ 160932 w 526593"/>
                  <a:gd name="connsiteY46" fmla="*/ 161287 h 403224"/>
                  <a:gd name="connsiteX47" fmla="*/ 167497 w 526593"/>
                  <a:gd name="connsiteY47" fmla="*/ 147298 h 403224"/>
                  <a:gd name="connsiteX48" fmla="*/ 177344 w 526593"/>
                  <a:gd name="connsiteY48" fmla="*/ 126726 h 403224"/>
                  <a:gd name="connsiteX49" fmla="*/ 192935 w 526593"/>
                  <a:gd name="connsiteY49" fmla="*/ 94633 h 403224"/>
                  <a:gd name="connsiteX50" fmla="*/ 210167 w 526593"/>
                  <a:gd name="connsiteY50" fmla="*/ 76529 h 403224"/>
                  <a:gd name="connsiteX51" fmla="*/ 225759 w 526593"/>
                  <a:gd name="connsiteY51" fmla="*/ 68300 h 403224"/>
                  <a:gd name="connsiteX52" fmla="*/ 250376 w 526593"/>
                  <a:gd name="connsiteY52" fmla="*/ 54311 h 403224"/>
                  <a:gd name="connsiteX53" fmla="*/ 257762 w 526593"/>
                  <a:gd name="connsiteY53" fmla="*/ 45259 h 403224"/>
                  <a:gd name="connsiteX54" fmla="*/ 273353 w 526593"/>
                  <a:gd name="connsiteY54" fmla="*/ 18927 h 403224"/>
                  <a:gd name="connsiteX55" fmla="*/ 288124 w 526593"/>
                  <a:gd name="connsiteY55" fmla="*/ 823 h 403224"/>
                  <a:gd name="connsiteX56" fmla="*/ 288124 w 526593"/>
                  <a:gd name="connsiteY56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52285 w 526593"/>
                  <a:gd name="connsiteY12" fmla="*/ 67458 h 403224"/>
                  <a:gd name="connsiteX13" fmla="*/ 479726 w 526593"/>
                  <a:gd name="connsiteY13" fmla="*/ 55401 h 403224"/>
                  <a:gd name="connsiteX14" fmla="*/ 510971 w 526593"/>
                  <a:gd name="connsiteY14" fmla="*/ 55401 h 403224"/>
                  <a:gd name="connsiteX15" fmla="*/ 514260 w 526593"/>
                  <a:gd name="connsiteY15" fmla="*/ 46356 h 403224"/>
                  <a:gd name="connsiteX16" fmla="*/ 514260 w 526593"/>
                  <a:gd name="connsiteY16" fmla="*/ 45534 h 403224"/>
                  <a:gd name="connsiteX17" fmla="*/ 517137 w 526593"/>
                  <a:gd name="connsiteY17" fmla="*/ 33302 h 403224"/>
                  <a:gd name="connsiteX18" fmla="*/ 517549 w 526593"/>
                  <a:gd name="connsiteY18" fmla="*/ 31555 h 403224"/>
                  <a:gd name="connsiteX19" fmla="*/ 515390 w 526593"/>
                  <a:gd name="connsiteY19" fmla="*/ 16446 h 403224"/>
                  <a:gd name="connsiteX20" fmla="*/ 515082 w 526593"/>
                  <a:gd name="connsiteY20" fmla="*/ 14287 h 403224"/>
                  <a:gd name="connsiteX21" fmla="*/ 526593 w 526593"/>
                  <a:gd name="connsiteY21" fmla="*/ 15109 h 403224"/>
                  <a:gd name="connsiteX22" fmla="*/ 523304 w 526593"/>
                  <a:gd name="connsiteY22" fmla="*/ 38133 h 403224"/>
                  <a:gd name="connsiteX23" fmla="*/ 510971 w 526593"/>
                  <a:gd name="connsiteY23" fmla="*/ 117894 h 403224"/>
                  <a:gd name="connsiteX24" fmla="*/ 325969 w 526593"/>
                  <a:gd name="connsiteY24" fmla="*/ 108027 h 403224"/>
                  <a:gd name="connsiteX25" fmla="*/ 301302 w 526593"/>
                  <a:gd name="connsiteY25" fmla="*/ 265904 h 403224"/>
                  <a:gd name="connsiteX26" fmla="*/ 270879 w 526593"/>
                  <a:gd name="connsiteY26" fmla="*/ 274127 h 403224"/>
                  <a:gd name="connsiteX27" fmla="*/ 234701 w 526593"/>
                  <a:gd name="connsiteY27" fmla="*/ 296328 h 403224"/>
                  <a:gd name="connsiteX28" fmla="*/ 231412 w 526593"/>
                  <a:gd name="connsiteY28" fmla="*/ 322641 h 403224"/>
                  <a:gd name="connsiteX29" fmla="*/ 225657 w 526593"/>
                  <a:gd name="connsiteY29" fmla="*/ 395001 h 403224"/>
                  <a:gd name="connsiteX30" fmla="*/ 24210 w 526593"/>
                  <a:gd name="connsiteY30" fmla="*/ 384312 h 403224"/>
                  <a:gd name="connsiteX31" fmla="*/ 5299 w 526593"/>
                  <a:gd name="connsiteY31" fmla="*/ 392535 h 403224"/>
                  <a:gd name="connsiteX32" fmla="*/ 365 w 526593"/>
                  <a:gd name="connsiteY32" fmla="*/ 403224 h 403224"/>
                  <a:gd name="connsiteX33" fmla="*/ 365 w 526593"/>
                  <a:gd name="connsiteY33" fmla="*/ 395824 h 403224"/>
                  <a:gd name="connsiteX34" fmla="*/ 6943 w 526593"/>
                  <a:gd name="connsiteY34" fmla="*/ 373622 h 403224"/>
                  <a:gd name="connsiteX35" fmla="*/ 7481 w 526593"/>
                  <a:gd name="connsiteY35" fmla="*/ 374417 h 403224"/>
                  <a:gd name="connsiteX36" fmla="*/ 12405 w 526593"/>
                  <a:gd name="connsiteY36" fmla="*/ 353845 h 403224"/>
                  <a:gd name="connsiteX37" fmla="*/ 27996 w 526593"/>
                  <a:gd name="connsiteY37" fmla="*/ 326689 h 403224"/>
                  <a:gd name="connsiteX38" fmla="*/ 41125 w 526593"/>
                  <a:gd name="connsiteY38" fmla="*/ 320106 h 403224"/>
                  <a:gd name="connsiteX39" fmla="*/ 53434 w 526593"/>
                  <a:gd name="connsiteY39" fmla="*/ 302002 h 403224"/>
                  <a:gd name="connsiteX40" fmla="*/ 68205 w 526593"/>
                  <a:gd name="connsiteY40" fmla="*/ 281430 h 403224"/>
                  <a:gd name="connsiteX41" fmla="*/ 69025 w 526593"/>
                  <a:gd name="connsiteY41" fmla="*/ 269909 h 403224"/>
                  <a:gd name="connsiteX42" fmla="*/ 97746 w 526593"/>
                  <a:gd name="connsiteY42" fmla="*/ 234525 h 403224"/>
                  <a:gd name="connsiteX43" fmla="*/ 106773 w 526593"/>
                  <a:gd name="connsiteY43" fmla="*/ 217244 h 403224"/>
                  <a:gd name="connsiteX44" fmla="*/ 144520 w 526593"/>
                  <a:gd name="connsiteY44" fmla="*/ 182683 h 403224"/>
                  <a:gd name="connsiteX45" fmla="*/ 160932 w 526593"/>
                  <a:gd name="connsiteY45" fmla="*/ 161287 h 403224"/>
                  <a:gd name="connsiteX46" fmla="*/ 167497 w 526593"/>
                  <a:gd name="connsiteY46" fmla="*/ 147298 h 403224"/>
                  <a:gd name="connsiteX47" fmla="*/ 177344 w 526593"/>
                  <a:gd name="connsiteY47" fmla="*/ 126726 h 403224"/>
                  <a:gd name="connsiteX48" fmla="*/ 192935 w 526593"/>
                  <a:gd name="connsiteY48" fmla="*/ 94633 h 403224"/>
                  <a:gd name="connsiteX49" fmla="*/ 210167 w 526593"/>
                  <a:gd name="connsiteY49" fmla="*/ 76529 h 403224"/>
                  <a:gd name="connsiteX50" fmla="*/ 225759 w 526593"/>
                  <a:gd name="connsiteY50" fmla="*/ 68300 h 403224"/>
                  <a:gd name="connsiteX51" fmla="*/ 250376 w 526593"/>
                  <a:gd name="connsiteY51" fmla="*/ 54311 h 403224"/>
                  <a:gd name="connsiteX52" fmla="*/ 257762 w 526593"/>
                  <a:gd name="connsiteY52" fmla="*/ 45259 h 403224"/>
                  <a:gd name="connsiteX53" fmla="*/ 273353 w 526593"/>
                  <a:gd name="connsiteY53" fmla="*/ 18927 h 403224"/>
                  <a:gd name="connsiteX54" fmla="*/ 288124 w 526593"/>
                  <a:gd name="connsiteY54" fmla="*/ 823 h 403224"/>
                  <a:gd name="connsiteX55" fmla="*/ 288124 w 526593"/>
                  <a:gd name="connsiteY55" fmla="*/ 0 h 403224"/>
                  <a:gd name="connsiteX0" fmla="*/ 444340 w 526593"/>
                  <a:gd name="connsiteY0" fmla="*/ 60346 h 403224"/>
                  <a:gd name="connsiteX1" fmla="*/ 442417 w 526593"/>
                  <a:gd name="connsiteY1" fmla="*/ 61054 h 403224"/>
                  <a:gd name="connsiteX2" fmla="*/ 444340 w 526593"/>
                  <a:gd name="connsiteY2" fmla="*/ 60346 h 403224"/>
                  <a:gd name="connsiteX3" fmla="*/ 288124 w 526593"/>
                  <a:gd name="connsiteY3" fmla="*/ 0 h 403224"/>
                  <a:gd name="connsiteX4" fmla="*/ 514607 w 526593"/>
                  <a:gd name="connsiteY4" fmla="*/ 13989 h 403224"/>
                  <a:gd name="connsiteX5" fmla="*/ 516761 w 526593"/>
                  <a:gd name="connsiteY5" fmla="*/ 29110 h 403224"/>
                  <a:gd name="connsiteX6" fmla="*/ 517069 w 526593"/>
                  <a:gd name="connsiteY6" fmla="*/ 31270 h 403224"/>
                  <a:gd name="connsiteX7" fmla="*/ 514197 w 526593"/>
                  <a:gd name="connsiteY7" fmla="*/ 43511 h 403224"/>
                  <a:gd name="connsiteX8" fmla="*/ 513787 w 526593"/>
                  <a:gd name="connsiteY8" fmla="*/ 45259 h 403224"/>
                  <a:gd name="connsiteX9" fmla="*/ 513787 w 526593"/>
                  <a:gd name="connsiteY9" fmla="*/ 51019 h 403224"/>
                  <a:gd name="connsiteX10" fmla="*/ 513787 w 526593"/>
                  <a:gd name="connsiteY10" fmla="*/ 51842 h 403224"/>
                  <a:gd name="connsiteX11" fmla="*/ 479322 w 526593"/>
                  <a:gd name="connsiteY11" fmla="*/ 55134 h 403224"/>
                  <a:gd name="connsiteX12" fmla="*/ 479726 w 526593"/>
                  <a:gd name="connsiteY12" fmla="*/ 55401 h 403224"/>
                  <a:gd name="connsiteX13" fmla="*/ 510971 w 526593"/>
                  <a:gd name="connsiteY13" fmla="*/ 55401 h 403224"/>
                  <a:gd name="connsiteX14" fmla="*/ 514260 w 526593"/>
                  <a:gd name="connsiteY14" fmla="*/ 46356 h 403224"/>
                  <a:gd name="connsiteX15" fmla="*/ 514260 w 526593"/>
                  <a:gd name="connsiteY15" fmla="*/ 45534 h 403224"/>
                  <a:gd name="connsiteX16" fmla="*/ 517137 w 526593"/>
                  <a:gd name="connsiteY16" fmla="*/ 33302 h 403224"/>
                  <a:gd name="connsiteX17" fmla="*/ 517549 w 526593"/>
                  <a:gd name="connsiteY17" fmla="*/ 31555 h 403224"/>
                  <a:gd name="connsiteX18" fmla="*/ 515390 w 526593"/>
                  <a:gd name="connsiteY18" fmla="*/ 16446 h 403224"/>
                  <a:gd name="connsiteX19" fmla="*/ 515082 w 526593"/>
                  <a:gd name="connsiteY19" fmla="*/ 14287 h 403224"/>
                  <a:gd name="connsiteX20" fmla="*/ 526593 w 526593"/>
                  <a:gd name="connsiteY20" fmla="*/ 15109 h 403224"/>
                  <a:gd name="connsiteX21" fmla="*/ 523304 w 526593"/>
                  <a:gd name="connsiteY21" fmla="*/ 38133 h 403224"/>
                  <a:gd name="connsiteX22" fmla="*/ 510971 w 526593"/>
                  <a:gd name="connsiteY22" fmla="*/ 117894 h 403224"/>
                  <a:gd name="connsiteX23" fmla="*/ 325969 w 526593"/>
                  <a:gd name="connsiteY23" fmla="*/ 108027 h 403224"/>
                  <a:gd name="connsiteX24" fmla="*/ 301302 w 526593"/>
                  <a:gd name="connsiteY24" fmla="*/ 265904 h 403224"/>
                  <a:gd name="connsiteX25" fmla="*/ 270879 w 526593"/>
                  <a:gd name="connsiteY25" fmla="*/ 274127 h 403224"/>
                  <a:gd name="connsiteX26" fmla="*/ 234701 w 526593"/>
                  <a:gd name="connsiteY26" fmla="*/ 296328 h 403224"/>
                  <a:gd name="connsiteX27" fmla="*/ 231412 w 526593"/>
                  <a:gd name="connsiteY27" fmla="*/ 322641 h 403224"/>
                  <a:gd name="connsiteX28" fmla="*/ 225657 w 526593"/>
                  <a:gd name="connsiteY28" fmla="*/ 395001 h 403224"/>
                  <a:gd name="connsiteX29" fmla="*/ 24210 w 526593"/>
                  <a:gd name="connsiteY29" fmla="*/ 384312 h 403224"/>
                  <a:gd name="connsiteX30" fmla="*/ 5299 w 526593"/>
                  <a:gd name="connsiteY30" fmla="*/ 392535 h 403224"/>
                  <a:gd name="connsiteX31" fmla="*/ 365 w 526593"/>
                  <a:gd name="connsiteY31" fmla="*/ 403224 h 403224"/>
                  <a:gd name="connsiteX32" fmla="*/ 365 w 526593"/>
                  <a:gd name="connsiteY32" fmla="*/ 395824 h 403224"/>
                  <a:gd name="connsiteX33" fmla="*/ 6943 w 526593"/>
                  <a:gd name="connsiteY33" fmla="*/ 373622 h 403224"/>
                  <a:gd name="connsiteX34" fmla="*/ 7481 w 526593"/>
                  <a:gd name="connsiteY34" fmla="*/ 374417 h 403224"/>
                  <a:gd name="connsiteX35" fmla="*/ 12405 w 526593"/>
                  <a:gd name="connsiteY35" fmla="*/ 353845 h 403224"/>
                  <a:gd name="connsiteX36" fmla="*/ 27996 w 526593"/>
                  <a:gd name="connsiteY36" fmla="*/ 326689 h 403224"/>
                  <a:gd name="connsiteX37" fmla="*/ 41125 w 526593"/>
                  <a:gd name="connsiteY37" fmla="*/ 320106 h 403224"/>
                  <a:gd name="connsiteX38" fmla="*/ 53434 w 526593"/>
                  <a:gd name="connsiteY38" fmla="*/ 302002 h 403224"/>
                  <a:gd name="connsiteX39" fmla="*/ 68205 w 526593"/>
                  <a:gd name="connsiteY39" fmla="*/ 281430 h 403224"/>
                  <a:gd name="connsiteX40" fmla="*/ 69025 w 526593"/>
                  <a:gd name="connsiteY40" fmla="*/ 269909 h 403224"/>
                  <a:gd name="connsiteX41" fmla="*/ 97746 w 526593"/>
                  <a:gd name="connsiteY41" fmla="*/ 234525 h 403224"/>
                  <a:gd name="connsiteX42" fmla="*/ 106773 w 526593"/>
                  <a:gd name="connsiteY42" fmla="*/ 217244 h 403224"/>
                  <a:gd name="connsiteX43" fmla="*/ 144520 w 526593"/>
                  <a:gd name="connsiteY43" fmla="*/ 182683 h 403224"/>
                  <a:gd name="connsiteX44" fmla="*/ 160932 w 526593"/>
                  <a:gd name="connsiteY44" fmla="*/ 161287 h 403224"/>
                  <a:gd name="connsiteX45" fmla="*/ 167497 w 526593"/>
                  <a:gd name="connsiteY45" fmla="*/ 147298 h 403224"/>
                  <a:gd name="connsiteX46" fmla="*/ 177344 w 526593"/>
                  <a:gd name="connsiteY46" fmla="*/ 126726 h 403224"/>
                  <a:gd name="connsiteX47" fmla="*/ 192935 w 526593"/>
                  <a:gd name="connsiteY47" fmla="*/ 94633 h 403224"/>
                  <a:gd name="connsiteX48" fmla="*/ 210167 w 526593"/>
                  <a:gd name="connsiteY48" fmla="*/ 76529 h 403224"/>
                  <a:gd name="connsiteX49" fmla="*/ 225759 w 526593"/>
                  <a:gd name="connsiteY49" fmla="*/ 68300 h 403224"/>
                  <a:gd name="connsiteX50" fmla="*/ 250376 w 526593"/>
                  <a:gd name="connsiteY50" fmla="*/ 54311 h 403224"/>
                  <a:gd name="connsiteX51" fmla="*/ 257762 w 526593"/>
                  <a:gd name="connsiteY51" fmla="*/ 45259 h 403224"/>
                  <a:gd name="connsiteX52" fmla="*/ 273353 w 526593"/>
                  <a:gd name="connsiteY52" fmla="*/ 18927 h 403224"/>
                  <a:gd name="connsiteX53" fmla="*/ 288124 w 526593"/>
                  <a:gd name="connsiteY53" fmla="*/ 823 h 403224"/>
                  <a:gd name="connsiteX54" fmla="*/ 288124 w 526593"/>
                  <a:gd name="connsiteY54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4197 w 526593"/>
                  <a:gd name="connsiteY4" fmla="*/ 43511 h 403224"/>
                  <a:gd name="connsiteX5" fmla="*/ 513787 w 526593"/>
                  <a:gd name="connsiteY5" fmla="*/ 45259 h 403224"/>
                  <a:gd name="connsiteX6" fmla="*/ 513787 w 526593"/>
                  <a:gd name="connsiteY6" fmla="*/ 51019 h 403224"/>
                  <a:gd name="connsiteX7" fmla="*/ 513787 w 526593"/>
                  <a:gd name="connsiteY7" fmla="*/ 51842 h 403224"/>
                  <a:gd name="connsiteX8" fmla="*/ 479322 w 526593"/>
                  <a:gd name="connsiteY8" fmla="*/ 55134 h 403224"/>
                  <a:gd name="connsiteX9" fmla="*/ 479726 w 526593"/>
                  <a:gd name="connsiteY9" fmla="*/ 55401 h 403224"/>
                  <a:gd name="connsiteX10" fmla="*/ 510971 w 526593"/>
                  <a:gd name="connsiteY10" fmla="*/ 55401 h 403224"/>
                  <a:gd name="connsiteX11" fmla="*/ 514260 w 526593"/>
                  <a:gd name="connsiteY11" fmla="*/ 46356 h 403224"/>
                  <a:gd name="connsiteX12" fmla="*/ 514260 w 526593"/>
                  <a:gd name="connsiteY12" fmla="*/ 45534 h 403224"/>
                  <a:gd name="connsiteX13" fmla="*/ 517137 w 526593"/>
                  <a:gd name="connsiteY13" fmla="*/ 33302 h 403224"/>
                  <a:gd name="connsiteX14" fmla="*/ 517549 w 526593"/>
                  <a:gd name="connsiteY14" fmla="*/ 31555 h 403224"/>
                  <a:gd name="connsiteX15" fmla="*/ 515390 w 526593"/>
                  <a:gd name="connsiteY15" fmla="*/ 16446 h 403224"/>
                  <a:gd name="connsiteX16" fmla="*/ 515082 w 526593"/>
                  <a:gd name="connsiteY16" fmla="*/ 14287 h 403224"/>
                  <a:gd name="connsiteX17" fmla="*/ 526593 w 526593"/>
                  <a:gd name="connsiteY17" fmla="*/ 15109 h 403224"/>
                  <a:gd name="connsiteX18" fmla="*/ 523304 w 526593"/>
                  <a:gd name="connsiteY18" fmla="*/ 38133 h 403224"/>
                  <a:gd name="connsiteX19" fmla="*/ 510971 w 526593"/>
                  <a:gd name="connsiteY19" fmla="*/ 117894 h 403224"/>
                  <a:gd name="connsiteX20" fmla="*/ 325969 w 526593"/>
                  <a:gd name="connsiteY20" fmla="*/ 108027 h 403224"/>
                  <a:gd name="connsiteX21" fmla="*/ 301302 w 526593"/>
                  <a:gd name="connsiteY21" fmla="*/ 265904 h 403224"/>
                  <a:gd name="connsiteX22" fmla="*/ 270879 w 526593"/>
                  <a:gd name="connsiteY22" fmla="*/ 274127 h 403224"/>
                  <a:gd name="connsiteX23" fmla="*/ 234701 w 526593"/>
                  <a:gd name="connsiteY23" fmla="*/ 296328 h 403224"/>
                  <a:gd name="connsiteX24" fmla="*/ 231412 w 526593"/>
                  <a:gd name="connsiteY24" fmla="*/ 322641 h 403224"/>
                  <a:gd name="connsiteX25" fmla="*/ 225657 w 526593"/>
                  <a:gd name="connsiteY25" fmla="*/ 395001 h 403224"/>
                  <a:gd name="connsiteX26" fmla="*/ 24210 w 526593"/>
                  <a:gd name="connsiteY26" fmla="*/ 384312 h 403224"/>
                  <a:gd name="connsiteX27" fmla="*/ 5299 w 526593"/>
                  <a:gd name="connsiteY27" fmla="*/ 392535 h 403224"/>
                  <a:gd name="connsiteX28" fmla="*/ 365 w 526593"/>
                  <a:gd name="connsiteY28" fmla="*/ 403224 h 403224"/>
                  <a:gd name="connsiteX29" fmla="*/ 365 w 526593"/>
                  <a:gd name="connsiteY29" fmla="*/ 395824 h 403224"/>
                  <a:gd name="connsiteX30" fmla="*/ 6943 w 526593"/>
                  <a:gd name="connsiteY30" fmla="*/ 373622 h 403224"/>
                  <a:gd name="connsiteX31" fmla="*/ 7481 w 526593"/>
                  <a:gd name="connsiteY31" fmla="*/ 374417 h 403224"/>
                  <a:gd name="connsiteX32" fmla="*/ 12405 w 526593"/>
                  <a:gd name="connsiteY32" fmla="*/ 353845 h 403224"/>
                  <a:gd name="connsiteX33" fmla="*/ 27996 w 526593"/>
                  <a:gd name="connsiteY33" fmla="*/ 326689 h 403224"/>
                  <a:gd name="connsiteX34" fmla="*/ 41125 w 526593"/>
                  <a:gd name="connsiteY34" fmla="*/ 320106 h 403224"/>
                  <a:gd name="connsiteX35" fmla="*/ 53434 w 526593"/>
                  <a:gd name="connsiteY35" fmla="*/ 302002 h 403224"/>
                  <a:gd name="connsiteX36" fmla="*/ 68205 w 526593"/>
                  <a:gd name="connsiteY36" fmla="*/ 281430 h 403224"/>
                  <a:gd name="connsiteX37" fmla="*/ 69025 w 526593"/>
                  <a:gd name="connsiteY37" fmla="*/ 269909 h 403224"/>
                  <a:gd name="connsiteX38" fmla="*/ 97746 w 526593"/>
                  <a:gd name="connsiteY38" fmla="*/ 234525 h 403224"/>
                  <a:gd name="connsiteX39" fmla="*/ 106773 w 526593"/>
                  <a:gd name="connsiteY39" fmla="*/ 217244 h 403224"/>
                  <a:gd name="connsiteX40" fmla="*/ 144520 w 526593"/>
                  <a:gd name="connsiteY40" fmla="*/ 182683 h 403224"/>
                  <a:gd name="connsiteX41" fmla="*/ 160932 w 526593"/>
                  <a:gd name="connsiteY41" fmla="*/ 161287 h 403224"/>
                  <a:gd name="connsiteX42" fmla="*/ 167497 w 526593"/>
                  <a:gd name="connsiteY42" fmla="*/ 147298 h 403224"/>
                  <a:gd name="connsiteX43" fmla="*/ 177344 w 526593"/>
                  <a:gd name="connsiteY43" fmla="*/ 126726 h 403224"/>
                  <a:gd name="connsiteX44" fmla="*/ 192935 w 526593"/>
                  <a:gd name="connsiteY44" fmla="*/ 94633 h 403224"/>
                  <a:gd name="connsiteX45" fmla="*/ 210167 w 526593"/>
                  <a:gd name="connsiteY45" fmla="*/ 76529 h 403224"/>
                  <a:gd name="connsiteX46" fmla="*/ 225759 w 526593"/>
                  <a:gd name="connsiteY46" fmla="*/ 68300 h 403224"/>
                  <a:gd name="connsiteX47" fmla="*/ 250376 w 526593"/>
                  <a:gd name="connsiteY47" fmla="*/ 54311 h 403224"/>
                  <a:gd name="connsiteX48" fmla="*/ 257762 w 526593"/>
                  <a:gd name="connsiteY48" fmla="*/ 45259 h 403224"/>
                  <a:gd name="connsiteX49" fmla="*/ 273353 w 526593"/>
                  <a:gd name="connsiteY49" fmla="*/ 18927 h 403224"/>
                  <a:gd name="connsiteX50" fmla="*/ 288124 w 526593"/>
                  <a:gd name="connsiteY50" fmla="*/ 823 h 403224"/>
                  <a:gd name="connsiteX51" fmla="*/ 288124 w 526593"/>
                  <a:gd name="connsiteY51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4197 w 526593"/>
                  <a:gd name="connsiteY4" fmla="*/ 43511 h 403224"/>
                  <a:gd name="connsiteX5" fmla="*/ 513787 w 526593"/>
                  <a:gd name="connsiteY5" fmla="*/ 45259 h 403224"/>
                  <a:gd name="connsiteX6" fmla="*/ 513787 w 526593"/>
                  <a:gd name="connsiteY6" fmla="*/ 51019 h 403224"/>
                  <a:gd name="connsiteX7" fmla="*/ 513787 w 526593"/>
                  <a:gd name="connsiteY7" fmla="*/ 51842 h 403224"/>
                  <a:gd name="connsiteX8" fmla="*/ 479322 w 526593"/>
                  <a:gd name="connsiteY8" fmla="*/ 55134 h 403224"/>
                  <a:gd name="connsiteX9" fmla="*/ 510971 w 526593"/>
                  <a:gd name="connsiteY9" fmla="*/ 55401 h 403224"/>
                  <a:gd name="connsiteX10" fmla="*/ 514260 w 526593"/>
                  <a:gd name="connsiteY10" fmla="*/ 46356 h 403224"/>
                  <a:gd name="connsiteX11" fmla="*/ 514260 w 526593"/>
                  <a:gd name="connsiteY11" fmla="*/ 45534 h 403224"/>
                  <a:gd name="connsiteX12" fmla="*/ 517137 w 526593"/>
                  <a:gd name="connsiteY12" fmla="*/ 33302 h 403224"/>
                  <a:gd name="connsiteX13" fmla="*/ 517549 w 526593"/>
                  <a:gd name="connsiteY13" fmla="*/ 31555 h 403224"/>
                  <a:gd name="connsiteX14" fmla="*/ 515390 w 526593"/>
                  <a:gd name="connsiteY14" fmla="*/ 16446 h 403224"/>
                  <a:gd name="connsiteX15" fmla="*/ 515082 w 526593"/>
                  <a:gd name="connsiteY15" fmla="*/ 14287 h 403224"/>
                  <a:gd name="connsiteX16" fmla="*/ 526593 w 526593"/>
                  <a:gd name="connsiteY16" fmla="*/ 15109 h 403224"/>
                  <a:gd name="connsiteX17" fmla="*/ 523304 w 526593"/>
                  <a:gd name="connsiteY17" fmla="*/ 38133 h 403224"/>
                  <a:gd name="connsiteX18" fmla="*/ 510971 w 526593"/>
                  <a:gd name="connsiteY18" fmla="*/ 117894 h 403224"/>
                  <a:gd name="connsiteX19" fmla="*/ 325969 w 526593"/>
                  <a:gd name="connsiteY19" fmla="*/ 108027 h 403224"/>
                  <a:gd name="connsiteX20" fmla="*/ 301302 w 526593"/>
                  <a:gd name="connsiteY20" fmla="*/ 265904 h 403224"/>
                  <a:gd name="connsiteX21" fmla="*/ 270879 w 526593"/>
                  <a:gd name="connsiteY21" fmla="*/ 274127 h 403224"/>
                  <a:gd name="connsiteX22" fmla="*/ 234701 w 526593"/>
                  <a:gd name="connsiteY22" fmla="*/ 296328 h 403224"/>
                  <a:gd name="connsiteX23" fmla="*/ 231412 w 526593"/>
                  <a:gd name="connsiteY23" fmla="*/ 322641 h 403224"/>
                  <a:gd name="connsiteX24" fmla="*/ 225657 w 526593"/>
                  <a:gd name="connsiteY24" fmla="*/ 395001 h 403224"/>
                  <a:gd name="connsiteX25" fmla="*/ 24210 w 526593"/>
                  <a:gd name="connsiteY25" fmla="*/ 384312 h 403224"/>
                  <a:gd name="connsiteX26" fmla="*/ 5299 w 526593"/>
                  <a:gd name="connsiteY26" fmla="*/ 392535 h 403224"/>
                  <a:gd name="connsiteX27" fmla="*/ 365 w 526593"/>
                  <a:gd name="connsiteY27" fmla="*/ 403224 h 403224"/>
                  <a:gd name="connsiteX28" fmla="*/ 365 w 526593"/>
                  <a:gd name="connsiteY28" fmla="*/ 395824 h 403224"/>
                  <a:gd name="connsiteX29" fmla="*/ 6943 w 526593"/>
                  <a:gd name="connsiteY29" fmla="*/ 373622 h 403224"/>
                  <a:gd name="connsiteX30" fmla="*/ 7481 w 526593"/>
                  <a:gd name="connsiteY30" fmla="*/ 374417 h 403224"/>
                  <a:gd name="connsiteX31" fmla="*/ 12405 w 526593"/>
                  <a:gd name="connsiteY31" fmla="*/ 353845 h 403224"/>
                  <a:gd name="connsiteX32" fmla="*/ 27996 w 526593"/>
                  <a:gd name="connsiteY32" fmla="*/ 326689 h 403224"/>
                  <a:gd name="connsiteX33" fmla="*/ 41125 w 526593"/>
                  <a:gd name="connsiteY33" fmla="*/ 320106 h 403224"/>
                  <a:gd name="connsiteX34" fmla="*/ 53434 w 526593"/>
                  <a:gd name="connsiteY34" fmla="*/ 302002 h 403224"/>
                  <a:gd name="connsiteX35" fmla="*/ 68205 w 526593"/>
                  <a:gd name="connsiteY35" fmla="*/ 281430 h 403224"/>
                  <a:gd name="connsiteX36" fmla="*/ 69025 w 526593"/>
                  <a:gd name="connsiteY36" fmla="*/ 269909 h 403224"/>
                  <a:gd name="connsiteX37" fmla="*/ 97746 w 526593"/>
                  <a:gd name="connsiteY37" fmla="*/ 234525 h 403224"/>
                  <a:gd name="connsiteX38" fmla="*/ 106773 w 526593"/>
                  <a:gd name="connsiteY38" fmla="*/ 217244 h 403224"/>
                  <a:gd name="connsiteX39" fmla="*/ 144520 w 526593"/>
                  <a:gd name="connsiteY39" fmla="*/ 182683 h 403224"/>
                  <a:gd name="connsiteX40" fmla="*/ 160932 w 526593"/>
                  <a:gd name="connsiteY40" fmla="*/ 161287 h 403224"/>
                  <a:gd name="connsiteX41" fmla="*/ 167497 w 526593"/>
                  <a:gd name="connsiteY41" fmla="*/ 147298 h 403224"/>
                  <a:gd name="connsiteX42" fmla="*/ 177344 w 526593"/>
                  <a:gd name="connsiteY42" fmla="*/ 126726 h 403224"/>
                  <a:gd name="connsiteX43" fmla="*/ 192935 w 526593"/>
                  <a:gd name="connsiteY43" fmla="*/ 94633 h 403224"/>
                  <a:gd name="connsiteX44" fmla="*/ 210167 w 526593"/>
                  <a:gd name="connsiteY44" fmla="*/ 76529 h 403224"/>
                  <a:gd name="connsiteX45" fmla="*/ 225759 w 526593"/>
                  <a:gd name="connsiteY45" fmla="*/ 68300 h 403224"/>
                  <a:gd name="connsiteX46" fmla="*/ 250376 w 526593"/>
                  <a:gd name="connsiteY46" fmla="*/ 54311 h 403224"/>
                  <a:gd name="connsiteX47" fmla="*/ 257762 w 526593"/>
                  <a:gd name="connsiteY47" fmla="*/ 45259 h 403224"/>
                  <a:gd name="connsiteX48" fmla="*/ 273353 w 526593"/>
                  <a:gd name="connsiteY48" fmla="*/ 18927 h 403224"/>
                  <a:gd name="connsiteX49" fmla="*/ 288124 w 526593"/>
                  <a:gd name="connsiteY49" fmla="*/ 823 h 403224"/>
                  <a:gd name="connsiteX50" fmla="*/ 288124 w 526593"/>
                  <a:gd name="connsiteY50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4197 w 526593"/>
                  <a:gd name="connsiteY4" fmla="*/ 43511 h 403224"/>
                  <a:gd name="connsiteX5" fmla="*/ 513787 w 526593"/>
                  <a:gd name="connsiteY5" fmla="*/ 45259 h 403224"/>
                  <a:gd name="connsiteX6" fmla="*/ 513787 w 526593"/>
                  <a:gd name="connsiteY6" fmla="*/ 51019 h 403224"/>
                  <a:gd name="connsiteX7" fmla="*/ 513787 w 526593"/>
                  <a:gd name="connsiteY7" fmla="*/ 51842 h 403224"/>
                  <a:gd name="connsiteX8" fmla="*/ 510971 w 526593"/>
                  <a:gd name="connsiteY8" fmla="*/ 55401 h 403224"/>
                  <a:gd name="connsiteX9" fmla="*/ 514260 w 526593"/>
                  <a:gd name="connsiteY9" fmla="*/ 46356 h 403224"/>
                  <a:gd name="connsiteX10" fmla="*/ 514260 w 526593"/>
                  <a:gd name="connsiteY10" fmla="*/ 45534 h 403224"/>
                  <a:gd name="connsiteX11" fmla="*/ 517137 w 526593"/>
                  <a:gd name="connsiteY11" fmla="*/ 33302 h 403224"/>
                  <a:gd name="connsiteX12" fmla="*/ 517549 w 526593"/>
                  <a:gd name="connsiteY12" fmla="*/ 31555 h 403224"/>
                  <a:gd name="connsiteX13" fmla="*/ 515390 w 526593"/>
                  <a:gd name="connsiteY13" fmla="*/ 16446 h 403224"/>
                  <a:gd name="connsiteX14" fmla="*/ 515082 w 526593"/>
                  <a:gd name="connsiteY14" fmla="*/ 14287 h 403224"/>
                  <a:gd name="connsiteX15" fmla="*/ 526593 w 526593"/>
                  <a:gd name="connsiteY15" fmla="*/ 15109 h 403224"/>
                  <a:gd name="connsiteX16" fmla="*/ 523304 w 526593"/>
                  <a:gd name="connsiteY16" fmla="*/ 38133 h 403224"/>
                  <a:gd name="connsiteX17" fmla="*/ 510971 w 526593"/>
                  <a:gd name="connsiteY17" fmla="*/ 117894 h 403224"/>
                  <a:gd name="connsiteX18" fmla="*/ 325969 w 526593"/>
                  <a:gd name="connsiteY18" fmla="*/ 108027 h 403224"/>
                  <a:gd name="connsiteX19" fmla="*/ 301302 w 526593"/>
                  <a:gd name="connsiteY19" fmla="*/ 265904 h 403224"/>
                  <a:gd name="connsiteX20" fmla="*/ 270879 w 526593"/>
                  <a:gd name="connsiteY20" fmla="*/ 274127 h 403224"/>
                  <a:gd name="connsiteX21" fmla="*/ 234701 w 526593"/>
                  <a:gd name="connsiteY21" fmla="*/ 296328 h 403224"/>
                  <a:gd name="connsiteX22" fmla="*/ 231412 w 526593"/>
                  <a:gd name="connsiteY22" fmla="*/ 322641 h 403224"/>
                  <a:gd name="connsiteX23" fmla="*/ 225657 w 526593"/>
                  <a:gd name="connsiteY23" fmla="*/ 395001 h 403224"/>
                  <a:gd name="connsiteX24" fmla="*/ 24210 w 526593"/>
                  <a:gd name="connsiteY24" fmla="*/ 384312 h 403224"/>
                  <a:gd name="connsiteX25" fmla="*/ 5299 w 526593"/>
                  <a:gd name="connsiteY25" fmla="*/ 392535 h 403224"/>
                  <a:gd name="connsiteX26" fmla="*/ 365 w 526593"/>
                  <a:gd name="connsiteY26" fmla="*/ 403224 h 403224"/>
                  <a:gd name="connsiteX27" fmla="*/ 365 w 526593"/>
                  <a:gd name="connsiteY27" fmla="*/ 395824 h 403224"/>
                  <a:gd name="connsiteX28" fmla="*/ 6943 w 526593"/>
                  <a:gd name="connsiteY28" fmla="*/ 373622 h 403224"/>
                  <a:gd name="connsiteX29" fmla="*/ 7481 w 526593"/>
                  <a:gd name="connsiteY29" fmla="*/ 374417 h 403224"/>
                  <a:gd name="connsiteX30" fmla="*/ 12405 w 526593"/>
                  <a:gd name="connsiteY30" fmla="*/ 353845 h 403224"/>
                  <a:gd name="connsiteX31" fmla="*/ 27996 w 526593"/>
                  <a:gd name="connsiteY31" fmla="*/ 326689 h 403224"/>
                  <a:gd name="connsiteX32" fmla="*/ 41125 w 526593"/>
                  <a:gd name="connsiteY32" fmla="*/ 320106 h 403224"/>
                  <a:gd name="connsiteX33" fmla="*/ 53434 w 526593"/>
                  <a:gd name="connsiteY33" fmla="*/ 302002 h 403224"/>
                  <a:gd name="connsiteX34" fmla="*/ 68205 w 526593"/>
                  <a:gd name="connsiteY34" fmla="*/ 281430 h 403224"/>
                  <a:gd name="connsiteX35" fmla="*/ 69025 w 526593"/>
                  <a:gd name="connsiteY35" fmla="*/ 269909 h 403224"/>
                  <a:gd name="connsiteX36" fmla="*/ 97746 w 526593"/>
                  <a:gd name="connsiteY36" fmla="*/ 234525 h 403224"/>
                  <a:gd name="connsiteX37" fmla="*/ 106773 w 526593"/>
                  <a:gd name="connsiteY37" fmla="*/ 217244 h 403224"/>
                  <a:gd name="connsiteX38" fmla="*/ 144520 w 526593"/>
                  <a:gd name="connsiteY38" fmla="*/ 182683 h 403224"/>
                  <a:gd name="connsiteX39" fmla="*/ 160932 w 526593"/>
                  <a:gd name="connsiteY39" fmla="*/ 161287 h 403224"/>
                  <a:gd name="connsiteX40" fmla="*/ 167497 w 526593"/>
                  <a:gd name="connsiteY40" fmla="*/ 147298 h 403224"/>
                  <a:gd name="connsiteX41" fmla="*/ 177344 w 526593"/>
                  <a:gd name="connsiteY41" fmla="*/ 126726 h 403224"/>
                  <a:gd name="connsiteX42" fmla="*/ 192935 w 526593"/>
                  <a:gd name="connsiteY42" fmla="*/ 94633 h 403224"/>
                  <a:gd name="connsiteX43" fmla="*/ 210167 w 526593"/>
                  <a:gd name="connsiteY43" fmla="*/ 76529 h 403224"/>
                  <a:gd name="connsiteX44" fmla="*/ 225759 w 526593"/>
                  <a:gd name="connsiteY44" fmla="*/ 68300 h 403224"/>
                  <a:gd name="connsiteX45" fmla="*/ 250376 w 526593"/>
                  <a:gd name="connsiteY45" fmla="*/ 54311 h 403224"/>
                  <a:gd name="connsiteX46" fmla="*/ 257762 w 526593"/>
                  <a:gd name="connsiteY46" fmla="*/ 45259 h 403224"/>
                  <a:gd name="connsiteX47" fmla="*/ 273353 w 526593"/>
                  <a:gd name="connsiteY47" fmla="*/ 18927 h 403224"/>
                  <a:gd name="connsiteX48" fmla="*/ 288124 w 526593"/>
                  <a:gd name="connsiteY48" fmla="*/ 823 h 403224"/>
                  <a:gd name="connsiteX49" fmla="*/ 288124 w 526593"/>
                  <a:gd name="connsiteY49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4197 w 526593"/>
                  <a:gd name="connsiteY4" fmla="*/ 43511 h 403224"/>
                  <a:gd name="connsiteX5" fmla="*/ 513787 w 526593"/>
                  <a:gd name="connsiteY5" fmla="*/ 45259 h 403224"/>
                  <a:gd name="connsiteX6" fmla="*/ 513787 w 526593"/>
                  <a:gd name="connsiteY6" fmla="*/ 51019 h 403224"/>
                  <a:gd name="connsiteX7" fmla="*/ 513787 w 526593"/>
                  <a:gd name="connsiteY7" fmla="*/ 51842 h 403224"/>
                  <a:gd name="connsiteX8" fmla="*/ 514260 w 526593"/>
                  <a:gd name="connsiteY8" fmla="*/ 46356 h 403224"/>
                  <a:gd name="connsiteX9" fmla="*/ 514260 w 526593"/>
                  <a:gd name="connsiteY9" fmla="*/ 45534 h 403224"/>
                  <a:gd name="connsiteX10" fmla="*/ 517137 w 526593"/>
                  <a:gd name="connsiteY10" fmla="*/ 33302 h 403224"/>
                  <a:gd name="connsiteX11" fmla="*/ 517549 w 526593"/>
                  <a:gd name="connsiteY11" fmla="*/ 31555 h 403224"/>
                  <a:gd name="connsiteX12" fmla="*/ 515390 w 526593"/>
                  <a:gd name="connsiteY12" fmla="*/ 16446 h 403224"/>
                  <a:gd name="connsiteX13" fmla="*/ 515082 w 526593"/>
                  <a:gd name="connsiteY13" fmla="*/ 14287 h 403224"/>
                  <a:gd name="connsiteX14" fmla="*/ 526593 w 526593"/>
                  <a:gd name="connsiteY14" fmla="*/ 15109 h 403224"/>
                  <a:gd name="connsiteX15" fmla="*/ 523304 w 526593"/>
                  <a:gd name="connsiteY15" fmla="*/ 38133 h 403224"/>
                  <a:gd name="connsiteX16" fmla="*/ 510971 w 526593"/>
                  <a:gd name="connsiteY16" fmla="*/ 117894 h 403224"/>
                  <a:gd name="connsiteX17" fmla="*/ 325969 w 526593"/>
                  <a:gd name="connsiteY17" fmla="*/ 108027 h 403224"/>
                  <a:gd name="connsiteX18" fmla="*/ 301302 w 526593"/>
                  <a:gd name="connsiteY18" fmla="*/ 265904 h 403224"/>
                  <a:gd name="connsiteX19" fmla="*/ 270879 w 526593"/>
                  <a:gd name="connsiteY19" fmla="*/ 274127 h 403224"/>
                  <a:gd name="connsiteX20" fmla="*/ 234701 w 526593"/>
                  <a:gd name="connsiteY20" fmla="*/ 296328 h 403224"/>
                  <a:gd name="connsiteX21" fmla="*/ 231412 w 526593"/>
                  <a:gd name="connsiteY21" fmla="*/ 322641 h 403224"/>
                  <a:gd name="connsiteX22" fmla="*/ 225657 w 526593"/>
                  <a:gd name="connsiteY22" fmla="*/ 395001 h 403224"/>
                  <a:gd name="connsiteX23" fmla="*/ 24210 w 526593"/>
                  <a:gd name="connsiteY23" fmla="*/ 384312 h 403224"/>
                  <a:gd name="connsiteX24" fmla="*/ 5299 w 526593"/>
                  <a:gd name="connsiteY24" fmla="*/ 392535 h 403224"/>
                  <a:gd name="connsiteX25" fmla="*/ 365 w 526593"/>
                  <a:gd name="connsiteY25" fmla="*/ 403224 h 403224"/>
                  <a:gd name="connsiteX26" fmla="*/ 365 w 526593"/>
                  <a:gd name="connsiteY26" fmla="*/ 395824 h 403224"/>
                  <a:gd name="connsiteX27" fmla="*/ 6943 w 526593"/>
                  <a:gd name="connsiteY27" fmla="*/ 373622 h 403224"/>
                  <a:gd name="connsiteX28" fmla="*/ 7481 w 526593"/>
                  <a:gd name="connsiteY28" fmla="*/ 374417 h 403224"/>
                  <a:gd name="connsiteX29" fmla="*/ 12405 w 526593"/>
                  <a:gd name="connsiteY29" fmla="*/ 353845 h 403224"/>
                  <a:gd name="connsiteX30" fmla="*/ 27996 w 526593"/>
                  <a:gd name="connsiteY30" fmla="*/ 326689 h 403224"/>
                  <a:gd name="connsiteX31" fmla="*/ 41125 w 526593"/>
                  <a:gd name="connsiteY31" fmla="*/ 320106 h 403224"/>
                  <a:gd name="connsiteX32" fmla="*/ 53434 w 526593"/>
                  <a:gd name="connsiteY32" fmla="*/ 302002 h 403224"/>
                  <a:gd name="connsiteX33" fmla="*/ 68205 w 526593"/>
                  <a:gd name="connsiteY33" fmla="*/ 281430 h 403224"/>
                  <a:gd name="connsiteX34" fmla="*/ 69025 w 526593"/>
                  <a:gd name="connsiteY34" fmla="*/ 269909 h 403224"/>
                  <a:gd name="connsiteX35" fmla="*/ 97746 w 526593"/>
                  <a:gd name="connsiteY35" fmla="*/ 234525 h 403224"/>
                  <a:gd name="connsiteX36" fmla="*/ 106773 w 526593"/>
                  <a:gd name="connsiteY36" fmla="*/ 217244 h 403224"/>
                  <a:gd name="connsiteX37" fmla="*/ 144520 w 526593"/>
                  <a:gd name="connsiteY37" fmla="*/ 182683 h 403224"/>
                  <a:gd name="connsiteX38" fmla="*/ 160932 w 526593"/>
                  <a:gd name="connsiteY38" fmla="*/ 161287 h 403224"/>
                  <a:gd name="connsiteX39" fmla="*/ 167497 w 526593"/>
                  <a:gd name="connsiteY39" fmla="*/ 147298 h 403224"/>
                  <a:gd name="connsiteX40" fmla="*/ 177344 w 526593"/>
                  <a:gd name="connsiteY40" fmla="*/ 126726 h 403224"/>
                  <a:gd name="connsiteX41" fmla="*/ 192935 w 526593"/>
                  <a:gd name="connsiteY41" fmla="*/ 94633 h 403224"/>
                  <a:gd name="connsiteX42" fmla="*/ 210167 w 526593"/>
                  <a:gd name="connsiteY42" fmla="*/ 76529 h 403224"/>
                  <a:gd name="connsiteX43" fmla="*/ 225759 w 526593"/>
                  <a:gd name="connsiteY43" fmla="*/ 68300 h 403224"/>
                  <a:gd name="connsiteX44" fmla="*/ 250376 w 526593"/>
                  <a:gd name="connsiteY44" fmla="*/ 54311 h 403224"/>
                  <a:gd name="connsiteX45" fmla="*/ 257762 w 526593"/>
                  <a:gd name="connsiteY45" fmla="*/ 45259 h 403224"/>
                  <a:gd name="connsiteX46" fmla="*/ 273353 w 526593"/>
                  <a:gd name="connsiteY46" fmla="*/ 18927 h 403224"/>
                  <a:gd name="connsiteX47" fmla="*/ 288124 w 526593"/>
                  <a:gd name="connsiteY47" fmla="*/ 823 h 403224"/>
                  <a:gd name="connsiteX48" fmla="*/ 288124 w 526593"/>
                  <a:gd name="connsiteY48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4197 w 526593"/>
                  <a:gd name="connsiteY4" fmla="*/ 43511 h 403224"/>
                  <a:gd name="connsiteX5" fmla="*/ 513787 w 526593"/>
                  <a:gd name="connsiteY5" fmla="*/ 45259 h 403224"/>
                  <a:gd name="connsiteX6" fmla="*/ 513787 w 526593"/>
                  <a:gd name="connsiteY6" fmla="*/ 51019 h 403224"/>
                  <a:gd name="connsiteX7" fmla="*/ 513787 w 526593"/>
                  <a:gd name="connsiteY7" fmla="*/ 51842 h 403224"/>
                  <a:gd name="connsiteX8" fmla="*/ 514260 w 526593"/>
                  <a:gd name="connsiteY8" fmla="*/ 46356 h 403224"/>
                  <a:gd name="connsiteX9" fmla="*/ 517137 w 526593"/>
                  <a:gd name="connsiteY9" fmla="*/ 33302 h 403224"/>
                  <a:gd name="connsiteX10" fmla="*/ 517549 w 526593"/>
                  <a:gd name="connsiteY10" fmla="*/ 31555 h 403224"/>
                  <a:gd name="connsiteX11" fmla="*/ 515390 w 526593"/>
                  <a:gd name="connsiteY11" fmla="*/ 16446 h 403224"/>
                  <a:gd name="connsiteX12" fmla="*/ 515082 w 526593"/>
                  <a:gd name="connsiteY12" fmla="*/ 14287 h 403224"/>
                  <a:gd name="connsiteX13" fmla="*/ 526593 w 526593"/>
                  <a:gd name="connsiteY13" fmla="*/ 15109 h 403224"/>
                  <a:gd name="connsiteX14" fmla="*/ 523304 w 526593"/>
                  <a:gd name="connsiteY14" fmla="*/ 38133 h 403224"/>
                  <a:gd name="connsiteX15" fmla="*/ 510971 w 526593"/>
                  <a:gd name="connsiteY15" fmla="*/ 117894 h 403224"/>
                  <a:gd name="connsiteX16" fmla="*/ 325969 w 526593"/>
                  <a:gd name="connsiteY16" fmla="*/ 108027 h 403224"/>
                  <a:gd name="connsiteX17" fmla="*/ 301302 w 526593"/>
                  <a:gd name="connsiteY17" fmla="*/ 265904 h 403224"/>
                  <a:gd name="connsiteX18" fmla="*/ 270879 w 526593"/>
                  <a:gd name="connsiteY18" fmla="*/ 274127 h 403224"/>
                  <a:gd name="connsiteX19" fmla="*/ 234701 w 526593"/>
                  <a:gd name="connsiteY19" fmla="*/ 296328 h 403224"/>
                  <a:gd name="connsiteX20" fmla="*/ 231412 w 526593"/>
                  <a:gd name="connsiteY20" fmla="*/ 322641 h 403224"/>
                  <a:gd name="connsiteX21" fmla="*/ 225657 w 526593"/>
                  <a:gd name="connsiteY21" fmla="*/ 395001 h 403224"/>
                  <a:gd name="connsiteX22" fmla="*/ 24210 w 526593"/>
                  <a:gd name="connsiteY22" fmla="*/ 384312 h 403224"/>
                  <a:gd name="connsiteX23" fmla="*/ 5299 w 526593"/>
                  <a:gd name="connsiteY23" fmla="*/ 392535 h 403224"/>
                  <a:gd name="connsiteX24" fmla="*/ 365 w 526593"/>
                  <a:gd name="connsiteY24" fmla="*/ 403224 h 403224"/>
                  <a:gd name="connsiteX25" fmla="*/ 365 w 526593"/>
                  <a:gd name="connsiteY25" fmla="*/ 395824 h 403224"/>
                  <a:gd name="connsiteX26" fmla="*/ 6943 w 526593"/>
                  <a:gd name="connsiteY26" fmla="*/ 373622 h 403224"/>
                  <a:gd name="connsiteX27" fmla="*/ 7481 w 526593"/>
                  <a:gd name="connsiteY27" fmla="*/ 374417 h 403224"/>
                  <a:gd name="connsiteX28" fmla="*/ 12405 w 526593"/>
                  <a:gd name="connsiteY28" fmla="*/ 353845 h 403224"/>
                  <a:gd name="connsiteX29" fmla="*/ 27996 w 526593"/>
                  <a:gd name="connsiteY29" fmla="*/ 326689 h 403224"/>
                  <a:gd name="connsiteX30" fmla="*/ 41125 w 526593"/>
                  <a:gd name="connsiteY30" fmla="*/ 320106 h 403224"/>
                  <a:gd name="connsiteX31" fmla="*/ 53434 w 526593"/>
                  <a:gd name="connsiteY31" fmla="*/ 302002 h 403224"/>
                  <a:gd name="connsiteX32" fmla="*/ 68205 w 526593"/>
                  <a:gd name="connsiteY32" fmla="*/ 281430 h 403224"/>
                  <a:gd name="connsiteX33" fmla="*/ 69025 w 526593"/>
                  <a:gd name="connsiteY33" fmla="*/ 269909 h 403224"/>
                  <a:gd name="connsiteX34" fmla="*/ 97746 w 526593"/>
                  <a:gd name="connsiteY34" fmla="*/ 234525 h 403224"/>
                  <a:gd name="connsiteX35" fmla="*/ 106773 w 526593"/>
                  <a:gd name="connsiteY35" fmla="*/ 217244 h 403224"/>
                  <a:gd name="connsiteX36" fmla="*/ 144520 w 526593"/>
                  <a:gd name="connsiteY36" fmla="*/ 182683 h 403224"/>
                  <a:gd name="connsiteX37" fmla="*/ 160932 w 526593"/>
                  <a:gd name="connsiteY37" fmla="*/ 161287 h 403224"/>
                  <a:gd name="connsiteX38" fmla="*/ 167497 w 526593"/>
                  <a:gd name="connsiteY38" fmla="*/ 147298 h 403224"/>
                  <a:gd name="connsiteX39" fmla="*/ 177344 w 526593"/>
                  <a:gd name="connsiteY39" fmla="*/ 126726 h 403224"/>
                  <a:gd name="connsiteX40" fmla="*/ 192935 w 526593"/>
                  <a:gd name="connsiteY40" fmla="*/ 94633 h 403224"/>
                  <a:gd name="connsiteX41" fmla="*/ 210167 w 526593"/>
                  <a:gd name="connsiteY41" fmla="*/ 76529 h 403224"/>
                  <a:gd name="connsiteX42" fmla="*/ 225759 w 526593"/>
                  <a:gd name="connsiteY42" fmla="*/ 68300 h 403224"/>
                  <a:gd name="connsiteX43" fmla="*/ 250376 w 526593"/>
                  <a:gd name="connsiteY43" fmla="*/ 54311 h 403224"/>
                  <a:gd name="connsiteX44" fmla="*/ 257762 w 526593"/>
                  <a:gd name="connsiteY44" fmla="*/ 45259 h 403224"/>
                  <a:gd name="connsiteX45" fmla="*/ 273353 w 526593"/>
                  <a:gd name="connsiteY45" fmla="*/ 18927 h 403224"/>
                  <a:gd name="connsiteX46" fmla="*/ 288124 w 526593"/>
                  <a:gd name="connsiteY46" fmla="*/ 823 h 403224"/>
                  <a:gd name="connsiteX47" fmla="*/ 288124 w 526593"/>
                  <a:gd name="connsiteY47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4197 w 526593"/>
                  <a:gd name="connsiteY4" fmla="*/ 43511 h 403224"/>
                  <a:gd name="connsiteX5" fmla="*/ 513787 w 526593"/>
                  <a:gd name="connsiteY5" fmla="*/ 45259 h 403224"/>
                  <a:gd name="connsiteX6" fmla="*/ 513787 w 526593"/>
                  <a:gd name="connsiteY6" fmla="*/ 51019 h 403224"/>
                  <a:gd name="connsiteX7" fmla="*/ 513787 w 526593"/>
                  <a:gd name="connsiteY7" fmla="*/ 51842 h 403224"/>
                  <a:gd name="connsiteX8" fmla="*/ 514260 w 526593"/>
                  <a:gd name="connsiteY8" fmla="*/ 46356 h 403224"/>
                  <a:gd name="connsiteX9" fmla="*/ 517137 w 526593"/>
                  <a:gd name="connsiteY9" fmla="*/ 33302 h 403224"/>
                  <a:gd name="connsiteX10" fmla="*/ 517549 w 526593"/>
                  <a:gd name="connsiteY10" fmla="*/ 31555 h 403224"/>
                  <a:gd name="connsiteX11" fmla="*/ 515390 w 526593"/>
                  <a:gd name="connsiteY11" fmla="*/ 16446 h 403224"/>
                  <a:gd name="connsiteX12" fmla="*/ 515082 w 526593"/>
                  <a:gd name="connsiteY12" fmla="*/ 14287 h 403224"/>
                  <a:gd name="connsiteX13" fmla="*/ 526593 w 526593"/>
                  <a:gd name="connsiteY13" fmla="*/ 15109 h 403224"/>
                  <a:gd name="connsiteX14" fmla="*/ 510971 w 526593"/>
                  <a:gd name="connsiteY14" fmla="*/ 117894 h 403224"/>
                  <a:gd name="connsiteX15" fmla="*/ 325969 w 526593"/>
                  <a:gd name="connsiteY15" fmla="*/ 108027 h 403224"/>
                  <a:gd name="connsiteX16" fmla="*/ 301302 w 526593"/>
                  <a:gd name="connsiteY16" fmla="*/ 265904 h 403224"/>
                  <a:gd name="connsiteX17" fmla="*/ 270879 w 526593"/>
                  <a:gd name="connsiteY17" fmla="*/ 274127 h 403224"/>
                  <a:gd name="connsiteX18" fmla="*/ 234701 w 526593"/>
                  <a:gd name="connsiteY18" fmla="*/ 296328 h 403224"/>
                  <a:gd name="connsiteX19" fmla="*/ 231412 w 526593"/>
                  <a:gd name="connsiteY19" fmla="*/ 322641 h 403224"/>
                  <a:gd name="connsiteX20" fmla="*/ 225657 w 526593"/>
                  <a:gd name="connsiteY20" fmla="*/ 395001 h 403224"/>
                  <a:gd name="connsiteX21" fmla="*/ 24210 w 526593"/>
                  <a:gd name="connsiteY21" fmla="*/ 384312 h 403224"/>
                  <a:gd name="connsiteX22" fmla="*/ 5299 w 526593"/>
                  <a:gd name="connsiteY22" fmla="*/ 392535 h 403224"/>
                  <a:gd name="connsiteX23" fmla="*/ 365 w 526593"/>
                  <a:gd name="connsiteY23" fmla="*/ 403224 h 403224"/>
                  <a:gd name="connsiteX24" fmla="*/ 365 w 526593"/>
                  <a:gd name="connsiteY24" fmla="*/ 395824 h 403224"/>
                  <a:gd name="connsiteX25" fmla="*/ 6943 w 526593"/>
                  <a:gd name="connsiteY25" fmla="*/ 373622 h 403224"/>
                  <a:gd name="connsiteX26" fmla="*/ 7481 w 526593"/>
                  <a:gd name="connsiteY26" fmla="*/ 374417 h 403224"/>
                  <a:gd name="connsiteX27" fmla="*/ 12405 w 526593"/>
                  <a:gd name="connsiteY27" fmla="*/ 353845 h 403224"/>
                  <a:gd name="connsiteX28" fmla="*/ 27996 w 526593"/>
                  <a:gd name="connsiteY28" fmla="*/ 326689 h 403224"/>
                  <a:gd name="connsiteX29" fmla="*/ 41125 w 526593"/>
                  <a:gd name="connsiteY29" fmla="*/ 320106 h 403224"/>
                  <a:gd name="connsiteX30" fmla="*/ 53434 w 526593"/>
                  <a:gd name="connsiteY30" fmla="*/ 302002 h 403224"/>
                  <a:gd name="connsiteX31" fmla="*/ 68205 w 526593"/>
                  <a:gd name="connsiteY31" fmla="*/ 281430 h 403224"/>
                  <a:gd name="connsiteX32" fmla="*/ 69025 w 526593"/>
                  <a:gd name="connsiteY32" fmla="*/ 269909 h 403224"/>
                  <a:gd name="connsiteX33" fmla="*/ 97746 w 526593"/>
                  <a:gd name="connsiteY33" fmla="*/ 234525 h 403224"/>
                  <a:gd name="connsiteX34" fmla="*/ 106773 w 526593"/>
                  <a:gd name="connsiteY34" fmla="*/ 217244 h 403224"/>
                  <a:gd name="connsiteX35" fmla="*/ 144520 w 526593"/>
                  <a:gd name="connsiteY35" fmla="*/ 182683 h 403224"/>
                  <a:gd name="connsiteX36" fmla="*/ 160932 w 526593"/>
                  <a:gd name="connsiteY36" fmla="*/ 161287 h 403224"/>
                  <a:gd name="connsiteX37" fmla="*/ 167497 w 526593"/>
                  <a:gd name="connsiteY37" fmla="*/ 147298 h 403224"/>
                  <a:gd name="connsiteX38" fmla="*/ 177344 w 526593"/>
                  <a:gd name="connsiteY38" fmla="*/ 126726 h 403224"/>
                  <a:gd name="connsiteX39" fmla="*/ 192935 w 526593"/>
                  <a:gd name="connsiteY39" fmla="*/ 94633 h 403224"/>
                  <a:gd name="connsiteX40" fmla="*/ 210167 w 526593"/>
                  <a:gd name="connsiteY40" fmla="*/ 76529 h 403224"/>
                  <a:gd name="connsiteX41" fmla="*/ 225759 w 526593"/>
                  <a:gd name="connsiteY41" fmla="*/ 68300 h 403224"/>
                  <a:gd name="connsiteX42" fmla="*/ 250376 w 526593"/>
                  <a:gd name="connsiteY42" fmla="*/ 54311 h 403224"/>
                  <a:gd name="connsiteX43" fmla="*/ 257762 w 526593"/>
                  <a:gd name="connsiteY43" fmla="*/ 45259 h 403224"/>
                  <a:gd name="connsiteX44" fmla="*/ 273353 w 526593"/>
                  <a:gd name="connsiteY44" fmla="*/ 18927 h 403224"/>
                  <a:gd name="connsiteX45" fmla="*/ 288124 w 526593"/>
                  <a:gd name="connsiteY45" fmla="*/ 823 h 403224"/>
                  <a:gd name="connsiteX46" fmla="*/ 288124 w 526593"/>
                  <a:gd name="connsiteY46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4197 w 526593"/>
                  <a:gd name="connsiteY4" fmla="*/ 43511 h 403224"/>
                  <a:gd name="connsiteX5" fmla="*/ 513787 w 526593"/>
                  <a:gd name="connsiteY5" fmla="*/ 45259 h 403224"/>
                  <a:gd name="connsiteX6" fmla="*/ 513787 w 526593"/>
                  <a:gd name="connsiteY6" fmla="*/ 51019 h 403224"/>
                  <a:gd name="connsiteX7" fmla="*/ 513787 w 526593"/>
                  <a:gd name="connsiteY7" fmla="*/ 51842 h 403224"/>
                  <a:gd name="connsiteX8" fmla="*/ 517137 w 526593"/>
                  <a:gd name="connsiteY8" fmla="*/ 33302 h 403224"/>
                  <a:gd name="connsiteX9" fmla="*/ 517549 w 526593"/>
                  <a:gd name="connsiteY9" fmla="*/ 31555 h 403224"/>
                  <a:gd name="connsiteX10" fmla="*/ 515390 w 526593"/>
                  <a:gd name="connsiteY10" fmla="*/ 16446 h 403224"/>
                  <a:gd name="connsiteX11" fmla="*/ 515082 w 526593"/>
                  <a:gd name="connsiteY11" fmla="*/ 14287 h 403224"/>
                  <a:gd name="connsiteX12" fmla="*/ 526593 w 526593"/>
                  <a:gd name="connsiteY12" fmla="*/ 15109 h 403224"/>
                  <a:gd name="connsiteX13" fmla="*/ 510971 w 526593"/>
                  <a:gd name="connsiteY13" fmla="*/ 117894 h 403224"/>
                  <a:gd name="connsiteX14" fmla="*/ 325969 w 526593"/>
                  <a:gd name="connsiteY14" fmla="*/ 108027 h 403224"/>
                  <a:gd name="connsiteX15" fmla="*/ 301302 w 526593"/>
                  <a:gd name="connsiteY15" fmla="*/ 265904 h 403224"/>
                  <a:gd name="connsiteX16" fmla="*/ 270879 w 526593"/>
                  <a:gd name="connsiteY16" fmla="*/ 274127 h 403224"/>
                  <a:gd name="connsiteX17" fmla="*/ 234701 w 526593"/>
                  <a:gd name="connsiteY17" fmla="*/ 296328 h 403224"/>
                  <a:gd name="connsiteX18" fmla="*/ 231412 w 526593"/>
                  <a:gd name="connsiteY18" fmla="*/ 322641 h 403224"/>
                  <a:gd name="connsiteX19" fmla="*/ 225657 w 526593"/>
                  <a:gd name="connsiteY19" fmla="*/ 395001 h 403224"/>
                  <a:gd name="connsiteX20" fmla="*/ 24210 w 526593"/>
                  <a:gd name="connsiteY20" fmla="*/ 384312 h 403224"/>
                  <a:gd name="connsiteX21" fmla="*/ 5299 w 526593"/>
                  <a:gd name="connsiteY21" fmla="*/ 392535 h 403224"/>
                  <a:gd name="connsiteX22" fmla="*/ 365 w 526593"/>
                  <a:gd name="connsiteY22" fmla="*/ 403224 h 403224"/>
                  <a:gd name="connsiteX23" fmla="*/ 365 w 526593"/>
                  <a:gd name="connsiteY23" fmla="*/ 395824 h 403224"/>
                  <a:gd name="connsiteX24" fmla="*/ 6943 w 526593"/>
                  <a:gd name="connsiteY24" fmla="*/ 373622 h 403224"/>
                  <a:gd name="connsiteX25" fmla="*/ 7481 w 526593"/>
                  <a:gd name="connsiteY25" fmla="*/ 374417 h 403224"/>
                  <a:gd name="connsiteX26" fmla="*/ 12405 w 526593"/>
                  <a:gd name="connsiteY26" fmla="*/ 353845 h 403224"/>
                  <a:gd name="connsiteX27" fmla="*/ 27996 w 526593"/>
                  <a:gd name="connsiteY27" fmla="*/ 326689 h 403224"/>
                  <a:gd name="connsiteX28" fmla="*/ 41125 w 526593"/>
                  <a:gd name="connsiteY28" fmla="*/ 320106 h 403224"/>
                  <a:gd name="connsiteX29" fmla="*/ 53434 w 526593"/>
                  <a:gd name="connsiteY29" fmla="*/ 302002 h 403224"/>
                  <a:gd name="connsiteX30" fmla="*/ 68205 w 526593"/>
                  <a:gd name="connsiteY30" fmla="*/ 281430 h 403224"/>
                  <a:gd name="connsiteX31" fmla="*/ 69025 w 526593"/>
                  <a:gd name="connsiteY31" fmla="*/ 269909 h 403224"/>
                  <a:gd name="connsiteX32" fmla="*/ 97746 w 526593"/>
                  <a:gd name="connsiteY32" fmla="*/ 234525 h 403224"/>
                  <a:gd name="connsiteX33" fmla="*/ 106773 w 526593"/>
                  <a:gd name="connsiteY33" fmla="*/ 217244 h 403224"/>
                  <a:gd name="connsiteX34" fmla="*/ 144520 w 526593"/>
                  <a:gd name="connsiteY34" fmla="*/ 182683 h 403224"/>
                  <a:gd name="connsiteX35" fmla="*/ 160932 w 526593"/>
                  <a:gd name="connsiteY35" fmla="*/ 161287 h 403224"/>
                  <a:gd name="connsiteX36" fmla="*/ 167497 w 526593"/>
                  <a:gd name="connsiteY36" fmla="*/ 147298 h 403224"/>
                  <a:gd name="connsiteX37" fmla="*/ 177344 w 526593"/>
                  <a:gd name="connsiteY37" fmla="*/ 126726 h 403224"/>
                  <a:gd name="connsiteX38" fmla="*/ 192935 w 526593"/>
                  <a:gd name="connsiteY38" fmla="*/ 94633 h 403224"/>
                  <a:gd name="connsiteX39" fmla="*/ 210167 w 526593"/>
                  <a:gd name="connsiteY39" fmla="*/ 76529 h 403224"/>
                  <a:gd name="connsiteX40" fmla="*/ 225759 w 526593"/>
                  <a:gd name="connsiteY40" fmla="*/ 68300 h 403224"/>
                  <a:gd name="connsiteX41" fmla="*/ 250376 w 526593"/>
                  <a:gd name="connsiteY41" fmla="*/ 54311 h 403224"/>
                  <a:gd name="connsiteX42" fmla="*/ 257762 w 526593"/>
                  <a:gd name="connsiteY42" fmla="*/ 45259 h 403224"/>
                  <a:gd name="connsiteX43" fmla="*/ 273353 w 526593"/>
                  <a:gd name="connsiteY43" fmla="*/ 18927 h 403224"/>
                  <a:gd name="connsiteX44" fmla="*/ 288124 w 526593"/>
                  <a:gd name="connsiteY44" fmla="*/ 823 h 403224"/>
                  <a:gd name="connsiteX45" fmla="*/ 288124 w 526593"/>
                  <a:gd name="connsiteY45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4197 w 526593"/>
                  <a:gd name="connsiteY4" fmla="*/ 43511 h 403224"/>
                  <a:gd name="connsiteX5" fmla="*/ 513787 w 526593"/>
                  <a:gd name="connsiteY5" fmla="*/ 45259 h 403224"/>
                  <a:gd name="connsiteX6" fmla="*/ 513787 w 526593"/>
                  <a:gd name="connsiteY6" fmla="*/ 51019 h 403224"/>
                  <a:gd name="connsiteX7" fmla="*/ 517137 w 526593"/>
                  <a:gd name="connsiteY7" fmla="*/ 33302 h 403224"/>
                  <a:gd name="connsiteX8" fmla="*/ 517549 w 526593"/>
                  <a:gd name="connsiteY8" fmla="*/ 31555 h 403224"/>
                  <a:gd name="connsiteX9" fmla="*/ 515390 w 526593"/>
                  <a:gd name="connsiteY9" fmla="*/ 16446 h 403224"/>
                  <a:gd name="connsiteX10" fmla="*/ 515082 w 526593"/>
                  <a:gd name="connsiteY10" fmla="*/ 14287 h 403224"/>
                  <a:gd name="connsiteX11" fmla="*/ 526593 w 526593"/>
                  <a:gd name="connsiteY11" fmla="*/ 15109 h 403224"/>
                  <a:gd name="connsiteX12" fmla="*/ 510971 w 526593"/>
                  <a:gd name="connsiteY12" fmla="*/ 117894 h 403224"/>
                  <a:gd name="connsiteX13" fmla="*/ 325969 w 526593"/>
                  <a:gd name="connsiteY13" fmla="*/ 108027 h 403224"/>
                  <a:gd name="connsiteX14" fmla="*/ 301302 w 526593"/>
                  <a:gd name="connsiteY14" fmla="*/ 265904 h 403224"/>
                  <a:gd name="connsiteX15" fmla="*/ 270879 w 526593"/>
                  <a:gd name="connsiteY15" fmla="*/ 274127 h 403224"/>
                  <a:gd name="connsiteX16" fmla="*/ 234701 w 526593"/>
                  <a:gd name="connsiteY16" fmla="*/ 296328 h 403224"/>
                  <a:gd name="connsiteX17" fmla="*/ 231412 w 526593"/>
                  <a:gd name="connsiteY17" fmla="*/ 322641 h 403224"/>
                  <a:gd name="connsiteX18" fmla="*/ 225657 w 526593"/>
                  <a:gd name="connsiteY18" fmla="*/ 395001 h 403224"/>
                  <a:gd name="connsiteX19" fmla="*/ 24210 w 526593"/>
                  <a:gd name="connsiteY19" fmla="*/ 384312 h 403224"/>
                  <a:gd name="connsiteX20" fmla="*/ 5299 w 526593"/>
                  <a:gd name="connsiteY20" fmla="*/ 392535 h 403224"/>
                  <a:gd name="connsiteX21" fmla="*/ 365 w 526593"/>
                  <a:gd name="connsiteY21" fmla="*/ 403224 h 403224"/>
                  <a:gd name="connsiteX22" fmla="*/ 365 w 526593"/>
                  <a:gd name="connsiteY22" fmla="*/ 395824 h 403224"/>
                  <a:gd name="connsiteX23" fmla="*/ 6943 w 526593"/>
                  <a:gd name="connsiteY23" fmla="*/ 373622 h 403224"/>
                  <a:gd name="connsiteX24" fmla="*/ 7481 w 526593"/>
                  <a:gd name="connsiteY24" fmla="*/ 374417 h 403224"/>
                  <a:gd name="connsiteX25" fmla="*/ 12405 w 526593"/>
                  <a:gd name="connsiteY25" fmla="*/ 353845 h 403224"/>
                  <a:gd name="connsiteX26" fmla="*/ 27996 w 526593"/>
                  <a:gd name="connsiteY26" fmla="*/ 326689 h 403224"/>
                  <a:gd name="connsiteX27" fmla="*/ 41125 w 526593"/>
                  <a:gd name="connsiteY27" fmla="*/ 320106 h 403224"/>
                  <a:gd name="connsiteX28" fmla="*/ 53434 w 526593"/>
                  <a:gd name="connsiteY28" fmla="*/ 302002 h 403224"/>
                  <a:gd name="connsiteX29" fmla="*/ 68205 w 526593"/>
                  <a:gd name="connsiteY29" fmla="*/ 281430 h 403224"/>
                  <a:gd name="connsiteX30" fmla="*/ 69025 w 526593"/>
                  <a:gd name="connsiteY30" fmla="*/ 269909 h 403224"/>
                  <a:gd name="connsiteX31" fmla="*/ 97746 w 526593"/>
                  <a:gd name="connsiteY31" fmla="*/ 234525 h 403224"/>
                  <a:gd name="connsiteX32" fmla="*/ 106773 w 526593"/>
                  <a:gd name="connsiteY32" fmla="*/ 217244 h 403224"/>
                  <a:gd name="connsiteX33" fmla="*/ 144520 w 526593"/>
                  <a:gd name="connsiteY33" fmla="*/ 182683 h 403224"/>
                  <a:gd name="connsiteX34" fmla="*/ 160932 w 526593"/>
                  <a:gd name="connsiteY34" fmla="*/ 161287 h 403224"/>
                  <a:gd name="connsiteX35" fmla="*/ 167497 w 526593"/>
                  <a:gd name="connsiteY35" fmla="*/ 147298 h 403224"/>
                  <a:gd name="connsiteX36" fmla="*/ 177344 w 526593"/>
                  <a:gd name="connsiteY36" fmla="*/ 126726 h 403224"/>
                  <a:gd name="connsiteX37" fmla="*/ 192935 w 526593"/>
                  <a:gd name="connsiteY37" fmla="*/ 94633 h 403224"/>
                  <a:gd name="connsiteX38" fmla="*/ 210167 w 526593"/>
                  <a:gd name="connsiteY38" fmla="*/ 76529 h 403224"/>
                  <a:gd name="connsiteX39" fmla="*/ 225759 w 526593"/>
                  <a:gd name="connsiteY39" fmla="*/ 68300 h 403224"/>
                  <a:gd name="connsiteX40" fmla="*/ 250376 w 526593"/>
                  <a:gd name="connsiteY40" fmla="*/ 54311 h 403224"/>
                  <a:gd name="connsiteX41" fmla="*/ 257762 w 526593"/>
                  <a:gd name="connsiteY41" fmla="*/ 45259 h 403224"/>
                  <a:gd name="connsiteX42" fmla="*/ 273353 w 526593"/>
                  <a:gd name="connsiteY42" fmla="*/ 18927 h 403224"/>
                  <a:gd name="connsiteX43" fmla="*/ 288124 w 526593"/>
                  <a:gd name="connsiteY43" fmla="*/ 823 h 403224"/>
                  <a:gd name="connsiteX44" fmla="*/ 288124 w 526593"/>
                  <a:gd name="connsiteY44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4197 w 526593"/>
                  <a:gd name="connsiteY4" fmla="*/ 43511 h 403224"/>
                  <a:gd name="connsiteX5" fmla="*/ 513787 w 526593"/>
                  <a:gd name="connsiteY5" fmla="*/ 45259 h 403224"/>
                  <a:gd name="connsiteX6" fmla="*/ 517137 w 526593"/>
                  <a:gd name="connsiteY6" fmla="*/ 33302 h 403224"/>
                  <a:gd name="connsiteX7" fmla="*/ 517549 w 526593"/>
                  <a:gd name="connsiteY7" fmla="*/ 31555 h 403224"/>
                  <a:gd name="connsiteX8" fmla="*/ 515390 w 526593"/>
                  <a:gd name="connsiteY8" fmla="*/ 16446 h 403224"/>
                  <a:gd name="connsiteX9" fmla="*/ 515082 w 526593"/>
                  <a:gd name="connsiteY9" fmla="*/ 14287 h 403224"/>
                  <a:gd name="connsiteX10" fmla="*/ 526593 w 526593"/>
                  <a:gd name="connsiteY10" fmla="*/ 15109 h 403224"/>
                  <a:gd name="connsiteX11" fmla="*/ 510971 w 526593"/>
                  <a:gd name="connsiteY11" fmla="*/ 117894 h 403224"/>
                  <a:gd name="connsiteX12" fmla="*/ 325969 w 526593"/>
                  <a:gd name="connsiteY12" fmla="*/ 108027 h 403224"/>
                  <a:gd name="connsiteX13" fmla="*/ 301302 w 526593"/>
                  <a:gd name="connsiteY13" fmla="*/ 265904 h 403224"/>
                  <a:gd name="connsiteX14" fmla="*/ 270879 w 526593"/>
                  <a:gd name="connsiteY14" fmla="*/ 274127 h 403224"/>
                  <a:gd name="connsiteX15" fmla="*/ 234701 w 526593"/>
                  <a:gd name="connsiteY15" fmla="*/ 296328 h 403224"/>
                  <a:gd name="connsiteX16" fmla="*/ 231412 w 526593"/>
                  <a:gd name="connsiteY16" fmla="*/ 322641 h 403224"/>
                  <a:gd name="connsiteX17" fmla="*/ 225657 w 526593"/>
                  <a:gd name="connsiteY17" fmla="*/ 395001 h 403224"/>
                  <a:gd name="connsiteX18" fmla="*/ 24210 w 526593"/>
                  <a:gd name="connsiteY18" fmla="*/ 384312 h 403224"/>
                  <a:gd name="connsiteX19" fmla="*/ 5299 w 526593"/>
                  <a:gd name="connsiteY19" fmla="*/ 392535 h 403224"/>
                  <a:gd name="connsiteX20" fmla="*/ 365 w 526593"/>
                  <a:gd name="connsiteY20" fmla="*/ 403224 h 403224"/>
                  <a:gd name="connsiteX21" fmla="*/ 365 w 526593"/>
                  <a:gd name="connsiteY21" fmla="*/ 395824 h 403224"/>
                  <a:gd name="connsiteX22" fmla="*/ 6943 w 526593"/>
                  <a:gd name="connsiteY22" fmla="*/ 373622 h 403224"/>
                  <a:gd name="connsiteX23" fmla="*/ 7481 w 526593"/>
                  <a:gd name="connsiteY23" fmla="*/ 374417 h 403224"/>
                  <a:gd name="connsiteX24" fmla="*/ 12405 w 526593"/>
                  <a:gd name="connsiteY24" fmla="*/ 353845 h 403224"/>
                  <a:gd name="connsiteX25" fmla="*/ 27996 w 526593"/>
                  <a:gd name="connsiteY25" fmla="*/ 326689 h 403224"/>
                  <a:gd name="connsiteX26" fmla="*/ 41125 w 526593"/>
                  <a:gd name="connsiteY26" fmla="*/ 320106 h 403224"/>
                  <a:gd name="connsiteX27" fmla="*/ 53434 w 526593"/>
                  <a:gd name="connsiteY27" fmla="*/ 302002 h 403224"/>
                  <a:gd name="connsiteX28" fmla="*/ 68205 w 526593"/>
                  <a:gd name="connsiteY28" fmla="*/ 281430 h 403224"/>
                  <a:gd name="connsiteX29" fmla="*/ 69025 w 526593"/>
                  <a:gd name="connsiteY29" fmla="*/ 269909 h 403224"/>
                  <a:gd name="connsiteX30" fmla="*/ 97746 w 526593"/>
                  <a:gd name="connsiteY30" fmla="*/ 234525 h 403224"/>
                  <a:gd name="connsiteX31" fmla="*/ 106773 w 526593"/>
                  <a:gd name="connsiteY31" fmla="*/ 217244 h 403224"/>
                  <a:gd name="connsiteX32" fmla="*/ 144520 w 526593"/>
                  <a:gd name="connsiteY32" fmla="*/ 182683 h 403224"/>
                  <a:gd name="connsiteX33" fmla="*/ 160932 w 526593"/>
                  <a:gd name="connsiteY33" fmla="*/ 161287 h 403224"/>
                  <a:gd name="connsiteX34" fmla="*/ 167497 w 526593"/>
                  <a:gd name="connsiteY34" fmla="*/ 147298 h 403224"/>
                  <a:gd name="connsiteX35" fmla="*/ 177344 w 526593"/>
                  <a:gd name="connsiteY35" fmla="*/ 126726 h 403224"/>
                  <a:gd name="connsiteX36" fmla="*/ 192935 w 526593"/>
                  <a:gd name="connsiteY36" fmla="*/ 94633 h 403224"/>
                  <a:gd name="connsiteX37" fmla="*/ 210167 w 526593"/>
                  <a:gd name="connsiteY37" fmla="*/ 76529 h 403224"/>
                  <a:gd name="connsiteX38" fmla="*/ 225759 w 526593"/>
                  <a:gd name="connsiteY38" fmla="*/ 68300 h 403224"/>
                  <a:gd name="connsiteX39" fmla="*/ 250376 w 526593"/>
                  <a:gd name="connsiteY39" fmla="*/ 54311 h 403224"/>
                  <a:gd name="connsiteX40" fmla="*/ 257762 w 526593"/>
                  <a:gd name="connsiteY40" fmla="*/ 45259 h 403224"/>
                  <a:gd name="connsiteX41" fmla="*/ 273353 w 526593"/>
                  <a:gd name="connsiteY41" fmla="*/ 18927 h 403224"/>
                  <a:gd name="connsiteX42" fmla="*/ 288124 w 526593"/>
                  <a:gd name="connsiteY42" fmla="*/ 823 h 403224"/>
                  <a:gd name="connsiteX43" fmla="*/ 288124 w 526593"/>
                  <a:gd name="connsiteY43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4197 w 526593"/>
                  <a:gd name="connsiteY4" fmla="*/ 43511 h 403224"/>
                  <a:gd name="connsiteX5" fmla="*/ 517137 w 526593"/>
                  <a:gd name="connsiteY5" fmla="*/ 33302 h 403224"/>
                  <a:gd name="connsiteX6" fmla="*/ 517549 w 526593"/>
                  <a:gd name="connsiteY6" fmla="*/ 31555 h 403224"/>
                  <a:gd name="connsiteX7" fmla="*/ 515390 w 526593"/>
                  <a:gd name="connsiteY7" fmla="*/ 16446 h 403224"/>
                  <a:gd name="connsiteX8" fmla="*/ 515082 w 526593"/>
                  <a:gd name="connsiteY8" fmla="*/ 14287 h 403224"/>
                  <a:gd name="connsiteX9" fmla="*/ 526593 w 526593"/>
                  <a:gd name="connsiteY9" fmla="*/ 15109 h 403224"/>
                  <a:gd name="connsiteX10" fmla="*/ 510971 w 526593"/>
                  <a:gd name="connsiteY10" fmla="*/ 117894 h 403224"/>
                  <a:gd name="connsiteX11" fmla="*/ 325969 w 526593"/>
                  <a:gd name="connsiteY11" fmla="*/ 108027 h 403224"/>
                  <a:gd name="connsiteX12" fmla="*/ 301302 w 526593"/>
                  <a:gd name="connsiteY12" fmla="*/ 265904 h 403224"/>
                  <a:gd name="connsiteX13" fmla="*/ 270879 w 526593"/>
                  <a:gd name="connsiteY13" fmla="*/ 274127 h 403224"/>
                  <a:gd name="connsiteX14" fmla="*/ 234701 w 526593"/>
                  <a:gd name="connsiteY14" fmla="*/ 296328 h 403224"/>
                  <a:gd name="connsiteX15" fmla="*/ 231412 w 526593"/>
                  <a:gd name="connsiteY15" fmla="*/ 322641 h 403224"/>
                  <a:gd name="connsiteX16" fmla="*/ 225657 w 526593"/>
                  <a:gd name="connsiteY16" fmla="*/ 395001 h 403224"/>
                  <a:gd name="connsiteX17" fmla="*/ 24210 w 526593"/>
                  <a:gd name="connsiteY17" fmla="*/ 384312 h 403224"/>
                  <a:gd name="connsiteX18" fmla="*/ 5299 w 526593"/>
                  <a:gd name="connsiteY18" fmla="*/ 392535 h 403224"/>
                  <a:gd name="connsiteX19" fmla="*/ 365 w 526593"/>
                  <a:gd name="connsiteY19" fmla="*/ 403224 h 403224"/>
                  <a:gd name="connsiteX20" fmla="*/ 365 w 526593"/>
                  <a:gd name="connsiteY20" fmla="*/ 395824 h 403224"/>
                  <a:gd name="connsiteX21" fmla="*/ 6943 w 526593"/>
                  <a:gd name="connsiteY21" fmla="*/ 373622 h 403224"/>
                  <a:gd name="connsiteX22" fmla="*/ 7481 w 526593"/>
                  <a:gd name="connsiteY22" fmla="*/ 374417 h 403224"/>
                  <a:gd name="connsiteX23" fmla="*/ 12405 w 526593"/>
                  <a:gd name="connsiteY23" fmla="*/ 353845 h 403224"/>
                  <a:gd name="connsiteX24" fmla="*/ 27996 w 526593"/>
                  <a:gd name="connsiteY24" fmla="*/ 326689 h 403224"/>
                  <a:gd name="connsiteX25" fmla="*/ 41125 w 526593"/>
                  <a:gd name="connsiteY25" fmla="*/ 320106 h 403224"/>
                  <a:gd name="connsiteX26" fmla="*/ 53434 w 526593"/>
                  <a:gd name="connsiteY26" fmla="*/ 302002 h 403224"/>
                  <a:gd name="connsiteX27" fmla="*/ 68205 w 526593"/>
                  <a:gd name="connsiteY27" fmla="*/ 281430 h 403224"/>
                  <a:gd name="connsiteX28" fmla="*/ 69025 w 526593"/>
                  <a:gd name="connsiteY28" fmla="*/ 269909 h 403224"/>
                  <a:gd name="connsiteX29" fmla="*/ 97746 w 526593"/>
                  <a:gd name="connsiteY29" fmla="*/ 234525 h 403224"/>
                  <a:gd name="connsiteX30" fmla="*/ 106773 w 526593"/>
                  <a:gd name="connsiteY30" fmla="*/ 217244 h 403224"/>
                  <a:gd name="connsiteX31" fmla="*/ 144520 w 526593"/>
                  <a:gd name="connsiteY31" fmla="*/ 182683 h 403224"/>
                  <a:gd name="connsiteX32" fmla="*/ 160932 w 526593"/>
                  <a:gd name="connsiteY32" fmla="*/ 161287 h 403224"/>
                  <a:gd name="connsiteX33" fmla="*/ 167497 w 526593"/>
                  <a:gd name="connsiteY33" fmla="*/ 147298 h 403224"/>
                  <a:gd name="connsiteX34" fmla="*/ 177344 w 526593"/>
                  <a:gd name="connsiteY34" fmla="*/ 126726 h 403224"/>
                  <a:gd name="connsiteX35" fmla="*/ 192935 w 526593"/>
                  <a:gd name="connsiteY35" fmla="*/ 94633 h 403224"/>
                  <a:gd name="connsiteX36" fmla="*/ 210167 w 526593"/>
                  <a:gd name="connsiteY36" fmla="*/ 76529 h 403224"/>
                  <a:gd name="connsiteX37" fmla="*/ 225759 w 526593"/>
                  <a:gd name="connsiteY37" fmla="*/ 68300 h 403224"/>
                  <a:gd name="connsiteX38" fmla="*/ 250376 w 526593"/>
                  <a:gd name="connsiteY38" fmla="*/ 54311 h 403224"/>
                  <a:gd name="connsiteX39" fmla="*/ 257762 w 526593"/>
                  <a:gd name="connsiteY39" fmla="*/ 45259 h 403224"/>
                  <a:gd name="connsiteX40" fmla="*/ 273353 w 526593"/>
                  <a:gd name="connsiteY40" fmla="*/ 18927 h 403224"/>
                  <a:gd name="connsiteX41" fmla="*/ 288124 w 526593"/>
                  <a:gd name="connsiteY41" fmla="*/ 823 h 403224"/>
                  <a:gd name="connsiteX42" fmla="*/ 288124 w 526593"/>
                  <a:gd name="connsiteY42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7137 w 526593"/>
                  <a:gd name="connsiteY4" fmla="*/ 33302 h 403224"/>
                  <a:gd name="connsiteX5" fmla="*/ 517549 w 526593"/>
                  <a:gd name="connsiteY5" fmla="*/ 31555 h 403224"/>
                  <a:gd name="connsiteX6" fmla="*/ 515390 w 526593"/>
                  <a:gd name="connsiteY6" fmla="*/ 16446 h 403224"/>
                  <a:gd name="connsiteX7" fmla="*/ 515082 w 526593"/>
                  <a:gd name="connsiteY7" fmla="*/ 14287 h 403224"/>
                  <a:gd name="connsiteX8" fmla="*/ 526593 w 526593"/>
                  <a:gd name="connsiteY8" fmla="*/ 15109 h 403224"/>
                  <a:gd name="connsiteX9" fmla="*/ 510971 w 526593"/>
                  <a:gd name="connsiteY9" fmla="*/ 117894 h 403224"/>
                  <a:gd name="connsiteX10" fmla="*/ 325969 w 526593"/>
                  <a:gd name="connsiteY10" fmla="*/ 108027 h 403224"/>
                  <a:gd name="connsiteX11" fmla="*/ 301302 w 526593"/>
                  <a:gd name="connsiteY11" fmla="*/ 265904 h 403224"/>
                  <a:gd name="connsiteX12" fmla="*/ 270879 w 526593"/>
                  <a:gd name="connsiteY12" fmla="*/ 274127 h 403224"/>
                  <a:gd name="connsiteX13" fmla="*/ 234701 w 526593"/>
                  <a:gd name="connsiteY13" fmla="*/ 296328 h 403224"/>
                  <a:gd name="connsiteX14" fmla="*/ 231412 w 526593"/>
                  <a:gd name="connsiteY14" fmla="*/ 322641 h 403224"/>
                  <a:gd name="connsiteX15" fmla="*/ 225657 w 526593"/>
                  <a:gd name="connsiteY15" fmla="*/ 395001 h 403224"/>
                  <a:gd name="connsiteX16" fmla="*/ 24210 w 526593"/>
                  <a:gd name="connsiteY16" fmla="*/ 384312 h 403224"/>
                  <a:gd name="connsiteX17" fmla="*/ 5299 w 526593"/>
                  <a:gd name="connsiteY17" fmla="*/ 392535 h 403224"/>
                  <a:gd name="connsiteX18" fmla="*/ 365 w 526593"/>
                  <a:gd name="connsiteY18" fmla="*/ 403224 h 403224"/>
                  <a:gd name="connsiteX19" fmla="*/ 365 w 526593"/>
                  <a:gd name="connsiteY19" fmla="*/ 395824 h 403224"/>
                  <a:gd name="connsiteX20" fmla="*/ 6943 w 526593"/>
                  <a:gd name="connsiteY20" fmla="*/ 373622 h 403224"/>
                  <a:gd name="connsiteX21" fmla="*/ 7481 w 526593"/>
                  <a:gd name="connsiteY21" fmla="*/ 374417 h 403224"/>
                  <a:gd name="connsiteX22" fmla="*/ 12405 w 526593"/>
                  <a:gd name="connsiteY22" fmla="*/ 353845 h 403224"/>
                  <a:gd name="connsiteX23" fmla="*/ 27996 w 526593"/>
                  <a:gd name="connsiteY23" fmla="*/ 326689 h 403224"/>
                  <a:gd name="connsiteX24" fmla="*/ 41125 w 526593"/>
                  <a:gd name="connsiteY24" fmla="*/ 320106 h 403224"/>
                  <a:gd name="connsiteX25" fmla="*/ 53434 w 526593"/>
                  <a:gd name="connsiteY25" fmla="*/ 302002 h 403224"/>
                  <a:gd name="connsiteX26" fmla="*/ 68205 w 526593"/>
                  <a:gd name="connsiteY26" fmla="*/ 281430 h 403224"/>
                  <a:gd name="connsiteX27" fmla="*/ 69025 w 526593"/>
                  <a:gd name="connsiteY27" fmla="*/ 269909 h 403224"/>
                  <a:gd name="connsiteX28" fmla="*/ 97746 w 526593"/>
                  <a:gd name="connsiteY28" fmla="*/ 234525 h 403224"/>
                  <a:gd name="connsiteX29" fmla="*/ 106773 w 526593"/>
                  <a:gd name="connsiteY29" fmla="*/ 217244 h 403224"/>
                  <a:gd name="connsiteX30" fmla="*/ 144520 w 526593"/>
                  <a:gd name="connsiteY30" fmla="*/ 182683 h 403224"/>
                  <a:gd name="connsiteX31" fmla="*/ 160932 w 526593"/>
                  <a:gd name="connsiteY31" fmla="*/ 161287 h 403224"/>
                  <a:gd name="connsiteX32" fmla="*/ 167497 w 526593"/>
                  <a:gd name="connsiteY32" fmla="*/ 147298 h 403224"/>
                  <a:gd name="connsiteX33" fmla="*/ 177344 w 526593"/>
                  <a:gd name="connsiteY33" fmla="*/ 126726 h 403224"/>
                  <a:gd name="connsiteX34" fmla="*/ 192935 w 526593"/>
                  <a:gd name="connsiteY34" fmla="*/ 94633 h 403224"/>
                  <a:gd name="connsiteX35" fmla="*/ 210167 w 526593"/>
                  <a:gd name="connsiteY35" fmla="*/ 76529 h 403224"/>
                  <a:gd name="connsiteX36" fmla="*/ 225759 w 526593"/>
                  <a:gd name="connsiteY36" fmla="*/ 68300 h 403224"/>
                  <a:gd name="connsiteX37" fmla="*/ 250376 w 526593"/>
                  <a:gd name="connsiteY37" fmla="*/ 54311 h 403224"/>
                  <a:gd name="connsiteX38" fmla="*/ 257762 w 526593"/>
                  <a:gd name="connsiteY38" fmla="*/ 45259 h 403224"/>
                  <a:gd name="connsiteX39" fmla="*/ 273353 w 526593"/>
                  <a:gd name="connsiteY39" fmla="*/ 18927 h 403224"/>
                  <a:gd name="connsiteX40" fmla="*/ 288124 w 526593"/>
                  <a:gd name="connsiteY40" fmla="*/ 823 h 403224"/>
                  <a:gd name="connsiteX41" fmla="*/ 288124 w 526593"/>
                  <a:gd name="connsiteY41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7137 w 526593"/>
                  <a:gd name="connsiteY4" fmla="*/ 33302 h 403224"/>
                  <a:gd name="connsiteX5" fmla="*/ 515390 w 526593"/>
                  <a:gd name="connsiteY5" fmla="*/ 16446 h 403224"/>
                  <a:gd name="connsiteX6" fmla="*/ 515082 w 526593"/>
                  <a:gd name="connsiteY6" fmla="*/ 14287 h 403224"/>
                  <a:gd name="connsiteX7" fmla="*/ 526593 w 526593"/>
                  <a:gd name="connsiteY7" fmla="*/ 15109 h 403224"/>
                  <a:gd name="connsiteX8" fmla="*/ 510971 w 526593"/>
                  <a:gd name="connsiteY8" fmla="*/ 117894 h 403224"/>
                  <a:gd name="connsiteX9" fmla="*/ 325969 w 526593"/>
                  <a:gd name="connsiteY9" fmla="*/ 108027 h 403224"/>
                  <a:gd name="connsiteX10" fmla="*/ 301302 w 526593"/>
                  <a:gd name="connsiteY10" fmla="*/ 265904 h 403224"/>
                  <a:gd name="connsiteX11" fmla="*/ 270879 w 526593"/>
                  <a:gd name="connsiteY11" fmla="*/ 274127 h 403224"/>
                  <a:gd name="connsiteX12" fmla="*/ 234701 w 526593"/>
                  <a:gd name="connsiteY12" fmla="*/ 296328 h 403224"/>
                  <a:gd name="connsiteX13" fmla="*/ 231412 w 526593"/>
                  <a:gd name="connsiteY13" fmla="*/ 322641 h 403224"/>
                  <a:gd name="connsiteX14" fmla="*/ 225657 w 526593"/>
                  <a:gd name="connsiteY14" fmla="*/ 395001 h 403224"/>
                  <a:gd name="connsiteX15" fmla="*/ 24210 w 526593"/>
                  <a:gd name="connsiteY15" fmla="*/ 384312 h 403224"/>
                  <a:gd name="connsiteX16" fmla="*/ 5299 w 526593"/>
                  <a:gd name="connsiteY16" fmla="*/ 392535 h 403224"/>
                  <a:gd name="connsiteX17" fmla="*/ 365 w 526593"/>
                  <a:gd name="connsiteY17" fmla="*/ 403224 h 403224"/>
                  <a:gd name="connsiteX18" fmla="*/ 365 w 526593"/>
                  <a:gd name="connsiteY18" fmla="*/ 395824 h 403224"/>
                  <a:gd name="connsiteX19" fmla="*/ 6943 w 526593"/>
                  <a:gd name="connsiteY19" fmla="*/ 373622 h 403224"/>
                  <a:gd name="connsiteX20" fmla="*/ 7481 w 526593"/>
                  <a:gd name="connsiteY20" fmla="*/ 374417 h 403224"/>
                  <a:gd name="connsiteX21" fmla="*/ 12405 w 526593"/>
                  <a:gd name="connsiteY21" fmla="*/ 353845 h 403224"/>
                  <a:gd name="connsiteX22" fmla="*/ 27996 w 526593"/>
                  <a:gd name="connsiteY22" fmla="*/ 326689 h 403224"/>
                  <a:gd name="connsiteX23" fmla="*/ 41125 w 526593"/>
                  <a:gd name="connsiteY23" fmla="*/ 320106 h 403224"/>
                  <a:gd name="connsiteX24" fmla="*/ 53434 w 526593"/>
                  <a:gd name="connsiteY24" fmla="*/ 302002 h 403224"/>
                  <a:gd name="connsiteX25" fmla="*/ 68205 w 526593"/>
                  <a:gd name="connsiteY25" fmla="*/ 281430 h 403224"/>
                  <a:gd name="connsiteX26" fmla="*/ 69025 w 526593"/>
                  <a:gd name="connsiteY26" fmla="*/ 269909 h 403224"/>
                  <a:gd name="connsiteX27" fmla="*/ 97746 w 526593"/>
                  <a:gd name="connsiteY27" fmla="*/ 234525 h 403224"/>
                  <a:gd name="connsiteX28" fmla="*/ 106773 w 526593"/>
                  <a:gd name="connsiteY28" fmla="*/ 217244 h 403224"/>
                  <a:gd name="connsiteX29" fmla="*/ 144520 w 526593"/>
                  <a:gd name="connsiteY29" fmla="*/ 182683 h 403224"/>
                  <a:gd name="connsiteX30" fmla="*/ 160932 w 526593"/>
                  <a:gd name="connsiteY30" fmla="*/ 161287 h 403224"/>
                  <a:gd name="connsiteX31" fmla="*/ 167497 w 526593"/>
                  <a:gd name="connsiteY31" fmla="*/ 147298 h 403224"/>
                  <a:gd name="connsiteX32" fmla="*/ 177344 w 526593"/>
                  <a:gd name="connsiteY32" fmla="*/ 126726 h 403224"/>
                  <a:gd name="connsiteX33" fmla="*/ 192935 w 526593"/>
                  <a:gd name="connsiteY33" fmla="*/ 94633 h 403224"/>
                  <a:gd name="connsiteX34" fmla="*/ 210167 w 526593"/>
                  <a:gd name="connsiteY34" fmla="*/ 76529 h 403224"/>
                  <a:gd name="connsiteX35" fmla="*/ 225759 w 526593"/>
                  <a:gd name="connsiteY35" fmla="*/ 68300 h 403224"/>
                  <a:gd name="connsiteX36" fmla="*/ 250376 w 526593"/>
                  <a:gd name="connsiteY36" fmla="*/ 54311 h 403224"/>
                  <a:gd name="connsiteX37" fmla="*/ 257762 w 526593"/>
                  <a:gd name="connsiteY37" fmla="*/ 45259 h 403224"/>
                  <a:gd name="connsiteX38" fmla="*/ 273353 w 526593"/>
                  <a:gd name="connsiteY38" fmla="*/ 18927 h 403224"/>
                  <a:gd name="connsiteX39" fmla="*/ 288124 w 526593"/>
                  <a:gd name="connsiteY39" fmla="*/ 823 h 403224"/>
                  <a:gd name="connsiteX40" fmla="*/ 288124 w 526593"/>
                  <a:gd name="connsiteY40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7069 w 526593"/>
                  <a:gd name="connsiteY3" fmla="*/ 31270 h 403224"/>
                  <a:gd name="connsiteX4" fmla="*/ 515390 w 526593"/>
                  <a:gd name="connsiteY4" fmla="*/ 16446 h 403224"/>
                  <a:gd name="connsiteX5" fmla="*/ 515082 w 526593"/>
                  <a:gd name="connsiteY5" fmla="*/ 14287 h 403224"/>
                  <a:gd name="connsiteX6" fmla="*/ 526593 w 526593"/>
                  <a:gd name="connsiteY6" fmla="*/ 15109 h 403224"/>
                  <a:gd name="connsiteX7" fmla="*/ 510971 w 526593"/>
                  <a:gd name="connsiteY7" fmla="*/ 117894 h 403224"/>
                  <a:gd name="connsiteX8" fmla="*/ 325969 w 526593"/>
                  <a:gd name="connsiteY8" fmla="*/ 108027 h 403224"/>
                  <a:gd name="connsiteX9" fmla="*/ 301302 w 526593"/>
                  <a:gd name="connsiteY9" fmla="*/ 265904 h 403224"/>
                  <a:gd name="connsiteX10" fmla="*/ 270879 w 526593"/>
                  <a:gd name="connsiteY10" fmla="*/ 274127 h 403224"/>
                  <a:gd name="connsiteX11" fmla="*/ 234701 w 526593"/>
                  <a:gd name="connsiteY11" fmla="*/ 296328 h 403224"/>
                  <a:gd name="connsiteX12" fmla="*/ 231412 w 526593"/>
                  <a:gd name="connsiteY12" fmla="*/ 322641 h 403224"/>
                  <a:gd name="connsiteX13" fmla="*/ 225657 w 526593"/>
                  <a:gd name="connsiteY13" fmla="*/ 395001 h 403224"/>
                  <a:gd name="connsiteX14" fmla="*/ 24210 w 526593"/>
                  <a:gd name="connsiteY14" fmla="*/ 384312 h 403224"/>
                  <a:gd name="connsiteX15" fmla="*/ 5299 w 526593"/>
                  <a:gd name="connsiteY15" fmla="*/ 392535 h 403224"/>
                  <a:gd name="connsiteX16" fmla="*/ 365 w 526593"/>
                  <a:gd name="connsiteY16" fmla="*/ 403224 h 403224"/>
                  <a:gd name="connsiteX17" fmla="*/ 365 w 526593"/>
                  <a:gd name="connsiteY17" fmla="*/ 395824 h 403224"/>
                  <a:gd name="connsiteX18" fmla="*/ 6943 w 526593"/>
                  <a:gd name="connsiteY18" fmla="*/ 373622 h 403224"/>
                  <a:gd name="connsiteX19" fmla="*/ 7481 w 526593"/>
                  <a:gd name="connsiteY19" fmla="*/ 374417 h 403224"/>
                  <a:gd name="connsiteX20" fmla="*/ 12405 w 526593"/>
                  <a:gd name="connsiteY20" fmla="*/ 353845 h 403224"/>
                  <a:gd name="connsiteX21" fmla="*/ 27996 w 526593"/>
                  <a:gd name="connsiteY21" fmla="*/ 326689 h 403224"/>
                  <a:gd name="connsiteX22" fmla="*/ 41125 w 526593"/>
                  <a:gd name="connsiteY22" fmla="*/ 320106 h 403224"/>
                  <a:gd name="connsiteX23" fmla="*/ 53434 w 526593"/>
                  <a:gd name="connsiteY23" fmla="*/ 302002 h 403224"/>
                  <a:gd name="connsiteX24" fmla="*/ 68205 w 526593"/>
                  <a:gd name="connsiteY24" fmla="*/ 281430 h 403224"/>
                  <a:gd name="connsiteX25" fmla="*/ 69025 w 526593"/>
                  <a:gd name="connsiteY25" fmla="*/ 269909 h 403224"/>
                  <a:gd name="connsiteX26" fmla="*/ 97746 w 526593"/>
                  <a:gd name="connsiteY26" fmla="*/ 234525 h 403224"/>
                  <a:gd name="connsiteX27" fmla="*/ 106773 w 526593"/>
                  <a:gd name="connsiteY27" fmla="*/ 217244 h 403224"/>
                  <a:gd name="connsiteX28" fmla="*/ 144520 w 526593"/>
                  <a:gd name="connsiteY28" fmla="*/ 182683 h 403224"/>
                  <a:gd name="connsiteX29" fmla="*/ 160932 w 526593"/>
                  <a:gd name="connsiteY29" fmla="*/ 161287 h 403224"/>
                  <a:gd name="connsiteX30" fmla="*/ 167497 w 526593"/>
                  <a:gd name="connsiteY30" fmla="*/ 147298 h 403224"/>
                  <a:gd name="connsiteX31" fmla="*/ 177344 w 526593"/>
                  <a:gd name="connsiteY31" fmla="*/ 126726 h 403224"/>
                  <a:gd name="connsiteX32" fmla="*/ 192935 w 526593"/>
                  <a:gd name="connsiteY32" fmla="*/ 94633 h 403224"/>
                  <a:gd name="connsiteX33" fmla="*/ 210167 w 526593"/>
                  <a:gd name="connsiteY33" fmla="*/ 76529 h 403224"/>
                  <a:gd name="connsiteX34" fmla="*/ 225759 w 526593"/>
                  <a:gd name="connsiteY34" fmla="*/ 68300 h 403224"/>
                  <a:gd name="connsiteX35" fmla="*/ 250376 w 526593"/>
                  <a:gd name="connsiteY35" fmla="*/ 54311 h 403224"/>
                  <a:gd name="connsiteX36" fmla="*/ 257762 w 526593"/>
                  <a:gd name="connsiteY36" fmla="*/ 45259 h 403224"/>
                  <a:gd name="connsiteX37" fmla="*/ 273353 w 526593"/>
                  <a:gd name="connsiteY37" fmla="*/ 18927 h 403224"/>
                  <a:gd name="connsiteX38" fmla="*/ 288124 w 526593"/>
                  <a:gd name="connsiteY38" fmla="*/ 823 h 403224"/>
                  <a:gd name="connsiteX39" fmla="*/ 288124 w 526593"/>
                  <a:gd name="connsiteY39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6761 w 526593"/>
                  <a:gd name="connsiteY2" fmla="*/ 29110 h 403224"/>
                  <a:gd name="connsiteX3" fmla="*/ 515390 w 526593"/>
                  <a:gd name="connsiteY3" fmla="*/ 16446 h 403224"/>
                  <a:gd name="connsiteX4" fmla="*/ 515082 w 526593"/>
                  <a:gd name="connsiteY4" fmla="*/ 14287 h 403224"/>
                  <a:gd name="connsiteX5" fmla="*/ 526593 w 526593"/>
                  <a:gd name="connsiteY5" fmla="*/ 15109 h 403224"/>
                  <a:gd name="connsiteX6" fmla="*/ 510971 w 526593"/>
                  <a:gd name="connsiteY6" fmla="*/ 117894 h 403224"/>
                  <a:gd name="connsiteX7" fmla="*/ 325969 w 526593"/>
                  <a:gd name="connsiteY7" fmla="*/ 108027 h 403224"/>
                  <a:gd name="connsiteX8" fmla="*/ 301302 w 526593"/>
                  <a:gd name="connsiteY8" fmla="*/ 265904 h 403224"/>
                  <a:gd name="connsiteX9" fmla="*/ 270879 w 526593"/>
                  <a:gd name="connsiteY9" fmla="*/ 274127 h 403224"/>
                  <a:gd name="connsiteX10" fmla="*/ 234701 w 526593"/>
                  <a:gd name="connsiteY10" fmla="*/ 296328 h 403224"/>
                  <a:gd name="connsiteX11" fmla="*/ 231412 w 526593"/>
                  <a:gd name="connsiteY11" fmla="*/ 322641 h 403224"/>
                  <a:gd name="connsiteX12" fmla="*/ 225657 w 526593"/>
                  <a:gd name="connsiteY12" fmla="*/ 395001 h 403224"/>
                  <a:gd name="connsiteX13" fmla="*/ 24210 w 526593"/>
                  <a:gd name="connsiteY13" fmla="*/ 384312 h 403224"/>
                  <a:gd name="connsiteX14" fmla="*/ 5299 w 526593"/>
                  <a:gd name="connsiteY14" fmla="*/ 392535 h 403224"/>
                  <a:gd name="connsiteX15" fmla="*/ 365 w 526593"/>
                  <a:gd name="connsiteY15" fmla="*/ 403224 h 403224"/>
                  <a:gd name="connsiteX16" fmla="*/ 365 w 526593"/>
                  <a:gd name="connsiteY16" fmla="*/ 395824 h 403224"/>
                  <a:gd name="connsiteX17" fmla="*/ 6943 w 526593"/>
                  <a:gd name="connsiteY17" fmla="*/ 373622 h 403224"/>
                  <a:gd name="connsiteX18" fmla="*/ 7481 w 526593"/>
                  <a:gd name="connsiteY18" fmla="*/ 374417 h 403224"/>
                  <a:gd name="connsiteX19" fmla="*/ 12405 w 526593"/>
                  <a:gd name="connsiteY19" fmla="*/ 353845 h 403224"/>
                  <a:gd name="connsiteX20" fmla="*/ 27996 w 526593"/>
                  <a:gd name="connsiteY20" fmla="*/ 326689 h 403224"/>
                  <a:gd name="connsiteX21" fmla="*/ 41125 w 526593"/>
                  <a:gd name="connsiteY21" fmla="*/ 320106 h 403224"/>
                  <a:gd name="connsiteX22" fmla="*/ 53434 w 526593"/>
                  <a:gd name="connsiteY22" fmla="*/ 302002 h 403224"/>
                  <a:gd name="connsiteX23" fmla="*/ 68205 w 526593"/>
                  <a:gd name="connsiteY23" fmla="*/ 281430 h 403224"/>
                  <a:gd name="connsiteX24" fmla="*/ 69025 w 526593"/>
                  <a:gd name="connsiteY24" fmla="*/ 269909 h 403224"/>
                  <a:gd name="connsiteX25" fmla="*/ 97746 w 526593"/>
                  <a:gd name="connsiteY25" fmla="*/ 234525 h 403224"/>
                  <a:gd name="connsiteX26" fmla="*/ 106773 w 526593"/>
                  <a:gd name="connsiteY26" fmla="*/ 217244 h 403224"/>
                  <a:gd name="connsiteX27" fmla="*/ 144520 w 526593"/>
                  <a:gd name="connsiteY27" fmla="*/ 182683 h 403224"/>
                  <a:gd name="connsiteX28" fmla="*/ 160932 w 526593"/>
                  <a:gd name="connsiteY28" fmla="*/ 161287 h 403224"/>
                  <a:gd name="connsiteX29" fmla="*/ 167497 w 526593"/>
                  <a:gd name="connsiteY29" fmla="*/ 147298 h 403224"/>
                  <a:gd name="connsiteX30" fmla="*/ 177344 w 526593"/>
                  <a:gd name="connsiteY30" fmla="*/ 126726 h 403224"/>
                  <a:gd name="connsiteX31" fmla="*/ 192935 w 526593"/>
                  <a:gd name="connsiteY31" fmla="*/ 94633 h 403224"/>
                  <a:gd name="connsiteX32" fmla="*/ 210167 w 526593"/>
                  <a:gd name="connsiteY32" fmla="*/ 76529 h 403224"/>
                  <a:gd name="connsiteX33" fmla="*/ 225759 w 526593"/>
                  <a:gd name="connsiteY33" fmla="*/ 68300 h 403224"/>
                  <a:gd name="connsiteX34" fmla="*/ 250376 w 526593"/>
                  <a:gd name="connsiteY34" fmla="*/ 54311 h 403224"/>
                  <a:gd name="connsiteX35" fmla="*/ 257762 w 526593"/>
                  <a:gd name="connsiteY35" fmla="*/ 45259 h 403224"/>
                  <a:gd name="connsiteX36" fmla="*/ 273353 w 526593"/>
                  <a:gd name="connsiteY36" fmla="*/ 18927 h 403224"/>
                  <a:gd name="connsiteX37" fmla="*/ 288124 w 526593"/>
                  <a:gd name="connsiteY37" fmla="*/ 823 h 403224"/>
                  <a:gd name="connsiteX38" fmla="*/ 288124 w 526593"/>
                  <a:gd name="connsiteY38" fmla="*/ 0 h 403224"/>
                  <a:gd name="connsiteX0" fmla="*/ 288124 w 526593"/>
                  <a:gd name="connsiteY0" fmla="*/ 0 h 403224"/>
                  <a:gd name="connsiteX1" fmla="*/ 514607 w 526593"/>
                  <a:gd name="connsiteY1" fmla="*/ 13989 h 403224"/>
                  <a:gd name="connsiteX2" fmla="*/ 515390 w 526593"/>
                  <a:gd name="connsiteY2" fmla="*/ 16446 h 403224"/>
                  <a:gd name="connsiteX3" fmla="*/ 515082 w 526593"/>
                  <a:gd name="connsiteY3" fmla="*/ 14287 h 403224"/>
                  <a:gd name="connsiteX4" fmla="*/ 526593 w 526593"/>
                  <a:gd name="connsiteY4" fmla="*/ 15109 h 403224"/>
                  <a:gd name="connsiteX5" fmla="*/ 510971 w 526593"/>
                  <a:gd name="connsiteY5" fmla="*/ 117894 h 403224"/>
                  <a:gd name="connsiteX6" fmla="*/ 325969 w 526593"/>
                  <a:gd name="connsiteY6" fmla="*/ 108027 h 403224"/>
                  <a:gd name="connsiteX7" fmla="*/ 301302 w 526593"/>
                  <a:gd name="connsiteY7" fmla="*/ 265904 h 403224"/>
                  <a:gd name="connsiteX8" fmla="*/ 270879 w 526593"/>
                  <a:gd name="connsiteY8" fmla="*/ 274127 h 403224"/>
                  <a:gd name="connsiteX9" fmla="*/ 234701 w 526593"/>
                  <a:gd name="connsiteY9" fmla="*/ 296328 h 403224"/>
                  <a:gd name="connsiteX10" fmla="*/ 231412 w 526593"/>
                  <a:gd name="connsiteY10" fmla="*/ 322641 h 403224"/>
                  <a:gd name="connsiteX11" fmla="*/ 225657 w 526593"/>
                  <a:gd name="connsiteY11" fmla="*/ 395001 h 403224"/>
                  <a:gd name="connsiteX12" fmla="*/ 24210 w 526593"/>
                  <a:gd name="connsiteY12" fmla="*/ 384312 h 403224"/>
                  <a:gd name="connsiteX13" fmla="*/ 5299 w 526593"/>
                  <a:gd name="connsiteY13" fmla="*/ 392535 h 403224"/>
                  <a:gd name="connsiteX14" fmla="*/ 365 w 526593"/>
                  <a:gd name="connsiteY14" fmla="*/ 403224 h 403224"/>
                  <a:gd name="connsiteX15" fmla="*/ 365 w 526593"/>
                  <a:gd name="connsiteY15" fmla="*/ 395824 h 403224"/>
                  <a:gd name="connsiteX16" fmla="*/ 6943 w 526593"/>
                  <a:gd name="connsiteY16" fmla="*/ 373622 h 403224"/>
                  <a:gd name="connsiteX17" fmla="*/ 7481 w 526593"/>
                  <a:gd name="connsiteY17" fmla="*/ 374417 h 403224"/>
                  <a:gd name="connsiteX18" fmla="*/ 12405 w 526593"/>
                  <a:gd name="connsiteY18" fmla="*/ 353845 h 403224"/>
                  <a:gd name="connsiteX19" fmla="*/ 27996 w 526593"/>
                  <a:gd name="connsiteY19" fmla="*/ 326689 h 403224"/>
                  <a:gd name="connsiteX20" fmla="*/ 41125 w 526593"/>
                  <a:gd name="connsiteY20" fmla="*/ 320106 h 403224"/>
                  <a:gd name="connsiteX21" fmla="*/ 53434 w 526593"/>
                  <a:gd name="connsiteY21" fmla="*/ 302002 h 403224"/>
                  <a:gd name="connsiteX22" fmla="*/ 68205 w 526593"/>
                  <a:gd name="connsiteY22" fmla="*/ 281430 h 403224"/>
                  <a:gd name="connsiteX23" fmla="*/ 69025 w 526593"/>
                  <a:gd name="connsiteY23" fmla="*/ 269909 h 403224"/>
                  <a:gd name="connsiteX24" fmla="*/ 97746 w 526593"/>
                  <a:gd name="connsiteY24" fmla="*/ 234525 h 403224"/>
                  <a:gd name="connsiteX25" fmla="*/ 106773 w 526593"/>
                  <a:gd name="connsiteY25" fmla="*/ 217244 h 403224"/>
                  <a:gd name="connsiteX26" fmla="*/ 144520 w 526593"/>
                  <a:gd name="connsiteY26" fmla="*/ 182683 h 403224"/>
                  <a:gd name="connsiteX27" fmla="*/ 160932 w 526593"/>
                  <a:gd name="connsiteY27" fmla="*/ 161287 h 403224"/>
                  <a:gd name="connsiteX28" fmla="*/ 167497 w 526593"/>
                  <a:gd name="connsiteY28" fmla="*/ 147298 h 403224"/>
                  <a:gd name="connsiteX29" fmla="*/ 177344 w 526593"/>
                  <a:gd name="connsiteY29" fmla="*/ 126726 h 403224"/>
                  <a:gd name="connsiteX30" fmla="*/ 192935 w 526593"/>
                  <a:gd name="connsiteY30" fmla="*/ 94633 h 403224"/>
                  <a:gd name="connsiteX31" fmla="*/ 210167 w 526593"/>
                  <a:gd name="connsiteY31" fmla="*/ 76529 h 403224"/>
                  <a:gd name="connsiteX32" fmla="*/ 225759 w 526593"/>
                  <a:gd name="connsiteY32" fmla="*/ 68300 h 403224"/>
                  <a:gd name="connsiteX33" fmla="*/ 250376 w 526593"/>
                  <a:gd name="connsiteY33" fmla="*/ 54311 h 403224"/>
                  <a:gd name="connsiteX34" fmla="*/ 257762 w 526593"/>
                  <a:gd name="connsiteY34" fmla="*/ 45259 h 403224"/>
                  <a:gd name="connsiteX35" fmla="*/ 273353 w 526593"/>
                  <a:gd name="connsiteY35" fmla="*/ 18927 h 403224"/>
                  <a:gd name="connsiteX36" fmla="*/ 288124 w 526593"/>
                  <a:gd name="connsiteY36" fmla="*/ 823 h 403224"/>
                  <a:gd name="connsiteX37" fmla="*/ 288124 w 526593"/>
                  <a:gd name="connsiteY37" fmla="*/ 0 h 403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526593" h="403224">
                    <a:moveTo>
                      <a:pt x="288124" y="0"/>
                    </a:moveTo>
                    <a:cubicBezTo>
                      <a:pt x="366901" y="5760"/>
                      <a:pt x="436651" y="9875"/>
                      <a:pt x="514607" y="13989"/>
                    </a:cubicBezTo>
                    <a:lnTo>
                      <a:pt x="515390" y="16446"/>
                    </a:lnTo>
                    <a:cubicBezTo>
                      <a:pt x="515287" y="15726"/>
                      <a:pt x="515185" y="15007"/>
                      <a:pt x="515082" y="14287"/>
                    </a:cubicBezTo>
                    <a:cubicBezTo>
                      <a:pt x="518371" y="15109"/>
                      <a:pt x="522482" y="15109"/>
                      <a:pt x="526593" y="15109"/>
                    </a:cubicBezTo>
                    <a:lnTo>
                      <a:pt x="510971" y="117894"/>
                    </a:lnTo>
                    <a:lnTo>
                      <a:pt x="325969" y="108027"/>
                    </a:lnTo>
                    <a:cubicBezTo>
                      <a:pt x="316924" y="160652"/>
                      <a:pt x="308702" y="213278"/>
                      <a:pt x="301302" y="265904"/>
                    </a:cubicBezTo>
                    <a:cubicBezTo>
                      <a:pt x="290613" y="266726"/>
                      <a:pt x="281568" y="274127"/>
                      <a:pt x="270879" y="274127"/>
                    </a:cubicBezTo>
                    <a:cubicBezTo>
                      <a:pt x="257724" y="279060"/>
                      <a:pt x="244568" y="286461"/>
                      <a:pt x="234701" y="296328"/>
                    </a:cubicBezTo>
                    <a:cubicBezTo>
                      <a:pt x="227301" y="303729"/>
                      <a:pt x="231412" y="314418"/>
                      <a:pt x="231412" y="322641"/>
                    </a:cubicBezTo>
                    <a:cubicBezTo>
                      <a:pt x="229768" y="347309"/>
                      <a:pt x="227301" y="371155"/>
                      <a:pt x="225657" y="395001"/>
                    </a:cubicBezTo>
                    <a:lnTo>
                      <a:pt x="24210" y="384312"/>
                    </a:lnTo>
                    <a:cubicBezTo>
                      <a:pt x="15165" y="383490"/>
                      <a:pt x="6121" y="381023"/>
                      <a:pt x="5299" y="392535"/>
                    </a:cubicBezTo>
                    <a:cubicBezTo>
                      <a:pt x="4476" y="395824"/>
                      <a:pt x="2832" y="399113"/>
                      <a:pt x="365" y="403224"/>
                    </a:cubicBezTo>
                    <a:cubicBezTo>
                      <a:pt x="-457" y="403224"/>
                      <a:pt x="365" y="397468"/>
                      <a:pt x="365" y="395824"/>
                    </a:cubicBezTo>
                    <a:cubicBezTo>
                      <a:pt x="2010" y="388423"/>
                      <a:pt x="4476" y="381023"/>
                      <a:pt x="6943" y="373622"/>
                    </a:cubicBezTo>
                    <a:lnTo>
                      <a:pt x="7481" y="374417"/>
                    </a:lnTo>
                    <a:cubicBezTo>
                      <a:pt x="-1064" y="370984"/>
                      <a:pt x="11584" y="360428"/>
                      <a:pt x="12405" y="353845"/>
                    </a:cubicBezTo>
                    <a:cubicBezTo>
                      <a:pt x="18149" y="344793"/>
                      <a:pt x="23072" y="335741"/>
                      <a:pt x="27996" y="326689"/>
                    </a:cubicBezTo>
                    <a:cubicBezTo>
                      <a:pt x="32099" y="324220"/>
                      <a:pt x="37022" y="322575"/>
                      <a:pt x="41125" y="320106"/>
                    </a:cubicBezTo>
                    <a:cubicBezTo>
                      <a:pt x="46049" y="315169"/>
                      <a:pt x="49331" y="308585"/>
                      <a:pt x="53434" y="302002"/>
                    </a:cubicBezTo>
                    <a:cubicBezTo>
                      <a:pt x="57537" y="294596"/>
                      <a:pt x="62461" y="288013"/>
                      <a:pt x="68205" y="281430"/>
                    </a:cubicBezTo>
                    <a:cubicBezTo>
                      <a:pt x="71487" y="278138"/>
                      <a:pt x="68205" y="274024"/>
                      <a:pt x="69025" y="269909"/>
                    </a:cubicBezTo>
                    <a:cubicBezTo>
                      <a:pt x="78052" y="258389"/>
                      <a:pt x="88720" y="246868"/>
                      <a:pt x="97746" y="234525"/>
                    </a:cubicBezTo>
                    <a:cubicBezTo>
                      <a:pt x="100208" y="228765"/>
                      <a:pt x="101849" y="222182"/>
                      <a:pt x="106773" y="217244"/>
                    </a:cubicBezTo>
                    <a:cubicBezTo>
                      <a:pt x="118261" y="204901"/>
                      <a:pt x="131391" y="194203"/>
                      <a:pt x="144520" y="182683"/>
                    </a:cubicBezTo>
                    <a:cubicBezTo>
                      <a:pt x="150264" y="176099"/>
                      <a:pt x="155188" y="167871"/>
                      <a:pt x="160932" y="161287"/>
                    </a:cubicBezTo>
                    <a:cubicBezTo>
                      <a:pt x="165035" y="157996"/>
                      <a:pt x="165855" y="152236"/>
                      <a:pt x="167497" y="147298"/>
                    </a:cubicBezTo>
                    <a:cubicBezTo>
                      <a:pt x="169138" y="139069"/>
                      <a:pt x="173241" y="133309"/>
                      <a:pt x="177344" y="126726"/>
                    </a:cubicBezTo>
                    <a:cubicBezTo>
                      <a:pt x="183908" y="116851"/>
                      <a:pt x="188011" y="105331"/>
                      <a:pt x="192935" y="94633"/>
                    </a:cubicBezTo>
                    <a:cubicBezTo>
                      <a:pt x="197859" y="88050"/>
                      <a:pt x="204423" y="83112"/>
                      <a:pt x="210167" y="76529"/>
                    </a:cubicBezTo>
                    <a:cubicBezTo>
                      <a:pt x="213450" y="71592"/>
                      <a:pt x="220015" y="70769"/>
                      <a:pt x="225759" y="68300"/>
                    </a:cubicBezTo>
                    <a:cubicBezTo>
                      <a:pt x="234785" y="65832"/>
                      <a:pt x="242171" y="59249"/>
                      <a:pt x="250376" y="54311"/>
                    </a:cubicBezTo>
                    <a:cubicBezTo>
                      <a:pt x="254479" y="52665"/>
                      <a:pt x="256121" y="48551"/>
                      <a:pt x="257762" y="45259"/>
                    </a:cubicBezTo>
                    <a:cubicBezTo>
                      <a:pt x="261865" y="35385"/>
                      <a:pt x="267609" y="27156"/>
                      <a:pt x="273353" y="18927"/>
                    </a:cubicBezTo>
                    <a:cubicBezTo>
                      <a:pt x="278277" y="13166"/>
                      <a:pt x="282380" y="5760"/>
                      <a:pt x="288124" y="823"/>
                    </a:cubicBezTo>
                    <a:lnTo>
                      <a:pt x="288124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593" name="Rwanda"/>
              <p:cNvSpPr>
                <a:spLocks/>
              </p:cNvSpPr>
              <p:nvPr/>
            </p:nvSpPr>
            <p:spPr bwMode="auto">
              <a:xfrm>
                <a:off x="5006442" y="4608856"/>
                <a:ext cx="56966" cy="59250"/>
              </a:xfrm>
              <a:custGeom>
                <a:avLst/>
                <a:gdLst>
                  <a:gd name="T0" fmla="*/ 10800898 w 156"/>
                  <a:gd name="T1" fmla="*/ 5314637 h 136"/>
                  <a:gd name="T2" fmla="*/ 15201523 w 156"/>
                  <a:gd name="T3" fmla="*/ 379461 h 136"/>
                  <a:gd name="T4" fmla="*/ 16535111 w 156"/>
                  <a:gd name="T5" fmla="*/ 0 h 136"/>
                  <a:gd name="T6" fmla="*/ 16535111 w 156"/>
                  <a:gd name="T7" fmla="*/ 0 h 136"/>
                  <a:gd name="T8" fmla="*/ 16401460 w 156"/>
                  <a:gd name="T9" fmla="*/ 379461 h 136"/>
                  <a:gd name="T10" fmla="*/ 18268557 w 156"/>
                  <a:gd name="T11" fmla="*/ 4555279 h 136"/>
                  <a:gd name="T12" fmla="*/ 19868716 w 156"/>
                  <a:gd name="T13" fmla="*/ 12147119 h 136"/>
                  <a:gd name="T14" fmla="*/ 20135288 w 156"/>
                  <a:gd name="T15" fmla="*/ 18410629 h 136"/>
                  <a:gd name="T16" fmla="*/ 17468477 w 156"/>
                  <a:gd name="T17" fmla="*/ 19169987 h 136"/>
                  <a:gd name="T18" fmla="*/ 16934968 w 156"/>
                  <a:gd name="T19" fmla="*/ 19169987 h 136"/>
                  <a:gd name="T20" fmla="*/ 14134872 w 156"/>
                  <a:gd name="T21" fmla="*/ 18600578 h 136"/>
                  <a:gd name="T22" fmla="*/ 11467692 w 156"/>
                  <a:gd name="T23" fmla="*/ 18221116 h 136"/>
                  <a:gd name="T24" fmla="*/ 10934549 w 156"/>
                  <a:gd name="T25" fmla="*/ 23155855 h 136"/>
                  <a:gd name="T26" fmla="*/ 5467275 w 156"/>
                  <a:gd name="T27" fmla="*/ 25243545 h 136"/>
                  <a:gd name="T28" fmla="*/ 2400240 w 156"/>
                  <a:gd name="T29" fmla="*/ 22206548 h 136"/>
                  <a:gd name="T30" fmla="*/ 1733446 w 156"/>
                  <a:gd name="T31" fmla="*/ 23914777 h 136"/>
                  <a:gd name="T32" fmla="*/ 1066652 w 156"/>
                  <a:gd name="T33" fmla="*/ 23345368 h 136"/>
                  <a:gd name="T34" fmla="*/ 1600160 w 156"/>
                  <a:gd name="T35" fmla="*/ 18031168 h 136"/>
                  <a:gd name="T36" fmla="*/ 3333607 w 156"/>
                  <a:gd name="T37" fmla="*/ 10628839 h 136"/>
                  <a:gd name="T38" fmla="*/ 7734230 w 156"/>
                  <a:gd name="T39" fmla="*/ 4555279 h 136"/>
                  <a:gd name="T40" fmla="*/ 7867516 w 156"/>
                  <a:gd name="T41" fmla="*/ 4365331 h 136"/>
                  <a:gd name="T42" fmla="*/ 10800898 w 156"/>
                  <a:gd name="T43" fmla="*/ 5314637 h 1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56"/>
                  <a:gd name="T67" fmla="*/ 0 h 136"/>
                  <a:gd name="T68" fmla="*/ 156 w 156"/>
                  <a:gd name="T69" fmla="*/ 136 h 1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56" h="136">
                    <a:moveTo>
                      <a:pt x="81" y="28"/>
                    </a:moveTo>
                    <a:cubicBezTo>
                      <a:pt x="94" y="32"/>
                      <a:pt x="107" y="13"/>
                      <a:pt x="114" y="2"/>
                    </a:cubicBezTo>
                    <a:cubicBezTo>
                      <a:pt x="117" y="0"/>
                      <a:pt x="121" y="0"/>
                      <a:pt x="124" y="0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127" y="9"/>
                      <a:pt x="128" y="20"/>
                      <a:pt x="137" y="24"/>
                    </a:cubicBezTo>
                    <a:cubicBezTo>
                      <a:pt x="148" y="32"/>
                      <a:pt x="152" y="50"/>
                      <a:pt x="149" y="64"/>
                    </a:cubicBezTo>
                    <a:cubicBezTo>
                      <a:pt x="156" y="75"/>
                      <a:pt x="152" y="86"/>
                      <a:pt x="151" y="97"/>
                    </a:cubicBezTo>
                    <a:cubicBezTo>
                      <a:pt x="147" y="98"/>
                      <a:pt x="137" y="100"/>
                      <a:pt x="131" y="101"/>
                    </a:cubicBezTo>
                    <a:cubicBezTo>
                      <a:pt x="129" y="101"/>
                      <a:pt x="128" y="101"/>
                      <a:pt x="127" y="101"/>
                    </a:cubicBezTo>
                    <a:cubicBezTo>
                      <a:pt x="122" y="92"/>
                      <a:pt x="113" y="97"/>
                      <a:pt x="106" y="98"/>
                    </a:cubicBezTo>
                    <a:cubicBezTo>
                      <a:pt x="100" y="108"/>
                      <a:pt x="93" y="101"/>
                      <a:pt x="86" y="96"/>
                    </a:cubicBezTo>
                    <a:cubicBezTo>
                      <a:pt x="76" y="96"/>
                      <a:pt x="86" y="107"/>
                      <a:pt x="82" y="122"/>
                    </a:cubicBezTo>
                    <a:cubicBezTo>
                      <a:pt x="74" y="136"/>
                      <a:pt x="54" y="131"/>
                      <a:pt x="41" y="133"/>
                    </a:cubicBezTo>
                    <a:cubicBezTo>
                      <a:pt x="40" y="122"/>
                      <a:pt x="30" y="115"/>
                      <a:pt x="18" y="117"/>
                    </a:cubicBezTo>
                    <a:cubicBezTo>
                      <a:pt x="17" y="122"/>
                      <a:pt x="16" y="126"/>
                      <a:pt x="13" y="126"/>
                    </a:cubicBezTo>
                    <a:cubicBezTo>
                      <a:pt x="12" y="126"/>
                      <a:pt x="10" y="125"/>
                      <a:pt x="8" y="123"/>
                    </a:cubicBezTo>
                    <a:cubicBezTo>
                      <a:pt x="1" y="116"/>
                      <a:pt x="0" y="98"/>
                      <a:pt x="12" y="95"/>
                    </a:cubicBezTo>
                    <a:cubicBezTo>
                      <a:pt x="33" y="91"/>
                      <a:pt x="20" y="69"/>
                      <a:pt x="25" y="56"/>
                    </a:cubicBezTo>
                    <a:cubicBezTo>
                      <a:pt x="33" y="42"/>
                      <a:pt x="44" y="32"/>
                      <a:pt x="58" y="24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64" y="27"/>
                      <a:pt x="82" y="13"/>
                      <a:pt x="81" y="28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3348594" name="Russia"/>
              <p:cNvGrpSpPr>
                <a:grpSpLocks/>
              </p:cNvGrpSpPr>
              <p:nvPr/>
            </p:nvGrpSpPr>
            <p:grpSpPr bwMode="auto">
              <a:xfrm>
                <a:off x="4860622" y="2088715"/>
                <a:ext cx="3334048" cy="1164848"/>
                <a:chOff x="4860622" y="2069626"/>
                <a:chExt cx="3334048" cy="1164848"/>
              </a:xfrm>
            </p:grpSpPr>
            <p:sp>
              <p:nvSpPr>
                <p:cNvPr id="805" name="Russia"/>
                <p:cNvSpPr>
                  <a:spLocks/>
                </p:cNvSpPr>
                <p:nvPr>
                  <p:custDataLst>
                    <p:tags r:id="rId141"/>
                  </p:custDataLst>
                </p:nvPr>
              </p:nvSpPr>
              <p:spPr bwMode="auto">
                <a:xfrm>
                  <a:off x="7812902" y="2923468"/>
                  <a:ext cx="11475" cy="32515"/>
                </a:xfrm>
                <a:custGeom>
                  <a:avLst/>
                  <a:gdLst/>
                  <a:ahLst/>
                  <a:cxnLst>
                    <a:cxn ang="0">
                      <a:pos x="0" y="4"/>
                    </a:cxn>
                    <a:cxn ang="0">
                      <a:pos x="0" y="6"/>
                    </a:cxn>
                    <a:cxn ang="0">
                      <a:pos x="2" y="4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2" h="6">
                      <a:moveTo>
                        <a:pt x="0" y="4"/>
                      </a:move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06" name="Russia"/>
                <p:cNvSpPr>
                  <a:spLocks/>
                </p:cNvSpPr>
                <p:nvPr>
                  <p:custDataLst>
                    <p:tags r:id="rId142"/>
                  </p:custDataLst>
                </p:nvPr>
              </p:nvSpPr>
              <p:spPr bwMode="auto">
                <a:xfrm>
                  <a:off x="8111265" y="2533297"/>
                  <a:ext cx="84154" cy="1147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10" y="2"/>
                    </a:cxn>
                    <a:cxn ang="0">
                      <a:pos x="15" y="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5" h="2">
                      <a:moveTo>
                        <a:pt x="0" y="0"/>
                      </a:moveTo>
                      <a:lnTo>
                        <a:pt x="2" y="2"/>
                      </a:lnTo>
                      <a:lnTo>
                        <a:pt x="10" y="2"/>
                      </a:lnTo>
                      <a:lnTo>
                        <a:pt x="15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07" name="Russia"/>
                <p:cNvSpPr>
                  <a:spLocks/>
                </p:cNvSpPr>
                <p:nvPr>
                  <p:custDataLst>
                    <p:tags r:id="rId143"/>
                  </p:custDataLst>
                </p:nvPr>
              </p:nvSpPr>
              <p:spPr bwMode="auto">
                <a:xfrm>
                  <a:off x="8111265" y="2533297"/>
                  <a:ext cx="84154" cy="1147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10" y="2"/>
                    </a:cxn>
                    <a:cxn ang="0">
                      <a:pos x="15" y="2"/>
                    </a:cxn>
                  </a:cxnLst>
                  <a:rect l="0" t="0" r="r" b="b"/>
                  <a:pathLst>
                    <a:path w="15" h="2">
                      <a:moveTo>
                        <a:pt x="0" y="0"/>
                      </a:moveTo>
                      <a:lnTo>
                        <a:pt x="2" y="2"/>
                      </a:lnTo>
                      <a:lnTo>
                        <a:pt x="10" y="2"/>
                      </a:lnTo>
                      <a:lnTo>
                        <a:pt x="15" y="2"/>
                      </a:lnTo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08" name="Russia"/>
                <p:cNvSpPr>
                  <a:spLocks noChangeShapeType="1"/>
                </p:cNvSpPr>
                <p:nvPr>
                  <p:custDataLst>
                    <p:tags r:id="rId144"/>
                  </p:custDataLst>
                </p:nvPr>
              </p:nvSpPr>
              <p:spPr bwMode="auto">
                <a:xfrm flipH="1" flipV="1">
                  <a:off x="8111265" y="2544773"/>
                  <a:ext cx="55465" cy="11476"/>
                </a:xfrm>
                <a:prstGeom prst="line">
                  <a:avLst/>
                </a:pr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09" name="Russia"/>
                <p:cNvSpPr>
                  <a:spLocks/>
                </p:cNvSpPr>
                <p:nvPr>
                  <p:custDataLst>
                    <p:tags r:id="rId145"/>
                  </p:custDataLst>
                </p:nvPr>
              </p:nvSpPr>
              <p:spPr bwMode="auto">
                <a:xfrm>
                  <a:off x="7763175" y="2672918"/>
                  <a:ext cx="11475" cy="11476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0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10" name="Russia"/>
                <p:cNvSpPr>
                  <a:spLocks noChangeShapeType="1"/>
                </p:cNvSpPr>
                <p:nvPr>
                  <p:custDataLst>
                    <p:tags r:id="rId146"/>
                  </p:custDataLst>
                </p:nvPr>
              </p:nvSpPr>
              <p:spPr bwMode="auto">
                <a:xfrm>
                  <a:off x="7652245" y="2343950"/>
                  <a:ext cx="21039" cy="11476"/>
                </a:xfrm>
                <a:prstGeom prst="line">
                  <a:avLst/>
                </a:pr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11" name="Russia"/>
                <p:cNvSpPr>
                  <a:spLocks/>
                </p:cNvSpPr>
                <p:nvPr>
                  <p:custDataLst>
                    <p:tags r:id="rId147"/>
                  </p:custDataLst>
                </p:nvPr>
              </p:nvSpPr>
              <p:spPr bwMode="auto">
                <a:xfrm>
                  <a:off x="7652245" y="2332475"/>
                  <a:ext cx="66941" cy="11476"/>
                </a:xfrm>
                <a:custGeom>
                  <a:avLst/>
                  <a:gdLst/>
                  <a:ahLst/>
                  <a:cxnLst>
                    <a:cxn ang="0">
                      <a:pos x="4" y="2"/>
                    </a:cxn>
                    <a:cxn ang="0">
                      <a:pos x="12" y="0"/>
                    </a:cxn>
                    <a:cxn ang="0">
                      <a:pos x="0" y="0"/>
                    </a:cxn>
                    <a:cxn ang="0">
                      <a:pos x="4" y="2"/>
                    </a:cxn>
                  </a:cxnLst>
                  <a:rect l="0" t="0" r="r" b="b"/>
                  <a:pathLst>
                    <a:path w="12" h="2">
                      <a:moveTo>
                        <a:pt x="4" y="2"/>
                      </a:moveTo>
                      <a:lnTo>
                        <a:pt x="12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12" name="Russia"/>
                <p:cNvSpPr>
                  <a:spLocks/>
                </p:cNvSpPr>
                <p:nvPr>
                  <p:custDataLst>
                    <p:tags r:id="rId148"/>
                  </p:custDataLst>
                </p:nvPr>
              </p:nvSpPr>
              <p:spPr bwMode="auto">
                <a:xfrm>
                  <a:off x="7652245" y="2332475"/>
                  <a:ext cx="66941" cy="11476"/>
                </a:xfrm>
                <a:custGeom>
                  <a:avLst/>
                  <a:gdLst/>
                  <a:ahLst/>
                  <a:cxnLst>
                    <a:cxn ang="0">
                      <a:pos x="4" y="2"/>
                    </a:cxn>
                    <a:cxn ang="0">
                      <a:pos x="1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2" h="2">
                      <a:moveTo>
                        <a:pt x="4" y="2"/>
                      </a:moveTo>
                      <a:lnTo>
                        <a:pt x="1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13" name="Russia"/>
                <p:cNvSpPr>
                  <a:spLocks/>
                </p:cNvSpPr>
                <p:nvPr>
                  <p:custDataLst>
                    <p:tags r:id="rId149"/>
                  </p:custDataLst>
                </p:nvPr>
              </p:nvSpPr>
              <p:spPr bwMode="auto">
                <a:xfrm>
                  <a:off x="6875737" y="2254057"/>
                  <a:ext cx="55465" cy="28690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10" y="5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10" h="5">
                      <a:moveTo>
                        <a:pt x="0" y="5"/>
                      </a:moveTo>
                      <a:lnTo>
                        <a:pt x="10" y="5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14" name="Russia"/>
                <p:cNvSpPr>
                  <a:spLocks noChangeShapeType="1"/>
                </p:cNvSpPr>
                <p:nvPr>
                  <p:custDataLst>
                    <p:tags r:id="rId150"/>
                  </p:custDataLst>
                </p:nvPr>
              </p:nvSpPr>
              <p:spPr bwMode="auto">
                <a:xfrm>
                  <a:off x="6835573" y="2271271"/>
                  <a:ext cx="17213" cy="5737"/>
                </a:xfrm>
                <a:prstGeom prst="line">
                  <a:avLst/>
                </a:pr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15" name="Russia"/>
                <p:cNvSpPr>
                  <a:spLocks/>
                </p:cNvSpPr>
                <p:nvPr>
                  <p:custDataLst>
                    <p:tags r:id="rId151"/>
                  </p:custDataLst>
                </p:nvPr>
              </p:nvSpPr>
              <p:spPr bwMode="auto">
                <a:xfrm>
                  <a:off x="6896776" y="2233019"/>
                  <a:ext cx="95629" cy="956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7" y="2"/>
                    </a:cxn>
                    <a:cxn ang="0">
                      <a:pos x="17" y="0"/>
                    </a:cxn>
                    <a:cxn ang="0">
                      <a:pos x="8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7" h="2">
                      <a:moveTo>
                        <a:pt x="0" y="0"/>
                      </a:moveTo>
                      <a:lnTo>
                        <a:pt x="17" y="2"/>
                      </a:lnTo>
                      <a:lnTo>
                        <a:pt x="17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16" name="Russia"/>
                <p:cNvSpPr>
                  <a:spLocks/>
                </p:cNvSpPr>
                <p:nvPr>
                  <p:custDataLst>
                    <p:tags r:id="rId152"/>
                  </p:custDataLst>
                </p:nvPr>
              </p:nvSpPr>
              <p:spPr bwMode="auto">
                <a:xfrm>
                  <a:off x="6724643" y="2204330"/>
                  <a:ext cx="162569" cy="38252"/>
                </a:xfrm>
                <a:custGeom>
                  <a:avLst/>
                  <a:gdLst/>
                  <a:ahLst/>
                  <a:cxnLst>
                    <a:cxn ang="0">
                      <a:pos x="4" y="5"/>
                    </a:cxn>
                    <a:cxn ang="0">
                      <a:pos x="14" y="7"/>
                    </a:cxn>
                    <a:cxn ang="0">
                      <a:pos x="27" y="7"/>
                    </a:cxn>
                    <a:cxn ang="0">
                      <a:pos x="29" y="5"/>
                    </a:cxn>
                    <a:cxn ang="0">
                      <a:pos x="14" y="0"/>
                    </a:cxn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2" y="3"/>
                    </a:cxn>
                    <a:cxn ang="0">
                      <a:pos x="4" y="5"/>
                    </a:cxn>
                  </a:cxnLst>
                  <a:rect l="0" t="0" r="r" b="b"/>
                  <a:pathLst>
                    <a:path w="29" h="7">
                      <a:moveTo>
                        <a:pt x="4" y="5"/>
                      </a:moveTo>
                      <a:lnTo>
                        <a:pt x="14" y="7"/>
                      </a:lnTo>
                      <a:lnTo>
                        <a:pt x="27" y="7"/>
                      </a:lnTo>
                      <a:lnTo>
                        <a:pt x="29" y="5"/>
                      </a:lnTo>
                      <a:lnTo>
                        <a:pt x="14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2" y="3"/>
                      </a:lnTo>
                      <a:lnTo>
                        <a:pt x="4" y="5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17" name="Russia"/>
                <p:cNvSpPr>
                  <a:spLocks/>
                </p:cNvSpPr>
                <p:nvPr>
                  <p:custDataLst>
                    <p:tags r:id="rId153"/>
                  </p:custDataLst>
                </p:nvPr>
              </p:nvSpPr>
              <p:spPr bwMode="auto">
                <a:xfrm>
                  <a:off x="6016988" y="2120175"/>
                  <a:ext cx="84154" cy="34427"/>
                </a:xfrm>
                <a:custGeom>
                  <a:avLst/>
                  <a:gdLst/>
                  <a:ahLst/>
                  <a:cxnLst>
                    <a:cxn ang="0">
                      <a:pos x="0" y="6"/>
                    </a:cxn>
                    <a:cxn ang="0">
                      <a:pos x="15" y="6"/>
                    </a:cxn>
                    <a:cxn ang="0">
                      <a:pos x="13" y="4"/>
                    </a:cxn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0" y="6"/>
                    </a:cxn>
                  </a:cxnLst>
                  <a:rect l="0" t="0" r="r" b="b"/>
                  <a:pathLst>
                    <a:path w="15" h="6">
                      <a:moveTo>
                        <a:pt x="0" y="6"/>
                      </a:moveTo>
                      <a:lnTo>
                        <a:pt x="15" y="6"/>
                      </a:lnTo>
                      <a:lnTo>
                        <a:pt x="13" y="4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18" name="Russia"/>
                <p:cNvSpPr>
                  <a:spLocks/>
                </p:cNvSpPr>
                <p:nvPr>
                  <p:custDataLst>
                    <p:tags r:id="rId154"/>
                  </p:custDataLst>
                </p:nvPr>
              </p:nvSpPr>
              <p:spPr bwMode="auto">
                <a:xfrm>
                  <a:off x="5835292" y="2093399"/>
                  <a:ext cx="170220" cy="49728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15" y="9"/>
                    </a:cxn>
                    <a:cxn ang="0">
                      <a:pos x="31" y="9"/>
                    </a:cxn>
                    <a:cxn ang="0">
                      <a:pos x="29" y="5"/>
                    </a:cxn>
                    <a:cxn ang="0">
                      <a:pos x="8" y="0"/>
                    </a:cxn>
                    <a:cxn ang="0">
                      <a:pos x="2" y="0"/>
                    </a:cxn>
                    <a:cxn ang="0">
                      <a:pos x="2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31" h="9">
                      <a:moveTo>
                        <a:pt x="0" y="2"/>
                      </a:moveTo>
                      <a:lnTo>
                        <a:pt x="15" y="9"/>
                      </a:lnTo>
                      <a:lnTo>
                        <a:pt x="31" y="9"/>
                      </a:lnTo>
                      <a:lnTo>
                        <a:pt x="29" y="5"/>
                      </a:lnTo>
                      <a:lnTo>
                        <a:pt x="8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19" name="Russia"/>
                <p:cNvSpPr>
                  <a:spLocks/>
                </p:cNvSpPr>
                <p:nvPr>
                  <p:custDataLst>
                    <p:tags r:id="rId155"/>
                  </p:custDataLst>
                </p:nvPr>
              </p:nvSpPr>
              <p:spPr bwMode="auto">
                <a:xfrm>
                  <a:off x="5269168" y="2192854"/>
                  <a:ext cx="265850" cy="151096"/>
                </a:xfrm>
                <a:custGeom>
                  <a:avLst/>
                  <a:gdLst/>
                  <a:ahLst/>
                  <a:cxnLst>
                    <a:cxn ang="0">
                      <a:pos x="4" y="25"/>
                    </a:cxn>
                    <a:cxn ang="0">
                      <a:pos x="12" y="27"/>
                    </a:cxn>
                    <a:cxn ang="0">
                      <a:pos x="23" y="27"/>
                    </a:cxn>
                    <a:cxn ang="0">
                      <a:pos x="16" y="25"/>
                    </a:cxn>
                    <a:cxn ang="0">
                      <a:pos x="14" y="18"/>
                    </a:cxn>
                    <a:cxn ang="0">
                      <a:pos x="25" y="7"/>
                    </a:cxn>
                    <a:cxn ang="0">
                      <a:pos x="48" y="2"/>
                    </a:cxn>
                    <a:cxn ang="0">
                      <a:pos x="46" y="0"/>
                    </a:cxn>
                    <a:cxn ang="0">
                      <a:pos x="43" y="0"/>
                    </a:cxn>
                    <a:cxn ang="0">
                      <a:pos x="37" y="0"/>
                    </a:cxn>
                    <a:cxn ang="0">
                      <a:pos x="23" y="2"/>
                    </a:cxn>
                    <a:cxn ang="0">
                      <a:pos x="8" y="7"/>
                    </a:cxn>
                    <a:cxn ang="0">
                      <a:pos x="8" y="11"/>
                    </a:cxn>
                    <a:cxn ang="0">
                      <a:pos x="6" y="11"/>
                    </a:cxn>
                    <a:cxn ang="0">
                      <a:pos x="8" y="16"/>
                    </a:cxn>
                    <a:cxn ang="0">
                      <a:pos x="4" y="18"/>
                    </a:cxn>
                    <a:cxn ang="0">
                      <a:pos x="6" y="18"/>
                    </a:cxn>
                    <a:cxn ang="0">
                      <a:pos x="0" y="20"/>
                    </a:cxn>
                    <a:cxn ang="0">
                      <a:pos x="2" y="23"/>
                    </a:cxn>
                    <a:cxn ang="0">
                      <a:pos x="4" y="25"/>
                    </a:cxn>
                  </a:cxnLst>
                  <a:rect l="0" t="0" r="r" b="b"/>
                  <a:pathLst>
                    <a:path w="48" h="27">
                      <a:moveTo>
                        <a:pt x="4" y="25"/>
                      </a:moveTo>
                      <a:lnTo>
                        <a:pt x="12" y="27"/>
                      </a:lnTo>
                      <a:lnTo>
                        <a:pt x="23" y="27"/>
                      </a:lnTo>
                      <a:lnTo>
                        <a:pt x="16" y="25"/>
                      </a:lnTo>
                      <a:lnTo>
                        <a:pt x="14" y="18"/>
                      </a:lnTo>
                      <a:lnTo>
                        <a:pt x="25" y="7"/>
                      </a:lnTo>
                      <a:lnTo>
                        <a:pt x="48" y="2"/>
                      </a:lnTo>
                      <a:lnTo>
                        <a:pt x="46" y="0"/>
                      </a:lnTo>
                      <a:lnTo>
                        <a:pt x="43" y="0"/>
                      </a:lnTo>
                      <a:lnTo>
                        <a:pt x="37" y="0"/>
                      </a:lnTo>
                      <a:lnTo>
                        <a:pt x="23" y="2"/>
                      </a:lnTo>
                      <a:lnTo>
                        <a:pt x="8" y="7"/>
                      </a:lnTo>
                      <a:lnTo>
                        <a:pt x="8" y="11"/>
                      </a:lnTo>
                      <a:lnTo>
                        <a:pt x="6" y="11"/>
                      </a:lnTo>
                      <a:lnTo>
                        <a:pt x="8" y="16"/>
                      </a:lnTo>
                      <a:lnTo>
                        <a:pt x="4" y="18"/>
                      </a:lnTo>
                      <a:lnTo>
                        <a:pt x="6" y="18"/>
                      </a:lnTo>
                      <a:lnTo>
                        <a:pt x="0" y="20"/>
                      </a:lnTo>
                      <a:lnTo>
                        <a:pt x="2" y="23"/>
                      </a:lnTo>
                      <a:lnTo>
                        <a:pt x="4" y="25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20" name="Russia"/>
                <p:cNvSpPr>
                  <a:spLocks/>
                </p:cNvSpPr>
                <p:nvPr>
                  <p:custDataLst>
                    <p:tags r:id="rId156"/>
                  </p:custDataLst>
                </p:nvPr>
              </p:nvSpPr>
              <p:spPr bwMode="auto">
                <a:xfrm>
                  <a:off x="5282556" y="2353513"/>
                  <a:ext cx="49727" cy="9564"/>
                </a:xfrm>
                <a:custGeom>
                  <a:avLst/>
                  <a:gdLst/>
                  <a:ahLst/>
                  <a:cxnLst>
                    <a:cxn ang="0">
                      <a:pos x="3" y="2"/>
                    </a:cxn>
                    <a:cxn ang="0">
                      <a:pos x="5" y="2"/>
                    </a:cxn>
                    <a:cxn ang="0">
                      <a:pos x="9" y="0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3" y="2"/>
                    </a:cxn>
                  </a:cxnLst>
                  <a:rect l="0" t="0" r="r" b="b"/>
                  <a:pathLst>
                    <a:path w="9" h="2">
                      <a:moveTo>
                        <a:pt x="3" y="2"/>
                      </a:move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21" name="Russia"/>
                <p:cNvSpPr>
                  <a:spLocks/>
                </p:cNvSpPr>
                <p:nvPr>
                  <p:custDataLst>
                    <p:tags r:id="rId157"/>
                  </p:custDataLst>
                </p:nvPr>
              </p:nvSpPr>
              <p:spPr bwMode="auto">
                <a:xfrm>
                  <a:off x="5269168" y="2093399"/>
                  <a:ext cx="126230" cy="9564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14" y="2"/>
                    </a:cxn>
                    <a:cxn ang="0">
                      <a:pos x="16" y="2"/>
                    </a:cxn>
                    <a:cxn ang="0">
                      <a:pos x="14" y="0"/>
                    </a:cxn>
                    <a:cxn ang="0">
                      <a:pos x="23" y="0"/>
                    </a:cxn>
                    <a:cxn ang="0">
                      <a:pos x="21" y="0"/>
                    </a:cxn>
                    <a:cxn ang="0">
                      <a:pos x="10" y="2"/>
                    </a:cxn>
                    <a:cxn ang="0">
                      <a:pos x="2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23" h="2">
                      <a:moveTo>
                        <a:pt x="0" y="2"/>
                      </a:moveTo>
                      <a:lnTo>
                        <a:pt x="14" y="2"/>
                      </a:lnTo>
                      <a:lnTo>
                        <a:pt x="16" y="2"/>
                      </a:lnTo>
                      <a:lnTo>
                        <a:pt x="14" y="0"/>
                      </a:lnTo>
                      <a:lnTo>
                        <a:pt x="23" y="0"/>
                      </a:lnTo>
                      <a:lnTo>
                        <a:pt x="21" y="0"/>
                      </a:lnTo>
                      <a:lnTo>
                        <a:pt x="10" y="2"/>
                      </a:lnTo>
                      <a:lnTo>
                        <a:pt x="2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22" name="Russia"/>
                <p:cNvSpPr>
                  <a:spLocks/>
                </p:cNvSpPr>
                <p:nvPr>
                  <p:custDataLst>
                    <p:tags r:id="rId158"/>
                  </p:custDataLst>
                </p:nvPr>
              </p:nvSpPr>
              <p:spPr bwMode="auto">
                <a:xfrm>
                  <a:off x="5219440" y="2070448"/>
                  <a:ext cx="82242" cy="22951"/>
                </a:xfrm>
                <a:custGeom>
                  <a:avLst/>
                  <a:gdLst/>
                  <a:ahLst/>
                  <a:cxnLst>
                    <a:cxn ang="0">
                      <a:pos x="0" y="4"/>
                    </a:cxn>
                    <a:cxn ang="0">
                      <a:pos x="15" y="4"/>
                    </a:cxn>
                    <a:cxn ang="0">
                      <a:pos x="13" y="4"/>
                    </a:cxn>
                    <a:cxn ang="0">
                      <a:pos x="13" y="0"/>
                    </a:cxn>
                    <a:cxn ang="0">
                      <a:pos x="7" y="4"/>
                    </a:cxn>
                    <a:cxn ang="0">
                      <a:pos x="2" y="4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15" h="4">
                      <a:moveTo>
                        <a:pt x="0" y="4"/>
                      </a:moveTo>
                      <a:lnTo>
                        <a:pt x="15" y="4"/>
                      </a:lnTo>
                      <a:lnTo>
                        <a:pt x="13" y="4"/>
                      </a:lnTo>
                      <a:lnTo>
                        <a:pt x="13" y="0"/>
                      </a:lnTo>
                      <a:lnTo>
                        <a:pt x="7" y="4"/>
                      </a:lnTo>
                      <a:lnTo>
                        <a:pt x="2" y="4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23" name="Russia"/>
                <p:cNvSpPr>
                  <a:spLocks noChangeShapeType="1"/>
                </p:cNvSpPr>
                <p:nvPr>
                  <p:custDataLst>
                    <p:tags r:id="rId159"/>
                  </p:custDataLst>
                </p:nvPr>
              </p:nvSpPr>
              <p:spPr bwMode="auto">
                <a:xfrm>
                  <a:off x="5207965" y="2120175"/>
                  <a:ext cx="32514" cy="5738"/>
                </a:xfrm>
                <a:prstGeom prst="line">
                  <a:avLst/>
                </a:pr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24" name="Russia"/>
                <p:cNvSpPr>
                  <a:spLocks/>
                </p:cNvSpPr>
                <p:nvPr>
                  <p:custDataLst>
                    <p:tags r:id="rId160"/>
                  </p:custDataLst>
                </p:nvPr>
              </p:nvSpPr>
              <p:spPr bwMode="auto">
                <a:xfrm>
                  <a:off x="5068347" y="2093399"/>
                  <a:ext cx="105191" cy="9564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13" y="2"/>
                    </a:cxn>
                    <a:cxn ang="0">
                      <a:pos x="17" y="2"/>
                    </a:cxn>
                    <a:cxn ang="0">
                      <a:pos x="19" y="2"/>
                    </a:cxn>
                    <a:cxn ang="0">
                      <a:pos x="9" y="0"/>
                    </a:cxn>
                    <a:cxn ang="0">
                      <a:pos x="4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19" h="2">
                      <a:moveTo>
                        <a:pt x="0" y="2"/>
                      </a:moveTo>
                      <a:lnTo>
                        <a:pt x="13" y="2"/>
                      </a:lnTo>
                      <a:lnTo>
                        <a:pt x="17" y="2"/>
                      </a:lnTo>
                      <a:lnTo>
                        <a:pt x="19" y="2"/>
                      </a:lnTo>
                      <a:lnTo>
                        <a:pt x="9" y="0"/>
                      </a:lnTo>
                      <a:lnTo>
                        <a:pt x="4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25" name="Russia"/>
                <p:cNvSpPr>
                  <a:spLocks/>
                </p:cNvSpPr>
                <p:nvPr>
                  <p:custDataLst>
                    <p:tags r:id="rId161"/>
                  </p:custDataLst>
                </p:nvPr>
              </p:nvSpPr>
              <p:spPr bwMode="auto">
                <a:xfrm>
                  <a:off x="7418910" y="2822100"/>
                  <a:ext cx="204647" cy="250550"/>
                </a:xfrm>
                <a:custGeom>
                  <a:avLst/>
                  <a:gdLst/>
                  <a:ahLst/>
                  <a:cxnLst>
                    <a:cxn ang="0">
                      <a:pos x="2" y="6"/>
                    </a:cxn>
                    <a:cxn ang="0">
                      <a:pos x="25" y="33"/>
                    </a:cxn>
                    <a:cxn ang="0">
                      <a:pos x="29" y="42"/>
                    </a:cxn>
                    <a:cxn ang="0">
                      <a:pos x="31" y="45"/>
                    </a:cxn>
                    <a:cxn ang="0">
                      <a:pos x="31" y="42"/>
                    </a:cxn>
                    <a:cxn ang="0">
                      <a:pos x="37" y="42"/>
                    </a:cxn>
                    <a:cxn ang="0">
                      <a:pos x="25" y="33"/>
                    </a:cxn>
                    <a:cxn ang="0">
                      <a:pos x="25" y="27"/>
                    </a:cxn>
                    <a:cxn ang="0">
                      <a:pos x="31" y="27"/>
                    </a:cxn>
                    <a:cxn ang="0">
                      <a:pos x="6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" y="4"/>
                    </a:cxn>
                    <a:cxn ang="0">
                      <a:pos x="2" y="6"/>
                    </a:cxn>
                  </a:cxnLst>
                  <a:rect l="0" t="0" r="r" b="b"/>
                  <a:pathLst>
                    <a:path w="37" h="45">
                      <a:moveTo>
                        <a:pt x="2" y="6"/>
                      </a:moveTo>
                      <a:lnTo>
                        <a:pt x="25" y="33"/>
                      </a:lnTo>
                      <a:lnTo>
                        <a:pt x="29" y="42"/>
                      </a:lnTo>
                      <a:lnTo>
                        <a:pt x="31" y="45"/>
                      </a:lnTo>
                      <a:lnTo>
                        <a:pt x="31" y="42"/>
                      </a:lnTo>
                      <a:lnTo>
                        <a:pt x="37" y="42"/>
                      </a:lnTo>
                      <a:lnTo>
                        <a:pt x="25" y="33"/>
                      </a:lnTo>
                      <a:lnTo>
                        <a:pt x="25" y="27"/>
                      </a:lnTo>
                      <a:lnTo>
                        <a:pt x="31" y="27"/>
                      </a:ln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26" name="Russia"/>
                <p:cNvSpPr>
                  <a:spLocks/>
                </p:cNvSpPr>
                <p:nvPr>
                  <p:custDataLst>
                    <p:tags r:id="rId162"/>
                  </p:custDataLst>
                </p:nvPr>
              </p:nvSpPr>
              <p:spPr bwMode="auto">
                <a:xfrm>
                  <a:off x="4863700" y="2181379"/>
                  <a:ext cx="3203576" cy="1053844"/>
                </a:xfrm>
                <a:custGeom>
                  <a:avLst/>
                  <a:gdLst/>
                  <a:ahLst/>
                  <a:cxnLst>
                    <a:cxn ang="0">
                      <a:pos x="158" y="38"/>
                    </a:cxn>
                    <a:cxn ang="0">
                      <a:pos x="156" y="38"/>
                    </a:cxn>
                    <a:cxn ang="0">
                      <a:pos x="135" y="18"/>
                    </a:cxn>
                    <a:cxn ang="0">
                      <a:pos x="137" y="43"/>
                    </a:cxn>
                    <a:cxn ang="0">
                      <a:pos x="108" y="43"/>
                    </a:cxn>
                    <a:cxn ang="0">
                      <a:pos x="71" y="47"/>
                    </a:cxn>
                    <a:cxn ang="0">
                      <a:pos x="56" y="43"/>
                    </a:cxn>
                    <a:cxn ang="0">
                      <a:pos x="48" y="61"/>
                    </a:cxn>
                    <a:cxn ang="0">
                      <a:pos x="25" y="61"/>
                    </a:cxn>
                    <a:cxn ang="0">
                      <a:pos x="29" y="38"/>
                    </a:cxn>
                    <a:cxn ang="0">
                      <a:pos x="6" y="45"/>
                    </a:cxn>
                    <a:cxn ang="0">
                      <a:pos x="14" y="70"/>
                    </a:cxn>
                    <a:cxn ang="0">
                      <a:pos x="0" y="90"/>
                    </a:cxn>
                    <a:cxn ang="0">
                      <a:pos x="23" y="117"/>
                    </a:cxn>
                    <a:cxn ang="0">
                      <a:pos x="33" y="128"/>
                    </a:cxn>
                    <a:cxn ang="0">
                      <a:pos x="58" y="139"/>
                    </a:cxn>
                    <a:cxn ang="0">
                      <a:pos x="54" y="155"/>
                    </a:cxn>
                    <a:cxn ang="0">
                      <a:pos x="48" y="166"/>
                    </a:cxn>
                    <a:cxn ang="0">
                      <a:pos x="94" y="184"/>
                    </a:cxn>
                    <a:cxn ang="0">
                      <a:pos x="89" y="166"/>
                    </a:cxn>
                    <a:cxn ang="0">
                      <a:pos x="89" y="148"/>
                    </a:cxn>
                    <a:cxn ang="0">
                      <a:pos x="96" y="133"/>
                    </a:cxn>
                    <a:cxn ang="0">
                      <a:pos x="119" y="133"/>
                    </a:cxn>
                    <a:cxn ang="0">
                      <a:pos x="148" y="130"/>
                    </a:cxn>
                    <a:cxn ang="0">
                      <a:pos x="137" y="117"/>
                    </a:cxn>
                    <a:cxn ang="0">
                      <a:pos x="175" y="108"/>
                    </a:cxn>
                    <a:cxn ang="0">
                      <a:pos x="192" y="117"/>
                    </a:cxn>
                    <a:cxn ang="0">
                      <a:pos x="227" y="133"/>
                    </a:cxn>
                    <a:cxn ang="0">
                      <a:pos x="254" y="146"/>
                    </a:cxn>
                    <a:cxn ang="0">
                      <a:pos x="296" y="133"/>
                    </a:cxn>
                    <a:cxn ang="0">
                      <a:pos x="348" y="142"/>
                    </a:cxn>
                    <a:cxn ang="0">
                      <a:pos x="382" y="130"/>
                    </a:cxn>
                    <a:cxn ang="0">
                      <a:pos x="413" y="133"/>
                    </a:cxn>
                    <a:cxn ang="0">
                      <a:pos x="452" y="146"/>
                    </a:cxn>
                    <a:cxn ang="0">
                      <a:pos x="455" y="175"/>
                    </a:cxn>
                    <a:cxn ang="0">
                      <a:pos x="475" y="164"/>
                    </a:cxn>
                    <a:cxn ang="0">
                      <a:pos x="444" y="117"/>
                    </a:cxn>
                    <a:cxn ang="0">
                      <a:pos x="436" y="106"/>
                    </a:cxn>
                    <a:cxn ang="0">
                      <a:pos x="475" y="90"/>
                    </a:cxn>
                    <a:cxn ang="0">
                      <a:pos x="494" y="79"/>
                    </a:cxn>
                    <a:cxn ang="0">
                      <a:pos x="513" y="79"/>
                    </a:cxn>
                    <a:cxn ang="0">
                      <a:pos x="509" y="108"/>
                    </a:cxn>
                    <a:cxn ang="0">
                      <a:pos x="538" y="112"/>
                    </a:cxn>
                    <a:cxn ang="0">
                      <a:pos x="521" y="94"/>
                    </a:cxn>
                    <a:cxn ang="0">
                      <a:pos x="530" y="81"/>
                    </a:cxn>
                    <a:cxn ang="0">
                      <a:pos x="561" y="72"/>
                    </a:cxn>
                    <a:cxn ang="0">
                      <a:pos x="540" y="54"/>
                    </a:cxn>
                    <a:cxn ang="0">
                      <a:pos x="578" y="54"/>
                    </a:cxn>
                    <a:cxn ang="0">
                      <a:pos x="482" y="31"/>
                    </a:cxn>
                    <a:cxn ang="0">
                      <a:pos x="475" y="31"/>
                    </a:cxn>
                    <a:cxn ang="0">
                      <a:pos x="398" y="22"/>
                    </a:cxn>
                    <a:cxn ang="0">
                      <a:pos x="342" y="22"/>
                    </a:cxn>
                    <a:cxn ang="0">
                      <a:pos x="302" y="13"/>
                    </a:cxn>
                    <a:cxn ang="0">
                      <a:pos x="269" y="11"/>
                    </a:cxn>
                    <a:cxn ang="0">
                      <a:pos x="267" y="9"/>
                    </a:cxn>
                    <a:cxn ang="0">
                      <a:pos x="217" y="2"/>
                    </a:cxn>
                    <a:cxn ang="0">
                      <a:pos x="167" y="18"/>
                    </a:cxn>
                    <a:cxn ang="0">
                      <a:pos x="167" y="29"/>
                    </a:cxn>
                  </a:cxnLst>
                  <a:rect l="0" t="0" r="r" b="b"/>
                  <a:pathLst>
                    <a:path w="578" h="189">
                      <a:moveTo>
                        <a:pt x="152" y="20"/>
                      </a:moveTo>
                      <a:lnTo>
                        <a:pt x="148" y="27"/>
                      </a:lnTo>
                      <a:lnTo>
                        <a:pt x="152" y="29"/>
                      </a:lnTo>
                      <a:lnTo>
                        <a:pt x="152" y="36"/>
                      </a:lnTo>
                      <a:lnTo>
                        <a:pt x="156" y="38"/>
                      </a:lnTo>
                      <a:lnTo>
                        <a:pt x="158" y="38"/>
                      </a:lnTo>
                      <a:lnTo>
                        <a:pt x="164" y="45"/>
                      </a:lnTo>
                      <a:lnTo>
                        <a:pt x="160" y="47"/>
                      </a:lnTo>
                      <a:lnTo>
                        <a:pt x="156" y="52"/>
                      </a:lnTo>
                      <a:lnTo>
                        <a:pt x="150" y="47"/>
                      </a:lnTo>
                      <a:lnTo>
                        <a:pt x="156" y="45"/>
                      </a:lnTo>
                      <a:lnTo>
                        <a:pt x="156" y="38"/>
                      </a:lnTo>
                      <a:lnTo>
                        <a:pt x="152" y="38"/>
                      </a:lnTo>
                      <a:lnTo>
                        <a:pt x="148" y="27"/>
                      </a:lnTo>
                      <a:lnTo>
                        <a:pt x="144" y="27"/>
                      </a:lnTo>
                      <a:lnTo>
                        <a:pt x="144" y="20"/>
                      </a:lnTo>
                      <a:lnTo>
                        <a:pt x="137" y="18"/>
                      </a:lnTo>
                      <a:lnTo>
                        <a:pt x="135" y="18"/>
                      </a:lnTo>
                      <a:lnTo>
                        <a:pt x="133" y="18"/>
                      </a:lnTo>
                      <a:lnTo>
                        <a:pt x="127" y="27"/>
                      </a:lnTo>
                      <a:lnTo>
                        <a:pt x="129" y="29"/>
                      </a:lnTo>
                      <a:lnTo>
                        <a:pt x="129" y="36"/>
                      </a:lnTo>
                      <a:lnTo>
                        <a:pt x="142" y="38"/>
                      </a:lnTo>
                      <a:lnTo>
                        <a:pt x="137" y="43"/>
                      </a:lnTo>
                      <a:lnTo>
                        <a:pt x="102" y="29"/>
                      </a:lnTo>
                      <a:lnTo>
                        <a:pt x="102" y="31"/>
                      </a:lnTo>
                      <a:lnTo>
                        <a:pt x="112" y="38"/>
                      </a:lnTo>
                      <a:lnTo>
                        <a:pt x="108" y="38"/>
                      </a:lnTo>
                      <a:lnTo>
                        <a:pt x="110" y="43"/>
                      </a:lnTo>
                      <a:lnTo>
                        <a:pt x="108" y="43"/>
                      </a:lnTo>
                      <a:lnTo>
                        <a:pt x="104" y="38"/>
                      </a:lnTo>
                      <a:lnTo>
                        <a:pt x="94" y="38"/>
                      </a:lnTo>
                      <a:lnTo>
                        <a:pt x="94" y="43"/>
                      </a:lnTo>
                      <a:lnTo>
                        <a:pt x="87" y="38"/>
                      </a:lnTo>
                      <a:lnTo>
                        <a:pt x="71" y="45"/>
                      </a:lnTo>
                      <a:lnTo>
                        <a:pt x="71" y="47"/>
                      </a:lnTo>
                      <a:lnTo>
                        <a:pt x="68" y="47"/>
                      </a:lnTo>
                      <a:lnTo>
                        <a:pt x="58" y="45"/>
                      </a:lnTo>
                      <a:lnTo>
                        <a:pt x="64" y="45"/>
                      </a:lnTo>
                      <a:lnTo>
                        <a:pt x="62" y="43"/>
                      </a:lnTo>
                      <a:lnTo>
                        <a:pt x="50" y="38"/>
                      </a:lnTo>
                      <a:lnTo>
                        <a:pt x="56" y="43"/>
                      </a:lnTo>
                      <a:lnTo>
                        <a:pt x="56" y="47"/>
                      </a:lnTo>
                      <a:lnTo>
                        <a:pt x="58" y="52"/>
                      </a:lnTo>
                      <a:lnTo>
                        <a:pt x="56" y="52"/>
                      </a:lnTo>
                      <a:lnTo>
                        <a:pt x="50" y="52"/>
                      </a:lnTo>
                      <a:lnTo>
                        <a:pt x="41" y="54"/>
                      </a:lnTo>
                      <a:lnTo>
                        <a:pt x="48" y="61"/>
                      </a:lnTo>
                      <a:lnTo>
                        <a:pt x="33" y="56"/>
                      </a:lnTo>
                      <a:lnTo>
                        <a:pt x="31" y="56"/>
                      </a:lnTo>
                      <a:lnTo>
                        <a:pt x="37" y="61"/>
                      </a:lnTo>
                      <a:lnTo>
                        <a:pt x="39" y="63"/>
                      </a:lnTo>
                      <a:lnTo>
                        <a:pt x="33" y="63"/>
                      </a:lnTo>
                      <a:lnTo>
                        <a:pt x="25" y="61"/>
                      </a:lnTo>
                      <a:lnTo>
                        <a:pt x="25" y="54"/>
                      </a:lnTo>
                      <a:lnTo>
                        <a:pt x="14" y="47"/>
                      </a:lnTo>
                      <a:lnTo>
                        <a:pt x="37" y="52"/>
                      </a:lnTo>
                      <a:lnTo>
                        <a:pt x="48" y="47"/>
                      </a:lnTo>
                      <a:lnTo>
                        <a:pt x="46" y="45"/>
                      </a:lnTo>
                      <a:lnTo>
                        <a:pt x="29" y="38"/>
                      </a:lnTo>
                      <a:lnTo>
                        <a:pt x="14" y="31"/>
                      </a:lnTo>
                      <a:lnTo>
                        <a:pt x="8" y="36"/>
                      </a:lnTo>
                      <a:lnTo>
                        <a:pt x="2" y="38"/>
                      </a:lnTo>
                      <a:lnTo>
                        <a:pt x="0" y="38"/>
                      </a:lnTo>
                      <a:lnTo>
                        <a:pt x="0" y="43"/>
                      </a:lnTo>
                      <a:lnTo>
                        <a:pt x="6" y="45"/>
                      </a:lnTo>
                      <a:lnTo>
                        <a:pt x="6" y="47"/>
                      </a:lnTo>
                      <a:lnTo>
                        <a:pt x="8" y="54"/>
                      </a:lnTo>
                      <a:lnTo>
                        <a:pt x="8" y="56"/>
                      </a:lnTo>
                      <a:lnTo>
                        <a:pt x="10" y="61"/>
                      </a:lnTo>
                      <a:lnTo>
                        <a:pt x="10" y="63"/>
                      </a:lnTo>
                      <a:lnTo>
                        <a:pt x="14" y="70"/>
                      </a:lnTo>
                      <a:lnTo>
                        <a:pt x="2" y="81"/>
                      </a:lnTo>
                      <a:lnTo>
                        <a:pt x="6" y="81"/>
                      </a:lnTo>
                      <a:lnTo>
                        <a:pt x="8" y="85"/>
                      </a:lnTo>
                      <a:lnTo>
                        <a:pt x="6" y="88"/>
                      </a:lnTo>
                      <a:lnTo>
                        <a:pt x="2" y="88"/>
                      </a:lnTo>
                      <a:lnTo>
                        <a:pt x="0" y="90"/>
                      </a:lnTo>
                      <a:lnTo>
                        <a:pt x="2" y="94"/>
                      </a:lnTo>
                      <a:lnTo>
                        <a:pt x="2" y="97"/>
                      </a:lnTo>
                      <a:lnTo>
                        <a:pt x="8" y="103"/>
                      </a:lnTo>
                      <a:lnTo>
                        <a:pt x="16" y="106"/>
                      </a:lnTo>
                      <a:lnTo>
                        <a:pt x="18" y="112"/>
                      </a:lnTo>
                      <a:lnTo>
                        <a:pt x="23" y="117"/>
                      </a:lnTo>
                      <a:lnTo>
                        <a:pt x="25" y="117"/>
                      </a:lnTo>
                      <a:lnTo>
                        <a:pt x="25" y="121"/>
                      </a:lnTo>
                      <a:lnTo>
                        <a:pt x="18" y="121"/>
                      </a:lnTo>
                      <a:lnTo>
                        <a:pt x="23" y="128"/>
                      </a:lnTo>
                      <a:lnTo>
                        <a:pt x="31" y="124"/>
                      </a:lnTo>
                      <a:lnTo>
                        <a:pt x="33" y="128"/>
                      </a:lnTo>
                      <a:lnTo>
                        <a:pt x="33" y="130"/>
                      </a:lnTo>
                      <a:lnTo>
                        <a:pt x="37" y="130"/>
                      </a:lnTo>
                      <a:lnTo>
                        <a:pt x="39" y="137"/>
                      </a:lnTo>
                      <a:lnTo>
                        <a:pt x="48" y="137"/>
                      </a:lnTo>
                      <a:lnTo>
                        <a:pt x="50" y="139"/>
                      </a:lnTo>
                      <a:lnTo>
                        <a:pt x="58" y="139"/>
                      </a:lnTo>
                      <a:lnTo>
                        <a:pt x="58" y="142"/>
                      </a:lnTo>
                      <a:lnTo>
                        <a:pt x="58" y="146"/>
                      </a:lnTo>
                      <a:lnTo>
                        <a:pt x="58" y="151"/>
                      </a:lnTo>
                      <a:lnTo>
                        <a:pt x="56" y="148"/>
                      </a:lnTo>
                      <a:lnTo>
                        <a:pt x="54" y="151"/>
                      </a:lnTo>
                      <a:lnTo>
                        <a:pt x="54" y="155"/>
                      </a:lnTo>
                      <a:lnTo>
                        <a:pt x="58" y="155"/>
                      </a:lnTo>
                      <a:lnTo>
                        <a:pt x="50" y="157"/>
                      </a:lnTo>
                      <a:lnTo>
                        <a:pt x="54" y="157"/>
                      </a:lnTo>
                      <a:lnTo>
                        <a:pt x="50" y="164"/>
                      </a:lnTo>
                      <a:lnTo>
                        <a:pt x="48" y="164"/>
                      </a:lnTo>
                      <a:lnTo>
                        <a:pt x="48" y="166"/>
                      </a:lnTo>
                      <a:lnTo>
                        <a:pt x="50" y="166"/>
                      </a:lnTo>
                      <a:lnTo>
                        <a:pt x="64" y="175"/>
                      </a:lnTo>
                      <a:lnTo>
                        <a:pt x="77" y="175"/>
                      </a:lnTo>
                      <a:lnTo>
                        <a:pt x="81" y="180"/>
                      </a:lnTo>
                      <a:lnTo>
                        <a:pt x="87" y="180"/>
                      </a:lnTo>
                      <a:lnTo>
                        <a:pt x="94" y="184"/>
                      </a:lnTo>
                      <a:lnTo>
                        <a:pt x="96" y="189"/>
                      </a:lnTo>
                      <a:lnTo>
                        <a:pt x="98" y="189"/>
                      </a:lnTo>
                      <a:lnTo>
                        <a:pt x="102" y="184"/>
                      </a:lnTo>
                      <a:lnTo>
                        <a:pt x="96" y="180"/>
                      </a:lnTo>
                      <a:lnTo>
                        <a:pt x="96" y="173"/>
                      </a:lnTo>
                      <a:lnTo>
                        <a:pt x="89" y="166"/>
                      </a:lnTo>
                      <a:lnTo>
                        <a:pt x="94" y="160"/>
                      </a:lnTo>
                      <a:lnTo>
                        <a:pt x="96" y="160"/>
                      </a:lnTo>
                      <a:lnTo>
                        <a:pt x="98" y="157"/>
                      </a:lnTo>
                      <a:lnTo>
                        <a:pt x="96" y="151"/>
                      </a:lnTo>
                      <a:lnTo>
                        <a:pt x="89" y="151"/>
                      </a:lnTo>
                      <a:lnTo>
                        <a:pt x="89" y="148"/>
                      </a:lnTo>
                      <a:lnTo>
                        <a:pt x="87" y="146"/>
                      </a:lnTo>
                      <a:lnTo>
                        <a:pt x="89" y="137"/>
                      </a:lnTo>
                      <a:lnTo>
                        <a:pt x="94" y="139"/>
                      </a:lnTo>
                      <a:lnTo>
                        <a:pt x="96" y="139"/>
                      </a:lnTo>
                      <a:lnTo>
                        <a:pt x="94" y="133"/>
                      </a:lnTo>
                      <a:lnTo>
                        <a:pt x="96" y="133"/>
                      </a:lnTo>
                      <a:lnTo>
                        <a:pt x="102" y="130"/>
                      </a:lnTo>
                      <a:lnTo>
                        <a:pt x="104" y="130"/>
                      </a:lnTo>
                      <a:lnTo>
                        <a:pt x="108" y="128"/>
                      </a:lnTo>
                      <a:lnTo>
                        <a:pt x="112" y="130"/>
                      </a:lnTo>
                      <a:lnTo>
                        <a:pt x="119" y="137"/>
                      </a:lnTo>
                      <a:lnTo>
                        <a:pt x="119" y="133"/>
                      </a:lnTo>
                      <a:lnTo>
                        <a:pt x="121" y="133"/>
                      </a:lnTo>
                      <a:lnTo>
                        <a:pt x="127" y="133"/>
                      </a:lnTo>
                      <a:lnTo>
                        <a:pt x="133" y="133"/>
                      </a:lnTo>
                      <a:lnTo>
                        <a:pt x="137" y="133"/>
                      </a:lnTo>
                      <a:lnTo>
                        <a:pt x="144" y="133"/>
                      </a:lnTo>
                      <a:lnTo>
                        <a:pt x="148" y="130"/>
                      </a:lnTo>
                      <a:lnTo>
                        <a:pt x="137" y="128"/>
                      </a:lnTo>
                      <a:lnTo>
                        <a:pt x="142" y="124"/>
                      </a:lnTo>
                      <a:lnTo>
                        <a:pt x="137" y="124"/>
                      </a:lnTo>
                      <a:lnTo>
                        <a:pt x="142" y="121"/>
                      </a:lnTo>
                      <a:lnTo>
                        <a:pt x="142" y="117"/>
                      </a:lnTo>
                      <a:lnTo>
                        <a:pt x="137" y="117"/>
                      </a:lnTo>
                      <a:lnTo>
                        <a:pt x="137" y="115"/>
                      </a:lnTo>
                      <a:lnTo>
                        <a:pt x="144" y="115"/>
                      </a:lnTo>
                      <a:lnTo>
                        <a:pt x="158" y="112"/>
                      </a:lnTo>
                      <a:lnTo>
                        <a:pt x="167" y="112"/>
                      </a:lnTo>
                      <a:lnTo>
                        <a:pt x="167" y="108"/>
                      </a:lnTo>
                      <a:lnTo>
                        <a:pt x="175" y="108"/>
                      </a:lnTo>
                      <a:lnTo>
                        <a:pt x="177" y="112"/>
                      </a:lnTo>
                      <a:lnTo>
                        <a:pt x="177" y="115"/>
                      </a:lnTo>
                      <a:lnTo>
                        <a:pt x="183" y="115"/>
                      </a:lnTo>
                      <a:lnTo>
                        <a:pt x="190" y="115"/>
                      </a:lnTo>
                      <a:lnTo>
                        <a:pt x="190" y="117"/>
                      </a:lnTo>
                      <a:lnTo>
                        <a:pt x="192" y="117"/>
                      </a:lnTo>
                      <a:lnTo>
                        <a:pt x="198" y="115"/>
                      </a:lnTo>
                      <a:lnTo>
                        <a:pt x="200" y="115"/>
                      </a:lnTo>
                      <a:lnTo>
                        <a:pt x="208" y="121"/>
                      </a:lnTo>
                      <a:lnTo>
                        <a:pt x="221" y="133"/>
                      </a:lnTo>
                      <a:lnTo>
                        <a:pt x="223" y="130"/>
                      </a:lnTo>
                      <a:lnTo>
                        <a:pt x="227" y="133"/>
                      </a:lnTo>
                      <a:lnTo>
                        <a:pt x="235" y="133"/>
                      </a:lnTo>
                      <a:lnTo>
                        <a:pt x="246" y="139"/>
                      </a:lnTo>
                      <a:lnTo>
                        <a:pt x="248" y="142"/>
                      </a:lnTo>
                      <a:lnTo>
                        <a:pt x="252" y="139"/>
                      </a:lnTo>
                      <a:lnTo>
                        <a:pt x="254" y="142"/>
                      </a:lnTo>
                      <a:lnTo>
                        <a:pt x="254" y="146"/>
                      </a:lnTo>
                      <a:lnTo>
                        <a:pt x="256" y="142"/>
                      </a:lnTo>
                      <a:lnTo>
                        <a:pt x="271" y="133"/>
                      </a:lnTo>
                      <a:lnTo>
                        <a:pt x="279" y="137"/>
                      </a:lnTo>
                      <a:lnTo>
                        <a:pt x="286" y="139"/>
                      </a:lnTo>
                      <a:lnTo>
                        <a:pt x="296" y="139"/>
                      </a:lnTo>
                      <a:lnTo>
                        <a:pt x="296" y="133"/>
                      </a:lnTo>
                      <a:lnTo>
                        <a:pt x="294" y="130"/>
                      </a:lnTo>
                      <a:lnTo>
                        <a:pt x="296" y="128"/>
                      </a:lnTo>
                      <a:lnTo>
                        <a:pt x="308" y="130"/>
                      </a:lnTo>
                      <a:lnTo>
                        <a:pt x="317" y="137"/>
                      </a:lnTo>
                      <a:lnTo>
                        <a:pt x="327" y="137"/>
                      </a:lnTo>
                      <a:lnTo>
                        <a:pt x="348" y="142"/>
                      </a:lnTo>
                      <a:lnTo>
                        <a:pt x="359" y="139"/>
                      </a:lnTo>
                      <a:lnTo>
                        <a:pt x="365" y="137"/>
                      </a:lnTo>
                      <a:lnTo>
                        <a:pt x="373" y="139"/>
                      </a:lnTo>
                      <a:lnTo>
                        <a:pt x="379" y="139"/>
                      </a:lnTo>
                      <a:lnTo>
                        <a:pt x="384" y="137"/>
                      </a:lnTo>
                      <a:lnTo>
                        <a:pt x="382" y="130"/>
                      </a:lnTo>
                      <a:lnTo>
                        <a:pt x="384" y="128"/>
                      </a:lnTo>
                      <a:lnTo>
                        <a:pt x="379" y="124"/>
                      </a:lnTo>
                      <a:lnTo>
                        <a:pt x="382" y="121"/>
                      </a:lnTo>
                      <a:lnTo>
                        <a:pt x="390" y="117"/>
                      </a:lnTo>
                      <a:lnTo>
                        <a:pt x="402" y="121"/>
                      </a:lnTo>
                      <a:lnTo>
                        <a:pt x="413" y="133"/>
                      </a:lnTo>
                      <a:lnTo>
                        <a:pt x="419" y="139"/>
                      </a:lnTo>
                      <a:lnTo>
                        <a:pt x="427" y="142"/>
                      </a:lnTo>
                      <a:lnTo>
                        <a:pt x="436" y="146"/>
                      </a:lnTo>
                      <a:lnTo>
                        <a:pt x="442" y="151"/>
                      </a:lnTo>
                      <a:lnTo>
                        <a:pt x="444" y="151"/>
                      </a:lnTo>
                      <a:lnTo>
                        <a:pt x="452" y="146"/>
                      </a:lnTo>
                      <a:lnTo>
                        <a:pt x="455" y="151"/>
                      </a:lnTo>
                      <a:lnTo>
                        <a:pt x="455" y="155"/>
                      </a:lnTo>
                      <a:lnTo>
                        <a:pt x="459" y="166"/>
                      </a:lnTo>
                      <a:lnTo>
                        <a:pt x="452" y="164"/>
                      </a:lnTo>
                      <a:lnTo>
                        <a:pt x="450" y="166"/>
                      </a:lnTo>
                      <a:lnTo>
                        <a:pt x="455" y="175"/>
                      </a:lnTo>
                      <a:lnTo>
                        <a:pt x="455" y="180"/>
                      </a:lnTo>
                      <a:lnTo>
                        <a:pt x="459" y="175"/>
                      </a:lnTo>
                      <a:lnTo>
                        <a:pt x="463" y="180"/>
                      </a:lnTo>
                      <a:lnTo>
                        <a:pt x="469" y="175"/>
                      </a:lnTo>
                      <a:lnTo>
                        <a:pt x="469" y="169"/>
                      </a:lnTo>
                      <a:lnTo>
                        <a:pt x="475" y="164"/>
                      </a:lnTo>
                      <a:lnTo>
                        <a:pt x="475" y="146"/>
                      </a:lnTo>
                      <a:lnTo>
                        <a:pt x="467" y="133"/>
                      </a:lnTo>
                      <a:lnTo>
                        <a:pt x="461" y="121"/>
                      </a:lnTo>
                      <a:lnTo>
                        <a:pt x="450" y="115"/>
                      </a:lnTo>
                      <a:lnTo>
                        <a:pt x="446" y="117"/>
                      </a:lnTo>
                      <a:lnTo>
                        <a:pt x="444" y="117"/>
                      </a:lnTo>
                      <a:lnTo>
                        <a:pt x="444" y="115"/>
                      </a:lnTo>
                      <a:lnTo>
                        <a:pt x="442" y="115"/>
                      </a:lnTo>
                      <a:lnTo>
                        <a:pt x="442" y="117"/>
                      </a:lnTo>
                      <a:lnTo>
                        <a:pt x="438" y="112"/>
                      </a:lnTo>
                      <a:lnTo>
                        <a:pt x="430" y="112"/>
                      </a:lnTo>
                      <a:lnTo>
                        <a:pt x="436" y="106"/>
                      </a:lnTo>
                      <a:lnTo>
                        <a:pt x="438" y="88"/>
                      </a:lnTo>
                      <a:lnTo>
                        <a:pt x="444" y="88"/>
                      </a:lnTo>
                      <a:lnTo>
                        <a:pt x="463" y="88"/>
                      </a:lnTo>
                      <a:lnTo>
                        <a:pt x="463" y="85"/>
                      </a:lnTo>
                      <a:lnTo>
                        <a:pt x="473" y="85"/>
                      </a:lnTo>
                      <a:lnTo>
                        <a:pt x="475" y="90"/>
                      </a:lnTo>
                      <a:lnTo>
                        <a:pt x="490" y="88"/>
                      </a:lnTo>
                      <a:lnTo>
                        <a:pt x="484" y="88"/>
                      </a:lnTo>
                      <a:lnTo>
                        <a:pt x="482" y="85"/>
                      </a:lnTo>
                      <a:lnTo>
                        <a:pt x="484" y="74"/>
                      </a:lnTo>
                      <a:lnTo>
                        <a:pt x="494" y="74"/>
                      </a:lnTo>
                      <a:lnTo>
                        <a:pt x="494" y="79"/>
                      </a:lnTo>
                      <a:lnTo>
                        <a:pt x="500" y="81"/>
                      </a:lnTo>
                      <a:lnTo>
                        <a:pt x="503" y="74"/>
                      </a:lnTo>
                      <a:lnTo>
                        <a:pt x="500" y="70"/>
                      </a:lnTo>
                      <a:lnTo>
                        <a:pt x="507" y="70"/>
                      </a:lnTo>
                      <a:lnTo>
                        <a:pt x="507" y="72"/>
                      </a:lnTo>
                      <a:lnTo>
                        <a:pt x="513" y="79"/>
                      </a:lnTo>
                      <a:lnTo>
                        <a:pt x="509" y="81"/>
                      </a:lnTo>
                      <a:lnTo>
                        <a:pt x="507" y="94"/>
                      </a:lnTo>
                      <a:lnTo>
                        <a:pt x="503" y="97"/>
                      </a:lnTo>
                      <a:lnTo>
                        <a:pt x="507" y="99"/>
                      </a:lnTo>
                      <a:lnTo>
                        <a:pt x="503" y="99"/>
                      </a:lnTo>
                      <a:lnTo>
                        <a:pt x="509" y="108"/>
                      </a:lnTo>
                      <a:lnTo>
                        <a:pt x="534" y="133"/>
                      </a:lnTo>
                      <a:lnTo>
                        <a:pt x="534" y="130"/>
                      </a:lnTo>
                      <a:lnTo>
                        <a:pt x="534" y="121"/>
                      </a:lnTo>
                      <a:lnTo>
                        <a:pt x="538" y="121"/>
                      </a:lnTo>
                      <a:lnTo>
                        <a:pt x="532" y="115"/>
                      </a:lnTo>
                      <a:lnTo>
                        <a:pt x="538" y="112"/>
                      </a:lnTo>
                      <a:lnTo>
                        <a:pt x="532" y="106"/>
                      </a:lnTo>
                      <a:lnTo>
                        <a:pt x="534" y="103"/>
                      </a:lnTo>
                      <a:lnTo>
                        <a:pt x="530" y="99"/>
                      </a:lnTo>
                      <a:lnTo>
                        <a:pt x="525" y="97"/>
                      </a:lnTo>
                      <a:lnTo>
                        <a:pt x="523" y="97"/>
                      </a:lnTo>
                      <a:lnTo>
                        <a:pt x="521" y="94"/>
                      </a:lnTo>
                      <a:lnTo>
                        <a:pt x="521" y="88"/>
                      </a:lnTo>
                      <a:lnTo>
                        <a:pt x="517" y="85"/>
                      </a:lnTo>
                      <a:lnTo>
                        <a:pt x="521" y="85"/>
                      </a:lnTo>
                      <a:lnTo>
                        <a:pt x="523" y="81"/>
                      </a:lnTo>
                      <a:lnTo>
                        <a:pt x="530" y="85"/>
                      </a:lnTo>
                      <a:lnTo>
                        <a:pt x="530" y="81"/>
                      </a:lnTo>
                      <a:lnTo>
                        <a:pt x="532" y="81"/>
                      </a:lnTo>
                      <a:lnTo>
                        <a:pt x="542" y="85"/>
                      </a:lnTo>
                      <a:lnTo>
                        <a:pt x="540" y="81"/>
                      </a:lnTo>
                      <a:lnTo>
                        <a:pt x="548" y="72"/>
                      </a:lnTo>
                      <a:lnTo>
                        <a:pt x="553" y="70"/>
                      </a:lnTo>
                      <a:lnTo>
                        <a:pt x="561" y="72"/>
                      </a:lnTo>
                      <a:lnTo>
                        <a:pt x="561" y="70"/>
                      </a:lnTo>
                      <a:lnTo>
                        <a:pt x="540" y="61"/>
                      </a:lnTo>
                      <a:lnTo>
                        <a:pt x="546" y="61"/>
                      </a:lnTo>
                      <a:lnTo>
                        <a:pt x="546" y="56"/>
                      </a:lnTo>
                      <a:lnTo>
                        <a:pt x="546" y="54"/>
                      </a:lnTo>
                      <a:lnTo>
                        <a:pt x="540" y="54"/>
                      </a:lnTo>
                      <a:lnTo>
                        <a:pt x="542" y="52"/>
                      </a:lnTo>
                      <a:lnTo>
                        <a:pt x="548" y="54"/>
                      </a:lnTo>
                      <a:lnTo>
                        <a:pt x="561" y="56"/>
                      </a:lnTo>
                      <a:lnTo>
                        <a:pt x="578" y="61"/>
                      </a:lnTo>
                      <a:lnTo>
                        <a:pt x="571" y="54"/>
                      </a:lnTo>
                      <a:lnTo>
                        <a:pt x="578" y="54"/>
                      </a:lnTo>
                      <a:lnTo>
                        <a:pt x="578" y="52"/>
                      </a:lnTo>
                      <a:lnTo>
                        <a:pt x="563" y="47"/>
                      </a:lnTo>
                      <a:lnTo>
                        <a:pt x="555" y="47"/>
                      </a:lnTo>
                      <a:lnTo>
                        <a:pt x="521" y="38"/>
                      </a:lnTo>
                      <a:lnTo>
                        <a:pt x="503" y="31"/>
                      </a:lnTo>
                      <a:lnTo>
                        <a:pt x="482" y="31"/>
                      </a:lnTo>
                      <a:lnTo>
                        <a:pt x="490" y="38"/>
                      </a:lnTo>
                      <a:lnTo>
                        <a:pt x="486" y="38"/>
                      </a:lnTo>
                      <a:lnTo>
                        <a:pt x="477" y="36"/>
                      </a:lnTo>
                      <a:lnTo>
                        <a:pt x="482" y="36"/>
                      </a:lnTo>
                      <a:lnTo>
                        <a:pt x="482" y="31"/>
                      </a:lnTo>
                      <a:lnTo>
                        <a:pt x="475" y="31"/>
                      </a:lnTo>
                      <a:lnTo>
                        <a:pt x="475" y="36"/>
                      </a:lnTo>
                      <a:lnTo>
                        <a:pt x="452" y="36"/>
                      </a:lnTo>
                      <a:lnTo>
                        <a:pt x="444" y="31"/>
                      </a:lnTo>
                      <a:lnTo>
                        <a:pt x="436" y="29"/>
                      </a:lnTo>
                      <a:lnTo>
                        <a:pt x="415" y="29"/>
                      </a:lnTo>
                      <a:lnTo>
                        <a:pt x="398" y="22"/>
                      </a:lnTo>
                      <a:lnTo>
                        <a:pt x="365" y="20"/>
                      </a:lnTo>
                      <a:lnTo>
                        <a:pt x="365" y="22"/>
                      </a:lnTo>
                      <a:lnTo>
                        <a:pt x="371" y="27"/>
                      </a:lnTo>
                      <a:lnTo>
                        <a:pt x="356" y="22"/>
                      </a:lnTo>
                      <a:lnTo>
                        <a:pt x="354" y="27"/>
                      </a:lnTo>
                      <a:lnTo>
                        <a:pt x="342" y="22"/>
                      </a:lnTo>
                      <a:lnTo>
                        <a:pt x="344" y="27"/>
                      </a:lnTo>
                      <a:lnTo>
                        <a:pt x="344" y="29"/>
                      </a:lnTo>
                      <a:lnTo>
                        <a:pt x="331" y="22"/>
                      </a:lnTo>
                      <a:lnTo>
                        <a:pt x="331" y="20"/>
                      </a:lnTo>
                      <a:lnTo>
                        <a:pt x="323" y="18"/>
                      </a:lnTo>
                      <a:lnTo>
                        <a:pt x="302" y="13"/>
                      </a:lnTo>
                      <a:lnTo>
                        <a:pt x="308" y="18"/>
                      </a:lnTo>
                      <a:lnTo>
                        <a:pt x="296" y="18"/>
                      </a:lnTo>
                      <a:lnTo>
                        <a:pt x="292" y="18"/>
                      </a:lnTo>
                      <a:lnTo>
                        <a:pt x="288" y="18"/>
                      </a:lnTo>
                      <a:lnTo>
                        <a:pt x="275" y="18"/>
                      </a:lnTo>
                      <a:lnTo>
                        <a:pt x="269" y="11"/>
                      </a:lnTo>
                      <a:lnTo>
                        <a:pt x="263" y="11"/>
                      </a:lnTo>
                      <a:lnTo>
                        <a:pt x="271" y="13"/>
                      </a:lnTo>
                      <a:lnTo>
                        <a:pt x="260" y="13"/>
                      </a:lnTo>
                      <a:lnTo>
                        <a:pt x="263" y="18"/>
                      </a:lnTo>
                      <a:lnTo>
                        <a:pt x="252" y="18"/>
                      </a:lnTo>
                      <a:lnTo>
                        <a:pt x="267" y="9"/>
                      </a:lnTo>
                      <a:lnTo>
                        <a:pt x="263" y="4"/>
                      </a:lnTo>
                      <a:lnTo>
                        <a:pt x="252" y="2"/>
                      </a:lnTo>
                      <a:lnTo>
                        <a:pt x="238" y="2"/>
                      </a:lnTo>
                      <a:lnTo>
                        <a:pt x="231" y="0"/>
                      </a:lnTo>
                      <a:lnTo>
                        <a:pt x="223" y="0"/>
                      </a:lnTo>
                      <a:lnTo>
                        <a:pt x="217" y="2"/>
                      </a:lnTo>
                      <a:lnTo>
                        <a:pt x="217" y="4"/>
                      </a:lnTo>
                      <a:lnTo>
                        <a:pt x="198" y="4"/>
                      </a:lnTo>
                      <a:lnTo>
                        <a:pt x="187" y="9"/>
                      </a:lnTo>
                      <a:lnTo>
                        <a:pt x="181" y="11"/>
                      </a:lnTo>
                      <a:lnTo>
                        <a:pt x="187" y="13"/>
                      </a:lnTo>
                      <a:lnTo>
                        <a:pt x="167" y="18"/>
                      </a:lnTo>
                      <a:lnTo>
                        <a:pt x="169" y="20"/>
                      </a:lnTo>
                      <a:lnTo>
                        <a:pt x="177" y="22"/>
                      </a:lnTo>
                      <a:lnTo>
                        <a:pt x="175" y="22"/>
                      </a:lnTo>
                      <a:lnTo>
                        <a:pt x="158" y="20"/>
                      </a:lnTo>
                      <a:lnTo>
                        <a:pt x="156" y="22"/>
                      </a:lnTo>
                      <a:lnTo>
                        <a:pt x="167" y="29"/>
                      </a:lnTo>
                      <a:lnTo>
                        <a:pt x="156" y="27"/>
                      </a:lnTo>
                      <a:lnTo>
                        <a:pt x="154" y="25"/>
                      </a:lnTo>
                      <a:lnTo>
                        <a:pt x="152" y="2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48595" name="Romania"/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733029" y="3025053"/>
                <a:ext cx="227448" cy="139336"/>
              </a:xfrm>
              <a:custGeom>
                <a:avLst/>
                <a:gdLst>
                  <a:gd name="T0" fmla="*/ 205258 w 41"/>
                  <a:gd name="T1" fmla="*/ 89175 h 25"/>
                  <a:gd name="T2" fmla="*/ 227448 w 41"/>
                  <a:gd name="T3" fmla="*/ 89175 h 25"/>
                  <a:gd name="T4" fmla="*/ 227448 w 41"/>
                  <a:gd name="T5" fmla="*/ 100322 h 25"/>
                  <a:gd name="T6" fmla="*/ 205258 w 41"/>
                  <a:gd name="T7" fmla="*/ 117042 h 25"/>
                  <a:gd name="T8" fmla="*/ 216353 w 41"/>
                  <a:gd name="T9" fmla="*/ 139336 h 25"/>
                  <a:gd name="T10" fmla="*/ 171973 w 41"/>
                  <a:gd name="T11" fmla="*/ 117042 h 25"/>
                  <a:gd name="T12" fmla="*/ 138688 w 41"/>
                  <a:gd name="T13" fmla="*/ 139336 h 25"/>
                  <a:gd name="T14" fmla="*/ 88760 w 41"/>
                  <a:gd name="T15" fmla="*/ 139336 h 25"/>
                  <a:gd name="T16" fmla="*/ 77665 w 41"/>
                  <a:gd name="T17" fmla="*/ 117042 h 25"/>
                  <a:gd name="T18" fmla="*/ 66570 w 41"/>
                  <a:gd name="T19" fmla="*/ 100322 h 25"/>
                  <a:gd name="T20" fmla="*/ 44380 w 41"/>
                  <a:gd name="T21" fmla="*/ 100322 h 25"/>
                  <a:gd name="T22" fmla="*/ 0 w 41"/>
                  <a:gd name="T23" fmla="*/ 66881 h 25"/>
                  <a:gd name="T24" fmla="*/ 22190 w 41"/>
                  <a:gd name="T25" fmla="*/ 66881 h 25"/>
                  <a:gd name="T26" fmla="*/ 33285 w 41"/>
                  <a:gd name="T27" fmla="*/ 50161 h 25"/>
                  <a:gd name="T28" fmla="*/ 44380 w 41"/>
                  <a:gd name="T29" fmla="*/ 16720 h 25"/>
                  <a:gd name="T30" fmla="*/ 66570 w 41"/>
                  <a:gd name="T31" fmla="*/ 0 h 25"/>
                  <a:gd name="T32" fmla="*/ 116498 w 41"/>
                  <a:gd name="T33" fmla="*/ 16720 h 25"/>
                  <a:gd name="T34" fmla="*/ 160878 w 41"/>
                  <a:gd name="T35" fmla="*/ 0 h 25"/>
                  <a:gd name="T36" fmla="*/ 183068 w 41"/>
                  <a:gd name="T37" fmla="*/ 39014 h 25"/>
                  <a:gd name="T38" fmla="*/ 194163 w 41"/>
                  <a:gd name="T39" fmla="*/ 66881 h 25"/>
                  <a:gd name="T40" fmla="*/ 205258 w 41"/>
                  <a:gd name="T41" fmla="*/ 89175 h 2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1"/>
                  <a:gd name="T64" fmla="*/ 0 h 25"/>
                  <a:gd name="T65" fmla="*/ 41 w 41"/>
                  <a:gd name="T66" fmla="*/ 25 h 2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1" h="25">
                    <a:moveTo>
                      <a:pt x="37" y="16"/>
                    </a:moveTo>
                    <a:lnTo>
                      <a:pt x="41" y="16"/>
                    </a:lnTo>
                    <a:lnTo>
                      <a:pt x="41" y="18"/>
                    </a:lnTo>
                    <a:lnTo>
                      <a:pt x="37" y="21"/>
                    </a:lnTo>
                    <a:lnTo>
                      <a:pt x="39" y="25"/>
                    </a:lnTo>
                    <a:lnTo>
                      <a:pt x="31" y="21"/>
                    </a:lnTo>
                    <a:lnTo>
                      <a:pt x="25" y="25"/>
                    </a:lnTo>
                    <a:lnTo>
                      <a:pt x="16" y="25"/>
                    </a:lnTo>
                    <a:lnTo>
                      <a:pt x="14" y="21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6" y="9"/>
                    </a:lnTo>
                    <a:lnTo>
                      <a:pt x="8" y="3"/>
                    </a:lnTo>
                    <a:lnTo>
                      <a:pt x="12" y="0"/>
                    </a:lnTo>
                    <a:lnTo>
                      <a:pt x="21" y="3"/>
                    </a:lnTo>
                    <a:lnTo>
                      <a:pt x="29" y="0"/>
                    </a:lnTo>
                    <a:lnTo>
                      <a:pt x="33" y="7"/>
                    </a:lnTo>
                    <a:lnTo>
                      <a:pt x="35" y="12"/>
                    </a:lnTo>
                    <a:lnTo>
                      <a:pt x="37" y="16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20" name="Qatar"/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5517803" y="3724810"/>
                <a:ext cx="34426" cy="51640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4" y="0"/>
                  </a:cxn>
                  <a:cxn ang="0">
                    <a:pos x="6" y="0"/>
                  </a:cxn>
                  <a:cxn ang="0">
                    <a:pos x="6" y="7"/>
                  </a:cxn>
                  <a:cxn ang="0">
                    <a:pos x="4" y="9"/>
                  </a:cxn>
                  <a:cxn ang="0">
                    <a:pos x="2" y="7"/>
                  </a:cxn>
                  <a:cxn ang="0">
                    <a:pos x="0" y="2"/>
                  </a:cxn>
                </a:cxnLst>
                <a:rect l="0" t="0" r="r" b="b"/>
                <a:pathLst>
                  <a:path w="6" h="9">
                    <a:moveTo>
                      <a:pt x="0" y="2"/>
                    </a:moveTo>
                    <a:lnTo>
                      <a:pt x="4" y="0"/>
                    </a:lnTo>
                    <a:lnTo>
                      <a:pt x="6" y="0"/>
                    </a:lnTo>
                    <a:lnTo>
                      <a:pt x="6" y="7"/>
                    </a:lnTo>
                    <a:lnTo>
                      <a:pt x="4" y="9"/>
                    </a:lnTo>
                    <a:lnTo>
                      <a:pt x="2" y="7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597" name="Portugal"/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022949" y="3225696"/>
                <a:ext cx="94308" cy="150483"/>
              </a:xfrm>
              <a:custGeom>
                <a:avLst/>
                <a:gdLst>
                  <a:gd name="T0" fmla="*/ 72118 w 17"/>
                  <a:gd name="T1" fmla="*/ 100322 h 27"/>
                  <a:gd name="T2" fmla="*/ 72118 w 17"/>
                  <a:gd name="T3" fmla="*/ 78028 h 27"/>
                  <a:gd name="T4" fmla="*/ 83213 w 17"/>
                  <a:gd name="T5" fmla="*/ 50161 h 27"/>
                  <a:gd name="T6" fmla="*/ 83213 w 17"/>
                  <a:gd name="T7" fmla="*/ 39014 h 27"/>
                  <a:gd name="T8" fmla="*/ 94308 w 17"/>
                  <a:gd name="T9" fmla="*/ 0 h 27"/>
                  <a:gd name="T10" fmla="*/ 83213 w 17"/>
                  <a:gd name="T11" fmla="*/ 0 h 27"/>
                  <a:gd name="T12" fmla="*/ 38833 w 17"/>
                  <a:gd name="T13" fmla="*/ 0 h 27"/>
                  <a:gd name="T14" fmla="*/ 38833 w 17"/>
                  <a:gd name="T15" fmla="*/ 27867 h 27"/>
                  <a:gd name="T16" fmla="*/ 0 w 17"/>
                  <a:gd name="T17" fmla="*/ 89175 h 27"/>
                  <a:gd name="T18" fmla="*/ 11095 w 17"/>
                  <a:gd name="T19" fmla="*/ 100322 h 27"/>
                  <a:gd name="T20" fmla="*/ 11095 w 17"/>
                  <a:gd name="T21" fmla="*/ 150483 h 27"/>
                  <a:gd name="T22" fmla="*/ 72118 w 17"/>
                  <a:gd name="T23" fmla="*/ 139336 h 27"/>
                  <a:gd name="T24" fmla="*/ 72118 w 17"/>
                  <a:gd name="T25" fmla="*/ 128189 h 27"/>
                  <a:gd name="T26" fmla="*/ 72118 w 17"/>
                  <a:gd name="T27" fmla="*/ 100322 h 2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7"/>
                  <a:gd name="T43" fmla="*/ 0 h 27"/>
                  <a:gd name="T44" fmla="*/ 17 w 17"/>
                  <a:gd name="T45" fmla="*/ 27 h 2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7" h="27">
                    <a:moveTo>
                      <a:pt x="13" y="18"/>
                    </a:moveTo>
                    <a:lnTo>
                      <a:pt x="13" y="14"/>
                    </a:lnTo>
                    <a:lnTo>
                      <a:pt x="15" y="9"/>
                    </a:lnTo>
                    <a:lnTo>
                      <a:pt x="15" y="7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7" y="0"/>
                    </a:lnTo>
                    <a:lnTo>
                      <a:pt x="7" y="5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2" y="27"/>
                    </a:lnTo>
                    <a:lnTo>
                      <a:pt x="13" y="25"/>
                    </a:lnTo>
                    <a:lnTo>
                      <a:pt x="13" y="23"/>
                    </a:lnTo>
                    <a:lnTo>
                      <a:pt x="13" y="18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22" name="Poland"/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594027" y="2823975"/>
                <a:ext cx="227597" cy="168309"/>
              </a:xfrm>
              <a:custGeom>
                <a:avLst/>
                <a:gdLst/>
                <a:ahLst/>
                <a:cxnLst>
                  <a:cxn ang="0">
                    <a:pos x="39" y="18"/>
                  </a:cxn>
                  <a:cxn ang="0">
                    <a:pos x="37" y="16"/>
                  </a:cxn>
                  <a:cxn ang="0">
                    <a:pos x="39" y="9"/>
                  </a:cxn>
                  <a:cxn ang="0">
                    <a:pos x="37" y="3"/>
                  </a:cxn>
                  <a:cxn ang="0">
                    <a:pos x="33" y="3"/>
                  </a:cxn>
                  <a:cxn ang="0">
                    <a:pos x="23" y="0"/>
                  </a:cxn>
                  <a:cxn ang="0">
                    <a:pos x="18" y="3"/>
                  </a:cxn>
                  <a:cxn ang="0">
                    <a:pos x="16" y="0"/>
                  </a:cxn>
                  <a:cxn ang="0">
                    <a:pos x="0" y="5"/>
                  </a:cxn>
                  <a:cxn ang="0">
                    <a:pos x="2" y="21"/>
                  </a:cxn>
                  <a:cxn ang="0">
                    <a:pos x="8" y="21"/>
                  </a:cxn>
                  <a:cxn ang="0">
                    <a:pos x="10" y="25"/>
                  </a:cxn>
                  <a:cxn ang="0">
                    <a:pos x="14" y="25"/>
                  </a:cxn>
                  <a:cxn ang="0">
                    <a:pos x="25" y="30"/>
                  </a:cxn>
                  <a:cxn ang="0">
                    <a:pos x="31" y="30"/>
                  </a:cxn>
                  <a:cxn ang="0">
                    <a:pos x="33" y="30"/>
                  </a:cxn>
                  <a:cxn ang="0">
                    <a:pos x="41" y="25"/>
                  </a:cxn>
                  <a:cxn ang="0">
                    <a:pos x="39" y="23"/>
                  </a:cxn>
                  <a:cxn ang="0">
                    <a:pos x="39" y="18"/>
                  </a:cxn>
                </a:cxnLst>
                <a:rect l="0" t="0" r="r" b="b"/>
                <a:pathLst>
                  <a:path w="41" h="30">
                    <a:moveTo>
                      <a:pt x="39" y="18"/>
                    </a:moveTo>
                    <a:lnTo>
                      <a:pt x="37" y="16"/>
                    </a:lnTo>
                    <a:lnTo>
                      <a:pt x="39" y="9"/>
                    </a:lnTo>
                    <a:lnTo>
                      <a:pt x="37" y="3"/>
                    </a:lnTo>
                    <a:lnTo>
                      <a:pt x="33" y="3"/>
                    </a:lnTo>
                    <a:lnTo>
                      <a:pt x="23" y="0"/>
                    </a:lnTo>
                    <a:lnTo>
                      <a:pt x="18" y="3"/>
                    </a:lnTo>
                    <a:lnTo>
                      <a:pt x="16" y="0"/>
                    </a:lnTo>
                    <a:lnTo>
                      <a:pt x="0" y="5"/>
                    </a:lnTo>
                    <a:lnTo>
                      <a:pt x="2" y="21"/>
                    </a:lnTo>
                    <a:lnTo>
                      <a:pt x="8" y="21"/>
                    </a:lnTo>
                    <a:lnTo>
                      <a:pt x="10" y="25"/>
                    </a:lnTo>
                    <a:lnTo>
                      <a:pt x="14" y="25"/>
                    </a:lnTo>
                    <a:lnTo>
                      <a:pt x="25" y="30"/>
                    </a:lnTo>
                    <a:lnTo>
                      <a:pt x="31" y="30"/>
                    </a:lnTo>
                    <a:lnTo>
                      <a:pt x="33" y="30"/>
                    </a:lnTo>
                    <a:lnTo>
                      <a:pt x="41" y="25"/>
                    </a:lnTo>
                    <a:lnTo>
                      <a:pt x="39" y="23"/>
                    </a:lnTo>
                    <a:lnTo>
                      <a:pt x="39" y="18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523" name="Philippines"/>
              <p:cNvGrpSpPr/>
              <p:nvPr/>
            </p:nvGrpSpPr>
            <p:grpSpPr>
              <a:xfrm>
                <a:off x="7312617" y="3983684"/>
                <a:ext cx="244090" cy="401289"/>
                <a:chOff x="7312617" y="3964595"/>
                <a:chExt cx="244090" cy="401289"/>
              </a:xfrm>
              <a:solidFill>
                <a:srgbClr val="EE8B8B"/>
              </a:solidFill>
            </p:grpSpPr>
            <p:sp>
              <p:nvSpPr>
                <p:cNvPr id="799" name="Philippines"/>
                <p:cNvSpPr>
                  <a:spLocks/>
                </p:cNvSpPr>
                <p:nvPr/>
              </p:nvSpPr>
              <p:spPr bwMode="auto">
                <a:xfrm>
                  <a:off x="7356997" y="3964595"/>
                  <a:ext cx="127592" cy="172777"/>
                </a:xfrm>
                <a:custGeom>
                  <a:avLst/>
                  <a:gdLst/>
                  <a:ahLst/>
                  <a:cxnLst>
                    <a:cxn ang="0">
                      <a:pos x="0" y="11"/>
                    </a:cxn>
                    <a:cxn ang="0">
                      <a:pos x="0" y="20"/>
                    </a:cxn>
                    <a:cxn ang="0">
                      <a:pos x="5" y="20"/>
                    </a:cxn>
                    <a:cxn ang="0">
                      <a:pos x="5" y="27"/>
                    </a:cxn>
                    <a:cxn ang="0">
                      <a:pos x="9" y="27"/>
                    </a:cxn>
                    <a:cxn ang="0">
                      <a:pos x="13" y="31"/>
                    </a:cxn>
                    <a:cxn ang="0">
                      <a:pos x="13" y="27"/>
                    </a:cxn>
                    <a:cxn ang="0">
                      <a:pos x="17" y="31"/>
                    </a:cxn>
                    <a:cxn ang="0">
                      <a:pos x="23" y="31"/>
                    </a:cxn>
                    <a:cxn ang="0">
                      <a:pos x="19" y="27"/>
                    </a:cxn>
                    <a:cxn ang="0">
                      <a:pos x="13" y="24"/>
                    </a:cxn>
                    <a:cxn ang="0">
                      <a:pos x="11" y="27"/>
                    </a:cxn>
                    <a:cxn ang="0">
                      <a:pos x="11" y="24"/>
                    </a:cxn>
                    <a:cxn ang="0">
                      <a:pos x="9" y="18"/>
                    </a:cxn>
                    <a:cxn ang="0">
                      <a:pos x="11" y="9"/>
                    </a:cxn>
                    <a:cxn ang="0">
                      <a:pos x="9" y="6"/>
                    </a:cxn>
                    <a:cxn ang="0">
                      <a:pos x="9" y="0"/>
                    </a:cxn>
                    <a:cxn ang="0">
                      <a:pos x="0" y="0"/>
                    </a:cxn>
                    <a:cxn ang="0">
                      <a:pos x="2" y="11"/>
                    </a:cxn>
                    <a:cxn ang="0">
                      <a:pos x="0" y="11"/>
                    </a:cxn>
                  </a:cxnLst>
                  <a:rect l="0" t="0" r="r" b="b"/>
                  <a:pathLst>
                    <a:path w="23" h="31">
                      <a:moveTo>
                        <a:pt x="0" y="11"/>
                      </a:moveTo>
                      <a:lnTo>
                        <a:pt x="0" y="20"/>
                      </a:lnTo>
                      <a:lnTo>
                        <a:pt x="5" y="20"/>
                      </a:lnTo>
                      <a:lnTo>
                        <a:pt x="5" y="27"/>
                      </a:lnTo>
                      <a:lnTo>
                        <a:pt x="9" y="27"/>
                      </a:lnTo>
                      <a:lnTo>
                        <a:pt x="13" y="31"/>
                      </a:lnTo>
                      <a:lnTo>
                        <a:pt x="13" y="27"/>
                      </a:lnTo>
                      <a:lnTo>
                        <a:pt x="17" y="31"/>
                      </a:lnTo>
                      <a:lnTo>
                        <a:pt x="23" y="31"/>
                      </a:lnTo>
                      <a:lnTo>
                        <a:pt x="19" y="27"/>
                      </a:lnTo>
                      <a:lnTo>
                        <a:pt x="13" y="24"/>
                      </a:lnTo>
                      <a:lnTo>
                        <a:pt x="11" y="27"/>
                      </a:lnTo>
                      <a:lnTo>
                        <a:pt x="11" y="24"/>
                      </a:lnTo>
                      <a:lnTo>
                        <a:pt x="9" y="18"/>
                      </a:lnTo>
                      <a:lnTo>
                        <a:pt x="11" y="9"/>
                      </a:lnTo>
                      <a:lnTo>
                        <a:pt x="9" y="6"/>
                      </a:lnTo>
                      <a:lnTo>
                        <a:pt x="9" y="0"/>
                      </a:lnTo>
                      <a:lnTo>
                        <a:pt x="0" y="0"/>
                      </a:lnTo>
                      <a:lnTo>
                        <a:pt x="2" y="11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00" name="Philippines"/>
                <p:cNvSpPr>
                  <a:spLocks/>
                </p:cNvSpPr>
                <p:nvPr/>
              </p:nvSpPr>
              <p:spPr bwMode="auto">
                <a:xfrm>
                  <a:off x="7312617" y="4198679"/>
                  <a:ext cx="55475" cy="89175"/>
                </a:xfrm>
                <a:custGeom>
                  <a:avLst/>
                  <a:gdLst/>
                  <a:ahLst/>
                  <a:cxnLst>
                    <a:cxn ang="0">
                      <a:pos x="0" y="16"/>
                    </a:cxn>
                    <a:cxn ang="0">
                      <a:pos x="10" y="3"/>
                    </a:cxn>
                    <a:cxn ang="0">
                      <a:pos x="8" y="0"/>
                    </a:cxn>
                    <a:cxn ang="0">
                      <a:pos x="8" y="3"/>
                    </a:cxn>
                    <a:cxn ang="0">
                      <a:pos x="4" y="9"/>
                    </a:cxn>
                    <a:cxn ang="0">
                      <a:pos x="0" y="14"/>
                    </a:cxn>
                    <a:cxn ang="0">
                      <a:pos x="0" y="16"/>
                    </a:cxn>
                  </a:cxnLst>
                  <a:rect l="0" t="0" r="r" b="b"/>
                  <a:pathLst>
                    <a:path w="10" h="16">
                      <a:moveTo>
                        <a:pt x="0" y="16"/>
                      </a:moveTo>
                      <a:lnTo>
                        <a:pt x="10" y="3"/>
                      </a:lnTo>
                      <a:lnTo>
                        <a:pt x="8" y="0"/>
                      </a:lnTo>
                      <a:lnTo>
                        <a:pt x="8" y="3"/>
                      </a:lnTo>
                      <a:lnTo>
                        <a:pt x="4" y="9"/>
                      </a:lnTo>
                      <a:lnTo>
                        <a:pt x="0" y="14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01" name="Philippines"/>
                <p:cNvSpPr>
                  <a:spLocks/>
                </p:cNvSpPr>
                <p:nvPr/>
              </p:nvSpPr>
              <p:spPr bwMode="auto">
                <a:xfrm>
                  <a:off x="7368092" y="4115078"/>
                  <a:ext cx="38833" cy="5016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" y="9"/>
                    </a:cxn>
                    <a:cxn ang="0">
                      <a:pos x="7" y="6"/>
                    </a:cxn>
                    <a:cxn ang="0">
                      <a:pos x="7" y="4"/>
                    </a:cxn>
                    <a:cxn ang="0">
                      <a:pos x="3" y="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7" h="9">
                      <a:moveTo>
                        <a:pt x="0" y="0"/>
                      </a:moveTo>
                      <a:lnTo>
                        <a:pt x="7" y="9"/>
                      </a:lnTo>
                      <a:lnTo>
                        <a:pt x="7" y="6"/>
                      </a:lnTo>
                      <a:lnTo>
                        <a:pt x="7" y="4"/>
                      </a:lnTo>
                      <a:lnTo>
                        <a:pt x="3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02" name="Philippines"/>
                <p:cNvSpPr>
                  <a:spLocks/>
                </p:cNvSpPr>
                <p:nvPr/>
              </p:nvSpPr>
              <p:spPr bwMode="auto">
                <a:xfrm>
                  <a:off x="7484590" y="4148518"/>
                  <a:ext cx="22190" cy="891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" y="7"/>
                    </a:cxn>
                    <a:cxn ang="0">
                      <a:pos x="0" y="7"/>
                    </a:cxn>
                    <a:cxn ang="0">
                      <a:pos x="0" y="9"/>
                    </a:cxn>
                    <a:cxn ang="0">
                      <a:pos x="2" y="9"/>
                    </a:cxn>
                    <a:cxn ang="0">
                      <a:pos x="2" y="16"/>
                    </a:cxn>
                    <a:cxn ang="0">
                      <a:pos x="4" y="12"/>
                    </a:cxn>
                    <a:cxn ang="0">
                      <a:pos x="2" y="9"/>
                    </a:cxn>
                    <a:cxn ang="0">
                      <a:pos x="4" y="9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" h="16">
                      <a:moveTo>
                        <a:pt x="0" y="0"/>
                      </a:move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2" y="9"/>
                      </a:lnTo>
                      <a:lnTo>
                        <a:pt x="2" y="16"/>
                      </a:lnTo>
                      <a:lnTo>
                        <a:pt x="4" y="12"/>
                      </a:lnTo>
                      <a:lnTo>
                        <a:pt x="2" y="9"/>
                      </a:lnTo>
                      <a:lnTo>
                        <a:pt x="4" y="9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03" name="Philippines"/>
                <p:cNvSpPr>
                  <a:spLocks/>
                </p:cNvSpPr>
                <p:nvPr/>
              </p:nvSpPr>
              <p:spPr bwMode="auto">
                <a:xfrm>
                  <a:off x="7418020" y="4165239"/>
                  <a:ext cx="77665" cy="100322"/>
                </a:xfrm>
                <a:custGeom>
                  <a:avLst/>
                  <a:gdLst/>
                  <a:ahLst/>
                  <a:cxnLst>
                    <a:cxn ang="0">
                      <a:pos x="0" y="9"/>
                    </a:cxn>
                    <a:cxn ang="0">
                      <a:pos x="6" y="9"/>
                    </a:cxn>
                    <a:cxn ang="0">
                      <a:pos x="6" y="13"/>
                    </a:cxn>
                    <a:cxn ang="0">
                      <a:pos x="2" y="13"/>
                    </a:cxn>
                    <a:cxn ang="0">
                      <a:pos x="6" y="18"/>
                    </a:cxn>
                    <a:cxn ang="0">
                      <a:pos x="8" y="15"/>
                    </a:cxn>
                    <a:cxn ang="0">
                      <a:pos x="8" y="13"/>
                    </a:cxn>
                    <a:cxn ang="0">
                      <a:pos x="8" y="15"/>
                    </a:cxn>
                    <a:cxn ang="0">
                      <a:pos x="12" y="13"/>
                    </a:cxn>
                    <a:cxn ang="0">
                      <a:pos x="12" y="15"/>
                    </a:cxn>
                    <a:cxn ang="0">
                      <a:pos x="14" y="15"/>
                    </a:cxn>
                    <a:cxn ang="0">
                      <a:pos x="14" y="13"/>
                    </a:cxn>
                    <a:cxn ang="0">
                      <a:pos x="12" y="13"/>
                    </a:cxn>
                    <a:cxn ang="0">
                      <a:pos x="12" y="6"/>
                    </a:cxn>
                    <a:cxn ang="0">
                      <a:pos x="8" y="9"/>
                    </a:cxn>
                    <a:cxn ang="0">
                      <a:pos x="6" y="4"/>
                    </a:cxn>
                    <a:cxn ang="0">
                      <a:pos x="2" y="4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0" y="9"/>
                    </a:cxn>
                  </a:cxnLst>
                  <a:rect l="0" t="0" r="r" b="b"/>
                  <a:pathLst>
                    <a:path w="14" h="18">
                      <a:moveTo>
                        <a:pt x="0" y="9"/>
                      </a:moveTo>
                      <a:lnTo>
                        <a:pt x="6" y="9"/>
                      </a:lnTo>
                      <a:lnTo>
                        <a:pt x="6" y="13"/>
                      </a:lnTo>
                      <a:lnTo>
                        <a:pt x="2" y="13"/>
                      </a:lnTo>
                      <a:lnTo>
                        <a:pt x="6" y="18"/>
                      </a:lnTo>
                      <a:lnTo>
                        <a:pt x="8" y="15"/>
                      </a:lnTo>
                      <a:lnTo>
                        <a:pt x="8" y="13"/>
                      </a:lnTo>
                      <a:lnTo>
                        <a:pt x="8" y="15"/>
                      </a:lnTo>
                      <a:lnTo>
                        <a:pt x="12" y="13"/>
                      </a:lnTo>
                      <a:lnTo>
                        <a:pt x="12" y="15"/>
                      </a:lnTo>
                      <a:lnTo>
                        <a:pt x="14" y="15"/>
                      </a:lnTo>
                      <a:lnTo>
                        <a:pt x="14" y="13"/>
                      </a:lnTo>
                      <a:lnTo>
                        <a:pt x="12" y="13"/>
                      </a:lnTo>
                      <a:lnTo>
                        <a:pt x="12" y="6"/>
                      </a:lnTo>
                      <a:lnTo>
                        <a:pt x="8" y="9"/>
                      </a:lnTo>
                      <a:lnTo>
                        <a:pt x="6" y="4"/>
                      </a:lnTo>
                      <a:lnTo>
                        <a:pt x="2" y="4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804" name="Philippines"/>
                <p:cNvSpPr>
                  <a:spLocks/>
                </p:cNvSpPr>
                <p:nvPr/>
              </p:nvSpPr>
              <p:spPr bwMode="auto">
                <a:xfrm>
                  <a:off x="7429115" y="4237694"/>
                  <a:ext cx="127592" cy="128190"/>
                </a:xfrm>
                <a:custGeom>
                  <a:avLst/>
                  <a:gdLst/>
                  <a:ahLst/>
                  <a:cxnLst>
                    <a:cxn ang="0">
                      <a:pos x="0" y="14"/>
                    </a:cxn>
                    <a:cxn ang="0">
                      <a:pos x="0" y="18"/>
                    </a:cxn>
                    <a:cxn ang="0">
                      <a:pos x="4" y="11"/>
                    </a:cxn>
                    <a:cxn ang="0">
                      <a:pos x="4" y="14"/>
                    </a:cxn>
                    <a:cxn ang="0">
                      <a:pos x="10" y="11"/>
                    </a:cxn>
                    <a:cxn ang="0">
                      <a:pos x="12" y="14"/>
                    </a:cxn>
                    <a:cxn ang="0">
                      <a:pos x="10" y="20"/>
                    </a:cxn>
                    <a:cxn ang="0">
                      <a:pos x="19" y="23"/>
                    </a:cxn>
                    <a:cxn ang="0">
                      <a:pos x="19" y="20"/>
                    </a:cxn>
                    <a:cxn ang="0">
                      <a:pos x="19" y="18"/>
                    </a:cxn>
                    <a:cxn ang="0">
                      <a:pos x="19" y="14"/>
                    </a:cxn>
                    <a:cxn ang="0">
                      <a:pos x="21" y="20"/>
                    </a:cxn>
                    <a:cxn ang="0">
                      <a:pos x="23" y="14"/>
                    </a:cxn>
                    <a:cxn ang="0">
                      <a:pos x="21" y="5"/>
                    </a:cxn>
                    <a:cxn ang="0">
                      <a:pos x="14" y="0"/>
                    </a:cxn>
                    <a:cxn ang="0">
                      <a:pos x="19" y="5"/>
                    </a:cxn>
                    <a:cxn ang="0">
                      <a:pos x="14" y="5"/>
                    </a:cxn>
                    <a:cxn ang="0">
                      <a:pos x="12" y="5"/>
                    </a:cxn>
                    <a:cxn ang="0">
                      <a:pos x="12" y="9"/>
                    </a:cxn>
                    <a:cxn ang="0">
                      <a:pos x="10" y="11"/>
                    </a:cxn>
                    <a:cxn ang="0">
                      <a:pos x="10" y="9"/>
                    </a:cxn>
                    <a:cxn ang="0">
                      <a:pos x="6" y="9"/>
                    </a:cxn>
                    <a:cxn ang="0">
                      <a:pos x="0" y="11"/>
                    </a:cxn>
                    <a:cxn ang="0">
                      <a:pos x="0" y="14"/>
                    </a:cxn>
                  </a:cxnLst>
                  <a:rect l="0" t="0" r="r" b="b"/>
                  <a:pathLst>
                    <a:path w="23" h="23">
                      <a:moveTo>
                        <a:pt x="0" y="14"/>
                      </a:moveTo>
                      <a:lnTo>
                        <a:pt x="0" y="18"/>
                      </a:lnTo>
                      <a:lnTo>
                        <a:pt x="4" y="11"/>
                      </a:lnTo>
                      <a:lnTo>
                        <a:pt x="4" y="14"/>
                      </a:lnTo>
                      <a:lnTo>
                        <a:pt x="10" y="11"/>
                      </a:lnTo>
                      <a:lnTo>
                        <a:pt x="12" y="14"/>
                      </a:lnTo>
                      <a:lnTo>
                        <a:pt x="10" y="20"/>
                      </a:lnTo>
                      <a:lnTo>
                        <a:pt x="19" y="23"/>
                      </a:lnTo>
                      <a:lnTo>
                        <a:pt x="19" y="20"/>
                      </a:lnTo>
                      <a:lnTo>
                        <a:pt x="19" y="18"/>
                      </a:lnTo>
                      <a:lnTo>
                        <a:pt x="19" y="14"/>
                      </a:lnTo>
                      <a:lnTo>
                        <a:pt x="21" y="20"/>
                      </a:lnTo>
                      <a:lnTo>
                        <a:pt x="23" y="14"/>
                      </a:lnTo>
                      <a:lnTo>
                        <a:pt x="21" y="5"/>
                      </a:lnTo>
                      <a:lnTo>
                        <a:pt x="14" y="0"/>
                      </a:lnTo>
                      <a:lnTo>
                        <a:pt x="19" y="5"/>
                      </a:lnTo>
                      <a:lnTo>
                        <a:pt x="14" y="5"/>
                      </a:lnTo>
                      <a:lnTo>
                        <a:pt x="12" y="5"/>
                      </a:lnTo>
                      <a:lnTo>
                        <a:pt x="12" y="9"/>
                      </a:lnTo>
                      <a:lnTo>
                        <a:pt x="10" y="11"/>
                      </a:lnTo>
                      <a:lnTo>
                        <a:pt x="10" y="9"/>
                      </a:lnTo>
                      <a:lnTo>
                        <a:pt x="6" y="9"/>
                      </a:lnTo>
                      <a:lnTo>
                        <a:pt x="0" y="11"/>
                      </a:lnTo>
                      <a:lnTo>
                        <a:pt x="0" y="1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524" name="Peru"/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2115320" y="4568267"/>
                <a:ext cx="338526" cy="590994"/>
              </a:xfrm>
              <a:custGeom>
                <a:avLst/>
                <a:gdLst/>
                <a:ahLst/>
                <a:cxnLst>
                  <a:cxn ang="0">
                    <a:pos x="2" y="21"/>
                  </a:cxn>
                  <a:cxn ang="0">
                    <a:pos x="0" y="25"/>
                  </a:cxn>
                  <a:cxn ang="0">
                    <a:pos x="2" y="34"/>
                  </a:cxn>
                  <a:cxn ang="0">
                    <a:pos x="0" y="34"/>
                  </a:cxn>
                  <a:cxn ang="0">
                    <a:pos x="4" y="41"/>
                  </a:cxn>
                  <a:cxn ang="0">
                    <a:pos x="10" y="50"/>
                  </a:cxn>
                  <a:cxn ang="0">
                    <a:pos x="27" y="86"/>
                  </a:cxn>
                  <a:cxn ang="0">
                    <a:pos x="52" y="106"/>
                  </a:cxn>
                  <a:cxn ang="0">
                    <a:pos x="58" y="102"/>
                  </a:cxn>
                  <a:cxn ang="0">
                    <a:pos x="61" y="95"/>
                  </a:cxn>
                  <a:cxn ang="0">
                    <a:pos x="58" y="93"/>
                  </a:cxn>
                  <a:cxn ang="0">
                    <a:pos x="58" y="72"/>
                  </a:cxn>
                  <a:cxn ang="0">
                    <a:pos x="56" y="63"/>
                  </a:cxn>
                  <a:cxn ang="0">
                    <a:pos x="50" y="63"/>
                  </a:cxn>
                  <a:cxn ang="0">
                    <a:pos x="50" y="57"/>
                  </a:cxn>
                  <a:cxn ang="0">
                    <a:pos x="44" y="59"/>
                  </a:cxn>
                  <a:cxn ang="0">
                    <a:pos x="40" y="52"/>
                  </a:cxn>
                  <a:cxn ang="0">
                    <a:pos x="36" y="43"/>
                  </a:cxn>
                  <a:cxn ang="0">
                    <a:pos x="40" y="34"/>
                  </a:cxn>
                  <a:cxn ang="0">
                    <a:pos x="42" y="30"/>
                  </a:cxn>
                  <a:cxn ang="0">
                    <a:pos x="52" y="25"/>
                  </a:cxn>
                  <a:cxn ang="0">
                    <a:pos x="50" y="23"/>
                  </a:cxn>
                  <a:cxn ang="0">
                    <a:pos x="50" y="16"/>
                  </a:cxn>
                  <a:cxn ang="0">
                    <a:pos x="48" y="14"/>
                  </a:cxn>
                  <a:cxn ang="0">
                    <a:pos x="36" y="16"/>
                  </a:cxn>
                  <a:cxn ang="0">
                    <a:pos x="33" y="7"/>
                  </a:cxn>
                  <a:cxn ang="0">
                    <a:pos x="27" y="0"/>
                  </a:cxn>
                  <a:cxn ang="0">
                    <a:pos x="25" y="0"/>
                  </a:cxn>
                  <a:cxn ang="0">
                    <a:pos x="27" y="7"/>
                  </a:cxn>
                  <a:cxn ang="0">
                    <a:pos x="25" y="9"/>
                  </a:cxn>
                  <a:cxn ang="0">
                    <a:pos x="21" y="16"/>
                  </a:cxn>
                  <a:cxn ang="0">
                    <a:pos x="13" y="21"/>
                  </a:cxn>
                  <a:cxn ang="0">
                    <a:pos x="8" y="30"/>
                  </a:cxn>
                  <a:cxn ang="0">
                    <a:pos x="2" y="25"/>
                  </a:cxn>
                  <a:cxn ang="0">
                    <a:pos x="2" y="23"/>
                  </a:cxn>
                  <a:cxn ang="0">
                    <a:pos x="2" y="21"/>
                  </a:cxn>
                </a:cxnLst>
                <a:rect l="0" t="0" r="r" b="b"/>
                <a:pathLst>
                  <a:path w="61" h="106">
                    <a:moveTo>
                      <a:pt x="2" y="21"/>
                    </a:moveTo>
                    <a:lnTo>
                      <a:pt x="0" y="25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4" y="41"/>
                    </a:lnTo>
                    <a:lnTo>
                      <a:pt x="10" y="50"/>
                    </a:lnTo>
                    <a:lnTo>
                      <a:pt x="27" y="86"/>
                    </a:lnTo>
                    <a:lnTo>
                      <a:pt x="52" y="106"/>
                    </a:lnTo>
                    <a:lnTo>
                      <a:pt x="58" y="102"/>
                    </a:lnTo>
                    <a:lnTo>
                      <a:pt x="61" y="95"/>
                    </a:lnTo>
                    <a:lnTo>
                      <a:pt x="58" y="93"/>
                    </a:lnTo>
                    <a:lnTo>
                      <a:pt x="58" y="72"/>
                    </a:lnTo>
                    <a:lnTo>
                      <a:pt x="56" y="63"/>
                    </a:lnTo>
                    <a:lnTo>
                      <a:pt x="50" y="63"/>
                    </a:lnTo>
                    <a:lnTo>
                      <a:pt x="50" y="57"/>
                    </a:lnTo>
                    <a:lnTo>
                      <a:pt x="44" y="59"/>
                    </a:lnTo>
                    <a:lnTo>
                      <a:pt x="40" y="52"/>
                    </a:lnTo>
                    <a:lnTo>
                      <a:pt x="36" y="43"/>
                    </a:lnTo>
                    <a:lnTo>
                      <a:pt x="40" y="34"/>
                    </a:lnTo>
                    <a:lnTo>
                      <a:pt x="42" y="30"/>
                    </a:lnTo>
                    <a:lnTo>
                      <a:pt x="52" y="25"/>
                    </a:lnTo>
                    <a:lnTo>
                      <a:pt x="50" y="23"/>
                    </a:lnTo>
                    <a:lnTo>
                      <a:pt x="50" y="16"/>
                    </a:lnTo>
                    <a:lnTo>
                      <a:pt x="48" y="14"/>
                    </a:lnTo>
                    <a:lnTo>
                      <a:pt x="36" y="16"/>
                    </a:lnTo>
                    <a:lnTo>
                      <a:pt x="33" y="7"/>
                    </a:lnTo>
                    <a:lnTo>
                      <a:pt x="27" y="0"/>
                    </a:lnTo>
                    <a:lnTo>
                      <a:pt x="25" y="0"/>
                    </a:lnTo>
                    <a:lnTo>
                      <a:pt x="27" y="7"/>
                    </a:lnTo>
                    <a:lnTo>
                      <a:pt x="25" y="9"/>
                    </a:lnTo>
                    <a:lnTo>
                      <a:pt x="21" y="16"/>
                    </a:lnTo>
                    <a:lnTo>
                      <a:pt x="13" y="21"/>
                    </a:lnTo>
                    <a:lnTo>
                      <a:pt x="8" y="30"/>
                    </a:lnTo>
                    <a:lnTo>
                      <a:pt x="2" y="25"/>
                    </a:lnTo>
                    <a:lnTo>
                      <a:pt x="2" y="23"/>
                    </a:lnTo>
                    <a:lnTo>
                      <a:pt x="2" y="21"/>
                    </a:lnTo>
                    <a:close/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601" name="Paraguay"/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2624980" y="5187546"/>
                <a:ext cx="221900" cy="273098"/>
              </a:xfrm>
              <a:custGeom>
                <a:avLst/>
                <a:gdLst>
                  <a:gd name="T0" fmla="*/ 221900 w 40"/>
                  <a:gd name="T1" fmla="*/ 211790 h 49"/>
                  <a:gd name="T2" fmla="*/ 221900 w 40"/>
                  <a:gd name="T3" fmla="*/ 150483 h 49"/>
                  <a:gd name="T4" fmla="*/ 194163 w 40"/>
                  <a:gd name="T5" fmla="*/ 150483 h 49"/>
                  <a:gd name="T6" fmla="*/ 194163 w 40"/>
                  <a:gd name="T7" fmla="*/ 100322 h 49"/>
                  <a:gd name="T8" fmla="*/ 171972 w 40"/>
                  <a:gd name="T9" fmla="*/ 100322 h 49"/>
                  <a:gd name="T10" fmla="*/ 127592 w 40"/>
                  <a:gd name="T11" fmla="*/ 89175 h 49"/>
                  <a:gd name="T12" fmla="*/ 116497 w 40"/>
                  <a:gd name="T13" fmla="*/ 39014 h 49"/>
                  <a:gd name="T14" fmla="*/ 105403 w 40"/>
                  <a:gd name="T15" fmla="*/ 0 h 49"/>
                  <a:gd name="T16" fmla="*/ 22190 w 40"/>
                  <a:gd name="T17" fmla="*/ 22294 h 49"/>
                  <a:gd name="T18" fmla="*/ 0 w 40"/>
                  <a:gd name="T19" fmla="*/ 100322 h 49"/>
                  <a:gd name="T20" fmla="*/ 66570 w 40"/>
                  <a:gd name="T21" fmla="*/ 150483 h 49"/>
                  <a:gd name="T22" fmla="*/ 105403 w 40"/>
                  <a:gd name="T23" fmla="*/ 172776 h 49"/>
                  <a:gd name="T24" fmla="*/ 149782 w 40"/>
                  <a:gd name="T25" fmla="*/ 189497 h 49"/>
                  <a:gd name="T26" fmla="*/ 149782 w 40"/>
                  <a:gd name="T27" fmla="*/ 222937 h 49"/>
                  <a:gd name="T28" fmla="*/ 127592 w 40"/>
                  <a:gd name="T29" fmla="*/ 261951 h 49"/>
                  <a:gd name="T30" fmla="*/ 194163 w 40"/>
                  <a:gd name="T31" fmla="*/ 273098 h 49"/>
                  <a:gd name="T32" fmla="*/ 205258 w 40"/>
                  <a:gd name="T33" fmla="*/ 273098 h 49"/>
                  <a:gd name="T34" fmla="*/ 221900 w 40"/>
                  <a:gd name="T35" fmla="*/ 239657 h 49"/>
                  <a:gd name="T36" fmla="*/ 221900 w 40"/>
                  <a:gd name="T37" fmla="*/ 222937 h 49"/>
                  <a:gd name="T38" fmla="*/ 221900 w 40"/>
                  <a:gd name="T39" fmla="*/ 211790 h 49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40"/>
                  <a:gd name="T61" fmla="*/ 0 h 49"/>
                  <a:gd name="T62" fmla="*/ 40 w 40"/>
                  <a:gd name="T63" fmla="*/ 49 h 49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40" h="49">
                    <a:moveTo>
                      <a:pt x="40" y="38"/>
                    </a:moveTo>
                    <a:lnTo>
                      <a:pt x="40" y="27"/>
                    </a:lnTo>
                    <a:lnTo>
                      <a:pt x="35" y="27"/>
                    </a:lnTo>
                    <a:lnTo>
                      <a:pt x="35" y="18"/>
                    </a:lnTo>
                    <a:lnTo>
                      <a:pt x="31" y="18"/>
                    </a:lnTo>
                    <a:lnTo>
                      <a:pt x="23" y="16"/>
                    </a:lnTo>
                    <a:lnTo>
                      <a:pt x="21" y="7"/>
                    </a:lnTo>
                    <a:lnTo>
                      <a:pt x="19" y="0"/>
                    </a:lnTo>
                    <a:lnTo>
                      <a:pt x="4" y="4"/>
                    </a:lnTo>
                    <a:lnTo>
                      <a:pt x="0" y="18"/>
                    </a:lnTo>
                    <a:lnTo>
                      <a:pt x="12" y="27"/>
                    </a:lnTo>
                    <a:lnTo>
                      <a:pt x="19" y="31"/>
                    </a:lnTo>
                    <a:lnTo>
                      <a:pt x="27" y="34"/>
                    </a:lnTo>
                    <a:lnTo>
                      <a:pt x="27" y="40"/>
                    </a:lnTo>
                    <a:lnTo>
                      <a:pt x="23" y="47"/>
                    </a:lnTo>
                    <a:lnTo>
                      <a:pt x="35" y="49"/>
                    </a:lnTo>
                    <a:lnTo>
                      <a:pt x="37" y="49"/>
                    </a:lnTo>
                    <a:lnTo>
                      <a:pt x="40" y="43"/>
                    </a:lnTo>
                    <a:lnTo>
                      <a:pt x="40" y="40"/>
                    </a:lnTo>
                    <a:lnTo>
                      <a:pt x="40" y="38"/>
                    </a:lnTo>
                    <a:close/>
                  </a:path>
                </a:pathLst>
              </a:custGeom>
              <a:solidFill>
                <a:srgbClr val="778025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526" name="Papua New Guinea"/>
              <p:cNvGrpSpPr/>
              <p:nvPr/>
            </p:nvGrpSpPr>
            <p:grpSpPr>
              <a:xfrm>
                <a:off x="7939484" y="4658070"/>
                <a:ext cx="393874" cy="261952"/>
                <a:chOff x="7939484" y="4638981"/>
                <a:chExt cx="393874" cy="261952"/>
              </a:xfrm>
              <a:solidFill>
                <a:srgbClr val="EE8B8B"/>
              </a:solidFill>
            </p:grpSpPr>
            <p:sp>
              <p:nvSpPr>
                <p:cNvPr id="795" name="Papua New Guinea"/>
                <p:cNvSpPr>
                  <a:spLocks/>
                </p:cNvSpPr>
                <p:nvPr/>
              </p:nvSpPr>
              <p:spPr bwMode="auto">
                <a:xfrm>
                  <a:off x="7939484" y="4638981"/>
                  <a:ext cx="227448" cy="26195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0" y="5"/>
                    </a:cxn>
                    <a:cxn ang="0">
                      <a:pos x="18" y="9"/>
                    </a:cxn>
                    <a:cxn ang="0">
                      <a:pos x="23" y="16"/>
                    </a:cxn>
                    <a:cxn ang="0">
                      <a:pos x="27" y="18"/>
                    </a:cxn>
                    <a:cxn ang="0">
                      <a:pos x="31" y="18"/>
                    </a:cxn>
                    <a:cxn ang="0">
                      <a:pos x="31" y="23"/>
                    </a:cxn>
                    <a:cxn ang="0">
                      <a:pos x="27" y="25"/>
                    </a:cxn>
                    <a:cxn ang="0">
                      <a:pos x="27" y="27"/>
                    </a:cxn>
                    <a:cxn ang="0">
                      <a:pos x="31" y="32"/>
                    </a:cxn>
                    <a:cxn ang="0">
                      <a:pos x="33" y="36"/>
                    </a:cxn>
                    <a:cxn ang="0">
                      <a:pos x="37" y="36"/>
                    </a:cxn>
                    <a:cxn ang="0">
                      <a:pos x="37" y="41"/>
                    </a:cxn>
                    <a:cxn ang="0">
                      <a:pos x="39" y="41"/>
                    </a:cxn>
                    <a:cxn ang="0">
                      <a:pos x="41" y="43"/>
                    </a:cxn>
                    <a:cxn ang="0">
                      <a:pos x="41" y="47"/>
                    </a:cxn>
                    <a:cxn ang="0">
                      <a:pos x="39" y="47"/>
                    </a:cxn>
                    <a:cxn ang="0">
                      <a:pos x="37" y="43"/>
                    </a:cxn>
                    <a:cxn ang="0">
                      <a:pos x="27" y="43"/>
                    </a:cxn>
                    <a:cxn ang="0">
                      <a:pos x="23" y="32"/>
                    </a:cxn>
                    <a:cxn ang="0">
                      <a:pos x="16" y="27"/>
                    </a:cxn>
                    <a:cxn ang="0">
                      <a:pos x="14" y="27"/>
                    </a:cxn>
                    <a:cxn ang="0">
                      <a:pos x="8" y="34"/>
                    </a:cxn>
                    <a:cxn ang="0">
                      <a:pos x="6" y="36"/>
                    </a:cxn>
                    <a:cxn ang="0">
                      <a:pos x="0" y="36"/>
                    </a:cxn>
                    <a:cxn ang="0">
                      <a:pos x="0" y="1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1" h="47">
                      <a:moveTo>
                        <a:pt x="0" y="0"/>
                      </a:moveTo>
                      <a:lnTo>
                        <a:pt x="10" y="5"/>
                      </a:lnTo>
                      <a:lnTo>
                        <a:pt x="18" y="9"/>
                      </a:lnTo>
                      <a:lnTo>
                        <a:pt x="23" y="16"/>
                      </a:lnTo>
                      <a:lnTo>
                        <a:pt x="27" y="18"/>
                      </a:lnTo>
                      <a:lnTo>
                        <a:pt x="31" y="18"/>
                      </a:lnTo>
                      <a:lnTo>
                        <a:pt x="31" y="23"/>
                      </a:lnTo>
                      <a:lnTo>
                        <a:pt x="27" y="25"/>
                      </a:lnTo>
                      <a:lnTo>
                        <a:pt x="27" y="27"/>
                      </a:lnTo>
                      <a:lnTo>
                        <a:pt x="31" y="32"/>
                      </a:lnTo>
                      <a:lnTo>
                        <a:pt x="33" y="36"/>
                      </a:lnTo>
                      <a:lnTo>
                        <a:pt x="37" y="36"/>
                      </a:lnTo>
                      <a:lnTo>
                        <a:pt x="37" y="41"/>
                      </a:lnTo>
                      <a:lnTo>
                        <a:pt x="39" y="41"/>
                      </a:lnTo>
                      <a:lnTo>
                        <a:pt x="41" y="43"/>
                      </a:lnTo>
                      <a:lnTo>
                        <a:pt x="41" y="47"/>
                      </a:lnTo>
                      <a:lnTo>
                        <a:pt x="39" y="47"/>
                      </a:lnTo>
                      <a:lnTo>
                        <a:pt x="37" y="43"/>
                      </a:lnTo>
                      <a:lnTo>
                        <a:pt x="27" y="43"/>
                      </a:lnTo>
                      <a:lnTo>
                        <a:pt x="23" y="32"/>
                      </a:lnTo>
                      <a:lnTo>
                        <a:pt x="16" y="27"/>
                      </a:lnTo>
                      <a:lnTo>
                        <a:pt x="14" y="27"/>
                      </a:lnTo>
                      <a:lnTo>
                        <a:pt x="8" y="34"/>
                      </a:lnTo>
                      <a:lnTo>
                        <a:pt x="6" y="36"/>
                      </a:lnTo>
                      <a:lnTo>
                        <a:pt x="0" y="36"/>
                      </a:lnTo>
                      <a:lnTo>
                        <a:pt x="0" y="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96" name="Papua New Guinea"/>
                <p:cNvSpPr>
                  <a:spLocks/>
                </p:cNvSpPr>
                <p:nvPr/>
              </p:nvSpPr>
              <p:spPr bwMode="auto">
                <a:xfrm>
                  <a:off x="8122552" y="4689141"/>
                  <a:ext cx="116498" cy="78028"/>
                </a:xfrm>
                <a:custGeom>
                  <a:avLst/>
                  <a:gdLst/>
                  <a:ahLst/>
                  <a:cxnLst>
                    <a:cxn ang="0">
                      <a:pos x="0" y="7"/>
                    </a:cxn>
                    <a:cxn ang="0">
                      <a:pos x="4" y="14"/>
                    </a:cxn>
                    <a:cxn ang="0">
                      <a:pos x="13" y="14"/>
                    </a:cxn>
                    <a:cxn ang="0">
                      <a:pos x="17" y="7"/>
                    </a:cxn>
                    <a:cxn ang="0">
                      <a:pos x="21" y="5"/>
                    </a:cxn>
                    <a:cxn ang="0">
                      <a:pos x="21" y="0"/>
                    </a:cxn>
                    <a:cxn ang="0">
                      <a:pos x="17" y="0"/>
                    </a:cxn>
                    <a:cxn ang="0">
                      <a:pos x="17" y="5"/>
                    </a:cxn>
                    <a:cxn ang="0">
                      <a:pos x="15" y="5"/>
                    </a:cxn>
                    <a:cxn ang="0">
                      <a:pos x="13" y="7"/>
                    </a:cxn>
                    <a:cxn ang="0">
                      <a:pos x="6" y="7"/>
                    </a:cxn>
                    <a:cxn ang="0">
                      <a:pos x="0" y="7"/>
                    </a:cxn>
                  </a:cxnLst>
                  <a:rect l="0" t="0" r="r" b="b"/>
                  <a:pathLst>
                    <a:path w="21" h="14">
                      <a:moveTo>
                        <a:pt x="0" y="7"/>
                      </a:moveTo>
                      <a:lnTo>
                        <a:pt x="4" y="14"/>
                      </a:lnTo>
                      <a:lnTo>
                        <a:pt x="13" y="14"/>
                      </a:lnTo>
                      <a:lnTo>
                        <a:pt x="17" y="7"/>
                      </a:lnTo>
                      <a:lnTo>
                        <a:pt x="21" y="5"/>
                      </a:lnTo>
                      <a:lnTo>
                        <a:pt x="21" y="0"/>
                      </a:lnTo>
                      <a:lnTo>
                        <a:pt x="17" y="0"/>
                      </a:lnTo>
                      <a:lnTo>
                        <a:pt x="17" y="5"/>
                      </a:lnTo>
                      <a:lnTo>
                        <a:pt x="15" y="5"/>
                      </a:lnTo>
                      <a:lnTo>
                        <a:pt x="13" y="7"/>
                      </a:lnTo>
                      <a:lnTo>
                        <a:pt x="6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97" name="Papua New Guinea"/>
                <p:cNvSpPr>
                  <a:spLocks/>
                </p:cNvSpPr>
                <p:nvPr/>
              </p:nvSpPr>
              <p:spPr bwMode="auto">
                <a:xfrm>
                  <a:off x="8205764" y="4638981"/>
                  <a:ext cx="44380" cy="7802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6" y="7"/>
                    </a:cxn>
                    <a:cxn ang="0">
                      <a:pos x="8" y="14"/>
                    </a:cxn>
                    <a:cxn ang="0">
                      <a:pos x="8" y="7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8" h="14">
                      <a:moveTo>
                        <a:pt x="0" y="0"/>
                      </a:moveTo>
                      <a:lnTo>
                        <a:pt x="6" y="7"/>
                      </a:lnTo>
                      <a:lnTo>
                        <a:pt x="8" y="14"/>
                      </a:lnTo>
                      <a:lnTo>
                        <a:pt x="8" y="7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98" name="Papua New Guinea"/>
                <p:cNvSpPr>
                  <a:spLocks/>
                </p:cNvSpPr>
                <p:nvPr/>
              </p:nvSpPr>
              <p:spPr bwMode="auto">
                <a:xfrm>
                  <a:off x="8294525" y="4728156"/>
                  <a:ext cx="38833" cy="5016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7" y="7"/>
                    </a:cxn>
                    <a:cxn ang="0">
                      <a:pos x="2" y="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7" h="9">
                      <a:moveTo>
                        <a:pt x="0" y="0"/>
                      </a:moveTo>
                      <a:lnTo>
                        <a:pt x="2" y="9"/>
                      </a:lnTo>
                      <a:lnTo>
                        <a:pt x="7" y="7"/>
                      </a:lnTo>
                      <a:lnTo>
                        <a:pt x="2" y="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grpSp>
            <p:nvGrpSpPr>
              <p:cNvPr id="527" name="Panama"/>
              <p:cNvGrpSpPr/>
              <p:nvPr/>
            </p:nvGrpSpPr>
            <p:grpSpPr>
              <a:xfrm>
                <a:off x="2070229" y="4267929"/>
                <a:ext cx="149783" cy="66881"/>
                <a:chOff x="2070229" y="4248840"/>
                <a:chExt cx="149783" cy="66881"/>
              </a:xfrm>
              <a:solidFill>
                <a:srgbClr val="EF7A04"/>
              </a:solidFill>
            </p:grpSpPr>
            <p:sp>
              <p:nvSpPr>
                <p:cNvPr id="790" name="Panama"/>
                <p:cNvSpPr>
                  <a:spLocks/>
                </p:cNvSpPr>
                <p:nvPr/>
              </p:nvSpPr>
              <p:spPr bwMode="auto">
                <a:xfrm>
                  <a:off x="2136799" y="4265560"/>
                  <a:ext cx="22190" cy="1114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4" y="2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" h="2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91" name="Panama"/>
                <p:cNvSpPr>
                  <a:spLocks/>
                </p:cNvSpPr>
                <p:nvPr/>
              </p:nvSpPr>
              <p:spPr bwMode="auto">
                <a:xfrm>
                  <a:off x="2136799" y="4248840"/>
                  <a:ext cx="22190" cy="1672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4" y="3"/>
                    </a:cxn>
                    <a:cxn ang="0">
                      <a:pos x="2" y="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" h="3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4" y="3"/>
                      </a:lnTo>
                      <a:lnTo>
                        <a:pt x="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grpSp>
              <p:nvGrpSpPr>
                <p:cNvPr id="792" name="Panama"/>
                <p:cNvGrpSpPr/>
                <p:nvPr/>
              </p:nvGrpSpPr>
              <p:grpSpPr>
                <a:xfrm>
                  <a:off x="2070229" y="4248840"/>
                  <a:ext cx="149783" cy="66881"/>
                  <a:chOff x="2070229" y="4248840"/>
                  <a:chExt cx="149783" cy="66881"/>
                </a:xfrm>
                <a:grpFill/>
              </p:grpSpPr>
              <p:sp>
                <p:nvSpPr>
                  <p:cNvPr id="793" name="Panama"/>
                  <p:cNvSpPr>
                    <a:spLocks/>
                  </p:cNvSpPr>
                  <p:nvPr/>
                </p:nvSpPr>
                <p:spPr bwMode="auto">
                  <a:xfrm>
                    <a:off x="2158989" y="4248840"/>
                    <a:ext cx="61023" cy="66881"/>
                  </a:xfrm>
                  <a:custGeom>
                    <a:avLst/>
                    <a:gdLst/>
                    <a:ahLst/>
                    <a:cxnLst>
                      <a:cxn ang="0">
                        <a:pos x="11" y="7"/>
                      </a:cxn>
                      <a:cxn ang="0">
                        <a:pos x="5" y="0"/>
                      </a:cxn>
                      <a:cxn ang="0">
                        <a:pos x="2" y="0"/>
                      </a:cxn>
                      <a:cxn ang="0">
                        <a:pos x="0" y="0"/>
                      </a:cxn>
                      <a:cxn ang="0">
                        <a:pos x="0" y="3"/>
                      </a:cxn>
                      <a:cxn ang="0">
                        <a:pos x="5" y="7"/>
                      </a:cxn>
                      <a:cxn ang="0">
                        <a:pos x="5" y="9"/>
                      </a:cxn>
                      <a:cxn ang="0">
                        <a:pos x="9" y="12"/>
                      </a:cxn>
                      <a:cxn ang="0">
                        <a:pos x="11" y="9"/>
                      </a:cxn>
                      <a:cxn ang="0">
                        <a:pos x="11" y="7"/>
                      </a:cxn>
                    </a:cxnLst>
                    <a:rect l="0" t="0" r="r" b="b"/>
                    <a:pathLst>
                      <a:path w="11" h="12">
                        <a:moveTo>
                          <a:pt x="11" y="7"/>
                        </a:moveTo>
                        <a:lnTo>
                          <a:pt x="5" y="0"/>
                        </a:lnTo>
                        <a:lnTo>
                          <a:pt x="2" y="0"/>
                        </a:lnTo>
                        <a:lnTo>
                          <a:pt x="0" y="0"/>
                        </a:lnTo>
                        <a:lnTo>
                          <a:pt x="0" y="3"/>
                        </a:lnTo>
                        <a:lnTo>
                          <a:pt x="5" y="7"/>
                        </a:lnTo>
                        <a:lnTo>
                          <a:pt x="5" y="9"/>
                        </a:lnTo>
                        <a:lnTo>
                          <a:pt x="9" y="12"/>
                        </a:lnTo>
                        <a:lnTo>
                          <a:pt x="11" y="9"/>
                        </a:lnTo>
                        <a:lnTo>
                          <a:pt x="11" y="7"/>
                        </a:lnTo>
                        <a:close/>
                      </a:path>
                    </a:pathLst>
                  </a:custGeom>
                  <a:grpFill/>
                  <a:ln w="6350">
                    <a:solidFill>
                      <a:schemeClr val="bg1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defTabSz="91440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s-ES_tradnl" dirty="0">
                      <a:solidFill>
                        <a:srgbClr val="000000"/>
                      </a:solidFill>
                      <a:latin typeface="Arial"/>
                      <a:cs typeface="+mn-cs"/>
                    </a:endParaRPr>
                  </a:p>
                </p:txBody>
              </p:sp>
              <p:sp>
                <p:nvSpPr>
                  <p:cNvPr id="794" name="Panama"/>
                  <p:cNvSpPr>
                    <a:spLocks/>
                  </p:cNvSpPr>
                  <p:nvPr/>
                </p:nvSpPr>
                <p:spPr bwMode="auto">
                  <a:xfrm>
                    <a:off x="2070229" y="4248840"/>
                    <a:ext cx="88760" cy="66881"/>
                  </a:xfrm>
                  <a:custGeom>
                    <a:avLst/>
                    <a:gdLst/>
                    <a:ahLst/>
                    <a:cxnLst>
                      <a:cxn ang="0">
                        <a:pos x="2" y="0"/>
                      </a:cxn>
                      <a:cxn ang="0">
                        <a:pos x="4" y="3"/>
                      </a:cxn>
                      <a:cxn ang="0">
                        <a:pos x="8" y="3"/>
                      </a:cxn>
                      <a:cxn ang="0">
                        <a:pos x="12" y="0"/>
                      </a:cxn>
                      <a:cxn ang="0">
                        <a:pos x="16" y="3"/>
                      </a:cxn>
                      <a:cxn ang="0">
                        <a:pos x="10" y="7"/>
                      </a:cxn>
                      <a:cxn ang="0">
                        <a:pos x="12" y="12"/>
                      </a:cxn>
                      <a:cxn ang="0">
                        <a:pos x="10" y="12"/>
                      </a:cxn>
                      <a:cxn ang="0">
                        <a:pos x="8" y="9"/>
                      </a:cxn>
                      <a:cxn ang="0">
                        <a:pos x="0" y="7"/>
                      </a:cxn>
                      <a:cxn ang="0">
                        <a:pos x="0" y="5"/>
                      </a:cxn>
                      <a:cxn ang="0">
                        <a:pos x="2" y="0"/>
                      </a:cxn>
                    </a:cxnLst>
                    <a:rect l="0" t="0" r="r" b="b"/>
                    <a:pathLst>
                      <a:path w="16" h="12">
                        <a:moveTo>
                          <a:pt x="2" y="0"/>
                        </a:moveTo>
                        <a:lnTo>
                          <a:pt x="4" y="3"/>
                        </a:lnTo>
                        <a:lnTo>
                          <a:pt x="8" y="3"/>
                        </a:lnTo>
                        <a:lnTo>
                          <a:pt x="12" y="0"/>
                        </a:lnTo>
                        <a:lnTo>
                          <a:pt x="16" y="3"/>
                        </a:lnTo>
                        <a:lnTo>
                          <a:pt x="10" y="7"/>
                        </a:lnTo>
                        <a:lnTo>
                          <a:pt x="12" y="12"/>
                        </a:lnTo>
                        <a:lnTo>
                          <a:pt x="10" y="12"/>
                        </a:lnTo>
                        <a:lnTo>
                          <a:pt x="8" y="9"/>
                        </a:lnTo>
                        <a:lnTo>
                          <a:pt x="0" y="7"/>
                        </a:lnTo>
                        <a:lnTo>
                          <a:pt x="0" y="5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grpFill/>
                  <a:ln w="6350">
                    <a:solidFill>
                      <a:schemeClr val="bg1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defTabSz="91440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s-ES_tradnl" dirty="0">
                      <a:solidFill>
                        <a:srgbClr val="000000"/>
                      </a:solidFill>
                      <a:latin typeface="Arial"/>
                      <a:cs typeface="+mn-cs"/>
                    </a:endParaRPr>
                  </a:p>
                </p:txBody>
              </p:sp>
            </p:grpSp>
          </p:grpSp>
          <p:sp>
            <p:nvSpPr>
              <p:cNvPr id="528" name="Palestine"/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5125724" y="3520162"/>
                <a:ext cx="22951" cy="38252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4" y="7"/>
                  </a:cxn>
                  <a:cxn ang="0">
                    <a:pos x="4" y="5"/>
                  </a:cxn>
                  <a:cxn ang="0">
                    <a:pos x="2" y="0"/>
                  </a:cxn>
                  <a:cxn ang="0">
                    <a:pos x="0" y="3"/>
                  </a:cxn>
                  <a:cxn ang="0">
                    <a:pos x="0" y="5"/>
                  </a:cxn>
                </a:cxnLst>
                <a:rect l="0" t="0" r="r" b="b"/>
                <a:pathLst>
                  <a:path w="4" h="7">
                    <a:moveTo>
                      <a:pt x="0" y="5"/>
                    </a:moveTo>
                    <a:lnTo>
                      <a:pt x="4" y="7"/>
                    </a:lnTo>
                    <a:lnTo>
                      <a:pt x="4" y="5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605" name="Pakistan"/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5787054" y="3376179"/>
                <a:ext cx="393872" cy="429155"/>
              </a:xfrm>
              <a:custGeom>
                <a:avLst/>
                <a:gdLst>
                  <a:gd name="T0" fmla="*/ 216352 w 71"/>
                  <a:gd name="T1" fmla="*/ 418008 h 77"/>
                  <a:gd name="T2" fmla="*/ 266280 w 71"/>
                  <a:gd name="T3" fmla="*/ 418008 h 77"/>
                  <a:gd name="T4" fmla="*/ 266280 w 71"/>
                  <a:gd name="T5" fmla="*/ 406861 h 77"/>
                  <a:gd name="T6" fmla="*/ 266280 w 71"/>
                  <a:gd name="T7" fmla="*/ 367847 h 77"/>
                  <a:gd name="T8" fmla="*/ 249637 w 71"/>
                  <a:gd name="T9" fmla="*/ 367847 h 77"/>
                  <a:gd name="T10" fmla="*/ 249637 w 71"/>
                  <a:gd name="T11" fmla="*/ 356700 h 77"/>
                  <a:gd name="T12" fmla="*/ 227447 w 71"/>
                  <a:gd name="T13" fmla="*/ 328833 h 77"/>
                  <a:gd name="T14" fmla="*/ 227447 w 71"/>
                  <a:gd name="T15" fmla="*/ 317686 h 77"/>
                  <a:gd name="T16" fmla="*/ 249637 w 71"/>
                  <a:gd name="T17" fmla="*/ 306539 h 77"/>
                  <a:gd name="T18" fmla="*/ 266280 w 71"/>
                  <a:gd name="T19" fmla="*/ 306539 h 77"/>
                  <a:gd name="T20" fmla="*/ 277375 w 71"/>
                  <a:gd name="T21" fmla="*/ 306539 h 77"/>
                  <a:gd name="T22" fmla="*/ 343945 w 71"/>
                  <a:gd name="T23" fmla="*/ 189497 h 77"/>
                  <a:gd name="T24" fmla="*/ 332850 w 71"/>
                  <a:gd name="T25" fmla="*/ 167203 h 77"/>
                  <a:gd name="T26" fmla="*/ 343945 w 71"/>
                  <a:gd name="T27" fmla="*/ 167203 h 77"/>
                  <a:gd name="T28" fmla="*/ 310660 w 71"/>
                  <a:gd name="T29" fmla="*/ 128189 h 77"/>
                  <a:gd name="T30" fmla="*/ 310660 w 71"/>
                  <a:gd name="T31" fmla="*/ 89175 h 77"/>
                  <a:gd name="T32" fmla="*/ 299565 w 71"/>
                  <a:gd name="T33" fmla="*/ 78028 h 77"/>
                  <a:gd name="T34" fmla="*/ 343945 w 71"/>
                  <a:gd name="T35" fmla="*/ 78028 h 77"/>
                  <a:gd name="T36" fmla="*/ 377230 w 71"/>
                  <a:gd name="T37" fmla="*/ 78028 h 77"/>
                  <a:gd name="T38" fmla="*/ 393872 w 71"/>
                  <a:gd name="T39" fmla="*/ 66881 h 77"/>
                  <a:gd name="T40" fmla="*/ 343945 w 71"/>
                  <a:gd name="T41" fmla="*/ 39014 h 77"/>
                  <a:gd name="T42" fmla="*/ 332850 w 71"/>
                  <a:gd name="T43" fmla="*/ 0 h 77"/>
                  <a:gd name="T44" fmla="*/ 299565 w 71"/>
                  <a:gd name="T45" fmla="*/ 0 h 77"/>
                  <a:gd name="T46" fmla="*/ 277375 w 71"/>
                  <a:gd name="T47" fmla="*/ 0 h 77"/>
                  <a:gd name="T48" fmla="*/ 266280 w 71"/>
                  <a:gd name="T49" fmla="*/ 0 h 77"/>
                  <a:gd name="T50" fmla="*/ 227447 w 71"/>
                  <a:gd name="T51" fmla="*/ 27867 h 77"/>
                  <a:gd name="T52" fmla="*/ 227447 w 71"/>
                  <a:gd name="T53" fmla="*/ 78028 h 77"/>
                  <a:gd name="T54" fmla="*/ 227447 w 71"/>
                  <a:gd name="T55" fmla="*/ 89175 h 77"/>
                  <a:gd name="T56" fmla="*/ 205257 w 71"/>
                  <a:gd name="T57" fmla="*/ 89175 h 77"/>
                  <a:gd name="T58" fmla="*/ 216352 w 71"/>
                  <a:gd name="T59" fmla="*/ 117042 h 77"/>
                  <a:gd name="T60" fmla="*/ 205257 w 71"/>
                  <a:gd name="T61" fmla="*/ 128189 h 77"/>
                  <a:gd name="T62" fmla="*/ 205257 w 71"/>
                  <a:gd name="T63" fmla="*/ 178350 h 77"/>
                  <a:gd name="T64" fmla="*/ 138687 w 71"/>
                  <a:gd name="T65" fmla="*/ 189497 h 77"/>
                  <a:gd name="T66" fmla="*/ 138687 w 71"/>
                  <a:gd name="T67" fmla="*/ 228511 h 77"/>
                  <a:gd name="T68" fmla="*/ 33285 w 71"/>
                  <a:gd name="T69" fmla="*/ 239658 h 77"/>
                  <a:gd name="T70" fmla="*/ 0 w 71"/>
                  <a:gd name="T71" fmla="*/ 228511 h 77"/>
                  <a:gd name="T72" fmla="*/ 33285 w 71"/>
                  <a:gd name="T73" fmla="*/ 278672 h 77"/>
                  <a:gd name="T74" fmla="*/ 44380 w 71"/>
                  <a:gd name="T75" fmla="*/ 278672 h 77"/>
                  <a:gd name="T76" fmla="*/ 55475 w 71"/>
                  <a:gd name="T77" fmla="*/ 317686 h 77"/>
                  <a:gd name="T78" fmla="*/ 55475 w 71"/>
                  <a:gd name="T79" fmla="*/ 328833 h 77"/>
                  <a:gd name="T80" fmla="*/ 33285 w 71"/>
                  <a:gd name="T81" fmla="*/ 356700 h 77"/>
                  <a:gd name="T82" fmla="*/ 33285 w 71"/>
                  <a:gd name="T83" fmla="*/ 378994 h 77"/>
                  <a:gd name="T84" fmla="*/ 88760 w 71"/>
                  <a:gd name="T85" fmla="*/ 378994 h 77"/>
                  <a:gd name="T86" fmla="*/ 110950 w 71"/>
                  <a:gd name="T87" fmla="*/ 378994 h 77"/>
                  <a:gd name="T88" fmla="*/ 160877 w 71"/>
                  <a:gd name="T89" fmla="*/ 378994 h 77"/>
                  <a:gd name="T90" fmla="*/ 183067 w 71"/>
                  <a:gd name="T91" fmla="*/ 429155 h 77"/>
                  <a:gd name="T92" fmla="*/ 205257 w 71"/>
                  <a:gd name="T93" fmla="*/ 429155 h 77"/>
                  <a:gd name="T94" fmla="*/ 216352 w 71"/>
                  <a:gd name="T95" fmla="*/ 418008 h 7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1"/>
                  <a:gd name="T145" fmla="*/ 0 h 77"/>
                  <a:gd name="T146" fmla="*/ 71 w 71"/>
                  <a:gd name="T147" fmla="*/ 77 h 77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1" h="77">
                    <a:moveTo>
                      <a:pt x="39" y="75"/>
                    </a:moveTo>
                    <a:lnTo>
                      <a:pt x="48" y="75"/>
                    </a:lnTo>
                    <a:lnTo>
                      <a:pt x="48" y="73"/>
                    </a:lnTo>
                    <a:lnTo>
                      <a:pt x="48" y="66"/>
                    </a:lnTo>
                    <a:lnTo>
                      <a:pt x="45" y="66"/>
                    </a:lnTo>
                    <a:lnTo>
                      <a:pt x="45" y="64"/>
                    </a:lnTo>
                    <a:lnTo>
                      <a:pt x="41" y="59"/>
                    </a:lnTo>
                    <a:lnTo>
                      <a:pt x="41" y="57"/>
                    </a:lnTo>
                    <a:lnTo>
                      <a:pt x="45" y="55"/>
                    </a:lnTo>
                    <a:lnTo>
                      <a:pt x="48" y="55"/>
                    </a:lnTo>
                    <a:lnTo>
                      <a:pt x="50" y="55"/>
                    </a:lnTo>
                    <a:lnTo>
                      <a:pt x="62" y="34"/>
                    </a:lnTo>
                    <a:lnTo>
                      <a:pt x="60" y="30"/>
                    </a:lnTo>
                    <a:lnTo>
                      <a:pt x="62" y="30"/>
                    </a:lnTo>
                    <a:lnTo>
                      <a:pt x="56" y="23"/>
                    </a:lnTo>
                    <a:lnTo>
                      <a:pt x="56" y="16"/>
                    </a:lnTo>
                    <a:lnTo>
                      <a:pt x="54" y="14"/>
                    </a:lnTo>
                    <a:lnTo>
                      <a:pt x="62" y="14"/>
                    </a:lnTo>
                    <a:lnTo>
                      <a:pt x="68" y="14"/>
                    </a:lnTo>
                    <a:lnTo>
                      <a:pt x="71" y="12"/>
                    </a:lnTo>
                    <a:lnTo>
                      <a:pt x="62" y="7"/>
                    </a:lnTo>
                    <a:lnTo>
                      <a:pt x="60" y="0"/>
                    </a:lnTo>
                    <a:lnTo>
                      <a:pt x="54" y="0"/>
                    </a:lnTo>
                    <a:lnTo>
                      <a:pt x="50" y="0"/>
                    </a:lnTo>
                    <a:lnTo>
                      <a:pt x="48" y="0"/>
                    </a:lnTo>
                    <a:lnTo>
                      <a:pt x="41" y="5"/>
                    </a:lnTo>
                    <a:lnTo>
                      <a:pt x="41" y="14"/>
                    </a:lnTo>
                    <a:lnTo>
                      <a:pt x="41" y="16"/>
                    </a:lnTo>
                    <a:lnTo>
                      <a:pt x="37" y="16"/>
                    </a:lnTo>
                    <a:lnTo>
                      <a:pt x="39" y="21"/>
                    </a:lnTo>
                    <a:lnTo>
                      <a:pt x="37" y="23"/>
                    </a:lnTo>
                    <a:lnTo>
                      <a:pt x="37" y="32"/>
                    </a:lnTo>
                    <a:lnTo>
                      <a:pt x="25" y="34"/>
                    </a:lnTo>
                    <a:lnTo>
                      <a:pt x="25" y="41"/>
                    </a:lnTo>
                    <a:lnTo>
                      <a:pt x="6" y="43"/>
                    </a:lnTo>
                    <a:lnTo>
                      <a:pt x="0" y="41"/>
                    </a:lnTo>
                    <a:lnTo>
                      <a:pt x="6" y="50"/>
                    </a:lnTo>
                    <a:lnTo>
                      <a:pt x="8" y="50"/>
                    </a:lnTo>
                    <a:lnTo>
                      <a:pt x="10" y="57"/>
                    </a:lnTo>
                    <a:lnTo>
                      <a:pt x="10" y="59"/>
                    </a:lnTo>
                    <a:lnTo>
                      <a:pt x="6" y="64"/>
                    </a:lnTo>
                    <a:lnTo>
                      <a:pt x="6" y="68"/>
                    </a:lnTo>
                    <a:lnTo>
                      <a:pt x="16" y="68"/>
                    </a:lnTo>
                    <a:lnTo>
                      <a:pt x="20" y="68"/>
                    </a:lnTo>
                    <a:lnTo>
                      <a:pt x="29" y="68"/>
                    </a:lnTo>
                    <a:lnTo>
                      <a:pt x="33" y="77"/>
                    </a:lnTo>
                    <a:lnTo>
                      <a:pt x="37" y="77"/>
                    </a:lnTo>
                    <a:lnTo>
                      <a:pt x="39" y="75"/>
                    </a:lnTo>
                    <a:close/>
                  </a:path>
                </a:pathLst>
              </a:custGeom>
              <a:solidFill>
                <a:srgbClr val="EE8B8B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30" name="Oman"/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5598132" y="3782188"/>
                <a:ext cx="189346" cy="252463"/>
              </a:xfrm>
              <a:custGeom>
                <a:avLst/>
                <a:gdLst/>
                <a:ahLst/>
                <a:cxnLst>
                  <a:cxn ang="0">
                    <a:pos x="9" y="45"/>
                  </a:cxn>
                  <a:cxn ang="0">
                    <a:pos x="11" y="45"/>
                  </a:cxn>
                  <a:cxn ang="0">
                    <a:pos x="15" y="38"/>
                  </a:cxn>
                  <a:cxn ang="0">
                    <a:pos x="19" y="38"/>
                  </a:cxn>
                  <a:cxn ang="0">
                    <a:pos x="23" y="33"/>
                  </a:cxn>
                  <a:cxn ang="0">
                    <a:pos x="25" y="33"/>
                  </a:cxn>
                  <a:cxn ang="0">
                    <a:pos x="25" y="27"/>
                  </a:cxn>
                  <a:cxn ang="0">
                    <a:pos x="31" y="18"/>
                  </a:cxn>
                  <a:cxn ang="0">
                    <a:pos x="34" y="11"/>
                  </a:cxn>
                  <a:cxn ang="0">
                    <a:pos x="27" y="4"/>
                  </a:cxn>
                  <a:cxn ang="0">
                    <a:pos x="19" y="2"/>
                  </a:cxn>
                  <a:cxn ang="0">
                    <a:pos x="17" y="0"/>
                  </a:cxn>
                  <a:cxn ang="0">
                    <a:pos x="15" y="2"/>
                  </a:cxn>
                  <a:cxn ang="0">
                    <a:pos x="15" y="4"/>
                  </a:cxn>
                  <a:cxn ang="0">
                    <a:pos x="11" y="4"/>
                  </a:cxn>
                  <a:cxn ang="0">
                    <a:pos x="15" y="9"/>
                  </a:cxn>
                  <a:cxn ang="0">
                    <a:pos x="17" y="11"/>
                  </a:cxn>
                  <a:cxn ang="0">
                    <a:pos x="17" y="18"/>
                  </a:cxn>
                  <a:cxn ang="0">
                    <a:pos x="11" y="29"/>
                  </a:cxn>
                  <a:cxn ang="0">
                    <a:pos x="0" y="38"/>
                  </a:cxn>
                  <a:cxn ang="0">
                    <a:pos x="2" y="45"/>
                  </a:cxn>
                  <a:cxn ang="0">
                    <a:pos x="4" y="45"/>
                  </a:cxn>
                  <a:cxn ang="0">
                    <a:pos x="9" y="45"/>
                  </a:cxn>
                </a:cxnLst>
                <a:rect l="0" t="0" r="r" b="b"/>
                <a:pathLst>
                  <a:path w="34" h="45">
                    <a:moveTo>
                      <a:pt x="9" y="45"/>
                    </a:moveTo>
                    <a:lnTo>
                      <a:pt x="11" y="45"/>
                    </a:lnTo>
                    <a:lnTo>
                      <a:pt x="15" y="38"/>
                    </a:lnTo>
                    <a:lnTo>
                      <a:pt x="19" y="38"/>
                    </a:lnTo>
                    <a:lnTo>
                      <a:pt x="23" y="33"/>
                    </a:lnTo>
                    <a:lnTo>
                      <a:pt x="25" y="33"/>
                    </a:lnTo>
                    <a:lnTo>
                      <a:pt x="25" y="27"/>
                    </a:lnTo>
                    <a:lnTo>
                      <a:pt x="31" y="18"/>
                    </a:lnTo>
                    <a:lnTo>
                      <a:pt x="34" y="11"/>
                    </a:lnTo>
                    <a:lnTo>
                      <a:pt x="27" y="4"/>
                    </a:lnTo>
                    <a:lnTo>
                      <a:pt x="19" y="2"/>
                    </a:lnTo>
                    <a:lnTo>
                      <a:pt x="17" y="0"/>
                    </a:lnTo>
                    <a:lnTo>
                      <a:pt x="15" y="2"/>
                    </a:lnTo>
                    <a:lnTo>
                      <a:pt x="15" y="4"/>
                    </a:lnTo>
                    <a:lnTo>
                      <a:pt x="11" y="4"/>
                    </a:lnTo>
                    <a:lnTo>
                      <a:pt x="15" y="9"/>
                    </a:lnTo>
                    <a:lnTo>
                      <a:pt x="17" y="11"/>
                    </a:lnTo>
                    <a:lnTo>
                      <a:pt x="17" y="18"/>
                    </a:lnTo>
                    <a:lnTo>
                      <a:pt x="11" y="29"/>
                    </a:lnTo>
                    <a:lnTo>
                      <a:pt x="0" y="38"/>
                    </a:lnTo>
                    <a:lnTo>
                      <a:pt x="2" y="45"/>
                    </a:lnTo>
                    <a:lnTo>
                      <a:pt x="4" y="45"/>
                    </a:lnTo>
                    <a:lnTo>
                      <a:pt x="9" y="4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3348607" name="Norway"/>
              <p:cNvGrpSpPr>
                <a:grpSpLocks/>
              </p:cNvGrpSpPr>
              <p:nvPr/>
            </p:nvGrpSpPr>
            <p:grpSpPr bwMode="auto">
              <a:xfrm>
                <a:off x="4405727" y="2122155"/>
                <a:ext cx="499275" cy="601932"/>
                <a:chOff x="4405727" y="2103066"/>
                <a:chExt cx="499275" cy="601932"/>
              </a:xfrm>
            </p:grpSpPr>
            <p:sp>
              <p:nvSpPr>
                <p:cNvPr id="788" name="Norway"/>
                <p:cNvSpPr>
                  <a:spLocks/>
                </p:cNvSpPr>
                <p:nvPr>
                  <p:custDataLst>
                    <p:tags r:id="rId139"/>
                  </p:custDataLst>
                </p:nvPr>
              </p:nvSpPr>
              <p:spPr bwMode="auto">
                <a:xfrm>
                  <a:off x="4534736" y="2102962"/>
                  <a:ext cx="265850" cy="89892"/>
                </a:xfrm>
                <a:custGeom>
                  <a:avLst/>
                  <a:gdLst/>
                  <a:ahLst/>
                  <a:cxnLst>
                    <a:cxn ang="0">
                      <a:pos x="0" y="3"/>
                    </a:cxn>
                    <a:cxn ang="0">
                      <a:pos x="2" y="7"/>
                    </a:cxn>
                    <a:cxn ang="0">
                      <a:pos x="4" y="9"/>
                    </a:cxn>
                    <a:cxn ang="0">
                      <a:pos x="9" y="9"/>
                    </a:cxn>
                    <a:cxn ang="0">
                      <a:pos x="9" y="14"/>
                    </a:cxn>
                    <a:cxn ang="0">
                      <a:pos x="17" y="16"/>
                    </a:cxn>
                    <a:cxn ang="0">
                      <a:pos x="21" y="9"/>
                    </a:cxn>
                    <a:cxn ang="0">
                      <a:pos x="27" y="9"/>
                    </a:cxn>
                    <a:cxn ang="0">
                      <a:pos x="27" y="14"/>
                    </a:cxn>
                    <a:cxn ang="0">
                      <a:pos x="42" y="14"/>
                    </a:cxn>
                    <a:cxn ang="0">
                      <a:pos x="21" y="7"/>
                    </a:cxn>
                    <a:cxn ang="0">
                      <a:pos x="21" y="3"/>
                    </a:cxn>
                    <a:cxn ang="0">
                      <a:pos x="36" y="7"/>
                    </a:cxn>
                    <a:cxn ang="0">
                      <a:pos x="48" y="3"/>
                    </a:cxn>
                    <a:cxn ang="0">
                      <a:pos x="44" y="0"/>
                    </a:cxn>
                    <a:cxn ang="0">
                      <a:pos x="25" y="0"/>
                    </a:cxn>
                    <a:cxn ang="0">
                      <a:pos x="13" y="3"/>
                    </a:cxn>
                    <a:cxn ang="0">
                      <a:pos x="6" y="3"/>
                    </a:cxn>
                    <a:cxn ang="0">
                      <a:pos x="0" y="3"/>
                    </a:cxn>
                  </a:cxnLst>
                  <a:rect l="0" t="0" r="r" b="b"/>
                  <a:pathLst>
                    <a:path w="48" h="16">
                      <a:moveTo>
                        <a:pt x="0" y="3"/>
                      </a:moveTo>
                      <a:lnTo>
                        <a:pt x="2" y="7"/>
                      </a:lnTo>
                      <a:lnTo>
                        <a:pt x="4" y="9"/>
                      </a:lnTo>
                      <a:lnTo>
                        <a:pt x="9" y="9"/>
                      </a:lnTo>
                      <a:lnTo>
                        <a:pt x="9" y="14"/>
                      </a:lnTo>
                      <a:lnTo>
                        <a:pt x="17" y="16"/>
                      </a:lnTo>
                      <a:lnTo>
                        <a:pt x="21" y="9"/>
                      </a:lnTo>
                      <a:lnTo>
                        <a:pt x="27" y="9"/>
                      </a:lnTo>
                      <a:lnTo>
                        <a:pt x="27" y="14"/>
                      </a:lnTo>
                      <a:lnTo>
                        <a:pt x="42" y="14"/>
                      </a:lnTo>
                      <a:lnTo>
                        <a:pt x="21" y="7"/>
                      </a:lnTo>
                      <a:lnTo>
                        <a:pt x="21" y="3"/>
                      </a:lnTo>
                      <a:lnTo>
                        <a:pt x="36" y="7"/>
                      </a:lnTo>
                      <a:lnTo>
                        <a:pt x="48" y="3"/>
                      </a:lnTo>
                      <a:lnTo>
                        <a:pt x="44" y="0"/>
                      </a:lnTo>
                      <a:lnTo>
                        <a:pt x="25" y="0"/>
                      </a:lnTo>
                      <a:lnTo>
                        <a:pt x="13" y="3"/>
                      </a:lnTo>
                      <a:lnTo>
                        <a:pt x="6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89" name="Norway"/>
                <p:cNvSpPr>
                  <a:spLocks/>
                </p:cNvSpPr>
                <p:nvPr>
                  <p:custDataLst>
                    <p:tags r:id="rId140"/>
                  </p:custDataLst>
                </p:nvPr>
              </p:nvSpPr>
              <p:spPr bwMode="auto">
                <a:xfrm>
                  <a:off x="4406593" y="2332474"/>
                  <a:ext cx="499183" cy="372956"/>
                </a:xfrm>
                <a:custGeom>
                  <a:avLst/>
                  <a:gdLst/>
                  <a:ahLst/>
                  <a:cxnLst>
                    <a:cxn ang="0">
                      <a:pos x="52" y="11"/>
                    </a:cxn>
                    <a:cxn ang="0">
                      <a:pos x="52" y="16"/>
                    </a:cxn>
                    <a:cxn ang="0">
                      <a:pos x="48" y="11"/>
                    </a:cxn>
                    <a:cxn ang="0">
                      <a:pos x="44" y="16"/>
                    </a:cxn>
                    <a:cxn ang="0">
                      <a:pos x="42" y="16"/>
                    </a:cxn>
                    <a:cxn ang="0">
                      <a:pos x="40" y="20"/>
                    </a:cxn>
                    <a:cxn ang="0">
                      <a:pos x="34" y="25"/>
                    </a:cxn>
                    <a:cxn ang="0">
                      <a:pos x="32" y="34"/>
                    </a:cxn>
                    <a:cxn ang="0">
                      <a:pos x="34" y="36"/>
                    </a:cxn>
                    <a:cxn ang="0">
                      <a:pos x="25" y="36"/>
                    </a:cxn>
                    <a:cxn ang="0">
                      <a:pos x="25" y="43"/>
                    </a:cxn>
                    <a:cxn ang="0">
                      <a:pos x="27" y="52"/>
                    </a:cxn>
                    <a:cxn ang="0">
                      <a:pos x="25" y="52"/>
                    </a:cxn>
                    <a:cxn ang="0">
                      <a:pos x="27" y="58"/>
                    </a:cxn>
                    <a:cxn ang="0">
                      <a:pos x="25" y="58"/>
                    </a:cxn>
                    <a:cxn ang="0">
                      <a:pos x="23" y="61"/>
                    </a:cxn>
                    <a:cxn ang="0">
                      <a:pos x="19" y="61"/>
                    </a:cxn>
                    <a:cxn ang="0">
                      <a:pos x="9" y="67"/>
                    </a:cxn>
                    <a:cxn ang="0">
                      <a:pos x="2" y="67"/>
                    </a:cxn>
                    <a:cxn ang="0">
                      <a:pos x="2" y="61"/>
                    </a:cxn>
                    <a:cxn ang="0">
                      <a:pos x="0" y="61"/>
                    </a:cxn>
                    <a:cxn ang="0">
                      <a:pos x="2" y="58"/>
                    </a:cxn>
                    <a:cxn ang="0">
                      <a:pos x="0" y="54"/>
                    </a:cxn>
                    <a:cxn ang="0">
                      <a:pos x="0" y="52"/>
                    </a:cxn>
                    <a:cxn ang="0">
                      <a:pos x="0" y="47"/>
                    </a:cxn>
                    <a:cxn ang="0">
                      <a:pos x="9" y="43"/>
                    </a:cxn>
                    <a:cxn ang="0">
                      <a:pos x="11" y="43"/>
                    </a:cxn>
                    <a:cxn ang="0">
                      <a:pos x="13" y="36"/>
                    </a:cxn>
                    <a:cxn ang="0">
                      <a:pos x="17" y="38"/>
                    </a:cxn>
                    <a:cxn ang="0">
                      <a:pos x="25" y="29"/>
                    </a:cxn>
                    <a:cxn ang="0">
                      <a:pos x="32" y="20"/>
                    </a:cxn>
                    <a:cxn ang="0">
                      <a:pos x="40" y="16"/>
                    </a:cxn>
                    <a:cxn ang="0">
                      <a:pos x="36" y="16"/>
                    </a:cxn>
                    <a:cxn ang="0">
                      <a:pos x="34" y="11"/>
                    </a:cxn>
                    <a:cxn ang="0">
                      <a:pos x="40" y="9"/>
                    </a:cxn>
                    <a:cxn ang="0">
                      <a:pos x="40" y="11"/>
                    </a:cxn>
                    <a:cxn ang="0">
                      <a:pos x="42" y="11"/>
                    </a:cxn>
                    <a:cxn ang="0">
                      <a:pos x="44" y="11"/>
                    </a:cxn>
                    <a:cxn ang="0">
                      <a:pos x="42" y="11"/>
                    </a:cxn>
                    <a:cxn ang="0">
                      <a:pos x="42" y="9"/>
                    </a:cxn>
                    <a:cxn ang="0">
                      <a:pos x="48" y="4"/>
                    </a:cxn>
                    <a:cxn ang="0">
                      <a:pos x="57" y="4"/>
                    </a:cxn>
                    <a:cxn ang="0">
                      <a:pos x="63" y="2"/>
                    </a:cxn>
                    <a:cxn ang="0">
                      <a:pos x="67" y="2"/>
                    </a:cxn>
                    <a:cxn ang="0">
                      <a:pos x="71" y="0"/>
                    </a:cxn>
                    <a:cxn ang="0">
                      <a:pos x="71" y="2"/>
                    </a:cxn>
                    <a:cxn ang="0">
                      <a:pos x="73" y="2"/>
                    </a:cxn>
                    <a:cxn ang="0">
                      <a:pos x="75" y="2"/>
                    </a:cxn>
                    <a:cxn ang="0">
                      <a:pos x="80" y="0"/>
                    </a:cxn>
                    <a:cxn ang="0">
                      <a:pos x="82" y="2"/>
                    </a:cxn>
                    <a:cxn ang="0">
                      <a:pos x="90" y="2"/>
                    </a:cxn>
                    <a:cxn ang="0">
                      <a:pos x="82" y="4"/>
                    </a:cxn>
                    <a:cxn ang="0">
                      <a:pos x="90" y="9"/>
                    </a:cxn>
                    <a:cxn ang="0">
                      <a:pos x="84" y="11"/>
                    </a:cxn>
                    <a:cxn ang="0">
                      <a:pos x="84" y="9"/>
                    </a:cxn>
                    <a:cxn ang="0">
                      <a:pos x="80" y="4"/>
                    </a:cxn>
                    <a:cxn ang="0">
                      <a:pos x="73" y="4"/>
                    </a:cxn>
                    <a:cxn ang="0">
                      <a:pos x="73" y="11"/>
                    </a:cxn>
                    <a:cxn ang="0">
                      <a:pos x="71" y="11"/>
                    </a:cxn>
                    <a:cxn ang="0">
                      <a:pos x="63" y="11"/>
                    </a:cxn>
                    <a:cxn ang="0">
                      <a:pos x="57" y="9"/>
                    </a:cxn>
                    <a:cxn ang="0">
                      <a:pos x="54" y="11"/>
                    </a:cxn>
                    <a:cxn ang="0">
                      <a:pos x="52" y="11"/>
                    </a:cxn>
                  </a:cxnLst>
                  <a:rect l="0" t="0" r="r" b="b"/>
                  <a:pathLst>
                    <a:path w="90" h="67">
                      <a:moveTo>
                        <a:pt x="52" y="11"/>
                      </a:moveTo>
                      <a:lnTo>
                        <a:pt x="52" y="16"/>
                      </a:lnTo>
                      <a:lnTo>
                        <a:pt x="48" y="11"/>
                      </a:lnTo>
                      <a:lnTo>
                        <a:pt x="44" y="16"/>
                      </a:lnTo>
                      <a:lnTo>
                        <a:pt x="42" y="16"/>
                      </a:lnTo>
                      <a:lnTo>
                        <a:pt x="40" y="20"/>
                      </a:lnTo>
                      <a:lnTo>
                        <a:pt x="34" y="25"/>
                      </a:lnTo>
                      <a:lnTo>
                        <a:pt x="32" y="34"/>
                      </a:lnTo>
                      <a:lnTo>
                        <a:pt x="34" y="36"/>
                      </a:lnTo>
                      <a:lnTo>
                        <a:pt x="25" y="36"/>
                      </a:lnTo>
                      <a:lnTo>
                        <a:pt x="25" y="43"/>
                      </a:lnTo>
                      <a:lnTo>
                        <a:pt x="27" y="52"/>
                      </a:lnTo>
                      <a:lnTo>
                        <a:pt x="25" y="52"/>
                      </a:lnTo>
                      <a:lnTo>
                        <a:pt x="27" y="58"/>
                      </a:lnTo>
                      <a:lnTo>
                        <a:pt x="25" y="58"/>
                      </a:lnTo>
                      <a:lnTo>
                        <a:pt x="23" y="61"/>
                      </a:lnTo>
                      <a:lnTo>
                        <a:pt x="19" y="61"/>
                      </a:lnTo>
                      <a:lnTo>
                        <a:pt x="9" y="67"/>
                      </a:lnTo>
                      <a:lnTo>
                        <a:pt x="2" y="67"/>
                      </a:lnTo>
                      <a:lnTo>
                        <a:pt x="2" y="61"/>
                      </a:lnTo>
                      <a:lnTo>
                        <a:pt x="0" y="61"/>
                      </a:lnTo>
                      <a:lnTo>
                        <a:pt x="2" y="58"/>
                      </a:lnTo>
                      <a:lnTo>
                        <a:pt x="0" y="54"/>
                      </a:lnTo>
                      <a:lnTo>
                        <a:pt x="0" y="52"/>
                      </a:lnTo>
                      <a:lnTo>
                        <a:pt x="0" y="47"/>
                      </a:lnTo>
                      <a:lnTo>
                        <a:pt x="9" y="43"/>
                      </a:lnTo>
                      <a:lnTo>
                        <a:pt x="11" y="43"/>
                      </a:lnTo>
                      <a:lnTo>
                        <a:pt x="13" y="36"/>
                      </a:lnTo>
                      <a:lnTo>
                        <a:pt x="17" y="38"/>
                      </a:lnTo>
                      <a:lnTo>
                        <a:pt x="25" y="29"/>
                      </a:lnTo>
                      <a:lnTo>
                        <a:pt x="32" y="20"/>
                      </a:lnTo>
                      <a:lnTo>
                        <a:pt x="40" y="16"/>
                      </a:lnTo>
                      <a:lnTo>
                        <a:pt x="36" y="16"/>
                      </a:lnTo>
                      <a:lnTo>
                        <a:pt x="34" y="11"/>
                      </a:lnTo>
                      <a:lnTo>
                        <a:pt x="40" y="9"/>
                      </a:lnTo>
                      <a:lnTo>
                        <a:pt x="40" y="11"/>
                      </a:lnTo>
                      <a:lnTo>
                        <a:pt x="42" y="11"/>
                      </a:lnTo>
                      <a:lnTo>
                        <a:pt x="44" y="11"/>
                      </a:lnTo>
                      <a:lnTo>
                        <a:pt x="42" y="11"/>
                      </a:lnTo>
                      <a:lnTo>
                        <a:pt x="42" y="9"/>
                      </a:lnTo>
                      <a:lnTo>
                        <a:pt x="48" y="4"/>
                      </a:lnTo>
                      <a:lnTo>
                        <a:pt x="57" y="4"/>
                      </a:lnTo>
                      <a:lnTo>
                        <a:pt x="63" y="2"/>
                      </a:lnTo>
                      <a:lnTo>
                        <a:pt x="67" y="2"/>
                      </a:lnTo>
                      <a:lnTo>
                        <a:pt x="71" y="0"/>
                      </a:lnTo>
                      <a:lnTo>
                        <a:pt x="71" y="2"/>
                      </a:lnTo>
                      <a:lnTo>
                        <a:pt x="73" y="2"/>
                      </a:lnTo>
                      <a:lnTo>
                        <a:pt x="75" y="2"/>
                      </a:lnTo>
                      <a:lnTo>
                        <a:pt x="80" y="0"/>
                      </a:lnTo>
                      <a:lnTo>
                        <a:pt x="82" y="2"/>
                      </a:lnTo>
                      <a:lnTo>
                        <a:pt x="90" y="2"/>
                      </a:lnTo>
                      <a:lnTo>
                        <a:pt x="82" y="4"/>
                      </a:lnTo>
                      <a:lnTo>
                        <a:pt x="90" y="9"/>
                      </a:lnTo>
                      <a:lnTo>
                        <a:pt x="84" y="11"/>
                      </a:lnTo>
                      <a:lnTo>
                        <a:pt x="84" y="9"/>
                      </a:lnTo>
                      <a:lnTo>
                        <a:pt x="80" y="4"/>
                      </a:lnTo>
                      <a:lnTo>
                        <a:pt x="73" y="4"/>
                      </a:lnTo>
                      <a:lnTo>
                        <a:pt x="73" y="11"/>
                      </a:lnTo>
                      <a:lnTo>
                        <a:pt x="71" y="11"/>
                      </a:lnTo>
                      <a:lnTo>
                        <a:pt x="63" y="11"/>
                      </a:lnTo>
                      <a:lnTo>
                        <a:pt x="57" y="9"/>
                      </a:lnTo>
                      <a:lnTo>
                        <a:pt x="54" y="11"/>
                      </a:lnTo>
                      <a:lnTo>
                        <a:pt x="52" y="11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532" name="North Korea"/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7267817" y="3202670"/>
                <a:ext cx="116667" cy="151096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2"/>
                  </a:cxn>
                  <a:cxn ang="0">
                    <a:pos x="12" y="4"/>
                  </a:cxn>
                  <a:cxn ang="0">
                    <a:pos x="12" y="9"/>
                  </a:cxn>
                  <a:cxn ang="0">
                    <a:pos x="8" y="4"/>
                  </a:cxn>
                  <a:cxn ang="0">
                    <a:pos x="0" y="18"/>
                  </a:cxn>
                  <a:cxn ang="0">
                    <a:pos x="8" y="18"/>
                  </a:cxn>
                  <a:cxn ang="0">
                    <a:pos x="8" y="27"/>
                  </a:cxn>
                  <a:cxn ang="0">
                    <a:pos x="16" y="27"/>
                  </a:cxn>
                  <a:cxn ang="0">
                    <a:pos x="18" y="27"/>
                  </a:cxn>
                  <a:cxn ang="0">
                    <a:pos x="21" y="22"/>
                  </a:cxn>
                  <a:cxn ang="0">
                    <a:pos x="16" y="20"/>
                  </a:cxn>
                  <a:cxn ang="0">
                    <a:pos x="12" y="13"/>
                  </a:cxn>
                  <a:cxn ang="0">
                    <a:pos x="21" y="11"/>
                  </a:cxn>
                  <a:cxn ang="0">
                    <a:pos x="18" y="4"/>
                  </a:cxn>
                  <a:cxn ang="0">
                    <a:pos x="21" y="0"/>
                  </a:cxn>
                  <a:cxn ang="0">
                    <a:pos x="18" y="0"/>
                  </a:cxn>
                  <a:cxn ang="0">
                    <a:pos x="16" y="0"/>
                  </a:cxn>
                </a:cxnLst>
                <a:rect l="0" t="0" r="r" b="b"/>
                <a:pathLst>
                  <a:path w="21" h="27">
                    <a:moveTo>
                      <a:pt x="16" y="0"/>
                    </a:moveTo>
                    <a:lnTo>
                      <a:pt x="16" y="2"/>
                    </a:lnTo>
                    <a:lnTo>
                      <a:pt x="12" y="4"/>
                    </a:lnTo>
                    <a:lnTo>
                      <a:pt x="12" y="9"/>
                    </a:lnTo>
                    <a:lnTo>
                      <a:pt x="8" y="4"/>
                    </a:lnTo>
                    <a:lnTo>
                      <a:pt x="0" y="18"/>
                    </a:lnTo>
                    <a:lnTo>
                      <a:pt x="8" y="18"/>
                    </a:lnTo>
                    <a:lnTo>
                      <a:pt x="8" y="27"/>
                    </a:lnTo>
                    <a:lnTo>
                      <a:pt x="16" y="27"/>
                    </a:lnTo>
                    <a:lnTo>
                      <a:pt x="18" y="27"/>
                    </a:lnTo>
                    <a:lnTo>
                      <a:pt x="21" y="22"/>
                    </a:lnTo>
                    <a:lnTo>
                      <a:pt x="16" y="20"/>
                    </a:lnTo>
                    <a:lnTo>
                      <a:pt x="12" y="13"/>
                    </a:lnTo>
                    <a:lnTo>
                      <a:pt x="21" y="11"/>
                    </a:lnTo>
                    <a:lnTo>
                      <a:pt x="18" y="4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609" name="Nigeria"/>
              <p:cNvSpPr>
                <a:spLocks/>
              </p:cNvSpPr>
              <p:nvPr/>
            </p:nvSpPr>
            <p:spPr bwMode="auto">
              <a:xfrm>
                <a:off x="4292616" y="4118999"/>
                <a:ext cx="328430" cy="317948"/>
              </a:xfrm>
              <a:custGeom>
                <a:avLst/>
                <a:gdLst>
                  <a:gd name="T0" fmla="*/ 923891 w 904"/>
                  <a:gd name="T1" fmla="*/ 107201099 h 737"/>
                  <a:gd name="T2" fmla="*/ 131881 w 904"/>
                  <a:gd name="T3" fmla="*/ 107015162 h 737"/>
                  <a:gd name="T4" fmla="*/ 1055772 w 904"/>
                  <a:gd name="T5" fmla="*/ 90637179 h 737"/>
                  <a:gd name="T6" fmla="*/ 923891 w 904"/>
                  <a:gd name="T7" fmla="*/ 76120290 h 737"/>
                  <a:gd name="T8" fmla="*/ 4883580 w 904"/>
                  <a:gd name="T9" fmla="*/ 66070203 h 737"/>
                  <a:gd name="T10" fmla="*/ 6863607 w 904"/>
                  <a:gd name="T11" fmla="*/ 58439454 h 737"/>
                  <a:gd name="T12" fmla="*/ 9503398 w 904"/>
                  <a:gd name="T13" fmla="*/ 51367365 h 737"/>
                  <a:gd name="T14" fmla="*/ 11219299 w 904"/>
                  <a:gd name="T15" fmla="*/ 43736615 h 737"/>
                  <a:gd name="T16" fmla="*/ 10031284 w 904"/>
                  <a:gd name="T17" fmla="*/ 31453128 h 737"/>
                  <a:gd name="T18" fmla="*/ 10427289 w 904"/>
                  <a:gd name="T19" fmla="*/ 29592032 h 737"/>
                  <a:gd name="T20" fmla="*/ 13727213 w 904"/>
                  <a:gd name="T21" fmla="*/ 16750296 h 737"/>
                  <a:gd name="T22" fmla="*/ 18214787 w 904"/>
                  <a:gd name="T23" fmla="*/ 4839108 h 737"/>
                  <a:gd name="T24" fmla="*/ 28114556 w 904"/>
                  <a:gd name="T25" fmla="*/ 1302853 h 737"/>
                  <a:gd name="T26" fmla="*/ 38013957 w 904"/>
                  <a:gd name="T27" fmla="*/ 4839108 h 737"/>
                  <a:gd name="T28" fmla="*/ 44613436 w 904"/>
                  <a:gd name="T29" fmla="*/ 13399976 h 737"/>
                  <a:gd name="T30" fmla="*/ 52796947 w 904"/>
                  <a:gd name="T31" fmla="*/ 8933606 h 737"/>
                  <a:gd name="T32" fmla="*/ 63752483 w 904"/>
                  <a:gd name="T33" fmla="*/ 15819748 h 737"/>
                  <a:gd name="T34" fmla="*/ 75367785 w 904"/>
                  <a:gd name="T35" fmla="*/ 9677785 h 737"/>
                  <a:gd name="T36" fmla="*/ 87114967 w 904"/>
                  <a:gd name="T37" fmla="*/ 8747237 h 737"/>
                  <a:gd name="T38" fmla="*/ 97278515 w 904"/>
                  <a:gd name="T39" fmla="*/ 12283491 h 737"/>
                  <a:gd name="T40" fmla="*/ 104273999 w 904"/>
                  <a:gd name="T41" fmla="*/ 6327898 h 737"/>
                  <a:gd name="T42" fmla="*/ 112721623 w 904"/>
                  <a:gd name="T43" fmla="*/ 12841733 h 737"/>
                  <a:gd name="T44" fmla="*/ 117473321 w 904"/>
                  <a:gd name="T45" fmla="*/ 24752919 h 737"/>
                  <a:gd name="T46" fmla="*/ 117605202 w 904"/>
                  <a:gd name="T47" fmla="*/ 35175318 h 737"/>
                  <a:gd name="T48" fmla="*/ 108629692 w 904"/>
                  <a:gd name="T49" fmla="*/ 44667163 h 737"/>
                  <a:gd name="T50" fmla="*/ 104405880 w 904"/>
                  <a:gd name="T51" fmla="*/ 56764727 h 737"/>
                  <a:gd name="T52" fmla="*/ 101238202 w 904"/>
                  <a:gd name="T53" fmla="*/ 65884266 h 737"/>
                  <a:gd name="T54" fmla="*/ 96090499 w 904"/>
                  <a:gd name="T55" fmla="*/ 77050838 h 737"/>
                  <a:gd name="T56" fmla="*/ 93846690 w 904"/>
                  <a:gd name="T57" fmla="*/ 85053893 h 737"/>
                  <a:gd name="T58" fmla="*/ 90678649 w 904"/>
                  <a:gd name="T59" fmla="*/ 95848159 h 737"/>
                  <a:gd name="T60" fmla="*/ 85795071 w 904"/>
                  <a:gd name="T61" fmla="*/ 105526372 h 737"/>
                  <a:gd name="T62" fmla="*/ 80647368 w 904"/>
                  <a:gd name="T63" fmla="*/ 99012108 h 737"/>
                  <a:gd name="T64" fmla="*/ 78007576 w 904"/>
                  <a:gd name="T65" fmla="*/ 96592770 h 737"/>
                  <a:gd name="T66" fmla="*/ 78007576 w 904"/>
                  <a:gd name="T67" fmla="*/ 96592770 h 737"/>
                  <a:gd name="T68" fmla="*/ 70351962 w 904"/>
                  <a:gd name="T69" fmla="*/ 101059571 h 737"/>
                  <a:gd name="T70" fmla="*/ 64148125 w 904"/>
                  <a:gd name="T71" fmla="*/ 110179111 h 737"/>
                  <a:gd name="T72" fmla="*/ 61244572 w 904"/>
                  <a:gd name="T73" fmla="*/ 117437582 h 737"/>
                  <a:gd name="T74" fmla="*/ 56624755 w 904"/>
                  <a:gd name="T75" fmla="*/ 130837554 h 737"/>
                  <a:gd name="T76" fmla="*/ 54380968 w 904"/>
                  <a:gd name="T77" fmla="*/ 128790522 h 737"/>
                  <a:gd name="T78" fmla="*/ 47517353 w 904"/>
                  <a:gd name="T79" fmla="*/ 133443260 h 737"/>
                  <a:gd name="T80" fmla="*/ 41841401 w 904"/>
                  <a:gd name="T81" fmla="*/ 133070955 h 737"/>
                  <a:gd name="T82" fmla="*/ 38937848 w 904"/>
                  <a:gd name="T83" fmla="*/ 134932050 h 737"/>
                  <a:gd name="T84" fmla="*/ 34449911 w 904"/>
                  <a:gd name="T85" fmla="*/ 137165450 h 737"/>
                  <a:gd name="T86" fmla="*/ 31414114 w 904"/>
                  <a:gd name="T87" fmla="*/ 134746113 h 737"/>
                  <a:gd name="T88" fmla="*/ 26926541 w 904"/>
                  <a:gd name="T89" fmla="*/ 128790522 h 737"/>
                  <a:gd name="T90" fmla="*/ 26794297 w 904"/>
                  <a:gd name="T91" fmla="*/ 120415162 h 737"/>
                  <a:gd name="T92" fmla="*/ 24550511 w 904"/>
                  <a:gd name="T93" fmla="*/ 117809887 h 737"/>
                  <a:gd name="T94" fmla="*/ 22570843 w 904"/>
                  <a:gd name="T95" fmla="*/ 114273633 h 737"/>
                  <a:gd name="T96" fmla="*/ 19535046 w 904"/>
                  <a:gd name="T97" fmla="*/ 109434500 h 737"/>
                  <a:gd name="T98" fmla="*/ 12011312 w 904"/>
                  <a:gd name="T99" fmla="*/ 106456920 h 73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904"/>
                  <a:gd name="T151" fmla="*/ 0 h 737"/>
                  <a:gd name="T152" fmla="*/ 904 w 904"/>
                  <a:gd name="T153" fmla="*/ 737 h 737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904" h="737">
                    <a:moveTo>
                      <a:pt x="35" y="574"/>
                    </a:moveTo>
                    <a:cubicBezTo>
                      <a:pt x="26" y="575"/>
                      <a:pt x="16" y="575"/>
                      <a:pt x="7" y="576"/>
                    </a:cubicBezTo>
                    <a:cubicBezTo>
                      <a:pt x="5" y="576"/>
                      <a:pt x="3" y="576"/>
                      <a:pt x="1" y="576"/>
                    </a:cubicBezTo>
                    <a:cubicBezTo>
                      <a:pt x="1" y="575"/>
                      <a:pt x="1" y="575"/>
                      <a:pt x="1" y="575"/>
                    </a:cubicBezTo>
                    <a:cubicBezTo>
                      <a:pt x="3" y="559"/>
                      <a:pt x="8" y="542"/>
                      <a:pt x="3" y="526"/>
                    </a:cubicBezTo>
                    <a:cubicBezTo>
                      <a:pt x="10" y="515"/>
                      <a:pt x="1" y="499"/>
                      <a:pt x="8" y="487"/>
                    </a:cubicBezTo>
                    <a:cubicBezTo>
                      <a:pt x="0" y="477"/>
                      <a:pt x="7" y="465"/>
                      <a:pt x="1" y="453"/>
                    </a:cubicBezTo>
                    <a:cubicBezTo>
                      <a:pt x="7" y="439"/>
                      <a:pt x="1" y="424"/>
                      <a:pt x="7" y="409"/>
                    </a:cubicBezTo>
                    <a:cubicBezTo>
                      <a:pt x="6" y="397"/>
                      <a:pt x="7" y="386"/>
                      <a:pt x="9" y="374"/>
                    </a:cubicBezTo>
                    <a:cubicBezTo>
                      <a:pt x="12" y="360"/>
                      <a:pt x="37" y="374"/>
                      <a:pt x="37" y="355"/>
                    </a:cubicBezTo>
                    <a:cubicBezTo>
                      <a:pt x="40" y="345"/>
                      <a:pt x="35" y="335"/>
                      <a:pt x="45" y="329"/>
                    </a:cubicBezTo>
                    <a:cubicBezTo>
                      <a:pt x="46" y="322"/>
                      <a:pt x="58" y="322"/>
                      <a:pt x="52" y="314"/>
                    </a:cubicBezTo>
                    <a:cubicBezTo>
                      <a:pt x="57" y="305"/>
                      <a:pt x="75" y="311"/>
                      <a:pt x="74" y="295"/>
                    </a:cubicBezTo>
                    <a:cubicBezTo>
                      <a:pt x="80" y="289"/>
                      <a:pt x="78" y="282"/>
                      <a:pt x="72" y="276"/>
                    </a:cubicBezTo>
                    <a:cubicBezTo>
                      <a:pt x="73" y="268"/>
                      <a:pt x="80" y="261"/>
                      <a:pt x="87" y="265"/>
                    </a:cubicBezTo>
                    <a:cubicBezTo>
                      <a:pt x="94" y="255"/>
                      <a:pt x="93" y="244"/>
                      <a:pt x="85" y="235"/>
                    </a:cubicBezTo>
                    <a:cubicBezTo>
                      <a:pt x="89" y="221"/>
                      <a:pt x="81" y="208"/>
                      <a:pt x="72" y="197"/>
                    </a:cubicBezTo>
                    <a:cubicBezTo>
                      <a:pt x="62" y="189"/>
                      <a:pt x="70" y="177"/>
                      <a:pt x="76" y="169"/>
                    </a:cubicBezTo>
                    <a:cubicBezTo>
                      <a:pt x="77" y="167"/>
                      <a:pt x="77" y="167"/>
                      <a:pt x="77" y="167"/>
                    </a:cubicBezTo>
                    <a:cubicBezTo>
                      <a:pt x="81" y="167"/>
                      <a:pt x="84" y="164"/>
                      <a:pt x="79" y="159"/>
                    </a:cubicBezTo>
                    <a:cubicBezTo>
                      <a:pt x="80" y="146"/>
                      <a:pt x="81" y="132"/>
                      <a:pt x="82" y="117"/>
                    </a:cubicBezTo>
                    <a:cubicBezTo>
                      <a:pt x="78" y="102"/>
                      <a:pt x="95" y="98"/>
                      <a:pt x="104" y="90"/>
                    </a:cubicBezTo>
                    <a:cubicBezTo>
                      <a:pt x="113" y="79"/>
                      <a:pt x="120" y="66"/>
                      <a:pt x="120" y="52"/>
                    </a:cubicBezTo>
                    <a:cubicBezTo>
                      <a:pt x="114" y="36"/>
                      <a:pt x="130" y="34"/>
                      <a:pt x="138" y="26"/>
                    </a:cubicBezTo>
                    <a:cubicBezTo>
                      <a:pt x="145" y="16"/>
                      <a:pt x="158" y="18"/>
                      <a:pt x="168" y="14"/>
                    </a:cubicBezTo>
                    <a:cubicBezTo>
                      <a:pt x="182" y="13"/>
                      <a:pt x="202" y="22"/>
                      <a:pt x="213" y="7"/>
                    </a:cubicBezTo>
                    <a:cubicBezTo>
                      <a:pt x="226" y="0"/>
                      <a:pt x="238" y="13"/>
                      <a:pt x="251" y="17"/>
                    </a:cubicBezTo>
                    <a:cubicBezTo>
                      <a:pt x="263" y="25"/>
                      <a:pt x="277" y="17"/>
                      <a:pt x="288" y="26"/>
                    </a:cubicBezTo>
                    <a:cubicBezTo>
                      <a:pt x="297" y="35"/>
                      <a:pt x="307" y="44"/>
                      <a:pt x="312" y="56"/>
                    </a:cubicBezTo>
                    <a:cubicBezTo>
                      <a:pt x="316" y="66"/>
                      <a:pt x="326" y="77"/>
                      <a:pt x="338" y="72"/>
                    </a:cubicBezTo>
                    <a:cubicBezTo>
                      <a:pt x="343" y="63"/>
                      <a:pt x="352" y="64"/>
                      <a:pt x="360" y="64"/>
                    </a:cubicBezTo>
                    <a:cubicBezTo>
                      <a:pt x="374" y="59"/>
                      <a:pt x="385" y="44"/>
                      <a:pt x="400" y="48"/>
                    </a:cubicBezTo>
                    <a:cubicBezTo>
                      <a:pt x="419" y="47"/>
                      <a:pt x="427" y="67"/>
                      <a:pt x="444" y="68"/>
                    </a:cubicBezTo>
                    <a:cubicBezTo>
                      <a:pt x="454" y="79"/>
                      <a:pt x="468" y="85"/>
                      <a:pt x="483" y="85"/>
                    </a:cubicBezTo>
                    <a:cubicBezTo>
                      <a:pt x="498" y="85"/>
                      <a:pt x="514" y="92"/>
                      <a:pt x="528" y="86"/>
                    </a:cubicBezTo>
                    <a:cubicBezTo>
                      <a:pt x="539" y="72"/>
                      <a:pt x="552" y="57"/>
                      <a:pt x="571" y="52"/>
                    </a:cubicBezTo>
                    <a:cubicBezTo>
                      <a:pt x="586" y="53"/>
                      <a:pt x="601" y="43"/>
                      <a:pt x="616" y="46"/>
                    </a:cubicBezTo>
                    <a:cubicBezTo>
                      <a:pt x="631" y="50"/>
                      <a:pt x="645" y="44"/>
                      <a:pt x="660" y="47"/>
                    </a:cubicBezTo>
                    <a:cubicBezTo>
                      <a:pt x="675" y="51"/>
                      <a:pt x="691" y="54"/>
                      <a:pt x="704" y="64"/>
                    </a:cubicBezTo>
                    <a:cubicBezTo>
                      <a:pt x="714" y="64"/>
                      <a:pt x="729" y="74"/>
                      <a:pt x="737" y="66"/>
                    </a:cubicBezTo>
                    <a:cubicBezTo>
                      <a:pt x="741" y="53"/>
                      <a:pt x="753" y="54"/>
                      <a:pt x="760" y="44"/>
                    </a:cubicBezTo>
                    <a:cubicBezTo>
                      <a:pt x="767" y="33"/>
                      <a:pt x="781" y="35"/>
                      <a:pt x="790" y="34"/>
                    </a:cubicBezTo>
                    <a:cubicBezTo>
                      <a:pt x="795" y="20"/>
                      <a:pt x="809" y="20"/>
                      <a:pt x="821" y="21"/>
                    </a:cubicBezTo>
                    <a:cubicBezTo>
                      <a:pt x="832" y="37"/>
                      <a:pt x="843" y="53"/>
                      <a:pt x="854" y="69"/>
                    </a:cubicBezTo>
                    <a:cubicBezTo>
                      <a:pt x="856" y="86"/>
                      <a:pt x="864" y="103"/>
                      <a:pt x="862" y="120"/>
                    </a:cubicBezTo>
                    <a:cubicBezTo>
                      <a:pt x="868" y="129"/>
                      <a:pt x="887" y="117"/>
                      <a:pt x="890" y="133"/>
                    </a:cubicBezTo>
                    <a:cubicBezTo>
                      <a:pt x="903" y="138"/>
                      <a:pt x="893" y="153"/>
                      <a:pt x="894" y="163"/>
                    </a:cubicBezTo>
                    <a:cubicBezTo>
                      <a:pt x="885" y="172"/>
                      <a:pt x="904" y="182"/>
                      <a:pt x="891" y="189"/>
                    </a:cubicBezTo>
                    <a:cubicBezTo>
                      <a:pt x="876" y="194"/>
                      <a:pt x="865" y="213"/>
                      <a:pt x="848" y="205"/>
                    </a:cubicBezTo>
                    <a:cubicBezTo>
                      <a:pt x="835" y="213"/>
                      <a:pt x="832" y="228"/>
                      <a:pt x="823" y="240"/>
                    </a:cubicBezTo>
                    <a:cubicBezTo>
                      <a:pt x="811" y="252"/>
                      <a:pt x="811" y="270"/>
                      <a:pt x="807" y="286"/>
                    </a:cubicBezTo>
                    <a:cubicBezTo>
                      <a:pt x="805" y="296"/>
                      <a:pt x="787" y="290"/>
                      <a:pt x="791" y="305"/>
                    </a:cubicBezTo>
                    <a:cubicBezTo>
                      <a:pt x="793" y="317"/>
                      <a:pt x="795" y="340"/>
                      <a:pt x="776" y="338"/>
                    </a:cubicBezTo>
                    <a:cubicBezTo>
                      <a:pt x="771" y="343"/>
                      <a:pt x="758" y="348"/>
                      <a:pt x="767" y="354"/>
                    </a:cubicBezTo>
                    <a:cubicBezTo>
                      <a:pt x="757" y="367"/>
                      <a:pt x="766" y="389"/>
                      <a:pt x="750" y="398"/>
                    </a:cubicBezTo>
                    <a:cubicBezTo>
                      <a:pt x="748" y="411"/>
                      <a:pt x="723" y="397"/>
                      <a:pt x="728" y="414"/>
                    </a:cubicBezTo>
                    <a:cubicBezTo>
                      <a:pt x="723" y="420"/>
                      <a:pt x="711" y="420"/>
                      <a:pt x="716" y="431"/>
                    </a:cubicBezTo>
                    <a:cubicBezTo>
                      <a:pt x="714" y="440"/>
                      <a:pt x="713" y="449"/>
                      <a:pt x="711" y="457"/>
                    </a:cubicBezTo>
                    <a:cubicBezTo>
                      <a:pt x="696" y="468"/>
                      <a:pt x="703" y="488"/>
                      <a:pt x="686" y="497"/>
                    </a:cubicBezTo>
                    <a:cubicBezTo>
                      <a:pt x="679" y="504"/>
                      <a:pt x="679" y="509"/>
                      <a:pt x="687" y="515"/>
                    </a:cubicBezTo>
                    <a:cubicBezTo>
                      <a:pt x="687" y="528"/>
                      <a:pt x="657" y="529"/>
                      <a:pt x="666" y="547"/>
                    </a:cubicBezTo>
                    <a:cubicBezTo>
                      <a:pt x="663" y="556"/>
                      <a:pt x="653" y="558"/>
                      <a:pt x="650" y="567"/>
                    </a:cubicBezTo>
                    <a:cubicBezTo>
                      <a:pt x="638" y="574"/>
                      <a:pt x="623" y="567"/>
                      <a:pt x="628" y="552"/>
                    </a:cubicBezTo>
                    <a:cubicBezTo>
                      <a:pt x="628" y="541"/>
                      <a:pt x="610" y="545"/>
                      <a:pt x="611" y="532"/>
                    </a:cubicBezTo>
                    <a:cubicBezTo>
                      <a:pt x="606" y="528"/>
                      <a:pt x="592" y="520"/>
                      <a:pt x="591" y="519"/>
                    </a:cubicBezTo>
                    <a:cubicBezTo>
                      <a:pt x="591" y="519"/>
                      <a:pt x="591" y="519"/>
                      <a:pt x="591" y="519"/>
                    </a:cubicBezTo>
                    <a:cubicBezTo>
                      <a:pt x="591" y="519"/>
                      <a:pt x="591" y="519"/>
                      <a:pt x="591" y="519"/>
                    </a:cubicBezTo>
                    <a:cubicBezTo>
                      <a:pt x="591" y="519"/>
                      <a:pt x="591" y="519"/>
                      <a:pt x="591" y="519"/>
                    </a:cubicBezTo>
                    <a:cubicBezTo>
                      <a:pt x="591" y="535"/>
                      <a:pt x="575" y="540"/>
                      <a:pt x="563" y="534"/>
                    </a:cubicBezTo>
                    <a:cubicBezTo>
                      <a:pt x="557" y="515"/>
                      <a:pt x="546" y="544"/>
                      <a:pt x="533" y="543"/>
                    </a:cubicBezTo>
                    <a:cubicBezTo>
                      <a:pt x="526" y="546"/>
                      <a:pt x="529" y="564"/>
                      <a:pt x="516" y="564"/>
                    </a:cubicBezTo>
                    <a:cubicBezTo>
                      <a:pt x="505" y="573"/>
                      <a:pt x="496" y="582"/>
                      <a:pt x="486" y="592"/>
                    </a:cubicBezTo>
                    <a:cubicBezTo>
                      <a:pt x="477" y="599"/>
                      <a:pt x="471" y="609"/>
                      <a:pt x="462" y="614"/>
                    </a:cubicBezTo>
                    <a:cubicBezTo>
                      <a:pt x="462" y="621"/>
                      <a:pt x="458" y="627"/>
                      <a:pt x="464" y="631"/>
                    </a:cubicBezTo>
                    <a:cubicBezTo>
                      <a:pt x="458" y="645"/>
                      <a:pt x="461" y="662"/>
                      <a:pt x="450" y="674"/>
                    </a:cubicBezTo>
                    <a:cubicBezTo>
                      <a:pt x="444" y="684"/>
                      <a:pt x="434" y="694"/>
                      <a:pt x="429" y="703"/>
                    </a:cubicBezTo>
                    <a:cubicBezTo>
                      <a:pt x="427" y="699"/>
                      <a:pt x="424" y="696"/>
                      <a:pt x="422" y="692"/>
                    </a:cubicBezTo>
                    <a:cubicBezTo>
                      <a:pt x="419" y="689"/>
                      <a:pt x="412" y="685"/>
                      <a:pt x="412" y="692"/>
                    </a:cubicBezTo>
                    <a:cubicBezTo>
                      <a:pt x="408" y="699"/>
                      <a:pt x="408" y="708"/>
                      <a:pt x="407" y="716"/>
                    </a:cubicBezTo>
                    <a:cubicBezTo>
                      <a:pt x="391" y="715"/>
                      <a:pt x="375" y="715"/>
                      <a:pt x="360" y="717"/>
                    </a:cubicBezTo>
                    <a:cubicBezTo>
                      <a:pt x="349" y="713"/>
                      <a:pt x="339" y="707"/>
                      <a:pt x="328" y="704"/>
                    </a:cubicBezTo>
                    <a:cubicBezTo>
                      <a:pt x="325" y="708"/>
                      <a:pt x="323" y="714"/>
                      <a:pt x="317" y="715"/>
                    </a:cubicBezTo>
                    <a:cubicBezTo>
                      <a:pt x="314" y="719"/>
                      <a:pt x="312" y="723"/>
                      <a:pt x="307" y="724"/>
                    </a:cubicBezTo>
                    <a:cubicBezTo>
                      <a:pt x="302" y="723"/>
                      <a:pt x="300" y="731"/>
                      <a:pt x="295" y="725"/>
                    </a:cubicBezTo>
                    <a:cubicBezTo>
                      <a:pt x="291" y="720"/>
                      <a:pt x="287" y="731"/>
                      <a:pt x="285" y="724"/>
                    </a:cubicBezTo>
                    <a:cubicBezTo>
                      <a:pt x="277" y="729"/>
                      <a:pt x="269" y="733"/>
                      <a:pt x="261" y="737"/>
                    </a:cubicBezTo>
                    <a:cubicBezTo>
                      <a:pt x="259" y="735"/>
                      <a:pt x="259" y="728"/>
                      <a:pt x="257" y="724"/>
                    </a:cubicBezTo>
                    <a:cubicBezTo>
                      <a:pt x="251" y="725"/>
                      <a:pt x="244" y="727"/>
                      <a:pt x="238" y="724"/>
                    </a:cubicBezTo>
                    <a:cubicBezTo>
                      <a:pt x="234" y="722"/>
                      <a:pt x="228" y="723"/>
                      <a:pt x="226" y="719"/>
                    </a:cubicBezTo>
                    <a:cubicBezTo>
                      <a:pt x="221" y="709"/>
                      <a:pt x="212" y="700"/>
                      <a:pt x="204" y="692"/>
                    </a:cubicBezTo>
                    <a:cubicBezTo>
                      <a:pt x="201" y="681"/>
                      <a:pt x="197" y="669"/>
                      <a:pt x="197" y="657"/>
                    </a:cubicBezTo>
                    <a:cubicBezTo>
                      <a:pt x="195" y="652"/>
                      <a:pt x="199" y="649"/>
                      <a:pt x="203" y="647"/>
                    </a:cubicBezTo>
                    <a:cubicBezTo>
                      <a:pt x="204" y="646"/>
                      <a:pt x="195" y="646"/>
                      <a:pt x="193" y="644"/>
                    </a:cubicBezTo>
                    <a:cubicBezTo>
                      <a:pt x="187" y="644"/>
                      <a:pt x="188" y="637"/>
                      <a:pt x="186" y="633"/>
                    </a:cubicBezTo>
                    <a:cubicBezTo>
                      <a:pt x="186" y="629"/>
                      <a:pt x="182" y="626"/>
                      <a:pt x="179" y="623"/>
                    </a:cubicBezTo>
                    <a:cubicBezTo>
                      <a:pt x="178" y="618"/>
                      <a:pt x="176" y="614"/>
                      <a:pt x="171" y="614"/>
                    </a:cubicBezTo>
                    <a:cubicBezTo>
                      <a:pt x="169" y="608"/>
                      <a:pt x="165" y="604"/>
                      <a:pt x="162" y="599"/>
                    </a:cubicBezTo>
                    <a:cubicBezTo>
                      <a:pt x="159" y="593"/>
                      <a:pt x="153" y="591"/>
                      <a:pt x="148" y="588"/>
                    </a:cubicBezTo>
                    <a:cubicBezTo>
                      <a:pt x="141" y="585"/>
                      <a:pt x="135" y="579"/>
                      <a:pt x="127" y="577"/>
                    </a:cubicBezTo>
                    <a:cubicBezTo>
                      <a:pt x="116" y="573"/>
                      <a:pt x="103" y="574"/>
                      <a:pt x="91" y="572"/>
                    </a:cubicBezTo>
                    <a:cubicBezTo>
                      <a:pt x="72" y="571"/>
                      <a:pt x="54" y="573"/>
                      <a:pt x="35" y="574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34" name="Niger"/>
              <p:cNvSpPr>
                <a:spLocks/>
              </p:cNvSpPr>
              <p:nvPr/>
            </p:nvSpPr>
            <p:spPr bwMode="auto">
              <a:xfrm>
                <a:off x="4226811" y="3812790"/>
                <a:ext cx="430330" cy="378695"/>
              </a:xfrm>
              <a:custGeom>
                <a:avLst/>
                <a:gdLst>
                  <a:gd name="T0" fmla="*/ 28 w 1180"/>
                  <a:gd name="T1" fmla="*/ 629 h 878"/>
                  <a:gd name="T2" fmla="*/ 38 w 1180"/>
                  <a:gd name="T3" fmla="*/ 627 h 878"/>
                  <a:gd name="T4" fmla="*/ 117 w 1180"/>
                  <a:gd name="T5" fmla="*/ 606 h 878"/>
                  <a:gd name="T6" fmla="*/ 252 w 1180"/>
                  <a:gd name="T7" fmla="*/ 602 h 878"/>
                  <a:gd name="T8" fmla="*/ 290 w 1180"/>
                  <a:gd name="T9" fmla="*/ 564 h 878"/>
                  <a:gd name="T10" fmla="*/ 317 w 1180"/>
                  <a:gd name="T11" fmla="*/ 476 h 878"/>
                  <a:gd name="T12" fmla="*/ 437 w 1180"/>
                  <a:gd name="T13" fmla="*/ 299 h 878"/>
                  <a:gd name="T14" fmla="*/ 888 w 1180"/>
                  <a:gd name="T15" fmla="*/ 0 h 878"/>
                  <a:gd name="T16" fmla="*/ 995 w 1180"/>
                  <a:gd name="T17" fmla="*/ 26 h 878"/>
                  <a:gd name="T18" fmla="*/ 1059 w 1180"/>
                  <a:gd name="T19" fmla="*/ 62 h 878"/>
                  <a:gd name="T20" fmla="*/ 1112 w 1180"/>
                  <a:gd name="T21" fmla="*/ 99 h 878"/>
                  <a:gd name="T22" fmla="*/ 1146 w 1180"/>
                  <a:gd name="T23" fmla="*/ 191 h 878"/>
                  <a:gd name="T24" fmla="*/ 1165 w 1180"/>
                  <a:gd name="T25" fmla="*/ 250 h 878"/>
                  <a:gd name="T26" fmla="*/ 1142 w 1180"/>
                  <a:gd name="T27" fmla="*/ 405 h 878"/>
                  <a:gd name="T28" fmla="*/ 1052 w 1180"/>
                  <a:gd name="T29" fmla="*/ 585 h 878"/>
                  <a:gd name="T30" fmla="*/ 1004 w 1180"/>
                  <a:gd name="T31" fmla="*/ 662 h 878"/>
                  <a:gd name="T32" fmla="*/ 1000 w 1180"/>
                  <a:gd name="T33" fmla="*/ 732 h 878"/>
                  <a:gd name="T34" fmla="*/ 939 w 1180"/>
                  <a:gd name="T35" fmla="*/ 755 h 878"/>
                  <a:gd name="T36" fmla="*/ 883 w 1180"/>
                  <a:gd name="T37" fmla="*/ 775 h 878"/>
                  <a:gd name="T38" fmla="*/ 795 w 1180"/>
                  <a:gd name="T39" fmla="*/ 757 h 878"/>
                  <a:gd name="T40" fmla="*/ 707 w 1180"/>
                  <a:gd name="T41" fmla="*/ 797 h 878"/>
                  <a:gd name="T42" fmla="*/ 623 w 1180"/>
                  <a:gd name="T43" fmla="*/ 779 h 878"/>
                  <a:gd name="T44" fmla="*/ 539 w 1180"/>
                  <a:gd name="T45" fmla="*/ 775 h 878"/>
                  <a:gd name="T46" fmla="*/ 491 w 1180"/>
                  <a:gd name="T47" fmla="*/ 767 h 878"/>
                  <a:gd name="T48" fmla="*/ 430 w 1180"/>
                  <a:gd name="T49" fmla="*/ 728 h 878"/>
                  <a:gd name="T50" fmla="*/ 347 w 1180"/>
                  <a:gd name="T51" fmla="*/ 725 h 878"/>
                  <a:gd name="T52" fmla="*/ 299 w 1180"/>
                  <a:gd name="T53" fmla="*/ 763 h 878"/>
                  <a:gd name="T54" fmla="*/ 261 w 1180"/>
                  <a:gd name="T55" fmla="*/ 828 h 878"/>
                  <a:gd name="T56" fmla="*/ 256 w 1180"/>
                  <a:gd name="T57" fmla="*/ 878 h 878"/>
                  <a:gd name="T58" fmla="*/ 213 w 1180"/>
                  <a:gd name="T59" fmla="*/ 838 h 878"/>
                  <a:gd name="T60" fmla="*/ 168 w 1180"/>
                  <a:gd name="T61" fmla="*/ 851 h 878"/>
                  <a:gd name="T62" fmla="*/ 165 w 1180"/>
                  <a:gd name="T63" fmla="*/ 861 h 878"/>
                  <a:gd name="T64" fmla="*/ 156 w 1180"/>
                  <a:gd name="T65" fmla="*/ 815 h 878"/>
                  <a:gd name="T66" fmla="*/ 89 w 1180"/>
                  <a:gd name="T67" fmla="*/ 790 h 878"/>
                  <a:gd name="T68" fmla="*/ 76 w 1180"/>
                  <a:gd name="T69" fmla="*/ 754 h 878"/>
                  <a:gd name="T70" fmla="*/ 53 w 1180"/>
                  <a:gd name="T71" fmla="*/ 729 h 878"/>
                  <a:gd name="T72" fmla="*/ 24 w 1180"/>
                  <a:gd name="T73" fmla="*/ 692 h 878"/>
                  <a:gd name="T74" fmla="*/ 17 w 1180"/>
                  <a:gd name="T75" fmla="*/ 633 h 8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80" h="878">
                    <a:moveTo>
                      <a:pt x="17" y="633"/>
                    </a:moveTo>
                    <a:cubicBezTo>
                      <a:pt x="18" y="628"/>
                      <a:pt x="20" y="625"/>
                      <a:pt x="28" y="629"/>
                    </a:cubicBezTo>
                    <a:cubicBezTo>
                      <a:pt x="31" y="630"/>
                      <a:pt x="35" y="629"/>
                      <a:pt x="38" y="627"/>
                    </a:cubicBezTo>
                    <a:cubicBezTo>
                      <a:pt x="38" y="627"/>
                      <a:pt x="38" y="627"/>
                      <a:pt x="38" y="627"/>
                    </a:cubicBezTo>
                    <a:cubicBezTo>
                      <a:pt x="54" y="634"/>
                      <a:pt x="75" y="631"/>
                      <a:pt x="85" y="617"/>
                    </a:cubicBezTo>
                    <a:cubicBezTo>
                      <a:pt x="93" y="606"/>
                      <a:pt x="105" y="605"/>
                      <a:pt x="117" y="606"/>
                    </a:cubicBezTo>
                    <a:cubicBezTo>
                      <a:pt x="151" y="604"/>
                      <a:pt x="186" y="602"/>
                      <a:pt x="221" y="604"/>
                    </a:cubicBezTo>
                    <a:cubicBezTo>
                      <a:pt x="226" y="591"/>
                      <a:pt x="241" y="603"/>
                      <a:pt x="252" y="602"/>
                    </a:cubicBezTo>
                    <a:cubicBezTo>
                      <a:pt x="263" y="608"/>
                      <a:pt x="258" y="589"/>
                      <a:pt x="269" y="587"/>
                    </a:cubicBezTo>
                    <a:cubicBezTo>
                      <a:pt x="277" y="579"/>
                      <a:pt x="292" y="579"/>
                      <a:pt x="290" y="564"/>
                    </a:cubicBezTo>
                    <a:cubicBezTo>
                      <a:pt x="298" y="550"/>
                      <a:pt x="298" y="533"/>
                      <a:pt x="312" y="523"/>
                    </a:cubicBezTo>
                    <a:cubicBezTo>
                      <a:pt x="312" y="507"/>
                      <a:pt x="312" y="491"/>
                      <a:pt x="317" y="476"/>
                    </a:cubicBezTo>
                    <a:cubicBezTo>
                      <a:pt x="320" y="424"/>
                      <a:pt x="321" y="372"/>
                      <a:pt x="324" y="320"/>
                    </a:cubicBezTo>
                    <a:cubicBezTo>
                      <a:pt x="362" y="313"/>
                      <a:pt x="399" y="306"/>
                      <a:pt x="437" y="299"/>
                    </a:cubicBezTo>
                    <a:cubicBezTo>
                      <a:pt x="478" y="265"/>
                      <a:pt x="518" y="230"/>
                      <a:pt x="559" y="196"/>
                    </a:cubicBezTo>
                    <a:cubicBezTo>
                      <a:pt x="668" y="130"/>
                      <a:pt x="778" y="64"/>
                      <a:pt x="888" y="0"/>
                    </a:cubicBezTo>
                    <a:cubicBezTo>
                      <a:pt x="888" y="0"/>
                      <a:pt x="888" y="0"/>
                      <a:pt x="888" y="0"/>
                    </a:cubicBezTo>
                    <a:cubicBezTo>
                      <a:pt x="924" y="9"/>
                      <a:pt x="960" y="16"/>
                      <a:pt x="995" y="26"/>
                    </a:cubicBezTo>
                    <a:cubicBezTo>
                      <a:pt x="1010" y="33"/>
                      <a:pt x="1020" y="46"/>
                      <a:pt x="1033" y="56"/>
                    </a:cubicBezTo>
                    <a:cubicBezTo>
                      <a:pt x="1041" y="64"/>
                      <a:pt x="1049" y="72"/>
                      <a:pt x="1059" y="62"/>
                    </a:cubicBezTo>
                    <a:cubicBezTo>
                      <a:pt x="1073" y="54"/>
                      <a:pt x="1087" y="47"/>
                      <a:pt x="1101" y="40"/>
                    </a:cubicBezTo>
                    <a:cubicBezTo>
                      <a:pt x="1105" y="59"/>
                      <a:pt x="1109" y="79"/>
                      <a:pt x="1112" y="99"/>
                    </a:cubicBezTo>
                    <a:cubicBezTo>
                      <a:pt x="1117" y="115"/>
                      <a:pt x="1114" y="133"/>
                      <a:pt x="1116" y="150"/>
                    </a:cubicBezTo>
                    <a:cubicBezTo>
                      <a:pt x="1128" y="162"/>
                      <a:pt x="1136" y="177"/>
                      <a:pt x="1146" y="191"/>
                    </a:cubicBezTo>
                    <a:cubicBezTo>
                      <a:pt x="1133" y="199"/>
                      <a:pt x="1148" y="211"/>
                      <a:pt x="1156" y="217"/>
                    </a:cubicBezTo>
                    <a:cubicBezTo>
                      <a:pt x="1164" y="226"/>
                      <a:pt x="1180" y="237"/>
                      <a:pt x="1165" y="250"/>
                    </a:cubicBezTo>
                    <a:cubicBezTo>
                      <a:pt x="1155" y="264"/>
                      <a:pt x="1154" y="281"/>
                      <a:pt x="1152" y="298"/>
                    </a:cubicBezTo>
                    <a:cubicBezTo>
                      <a:pt x="1147" y="333"/>
                      <a:pt x="1144" y="369"/>
                      <a:pt x="1142" y="405"/>
                    </a:cubicBezTo>
                    <a:cubicBezTo>
                      <a:pt x="1141" y="434"/>
                      <a:pt x="1139" y="464"/>
                      <a:pt x="1137" y="493"/>
                    </a:cubicBezTo>
                    <a:cubicBezTo>
                      <a:pt x="1109" y="524"/>
                      <a:pt x="1079" y="553"/>
                      <a:pt x="1052" y="585"/>
                    </a:cubicBezTo>
                    <a:cubicBezTo>
                      <a:pt x="1041" y="602"/>
                      <a:pt x="1029" y="619"/>
                      <a:pt x="1016" y="635"/>
                    </a:cubicBezTo>
                    <a:cubicBezTo>
                      <a:pt x="1008" y="643"/>
                      <a:pt x="1016" y="657"/>
                      <a:pt x="1004" y="662"/>
                    </a:cubicBezTo>
                    <a:cubicBezTo>
                      <a:pt x="1009" y="676"/>
                      <a:pt x="981" y="670"/>
                      <a:pt x="989" y="685"/>
                    </a:cubicBezTo>
                    <a:cubicBezTo>
                      <a:pt x="993" y="701"/>
                      <a:pt x="996" y="716"/>
                      <a:pt x="1000" y="732"/>
                    </a:cubicBezTo>
                    <a:cubicBezTo>
                      <a:pt x="988" y="731"/>
                      <a:pt x="974" y="731"/>
                      <a:pt x="969" y="745"/>
                    </a:cubicBezTo>
                    <a:cubicBezTo>
                      <a:pt x="960" y="746"/>
                      <a:pt x="946" y="744"/>
                      <a:pt x="939" y="755"/>
                    </a:cubicBezTo>
                    <a:cubicBezTo>
                      <a:pt x="932" y="765"/>
                      <a:pt x="920" y="764"/>
                      <a:pt x="916" y="777"/>
                    </a:cubicBezTo>
                    <a:cubicBezTo>
                      <a:pt x="908" y="785"/>
                      <a:pt x="893" y="775"/>
                      <a:pt x="883" y="775"/>
                    </a:cubicBezTo>
                    <a:cubicBezTo>
                      <a:pt x="870" y="765"/>
                      <a:pt x="854" y="762"/>
                      <a:pt x="839" y="758"/>
                    </a:cubicBezTo>
                    <a:cubicBezTo>
                      <a:pt x="824" y="755"/>
                      <a:pt x="810" y="761"/>
                      <a:pt x="795" y="757"/>
                    </a:cubicBezTo>
                    <a:cubicBezTo>
                      <a:pt x="780" y="754"/>
                      <a:pt x="765" y="764"/>
                      <a:pt x="750" y="763"/>
                    </a:cubicBezTo>
                    <a:cubicBezTo>
                      <a:pt x="731" y="768"/>
                      <a:pt x="718" y="783"/>
                      <a:pt x="707" y="797"/>
                    </a:cubicBezTo>
                    <a:cubicBezTo>
                      <a:pt x="693" y="803"/>
                      <a:pt x="677" y="796"/>
                      <a:pt x="662" y="796"/>
                    </a:cubicBezTo>
                    <a:cubicBezTo>
                      <a:pt x="647" y="796"/>
                      <a:pt x="633" y="790"/>
                      <a:pt x="623" y="779"/>
                    </a:cubicBezTo>
                    <a:cubicBezTo>
                      <a:pt x="606" y="778"/>
                      <a:pt x="598" y="758"/>
                      <a:pt x="579" y="759"/>
                    </a:cubicBezTo>
                    <a:cubicBezTo>
                      <a:pt x="564" y="755"/>
                      <a:pt x="553" y="770"/>
                      <a:pt x="539" y="775"/>
                    </a:cubicBezTo>
                    <a:cubicBezTo>
                      <a:pt x="531" y="775"/>
                      <a:pt x="522" y="774"/>
                      <a:pt x="517" y="783"/>
                    </a:cubicBezTo>
                    <a:cubicBezTo>
                      <a:pt x="505" y="788"/>
                      <a:pt x="495" y="777"/>
                      <a:pt x="491" y="767"/>
                    </a:cubicBezTo>
                    <a:cubicBezTo>
                      <a:pt x="486" y="755"/>
                      <a:pt x="476" y="746"/>
                      <a:pt x="467" y="737"/>
                    </a:cubicBezTo>
                    <a:cubicBezTo>
                      <a:pt x="456" y="728"/>
                      <a:pt x="442" y="736"/>
                      <a:pt x="430" y="728"/>
                    </a:cubicBezTo>
                    <a:cubicBezTo>
                      <a:pt x="417" y="724"/>
                      <a:pt x="405" y="711"/>
                      <a:pt x="392" y="718"/>
                    </a:cubicBezTo>
                    <a:cubicBezTo>
                      <a:pt x="381" y="733"/>
                      <a:pt x="361" y="724"/>
                      <a:pt x="347" y="725"/>
                    </a:cubicBezTo>
                    <a:cubicBezTo>
                      <a:pt x="337" y="729"/>
                      <a:pt x="324" y="727"/>
                      <a:pt x="317" y="737"/>
                    </a:cubicBezTo>
                    <a:cubicBezTo>
                      <a:pt x="309" y="745"/>
                      <a:pt x="293" y="747"/>
                      <a:pt x="299" y="763"/>
                    </a:cubicBezTo>
                    <a:cubicBezTo>
                      <a:pt x="299" y="777"/>
                      <a:pt x="292" y="790"/>
                      <a:pt x="283" y="801"/>
                    </a:cubicBezTo>
                    <a:cubicBezTo>
                      <a:pt x="274" y="809"/>
                      <a:pt x="257" y="813"/>
                      <a:pt x="261" y="828"/>
                    </a:cubicBezTo>
                    <a:cubicBezTo>
                      <a:pt x="260" y="843"/>
                      <a:pt x="259" y="857"/>
                      <a:pt x="258" y="870"/>
                    </a:cubicBezTo>
                    <a:cubicBezTo>
                      <a:pt x="263" y="875"/>
                      <a:pt x="260" y="878"/>
                      <a:pt x="256" y="878"/>
                    </a:cubicBezTo>
                    <a:cubicBezTo>
                      <a:pt x="252" y="877"/>
                      <a:pt x="248" y="875"/>
                      <a:pt x="248" y="870"/>
                    </a:cubicBezTo>
                    <a:cubicBezTo>
                      <a:pt x="231" y="866"/>
                      <a:pt x="227" y="848"/>
                      <a:pt x="213" y="838"/>
                    </a:cubicBezTo>
                    <a:cubicBezTo>
                      <a:pt x="207" y="828"/>
                      <a:pt x="196" y="823"/>
                      <a:pt x="187" y="833"/>
                    </a:cubicBezTo>
                    <a:cubicBezTo>
                      <a:pt x="177" y="834"/>
                      <a:pt x="159" y="836"/>
                      <a:pt x="168" y="851"/>
                    </a:cubicBezTo>
                    <a:cubicBezTo>
                      <a:pt x="173" y="854"/>
                      <a:pt x="169" y="862"/>
                      <a:pt x="166" y="862"/>
                    </a:cubicBezTo>
                    <a:cubicBezTo>
                      <a:pt x="166" y="862"/>
                      <a:pt x="165" y="862"/>
                      <a:pt x="165" y="861"/>
                    </a:cubicBezTo>
                    <a:cubicBezTo>
                      <a:pt x="158" y="852"/>
                      <a:pt x="152" y="841"/>
                      <a:pt x="145" y="832"/>
                    </a:cubicBezTo>
                    <a:cubicBezTo>
                      <a:pt x="139" y="820"/>
                      <a:pt x="166" y="828"/>
                      <a:pt x="156" y="815"/>
                    </a:cubicBezTo>
                    <a:cubicBezTo>
                      <a:pt x="155" y="802"/>
                      <a:pt x="137" y="795"/>
                      <a:pt x="129" y="808"/>
                    </a:cubicBezTo>
                    <a:cubicBezTo>
                      <a:pt x="114" y="813"/>
                      <a:pt x="100" y="801"/>
                      <a:pt x="89" y="790"/>
                    </a:cubicBezTo>
                    <a:cubicBezTo>
                      <a:pt x="83" y="781"/>
                      <a:pt x="72" y="780"/>
                      <a:pt x="66" y="772"/>
                    </a:cubicBezTo>
                    <a:cubicBezTo>
                      <a:pt x="67" y="765"/>
                      <a:pt x="64" y="744"/>
                      <a:pt x="76" y="754"/>
                    </a:cubicBezTo>
                    <a:cubicBezTo>
                      <a:pt x="82" y="754"/>
                      <a:pt x="93" y="752"/>
                      <a:pt x="81" y="748"/>
                    </a:cubicBezTo>
                    <a:cubicBezTo>
                      <a:pt x="68" y="747"/>
                      <a:pt x="68" y="729"/>
                      <a:pt x="53" y="729"/>
                    </a:cubicBezTo>
                    <a:cubicBezTo>
                      <a:pt x="49" y="725"/>
                      <a:pt x="37" y="728"/>
                      <a:pt x="39" y="719"/>
                    </a:cubicBezTo>
                    <a:cubicBezTo>
                      <a:pt x="32" y="712"/>
                      <a:pt x="26" y="702"/>
                      <a:pt x="24" y="692"/>
                    </a:cubicBezTo>
                    <a:cubicBezTo>
                      <a:pt x="36" y="676"/>
                      <a:pt x="0" y="669"/>
                      <a:pt x="15" y="652"/>
                    </a:cubicBezTo>
                    <a:cubicBezTo>
                      <a:pt x="16" y="647"/>
                      <a:pt x="15" y="638"/>
                      <a:pt x="17" y="633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611" name="Nicaragua"/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1964827" y="4084006"/>
                <a:ext cx="116498" cy="133762"/>
              </a:xfrm>
              <a:custGeom>
                <a:avLst/>
                <a:gdLst>
                  <a:gd name="T0" fmla="*/ 83213 w 21"/>
                  <a:gd name="T1" fmla="*/ 133762 h 24"/>
                  <a:gd name="T2" fmla="*/ 116498 w 21"/>
                  <a:gd name="T3" fmla="*/ 33441 h 24"/>
                  <a:gd name="T4" fmla="*/ 116498 w 21"/>
                  <a:gd name="T5" fmla="*/ 0 h 24"/>
                  <a:gd name="T6" fmla="*/ 66570 w 21"/>
                  <a:gd name="T7" fmla="*/ 11147 h 24"/>
                  <a:gd name="T8" fmla="*/ 0 w 21"/>
                  <a:gd name="T9" fmla="*/ 72454 h 24"/>
                  <a:gd name="T10" fmla="*/ 0 w 21"/>
                  <a:gd name="T11" fmla="*/ 83601 h 24"/>
                  <a:gd name="T12" fmla="*/ 33285 w 21"/>
                  <a:gd name="T13" fmla="*/ 133762 h 24"/>
                  <a:gd name="T14" fmla="*/ 55475 w 21"/>
                  <a:gd name="T15" fmla="*/ 133762 h 24"/>
                  <a:gd name="T16" fmla="*/ 83213 w 21"/>
                  <a:gd name="T17" fmla="*/ 133762 h 2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1"/>
                  <a:gd name="T28" fmla="*/ 0 h 24"/>
                  <a:gd name="T29" fmla="*/ 21 w 21"/>
                  <a:gd name="T30" fmla="*/ 24 h 2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1" h="24">
                    <a:moveTo>
                      <a:pt x="15" y="24"/>
                    </a:moveTo>
                    <a:lnTo>
                      <a:pt x="21" y="6"/>
                    </a:lnTo>
                    <a:lnTo>
                      <a:pt x="21" y="0"/>
                    </a:lnTo>
                    <a:lnTo>
                      <a:pt x="12" y="2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6" y="24"/>
                    </a:lnTo>
                    <a:lnTo>
                      <a:pt x="10" y="24"/>
                    </a:lnTo>
                    <a:lnTo>
                      <a:pt x="15" y="24"/>
                    </a:lnTo>
                    <a:close/>
                  </a:path>
                </a:pathLst>
              </a:custGeom>
              <a:solidFill>
                <a:srgbClr val="EF7A04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536" name="New Zealand"/>
              <p:cNvGrpSpPr/>
              <p:nvPr/>
            </p:nvGrpSpPr>
            <p:grpSpPr>
              <a:xfrm>
                <a:off x="8155837" y="5689156"/>
                <a:ext cx="477085" cy="401287"/>
                <a:chOff x="8155837" y="5670067"/>
                <a:chExt cx="477085" cy="401287"/>
              </a:xfrm>
              <a:solidFill>
                <a:srgbClr val="EE8B8B"/>
              </a:solidFill>
            </p:grpSpPr>
            <p:sp>
              <p:nvSpPr>
                <p:cNvPr id="785" name="New Zealand"/>
                <p:cNvSpPr>
                  <a:spLocks/>
                </p:cNvSpPr>
                <p:nvPr/>
              </p:nvSpPr>
              <p:spPr bwMode="auto">
                <a:xfrm>
                  <a:off x="8472045" y="5670067"/>
                  <a:ext cx="160877" cy="211791"/>
                </a:xfrm>
                <a:custGeom>
                  <a:avLst/>
                  <a:gdLst/>
                  <a:ahLst/>
                  <a:cxnLst>
                    <a:cxn ang="0">
                      <a:pos x="0" y="27"/>
                    </a:cxn>
                    <a:cxn ang="0">
                      <a:pos x="6" y="31"/>
                    </a:cxn>
                    <a:cxn ang="0">
                      <a:pos x="0" y="38"/>
                    </a:cxn>
                    <a:cxn ang="0">
                      <a:pos x="2" y="38"/>
                    </a:cxn>
                    <a:cxn ang="0">
                      <a:pos x="16" y="27"/>
                    </a:cxn>
                    <a:cxn ang="0">
                      <a:pos x="23" y="22"/>
                    </a:cxn>
                    <a:cxn ang="0">
                      <a:pos x="29" y="18"/>
                    </a:cxn>
                    <a:cxn ang="0">
                      <a:pos x="25" y="18"/>
                    </a:cxn>
                    <a:cxn ang="0">
                      <a:pos x="18" y="20"/>
                    </a:cxn>
                    <a:cxn ang="0">
                      <a:pos x="16" y="18"/>
                    </a:cxn>
                    <a:cxn ang="0">
                      <a:pos x="18" y="11"/>
                    </a:cxn>
                    <a:cxn ang="0">
                      <a:pos x="16" y="11"/>
                    </a:cxn>
                    <a:cxn ang="0">
                      <a:pos x="16" y="13"/>
                    </a:cxn>
                    <a:cxn ang="0">
                      <a:pos x="14" y="13"/>
                    </a:cxn>
                    <a:cxn ang="0">
                      <a:pos x="16" y="4"/>
                    </a:cxn>
                    <a:cxn ang="0">
                      <a:pos x="16" y="2"/>
                    </a:cxn>
                    <a:cxn ang="0">
                      <a:pos x="14" y="2"/>
                    </a:cxn>
                    <a:cxn ang="0">
                      <a:pos x="10" y="0"/>
                    </a:cxn>
                    <a:cxn ang="0">
                      <a:pos x="10" y="13"/>
                    </a:cxn>
                    <a:cxn ang="0">
                      <a:pos x="14" y="13"/>
                    </a:cxn>
                    <a:cxn ang="0">
                      <a:pos x="6" y="22"/>
                    </a:cxn>
                    <a:cxn ang="0">
                      <a:pos x="2" y="25"/>
                    </a:cxn>
                    <a:cxn ang="0">
                      <a:pos x="0" y="27"/>
                    </a:cxn>
                  </a:cxnLst>
                  <a:rect l="0" t="0" r="r" b="b"/>
                  <a:pathLst>
                    <a:path w="29" h="38">
                      <a:moveTo>
                        <a:pt x="0" y="27"/>
                      </a:moveTo>
                      <a:lnTo>
                        <a:pt x="6" y="31"/>
                      </a:lnTo>
                      <a:lnTo>
                        <a:pt x="0" y="38"/>
                      </a:lnTo>
                      <a:lnTo>
                        <a:pt x="2" y="38"/>
                      </a:lnTo>
                      <a:lnTo>
                        <a:pt x="16" y="27"/>
                      </a:lnTo>
                      <a:lnTo>
                        <a:pt x="23" y="22"/>
                      </a:lnTo>
                      <a:lnTo>
                        <a:pt x="29" y="18"/>
                      </a:lnTo>
                      <a:lnTo>
                        <a:pt x="25" y="18"/>
                      </a:lnTo>
                      <a:lnTo>
                        <a:pt x="18" y="20"/>
                      </a:lnTo>
                      <a:lnTo>
                        <a:pt x="16" y="18"/>
                      </a:lnTo>
                      <a:lnTo>
                        <a:pt x="18" y="11"/>
                      </a:lnTo>
                      <a:lnTo>
                        <a:pt x="16" y="11"/>
                      </a:lnTo>
                      <a:lnTo>
                        <a:pt x="16" y="13"/>
                      </a:lnTo>
                      <a:lnTo>
                        <a:pt x="14" y="13"/>
                      </a:lnTo>
                      <a:lnTo>
                        <a:pt x="16" y="4"/>
                      </a:lnTo>
                      <a:lnTo>
                        <a:pt x="16" y="2"/>
                      </a:lnTo>
                      <a:lnTo>
                        <a:pt x="14" y="2"/>
                      </a:lnTo>
                      <a:lnTo>
                        <a:pt x="10" y="0"/>
                      </a:lnTo>
                      <a:lnTo>
                        <a:pt x="10" y="13"/>
                      </a:lnTo>
                      <a:lnTo>
                        <a:pt x="14" y="13"/>
                      </a:lnTo>
                      <a:lnTo>
                        <a:pt x="6" y="22"/>
                      </a:lnTo>
                      <a:lnTo>
                        <a:pt x="2" y="25"/>
                      </a:lnTo>
                      <a:lnTo>
                        <a:pt x="0" y="27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86" name="New Zealand"/>
                <p:cNvSpPr>
                  <a:spLocks/>
                </p:cNvSpPr>
                <p:nvPr/>
              </p:nvSpPr>
              <p:spPr bwMode="auto">
                <a:xfrm>
                  <a:off x="8166933" y="5870710"/>
                  <a:ext cx="294018" cy="189497"/>
                </a:xfrm>
                <a:custGeom>
                  <a:avLst/>
                  <a:gdLst/>
                  <a:ahLst/>
                  <a:cxnLst>
                    <a:cxn ang="0">
                      <a:pos x="0" y="29"/>
                    </a:cxn>
                    <a:cxn ang="0">
                      <a:pos x="5" y="29"/>
                    </a:cxn>
                    <a:cxn ang="0">
                      <a:pos x="5" y="34"/>
                    </a:cxn>
                    <a:cxn ang="0">
                      <a:pos x="7" y="34"/>
                    </a:cxn>
                    <a:cxn ang="0">
                      <a:pos x="15" y="29"/>
                    </a:cxn>
                    <a:cxn ang="0">
                      <a:pos x="25" y="20"/>
                    </a:cxn>
                    <a:cxn ang="0">
                      <a:pos x="38" y="18"/>
                    </a:cxn>
                    <a:cxn ang="0">
                      <a:pos x="38" y="11"/>
                    </a:cxn>
                    <a:cxn ang="0">
                      <a:pos x="48" y="7"/>
                    </a:cxn>
                    <a:cxn ang="0">
                      <a:pos x="53" y="2"/>
                    </a:cxn>
                    <a:cxn ang="0">
                      <a:pos x="48" y="2"/>
                    </a:cxn>
                    <a:cxn ang="0">
                      <a:pos x="53" y="0"/>
                    </a:cxn>
                    <a:cxn ang="0">
                      <a:pos x="46" y="2"/>
                    </a:cxn>
                    <a:cxn ang="0">
                      <a:pos x="46" y="0"/>
                    </a:cxn>
                    <a:cxn ang="0">
                      <a:pos x="44" y="0"/>
                    </a:cxn>
                    <a:cxn ang="0">
                      <a:pos x="32" y="11"/>
                    </a:cxn>
                    <a:cxn ang="0">
                      <a:pos x="15" y="18"/>
                    </a:cxn>
                    <a:cxn ang="0">
                      <a:pos x="7" y="25"/>
                    </a:cxn>
                    <a:cxn ang="0">
                      <a:pos x="0" y="29"/>
                    </a:cxn>
                  </a:cxnLst>
                  <a:rect l="0" t="0" r="r" b="b"/>
                  <a:pathLst>
                    <a:path w="53" h="34">
                      <a:moveTo>
                        <a:pt x="0" y="29"/>
                      </a:moveTo>
                      <a:lnTo>
                        <a:pt x="5" y="29"/>
                      </a:lnTo>
                      <a:lnTo>
                        <a:pt x="5" y="34"/>
                      </a:lnTo>
                      <a:lnTo>
                        <a:pt x="7" y="34"/>
                      </a:lnTo>
                      <a:lnTo>
                        <a:pt x="15" y="29"/>
                      </a:lnTo>
                      <a:lnTo>
                        <a:pt x="25" y="20"/>
                      </a:lnTo>
                      <a:lnTo>
                        <a:pt x="38" y="18"/>
                      </a:lnTo>
                      <a:lnTo>
                        <a:pt x="38" y="11"/>
                      </a:lnTo>
                      <a:lnTo>
                        <a:pt x="48" y="7"/>
                      </a:lnTo>
                      <a:lnTo>
                        <a:pt x="53" y="2"/>
                      </a:lnTo>
                      <a:lnTo>
                        <a:pt x="48" y="2"/>
                      </a:lnTo>
                      <a:lnTo>
                        <a:pt x="53" y="0"/>
                      </a:lnTo>
                      <a:lnTo>
                        <a:pt x="46" y="2"/>
                      </a:lnTo>
                      <a:lnTo>
                        <a:pt x="46" y="0"/>
                      </a:lnTo>
                      <a:lnTo>
                        <a:pt x="44" y="0"/>
                      </a:lnTo>
                      <a:lnTo>
                        <a:pt x="32" y="11"/>
                      </a:lnTo>
                      <a:lnTo>
                        <a:pt x="15" y="18"/>
                      </a:lnTo>
                      <a:lnTo>
                        <a:pt x="7" y="25"/>
                      </a:lnTo>
                      <a:lnTo>
                        <a:pt x="0" y="29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87" name="New Zealand"/>
                <p:cNvSpPr>
                  <a:spLocks/>
                </p:cNvSpPr>
                <p:nvPr/>
              </p:nvSpPr>
              <p:spPr bwMode="auto">
                <a:xfrm>
                  <a:off x="8155837" y="6060207"/>
                  <a:ext cx="38833" cy="11147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7" y="2"/>
                    </a:cxn>
                    <a:cxn ang="0">
                      <a:pos x="7" y="0"/>
                    </a:cxn>
                    <a:cxn ang="0">
                      <a:pos x="2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7" h="2">
                      <a:moveTo>
                        <a:pt x="0" y="2"/>
                      </a:move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48613" name="Netherlands"/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361347" y="2852276"/>
                <a:ext cx="94308" cy="89175"/>
              </a:xfrm>
              <a:custGeom>
                <a:avLst/>
                <a:gdLst>
                  <a:gd name="T0" fmla="*/ 0 w 17"/>
                  <a:gd name="T1" fmla="*/ 72455 h 16"/>
                  <a:gd name="T2" fmla="*/ 22190 w 17"/>
                  <a:gd name="T3" fmla="*/ 22294 h 16"/>
                  <a:gd name="T4" fmla="*/ 22190 w 17"/>
                  <a:gd name="T5" fmla="*/ 39014 h 16"/>
                  <a:gd name="T6" fmla="*/ 44380 w 17"/>
                  <a:gd name="T7" fmla="*/ 39014 h 16"/>
                  <a:gd name="T8" fmla="*/ 55475 w 17"/>
                  <a:gd name="T9" fmla="*/ 39014 h 16"/>
                  <a:gd name="T10" fmla="*/ 44380 w 17"/>
                  <a:gd name="T11" fmla="*/ 22294 h 16"/>
                  <a:gd name="T12" fmla="*/ 94308 w 17"/>
                  <a:gd name="T13" fmla="*/ 0 h 16"/>
                  <a:gd name="T14" fmla="*/ 66570 w 17"/>
                  <a:gd name="T15" fmla="*/ 39014 h 16"/>
                  <a:gd name="T16" fmla="*/ 55475 w 17"/>
                  <a:gd name="T17" fmla="*/ 61308 h 16"/>
                  <a:gd name="T18" fmla="*/ 55475 w 17"/>
                  <a:gd name="T19" fmla="*/ 89175 h 16"/>
                  <a:gd name="T20" fmla="*/ 22190 w 17"/>
                  <a:gd name="T21" fmla="*/ 72455 h 16"/>
                  <a:gd name="T22" fmla="*/ 11095 w 17"/>
                  <a:gd name="T23" fmla="*/ 72455 h 16"/>
                  <a:gd name="T24" fmla="*/ 0 w 17"/>
                  <a:gd name="T25" fmla="*/ 72455 h 1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7"/>
                  <a:gd name="T40" fmla="*/ 0 h 16"/>
                  <a:gd name="T41" fmla="*/ 17 w 17"/>
                  <a:gd name="T42" fmla="*/ 16 h 1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7" h="16">
                    <a:moveTo>
                      <a:pt x="0" y="13"/>
                    </a:moveTo>
                    <a:lnTo>
                      <a:pt x="4" y="4"/>
                    </a:lnTo>
                    <a:lnTo>
                      <a:pt x="4" y="7"/>
                    </a:lnTo>
                    <a:lnTo>
                      <a:pt x="8" y="7"/>
                    </a:lnTo>
                    <a:lnTo>
                      <a:pt x="10" y="7"/>
                    </a:lnTo>
                    <a:lnTo>
                      <a:pt x="8" y="4"/>
                    </a:lnTo>
                    <a:lnTo>
                      <a:pt x="17" y="0"/>
                    </a:lnTo>
                    <a:lnTo>
                      <a:pt x="12" y="7"/>
                    </a:lnTo>
                    <a:lnTo>
                      <a:pt x="10" y="11"/>
                    </a:lnTo>
                    <a:lnTo>
                      <a:pt x="10" y="16"/>
                    </a:lnTo>
                    <a:lnTo>
                      <a:pt x="4" y="13"/>
                    </a:lnTo>
                    <a:lnTo>
                      <a:pt x="2" y="13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38" name="Nepal"/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6269449" y="3604316"/>
                <a:ext cx="221860" cy="128145"/>
              </a:xfrm>
              <a:custGeom>
                <a:avLst/>
                <a:gdLst/>
                <a:ahLst/>
                <a:cxnLst>
                  <a:cxn ang="0">
                    <a:pos x="38" y="18"/>
                  </a:cxn>
                  <a:cxn ang="0">
                    <a:pos x="38" y="14"/>
                  </a:cxn>
                  <a:cxn ang="0">
                    <a:pos x="29" y="14"/>
                  </a:cxn>
                  <a:cxn ang="0">
                    <a:pos x="17" y="2"/>
                  </a:cxn>
                  <a:cxn ang="0">
                    <a:pos x="15" y="7"/>
                  </a:cxn>
                  <a:cxn ang="0">
                    <a:pos x="9" y="0"/>
                  </a:cxn>
                  <a:cxn ang="0">
                    <a:pos x="2" y="0"/>
                  </a:cxn>
                  <a:cxn ang="0">
                    <a:pos x="0" y="7"/>
                  </a:cxn>
                  <a:cxn ang="0">
                    <a:pos x="15" y="16"/>
                  </a:cxn>
                  <a:cxn ang="0">
                    <a:pos x="21" y="16"/>
                  </a:cxn>
                  <a:cxn ang="0">
                    <a:pos x="25" y="18"/>
                  </a:cxn>
                  <a:cxn ang="0">
                    <a:pos x="34" y="23"/>
                  </a:cxn>
                  <a:cxn ang="0">
                    <a:pos x="40" y="23"/>
                  </a:cxn>
                  <a:cxn ang="0">
                    <a:pos x="38" y="20"/>
                  </a:cxn>
                  <a:cxn ang="0">
                    <a:pos x="38" y="18"/>
                  </a:cxn>
                </a:cxnLst>
                <a:rect l="0" t="0" r="r" b="b"/>
                <a:pathLst>
                  <a:path w="40" h="23">
                    <a:moveTo>
                      <a:pt x="38" y="18"/>
                    </a:moveTo>
                    <a:lnTo>
                      <a:pt x="38" y="14"/>
                    </a:lnTo>
                    <a:lnTo>
                      <a:pt x="29" y="14"/>
                    </a:lnTo>
                    <a:lnTo>
                      <a:pt x="17" y="2"/>
                    </a:lnTo>
                    <a:lnTo>
                      <a:pt x="15" y="7"/>
                    </a:lnTo>
                    <a:lnTo>
                      <a:pt x="9" y="0"/>
                    </a:lnTo>
                    <a:lnTo>
                      <a:pt x="2" y="0"/>
                    </a:lnTo>
                    <a:lnTo>
                      <a:pt x="0" y="7"/>
                    </a:lnTo>
                    <a:lnTo>
                      <a:pt x="15" y="16"/>
                    </a:lnTo>
                    <a:lnTo>
                      <a:pt x="21" y="16"/>
                    </a:lnTo>
                    <a:lnTo>
                      <a:pt x="25" y="18"/>
                    </a:lnTo>
                    <a:lnTo>
                      <a:pt x="34" y="23"/>
                    </a:lnTo>
                    <a:lnTo>
                      <a:pt x="40" y="23"/>
                    </a:lnTo>
                    <a:lnTo>
                      <a:pt x="38" y="20"/>
                    </a:lnTo>
                    <a:lnTo>
                      <a:pt x="38" y="18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39" name="Namibia"/>
              <p:cNvSpPr>
                <a:spLocks/>
              </p:cNvSpPr>
              <p:nvPr/>
            </p:nvSpPr>
            <p:spPr bwMode="auto">
              <a:xfrm>
                <a:off x="4538561" y="5124834"/>
                <a:ext cx="361479" cy="386345"/>
              </a:xfrm>
              <a:custGeom>
                <a:avLst/>
                <a:gdLst>
                  <a:gd name="T0" fmla="*/ 12 w 992"/>
                  <a:gd name="T1" fmla="*/ 25 h 898"/>
                  <a:gd name="T2" fmla="*/ 50 w 992"/>
                  <a:gd name="T3" fmla="*/ 21 h 898"/>
                  <a:gd name="T4" fmla="*/ 139 w 992"/>
                  <a:gd name="T5" fmla="*/ 12 h 898"/>
                  <a:gd name="T6" fmla="*/ 214 w 992"/>
                  <a:gd name="T7" fmla="*/ 33 h 898"/>
                  <a:gd name="T8" fmla="*/ 501 w 992"/>
                  <a:gd name="T9" fmla="*/ 38 h 898"/>
                  <a:gd name="T10" fmla="*/ 574 w 992"/>
                  <a:gd name="T11" fmla="*/ 70 h 898"/>
                  <a:gd name="T12" fmla="*/ 666 w 992"/>
                  <a:gd name="T13" fmla="*/ 81 h 898"/>
                  <a:gd name="T14" fmla="*/ 864 w 992"/>
                  <a:gd name="T15" fmla="*/ 55 h 898"/>
                  <a:gd name="T16" fmla="*/ 905 w 992"/>
                  <a:gd name="T17" fmla="*/ 47 h 898"/>
                  <a:gd name="T18" fmla="*/ 986 w 992"/>
                  <a:gd name="T19" fmla="*/ 63 h 898"/>
                  <a:gd name="T20" fmla="*/ 985 w 992"/>
                  <a:gd name="T21" fmla="*/ 69 h 898"/>
                  <a:gd name="T22" fmla="*/ 933 w 992"/>
                  <a:gd name="T23" fmla="*/ 81 h 898"/>
                  <a:gd name="T24" fmla="*/ 868 w 992"/>
                  <a:gd name="T25" fmla="*/ 110 h 898"/>
                  <a:gd name="T26" fmla="*/ 799 w 992"/>
                  <a:gd name="T27" fmla="*/ 89 h 898"/>
                  <a:gd name="T28" fmla="*/ 682 w 992"/>
                  <a:gd name="T29" fmla="*/ 119 h 898"/>
                  <a:gd name="T30" fmla="*/ 680 w 992"/>
                  <a:gd name="T31" fmla="*/ 230 h 898"/>
                  <a:gd name="T32" fmla="*/ 604 w 992"/>
                  <a:gd name="T33" fmla="*/ 378 h 898"/>
                  <a:gd name="T34" fmla="*/ 600 w 992"/>
                  <a:gd name="T35" fmla="*/ 582 h 898"/>
                  <a:gd name="T36" fmla="*/ 598 w 992"/>
                  <a:gd name="T37" fmla="*/ 600 h 898"/>
                  <a:gd name="T38" fmla="*/ 590 w 992"/>
                  <a:gd name="T39" fmla="*/ 851 h 898"/>
                  <a:gd name="T40" fmla="*/ 539 w 992"/>
                  <a:gd name="T41" fmla="*/ 887 h 898"/>
                  <a:gd name="T42" fmla="*/ 463 w 992"/>
                  <a:gd name="T43" fmla="*/ 886 h 898"/>
                  <a:gd name="T44" fmla="*/ 412 w 992"/>
                  <a:gd name="T45" fmla="*/ 863 h 898"/>
                  <a:gd name="T46" fmla="*/ 385 w 992"/>
                  <a:gd name="T47" fmla="*/ 823 h 898"/>
                  <a:gd name="T48" fmla="*/ 351 w 992"/>
                  <a:gd name="T49" fmla="*/ 861 h 898"/>
                  <a:gd name="T50" fmla="*/ 343 w 992"/>
                  <a:gd name="T51" fmla="*/ 867 h 898"/>
                  <a:gd name="T52" fmla="*/ 316 w 992"/>
                  <a:gd name="T53" fmla="*/ 846 h 898"/>
                  <a:gd name="T54" fmla="*/ 282 w 992"/>
                  <a:gd name="T55" fmla="*/ 805 h 898"/>
                  <a:gd name="T56" fmla="*/ 255 w 992"/>
                  <a:gd name="T57" fmla="*/ 748 h 898"/>
                  <a:gd name="T58" fmla="*/ 241 w 992"/>
                  <a:gd name="T59" fmla="*/ 697 h 898"/>
                  <a:gd name="T60" fmla="*/ 236 w 992"/>
                  <a:gd name="T61" fmla="*/ 670 h 898"/>
                  <a:gd name="T62" fmla="*/ 230 w 992"/>
                  <a:gd name="T63" fmla="*/ 602 h 898"/>
                  <a:gd name="T64" fmla="*/ 205 w 992"/>
                  <a:gd name="T65" fmla="*/ 546 h 898"/>
                  <a:gd name="T66" fmla="*/ 202 w 992"/>
                  <a:gd name="T67" fmla="*/ 466 h 898"/>
                  <a:gd name="T68" fmla="*/ 191 w 992"/>
                  <a:gd name="T69" fmla="*/ 397 h 898"/>
                  <a:gd name="T70" fmla="*/ 159 w 992"/>
                  <a:gd name="T71" fmla="*/ 346 h 898"/>
                  <a:gd name="T72" fmla="*/ 119 w 992"/>
                  <a:gd name="T73" fmla="*/ 279 h 898"/>
                  <a:gd name="T74" fmla="*/ 102 w 992"/>
                  <a:gd name="T75" fmla="*/ 244 h 898"/>
                  <a:gd name="T76" fmla="*/ 77 w 992"/>
                  <a:gd name="T77" fmla="*/ 196 h 898"/>
                  <a:gd name="T78" fmla="*/ 58 w 992"/>
                  <a:gd name="T79" fmla="*/ 164 h 898"/>
                  <a:gd name="T80" fmla="*/ 35 w 992"/>
                  <a:gd name="T81" fmla="*/ 133 h 898"/>
                  <a:gd name="T82" fmla="*/ 8 w 992"/>
                  <a:gd name="T83" fmla="*/ 96 h 898"/>
                  <a:gd name="T84" fmla="*/ 1 w 992"/>
                  <a:gd name="T85" fmla="*/ 51 h 898"/>
                  <a:gd name="T86" fmla="*/ 2 w 992"/>
                  <a:gd name="T87" fmla="*/ 24 h 8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92" h="898">
                    <a:moveTo>
                      <a:pt x="2" y="24"/>
                    </a:moveTo>
                    <a:cubicBezTo>
                      <a:pt x="12" y="25"/>
                      <a:pt x="12" y="25"/>
                      <a:pt x="12" y="25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25" y="15"/>
                      <a:pt x="34" y="15"/>
                      <a:pt x="50" y="21"/>
                    </a:cubicBezTo>
                    <a:cubicBezTo>
                      <a:pt x="67" y="26"/>
                      <a:pt x="82" y="14"/>
                      <a:pt x="98" y="5"/>
                    </a:cubicBezTo>
                    <a:cubicBezTo>
                      <a:pt x="111" y="1"/>
                      <a:pt x="128" y="0"/>
                      <a:pt x="139" y="12"/>
                    </a:cubicBezTo>
                    <a:cubicBezTo>
                      <a:pt x="147" y="24"/>
                      <a:pt x="163" y="27"/>
                      <a:pt x="174" y="36"/>
                    </a:cubicBezTo>
                    <a:cubicBezTo>
                      <a:pt x="188" y="36"/>
                      <a:pt x="200" y="31"/>
                      <a:pt x="214" y="33"/>
                    </a:cubicBezTo>
                    <a:cubicBezTo>
                      <a:pt x="298" y="33"/>
                      <a:pt x="382" y="34"/>
                      <a:pt x="467" y="34"/>
                    </a:cubicBezTo>
                    <a:cubicBezTo>
                      <a:pt x="478" y="35"/>
                      <a:pt x="492" y="29"/>
                      <a:pt x="501" y="38"/>
                    </a:cubicBezTo>
                    <a:cubicBezTo>
                      <a:pt x="509" y="49"/>
                      <a:pt x="518" y="61"/>
                      <a:pt x="532" y="65"/>
                    </a:cubicBezTo>
                    <a:cubicBezTo>
                      <a:pt x="546" y="67"/>
                      <a:pt x="560" y="65"/>
                      <a:pt x="574" y="70"/>
                    </a:cubicBezTo>
                    <a:cubicBezTo>
                      <a:pt x="591" y="68"/>
                      <a:pt x="608" y="72"/>
                      <a:pt x="625" y="72"/>
                    </a:cubicBezTo>
                    <a:cubicBezTo>
                      <a:pt x="640" y="66"/>
                      <a:pt x="651" y="82"/>
                      <a:pt x="666" y="81"/>
                    </a:cubicBezTo>
                    <a:cubicBezTo>
                      <a:pt x="680" y="83"/>
                      <a:pt x="698" y="68"/>
                      <a:pt x="711" y="82"/>
                    </a:cubicBezTo>
                    <a:cubicBezTo>
                      <a:pt x="762" y="73"/>
                      <a:pt x="813" y="64"/>
                      <a:pt x="864" y="55"/>
                    </a:cubicBezTo>
                    <a:cubicBezTo>
                      <a:pt x="864" y="53"/>
                      <a:pt x="864" y="53"/>
                      <a:pt x="864" y="53"/>
                    </a:cubicBezTo>
                    <a:cubicBezTo>
                      <a:pt x="878" y="55"/>
                      <a:pt x="892" y="48"/>
                      <a:pt x="905" y="47"/>
                    </a:cubicBezTo>
                    <a:cubicBezTo>
                      <a:pt x="921" y="41"/>
                      <a:pt x="937" y="48"/>
                      <a:pt x="951" y="46"/>
                    </a:cubicBezTo>
                    <a:cubicBezTo>
                      <a:pt x="965" y="46"/>
                      <a:pt x="978" y="52"/>
                      <a:pt x="986" y="63"/>
                    </a:cubicBezTo>
                    <a:cubicBezTo>
                      <a:pt x="990" y="68"/>
                      <a:pt x="992" y="69"/>
                      <a:pt x="992" y="69"/>
                    </a:cubicBezTo>
                    <a:cubicBezTo>
                      <a:pt x="992" y="69"/>
                      <a:pt x="988" y="67"/>
                      <a:pt x="985" y="69"/>
                    </a:cubicBezTo>
                    <a:cubicBezTo>
                      <a:pt x="974" y="72"/>
                      <a:pt x="961" y="68"/>
                      <a:pt x="952" y="78"/>
                    </a:cubicBezTo>
                    <a:cubicBezTo>
                      <a:pt x="947" y="85"/>
                      <a:pt x="936" y="93"/>
                      <a:pt x="933" y="81"/>
                    </a:cubicBezTo>
                    <a:cubicBezTo>
                      <a:pt x="919" y="81"/>
                      <a:pt x="908" y="92"/>
                      <a:pt x="895" y="99"/>
                    </a:cubicBezTo>
                    <a:cubicBezTo>
                      <a:pt x="889" y="105"/>
                      <a:pt x="871" y="129"/>
                      <a:pt x="868" y="110"/>
                    </a:cubicBezTo>
                    <a:cubicBezTo>
                      <a:pt x="867" y="98"/>
                      <a:pt x="853" y="95"/>
                      <a:pt x="851" y="84"/>
                    </a:cubicBezTo>
                    <a:cubicBezTo>
                      <a:pt x="834" y="79"/>
                      <a:pt x="816" y="88"/>
                      <a:pt x="799" y="89"/>
                    </a:cubicBezTo>
                    <a:cubicBezTo>
                      <a:pt x="769" y="94"/>
                      <a:pt x="740" y="101"/>
                      <a:pt x="710" y="104"/>
                    </a:cubicBezTo>
                    <a:cubicBezTo>
                      <a:pt x="698" y="105"/>
                      <a:pt x="676" y="99"/>
                      <a:pt x="682" y="119"/>
                    </a:cubicBezTo>
                    <a:cubicBezTo>
                      <a:pt x="681" y="156"/>
                      <a:pt x="680" y="193"/>
                      <a:pt x="679" y="230"/>
                    </a:cubicBezTo>
                    <a:cubicBezTo>
                      <a:pt x="680" y="230"/>
                      <a:pt x="680" y="230"/>
                      <a:pt x="680" y="230"/>
                    </a:cubicBezTo>
                    <a:cubicBezTo>
                      <a:pt x="678" y="280"/>
                      <a:pt x="677" y="329"/>
                      <a:pt x="675" y="379"/>
                    </a:cubicBezTo>
                    <a:cubicBezTo>
                      <a:pt x="652" y="379"/>
                      <a:pt x="628" y="378"/>
                      <a:pt x="604" y="378"/>
                    </a:cubicBezTo>
                    <a:cubicBezTo>
                      <a:pt x="602" y="435"/>
                      <a:pt x="601" y="493"/>
                      <a:pt x="599" y="550"/>
                    </a:cubicBezTo>
                    <a:cubicBezTo>
                      <a:pt x="599" y="560"/>
                      <a:pt x="597" y="573"/>
                      <a:pt x="600" y="582"/>
                    </a:cubicBezTo>
                    <a:cubicBezTo>
                      <a:pt x="598" y="583"/>
                      <a:pt x="598" y="583"/>
                      <a:pt x="598" y="583"/>
                    </a:cubicBezTo>
                    <a:cubicBezTo>
                      <a:pt x="598" y="589"/>
                      <a:pt x="598" y="595"/>
                      <a:pt x="598" y="600"/>
                    </a:cubicBezTo>
                    <a:cubicBezTo>
                      <a:pt x="598" y="600"/>
                      <a:pt x="598" y="600"/>
                      <a:pt x="598" y="600"/>
                    </a:cubicBezTo>
                    <a:cubicBezTo>
                      <a:pt x="595" y="684"/>
                      <a:pt x="593" y="768"/>
                      <a:pt x="590" y="851"/>
                    </a:cubicBezTo>
                    <a:cubicBezTo>
                      <a:pt x="576" y="858"/>
                      <a:pt x="557" y="857"/>
                      <a:pt x="551" y="873"/>
                    </a:cubicBezTo>
                    <a:cubicBezTo>
                      <a:pt x="542" y="873"/>
                      <a:pt x="534" y="878"/>
                      <a:pt x="539" y="887"/>
                    </a:cubicBezTo>
                    <a:cubicBezTo>
                      <a:pt x="525" y="898"/>
                      <a:pt x="514" y="878"/>
                      <a:pt x="498" y="882"/>
                    </a:cubicBezTo>
                    <a:cubicBezTo>
                      <a:pt x="487" y="886"/>
                      <a:pt x="475" y="886"/>
                      <a:pt x="463" y="886"/>
                    </a:cubicBezTo>
                    <a:cubicBezTo>
                      <a:pt x="451" y="881"/>
                      <a:pt x="440" y="873"/>
                      <a:pt x="427" y="876"/>
                    </a:cubicBezTo>
                    <a:cubicBezTo>
                      <a:pt x="425" y="866"/>
                      <a:pt x="407" y="877"/>
                      <a:pt x="412" y="863"/>
                    </a:cubicBezTo>
                    <a:cubicBezTo>
                      <a:pt x="401" y="855"/>
                      <a:pt x="419" y="845"/>
                      <a:pt x="407" y="837"/>
                    </a:cubicBezTo>
                    <a:cubicBezTo>
                      <a:pt x="394" y="842"/>
                      <a:pt x="400" y="818"/>
                      <a:pt x="385" y="823"/>
                    </a:cubicBezTo>
                    <a:cubicBezTo>
                      <a:pt x="376" y="825"/>
                      <a:pt x="372" y="837"/>
                      <a:pt x="370" y="844"/>
                    </a:cubicBezTo>
                    <a:cubicBezTo>
                      <a:pt x="373" y="856"/>
                      <a:pt x="357" y="853"/>
                      <a:pt x="351" y="861"/>
                    </a:cubicBezTo>
                    <a:cubicBezTo>
                      <a:pt x="343" y="866"/>
                      <a:pt x="343" y="866"/>
                      <a:pt x="343" y="866"/>
                    </a:cubicBezTo>
                    <a:cubicBezTo>
                      <a:pt x="343" y="867"/>
                      <a:pt x="343" y="867"/>
                      <a:pt x="343" y="867"/>
                    </a:cubicBezTo>
                    <a:cubicBezTo>
                      <a:pt x="341" y="866"/>
                      <a:pt x="339" y="866"/>
                      <a:pt x="337" y="867"/>
                    </a:cubicBezTo>
                    <a:cubicBezTo>
                      <a:pt x="329" y="860"/>
                      <a:pt x="323" y="852"/>
                      <a:pt x="316" y="846"/>
                    </a:cubicBezTo>
                    <a:cubicBezTo>
                      <a:pt x="310" y="842"/>
                      <a:pt x="304" y="838"/>
                      <a:pt x="299" y="833"/>
                    </a:cubicBezTo>
                    <a:cubicBezTo>
                      <a:pt x="291" y="825"/>
                      <a:pt x="288" y="814"/>
                      <a:pt x="282" y="805"/>
                    </a:cubicBezTo>
                    <a:cubicBezTo>
                      <a:pt x="275" y="795"/>
                      <a:pt x="268" y="786"/>
                      <a:pt x="260" y="777"/>
                    </a:cubicBezTo>
                    <a:cubicBezTo>
                      <a:pt x="257" y="767"/>
                      <a:pt x="257" y="757"/>
                      <a:pt x="255" y="748"/>
                    </a:cubicBezTo>
                    <a:cubicBezTo>
                      <a:pt x="251" y="739"/>
                      <a:pt x="250" y="731"/>
                      <a:pt x="249" y="722"/>
                    </a:cubicBezTo>
                    <a:cubicBezTo>
                      <a:pt x="249" y="713"/>
                      <a:pt x="245" y="705"/>
                      <a:pt x="241" y="697"/>
                    </a:cubicBezTo>
                    <a:cubicBezTo>
                      <a:pt x="240" y="693"/>
                      <a:pt x="242" y="689"/>
                      <a:pt x="242" y="685"/>
                    </a:cubicBezTo>
                    <a:cubicBezTo>
                      <a:pt x="241" y="680"/>
                      <a:pt x="238" y="674"/>
                      <a:pt x="236" y="670"/>
                    </a:cubicBezTo>
                    <a:cubicBezTo>
                      <a:pt x="230" y="659"/>
                      <a:pt x="230" y="647"/>
                      <a:pt x="230" y="635"/>
                    </a:cubicBezTo>
                    <a:cubicBezTo>
                      <a:pt x="228" y="624"/>
                      <a:pt x="233" y="613"/>
                      <a:pt x="230" y="602"/>
                    </a:cubicBezTo>
                    <a:cubicBezTo>
                      <a:pt x="227" y="590"/>
                      <a:pt x="218" y="580"/>
                      <a:pt x="214" y="568"/>
                    </a:cubicBezTo>
                    <a:cubicBezTo>
                      <a:pt x="213" y="560"/>
                      <a:pt x="207" y="553"/>
                      <a:pt x="205" y="546"/>
                    </a:cubicBezTo>
                    <a:cubicBezTo>
                      <a:pt x="202" y="536"/>
                      <a:pt x="204" y="526"/>
                      <a:pt x="204" y="516"/>
                    </a:cubicBezTo>
                    <a:cubicBezTo>
                      <a:pt x="203" y="499"/>
                      <a:pt x="204" y="483"/>
                      <a:pt x="202" y="466"/>
                    </a:cubicBezTo>
                    <a:cubicBezTo>
                      <a:pt x="204" y="454"/>
                      <a:pt x="206" y="441"/>
                      <a:pt x="203" y="429"/>
                    </a:cubicBezTo>
                    <a:cubicBezTo>
                      <a:pt x="202" y="417"/>
                      <a:pt x="196" y="407"/>
                      <a:pt x="191" y="397"/>
                    </a:cubicBezTo>
                    <a:cubicBezTo>
                      <a:pt x="183" y="386"/>
                      <a:pt x="174" y="376"/>
                      <a:pt x="165" y="365"/>
                    </a:cubicBezTo>
                    <a:cubicBezTo>
                      <a:pt x="162" y="359"/>
                      <a:pt x="158" y="353"/>
                      <a:pt x="159" y="346"/>
                    </a:cubicBezTo>
                    <a:cubicBezTo>
                      <a:pt x="150" y="336"/>
                      <a:pt x="142" y="326"/>
                      <a:pt x="137" y="314"/>
                    </a:cubicBezTo>
                    <a:cubicBezTo>
                      <a:pt x="130" y="303"/>
                      <a:pt x="123" y="292"/>
                      <a:pt x="119" y="279"/>
                    </a:cubicBezTo>
                    <a:cubicBezTo>
                      <a:pt x="119" y="273"/>
                      <a:pt x="113" y="269"/>
                      <a:pt x="112" y="262"/>
                    </a:cubicBezTo>
                    <a:cubicBezTo>
                      <a:pt x="112" y="255"/>
                      <a:pt x="106" y="249"/>
                      <a:pt x="102" y="244"/>
                    </a:cubicBezTo>
                    <a:cubicBezTo>
                      <a:pt x="98" y="235"/>
                      <a:pt x="92" y="228"/>
                      <a:pt x="88" y="220"/>
                    </a:cubicBezTo>
                    <a:cubicBezTo>
                      <a:pt x="86" y="211"/>
                      <a:pt x="79" y="204"/>
                      <a:pt x="77" y="196"/>
                    </a:cubicBezTo>
                    <a:cubicBezTo>
                      <a:pt x="77" y="189"/>
                      <a:pt x="70" y="186"/>
                      <a:pt x="67" y="180"/>
                    </a:cubicBezTo>
                    <a:cubicBezTo>
                      <a:pt x="62" y="176"/>
                      <a:pt x="64" y="168"/>
                      <a:pt x="58" y="164"/>
                    </a:cubicBezTo>
                    <a:cubicBezTo>
                      <a:pt x="53" y="160"/>
                      <a:pt x="50" y="154"/>
                      <a:pt x="48" y="148"/>
                    </a:cubicBezTo>
                    <a:cubicBezTo>
                      <a:pt x="44" y="143"/>
                      <a:pt x="41" y="137"/>
                      <a:pt x="35" y="133"/>
                    </a:cubicBezTo>
                    <a:cubicBezTo>
                      <a:pt x="32" y="130"/>
                      <a:pt x="28" y="129"/>
                      <a:pt x="26" y="125"/>
                    </a:cubicBezTo>
                    <a:cubicBezTo>
                      <a:pt x="18" y="117"/>
                      <a:pt x="14" y="106"/>
                      <a:pt x="8" y="96"/>
                    </a:cubicBezTo>
                    <a:cubicBezTo>
                      <a:pt x="4" y="91"/>
                      <a:pt x="6" y="85"/>
                      <a:pt x="5" y="79"/>
                    </a:cubicBezTo>
                    <a:cubicBezTo>
                      <a:pt x="1" y="70"/>
                      <a:pt x="0" y="60"/>
                      <a:pt x="1" y="51"/>
                    </a:cubicBezTo>
                    <a:cubicBezTo>
                      <a:pt x="0" y="42"/>
                      <a:pt x="2" y="33"/>
                      <a:pt x="1" y="24"/>
                    </a:cubicBezTo>
                    <a:lnTo>
                      <a:pt x="2" y="24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40" name="Myanmar"/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6619451" y="3682733"/>
                <a:ext cx="233335" cy="585256"/>
              </a:xfrm>
              <a:custGeom>
                <a:avLst/>
                <a:gdLst/>
                <a:ahLst/>
                <a:cxnLst>
                  <a:cxn ang="0">
                    <a:pos x="39" y="90"/>
                  </a:cxn>
                  <a:cxn ang="0">
                    <a:pos x="37" y="78"/>
                  </a:cxn>
                  <a:cxn ang="0">
                    <a:pos x="31" y="74"/>
                  </a:cxn>
                  <a:cxn ang="0">
                    <a:pos x="33" y="65"/>
                  </a:cxn>
                  <a:cxn ang="0">
                    <a:pos x="27" y="54"/>
                  </a:cxn>
                  <a:cxn ang="0">
                    <a:pos x="27" y="47"/>
                  </a:cxn>
                  <a:cxn ang="0">
                    <a:pos x="37" y="42"/>
                  </a:cxn>
                  <a:cxn ang="0">
                    <a:pos x="42" y="36"/>
                  </a:cxn>
                  <a:cxn ang="0">
                    <a:pos x="37" y="36"/>
                  </a:cxn>
                  <a:cxn ang="0">
                    <a:pos x="31" y="31"/>
                  </a:cxn>
                  <a:cxn ang="0">
                    <a:pos x="31" y="27"/>
                  </a:cxn>
                  <a:cxn ang="0">
                    <a:pos x="27" y="27"/>
                  </a:cxn>
                  <a:cxn ang="0">
                    <a:pos x="27" y="20"/>
                  </a:cxn>
                  <a:cxn ang="0">
                    <a:pos x="23" y="22"/>
                  </a:cxn>
                  <a:cxn ang="0">
                    <a:pos x="25" y="4"/>
                  </a:cxn>
                  <a:cxn ang="0">
                    <a:pos x="23" y="0"/>
                  </a:cxn>
                  <a:cxn ang="0">
                    <a:pos x="17" y="0"/>
                  </a:cxn>
                  <a:cxn ang="0">
                    <a:pos x="17" y="2"/>
                  </a:cxn>
                  <a:cxn ang="0">
                    <a:pos x="14" y="2"/>
                  </a:cxn>
                  <a:cxn ang="0">
                    <a:pos x="8" y="9"/>
                  </a:cxn>
                  <a:cxn ang="0">
                    <a:pos x="6" y="22"/>
                  </a:cxn>
                  <a:cxn ang="0">
                    <a:pos x="2" y="22"/>
                  </a:cxn>
                  <a:cxn ang="0">
                    <a:pos x="2" y="31"/>
                  </a:cxn>
                  <a:cxn ang="0">
                    <a:pos x="0" y="31"/>
                  </a:cxn>
                  <a:cxn ang="0">
                    <a:pos x="0" y="38"/>
                  </a:cxn>
                  <a:cxn ang="0">
                    <a:pos x="6" y="45"/>
                  </a:cxn>
                  <a:cxn ang="0">
                    <a:pos x="8" y="51"/>
                  </a:cxn>
                  <a:cxn ang="0">
                    <a:pos x="10" y="51"/>
                  </a:cxn>
                  <a:cxn ang="0">
                    <a:pos x="14" y="60"/>
                  </a:cxn>
                  <a:cxn ang="0">
                    <a:pos x="10" y="65"/>
                  </a:cxn>
                  <a:cxn ang="0">
                    <a:pos x="19" y="69"/>
                  </a:cxn>
                  <a:cxn ang="0">
                    <a:pos x="25" y="63"/>
                  </a:cxn>
                  <a:cxn ang="0">
                    <a:pos x="27" y="65"/>
                  </a:cxn>
                  <a:cxn ang="0">
                    <a:pos x="37" y="87"/>
                  </a:cxn>
                  <a:cxn ang="0">
                    <a:pos x="33" y="90"/>
                  </a:cxn>
                  <a:cxn ang="0">
                    <a:pos x="37" y="96"/>
                  </a:cxn>
                  <a:cxn ang="0">
                    <a:pos x="33" y="105"/>
                  </a:cxn>
                  <a:cxn ang="0">
                    <a:pos x="35" y="99"/>
                  </a:cxn>
                  <a:cxn ang="0">
                    <a:pos x="39" y="90"/>
                  </a:cxn>
                </a:cxnLst>
                <a:rect l="0" t="0" r="r" b="b"/>
                <a:pathLst>
                  <a:path w="42" h="105">
                    <a:moveTo>
                      <a:pt x="39" y="90"/>
                    </a:moveTo>
                    <a:lnTo>
                      <a:pt x="37" y="78"/>
                    </a:lnTo>
                    <a:lnTo>
                      <a:pt x="31" y="74"/>
                    </a:lnTo>
                    <a:lnTo>
                      <a:pt x="33" y="65"/>
                    </a:lnTo>
                    <a:lnTo>
                      <a:pt x="27" y="54"/>
                    </a:lnTo>
                    <a:lnTo>
                      <a:pt x="27" y="47"/>
                    </a:lnTo>
                    <a:lnTo>
                      <a:pt x="37" y="42"/>
                    </a:lnTo>
                    <a:lnTo>
                      <a:pt x="42" y="36"/>
                    </a:lnTo>
                    <a:lnTo>
                      <a:pt x="37" y="36"/>
                    </a:lnTo>
                    <a:lnTo>
                      <a:pt x="31" y="31"/>
                    </a:lnTo>
                    <a:lnTo>
                      <a:pt x="31" y="27"/>
                    </a:lnTo>
                    <a:lnTo>
                      <a:pt x="27" y="27"/>
                    </a:lnTo>
                    <a:lnTo>
                      <a:pt x="27" y="20"/>
                    </a:lnTo>
                    <a:lnTo>
                      <a:pt x="23" y="22"/>
                    </a:lnTo>
                    <a:lnTo>
                      <a:pt x="25" y="4"/>
                    </a:lnTo>
                    <a:lnTo>
                      <a:pt x="23" y="0"/>
                    </a:lnTo>
                    <a:lnTo>
                      <a:pt x="17" y="0"/>
                    </a:lnTo>
                    <a:lnTo>
                      <a:pt x="17" y="2"/>
                    </a:lnTo>
                    <a:lnTo>
                      <a:pt x="14" y="2"/>
                    </a:lnTo>
                    <a:lnTo>
                      <a:pt x="8" y="9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31"/>
                    </a:lnTo>
                    <a:lnTo>
                      <a:pt x="0" y="31"/>
                    </a:lnTo>
                    <a:lnTo>
                      <a:pt x="0" y="38"/>
                    </a:lnTo>
                    <a:lnTo>
                      <a:pt x="6" y="45"/>
                    </a:lnTo>
                    <a:lnTo>
                      <a:pt x="8" y="51"/>
                    </a:lnTo>
                    <a:lnTo>
                      <a:pt x="10" y="51"/>
                    </a:lnTo>
                    <a:lnTo>
                      <a:pt x="14" y="60"/>
                    </a:lnTo>
                    <a:lnTo>
                      <a:pt x="10" y="65"/>
                    </a:lnTo>
                    <a:lnTo>
                      <a:pt x="19" y="69"/>
                    </a:lnTo>
                    <a:lnTo>
                      <a:pt x="25" y="63"/>
                    </a:lnTo>
                    <a:lnTo>
                      <a:pt x="27" y="65"/>
                    </a:lnTo>
                    <a:lnTo>
                      <a:pt x="37" y="87"/>
                    </a:lnTo>
                    <a:lnTo>
                      <a:pt x="33" y="90"/>
                    </a:lnTo>
                    <a:lnTo>
                      <a:pt x="37" y="96"/>
                    </a:lnTo>
                    <a:lnTo>
                      <a:pt x="33" y="105"/>
                    </a:lnTo>
                    <a:lnTo>
                      <a:pt x="35" y="99"/>
                    </a:lnTo>
                    <a:lnTo>
                      <a:pt x="39" y="9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617" name="Mozambique"/>
              <p:cNvSpPr>
                <a:spLocks noEditPoints="1"/>
              </p:cNvSpPr>
              <p:nvPr/>
            </p:nvSpPr>
            <p:spPr bwMode="auto">
              <a:xfrm>
                <a:off x="5030353" y="4921797"/>
                <a:ext cx="289047" cy="530748"/>
              </a:xfrm>
              <a:custGeom>
                <a:avLst/>
                <a:gdLst>
                  <a:gd name="T0" fmla="*/ 44945170 w 795"/>
                  <a:gd name="T1" fmla="*/ 21040057 h 1230"/>
                  <a:gd name="T2" fmla="*/ 46134807 w 795"/>
                  <a:gd name="T3" fmla="*/ 21598421 h 1230"/>
                  <a:gd name="T4" fmla="*/ 30536091 w 795"/>
                  <a:gd name="T5" fmla="*/ 49341435 h 1230"/>
                  <a:gd name="T6" fmla="*/ 35163023 w 795"/>
                  <a:gd name="T7" fmla="*/ 56603200 h 1230"/>
                  <a:gd name="T8" fmla="*/ 43094179 w 795"/>
                  <a:gd name="T9" fmla="*/ 65168088 h 1230"/>
                  <a:gd name="T10" fmla="*/ 40847248 w 795"/>
                  <a:gd name="T11" fmla="*/ 80808320 h 1230"/>
                  <a:gd name="T12" fmla="*/ 48646436 w 795"/>
                  <a:gd name="T13" fmla="*/ 93655868 h 1230"/>
                  <a:gd name="T14" fmla="*/ 54066338 w 795"/>
                  <a:gd name="T15" fmla="*/ 78946387 h 1230"/>
                  <a:gd name="T16" fmla="*/ 54462642 w 795"/>
                  <a:gd name="T17" fmla="*/ 56416777 h 1230"/>
                  <a:gd name="T18" fmla="*/ 44284180 w 795"/>
                  <a:gd name="T19" fmla="*/ 40218182 h 1230"/>
                  <a:gd name="T20" fmla="*/ 45605797 w 795"/>
                  <a:gd name="T21" fmla="*/ 17316193 h 1230"/>
                  <a:gd name="T22" fmla="*/ 54727329 w 795"/>
                  <a:gd name="T23" fmla="*/ 15640238 h 1230"/>
                  <a:gd name="T24" fmla="*/ 66624427 w 795"/>
                  <a:gd name="T25" fmla="*/ 16199033 h 1230"/>
                  <a:gd name="T26" fmla="*/ 77596211 w 795"/>
                  <a:gd name="T27" fmla="*/ 12102779 h 1230"/>
                  <a:gd name="T28" fmla="*/ 94913212 w 795"/>
                  <a:gd name="T29" fmla="*/ 7447733 h 1230"/>
                  <a:gd name="T30" fmla="*/ 102316108 w 795"/>
                  <a:gd name="T31" fmla="*/ 1489546 h 1230"/>
                  <a:gd name="T32" fmla="*/ 104299078 w 795"/>
                  <a:gd name="T33" fmla="*/ 2048342 h 1230"/>
                  <a:gd name="T34" fmla="*/ 104166735 w 795"/>
                  <a:gd name="T35" fmla="*/ 10054438 h 1230"/>
                  <a:gd name="T36" fmla="*/ 100861783 w 795"/>
                  <a:gd name="T37" fmla="*/ 23646763 h 1230"/>
                  <a:gd name="T38" fmla="*/ 99804490 w 795"/>
                  <a:gd name="T39" fmla="*/ 36493886 h 1230"/>
                  <a:gd name="T40" fmla="*/ 99936470 w 795"/>
                  <a:gd name="T41" fmla="*/ 49900230 h 1230"/>
                  <a:gd name="T42" fmla="*/ 101258450 w 795"/>
                  <a:gd name="T43" fmla="*/ 55672005 h 1230"/>
                  <a:gd name="T44" fmla="*/ 101787097 w 795"/>
                  <a:gd name="T45" fmla="*/ 61257815 h 1230"/>
                  <a:gd name="T46" fmla="*/ 99540166 w 795"/>
                  <a:gd name="T47" fmla="*/ 69450317 h 1230"/>
                  <a:gd name="T48" fmla="*/ 95045555 w 795"/>
                  <a:gd name="T49" fmla="*/ 77829228 h 1230"/>
                  <a:gd name="T50" fmla="*/ 91079613 w 795"/>
                  <a:gd name="T51" fmla="*/ 84904571 h 1230"/>
                  <a:gd name="T52" fmla="*/ 83544760 w 795"/>
                  <a:gd name="T53" fmla="*/ 93841846 h 1230"/>
                  <a:gd name="T54" fmla="*/ 76274231 w 795"/>
                  <a:gd name="T55" fmla="*/ 96448551 h 1230"/>
                  <a:gd name="T56" fmla="*/ 61865515 w 795"/>
                  <a:gd name="T57" fmla="*/ 109296099 h 1230"/>
                  <a:gd name="T58" fmla="*/ 56048946 w 795"/>
                  <a:gd name="T59" fmla="*/ 118419810 h 1230"/>
                  <a:gd name="T60" fmla="*/ 52876338 w 795"/>
                  <a:gd name="T61" fmla="*/ 120095334 h 1230"/>
                  <a:gd name="T62" fmla="*/ 44548503 w 795"/>
                  <a:gd name="T63" fmla="*/ 129591404 h 1230"/>
                  <a:gd name="T64" fmla="*/ 39128601 w 795"/>
                  <a:gd name="T65" fmla="*/ 140576589 h 1230"/>
                  <a:gd name="T66" fmla="*/ 42036885 w 795"/>
                  <a:gd name="T67" fmla="*/ 148769091 h 1230"/>
                  <a:gd name="T68" fmla="*/ 43755169 w 795"/>
                  <a:gd name="T69" fmla="*/ 163850958 h 1230"/>
                  <a:gd name="T70" fmla="*/ 44945170 w 795"/>
                  <a:gd name="T71" fmla="*/ 171485096 h 1230"/>
                  <a:gd name="T72" fmla="*/ 40979228 w 795"/>
                  <a:gd name="T73" fmla="*/ 193083511 h 1230"/>
                  <a:gd name="T74" fmla="*/ 41904542 w 795"/>
                  <a:gd name="T75" fmla="*/ 193455897 h 1230"/>
                  <a:gd name="T76" fmla="*/ 33841042 w 795"/>
                  <a:gd name="T77" fmla="*/ 202765559 h 1230"/>
                  <a:gd name="T78" fmla="*/ 21414928 w 795"/>
                  <a:gd name="T79" fmla="*/ 209096128 h 1230"/>
                  <a:gd name="T80" fmla="*/ 13747731 w 795"/>
                  <a:gd name="T81" fmla="*/ 217102653 h 1230"/>
                  <a:gd name="T82" fmla="*/ 17581330 w 795"/>
                  <a:gd name="T83" fmla="*/ 218778176 h 1230"/>
                  <a:gd name="T84" fmla="*/ 16259349 w 795"/>
                  <a:gd name="T85" fmla="*/ 228832664 h 1230"/>
                  <a:gd name="T86" fmla="*/ 9517827 w 795"/>
                  <a:gd name="T87" fmla="*/ 228274301 h 1230"/>
                  <a:gd name="T88" fmla="*/ 9385483 w 795"/>
                  <a:gd name="T89" fmla="*/ 216171471 h 1230"/>
                  <a:gd name="T90" fmla="*/ 10178817 w 795"/>
                  <a:gd name="T91" fmla="*/ 208723742 h 1230"/>
                  <a:gd name="T92" fmla="*/ 8989180 w 795"/>
                  <a:gd name="T93" fmla="*/ 183215054 h 1230"/>
                  <a:gd name="T94" fmla="*/ 6609542 w 795"/>
                  <a:gd name="T95" fmla="*/ 166085277 h 1230"/>
                  <a:gd name="T96" fmla="*/ 17845653 w 795"/>
                  <a:gd name="T97" fmla="*/ 148583113 h 1230"/>
                  <a:gd name="T98" fmla="*/ 24719885 w 795"/>
                  <a:gd name="T99" fmla="*/ 132942882 h 1230"/>
                  <a:gd name="T100" fmla="*/ 23926551 w 795"/>
                  <a:gd name="T101" fmla="*/ 121584879 h 1230"/>
                  <a:gd name="T102" fmla="*/ 26306189 w 795"/>
                  <a:gd name="T103" fmla="*/ 110785645 h 1230"/>
                  <a:gd name="T104" fmla="*/ 26041502 w 795"/>
                  <a:gd name="T105" fmla="*/ 92352300 h 1230"/>
                  <a:gd name="T106" fmla="*/ 18374663 w 795"/>
                  <a:gd name="T107" fmla="*/ 83229047 h 1230"/>
                  <a:gd name="T108" fmla="*/ 4097923 w 795"/>
                  <a:gd name="T109" fmla="*/ 76525660 h 1230"/>
                  <a:gd name="T110" fmla="*/ 2643962 w 795"/>
                  <a:gd name="T111" fmla="*/ 68519567 h 1230"/>
                  <a:gd name="T112" fmla="*/ 15069712 w 795"/>
                  <a:gd name="T113" fmla="*/ 56416777 h 123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95"/>
                  <a:gd name="T172" fmla="*/ 0 h 1230"/>
                  <a:gd name="T173" fmla="*/ 795 w 795"/>
                  <a:gd name="T174" fmla="*/ 1230 h 1230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95" h="1230">
                    <a:moveTo>
                      <a:pt x="340" y="113"/>
                    </a:moveTo>
                    <a:cubicBezTo>
                      <a:pt x="341" y="126"/>
                      <a:pt x="352" y="109"/>
                      <a:pt x="341" y="112"/>
                    </a:cubicBezTo>
                    <a:cubicBezTo>
                      <a:pt x="340" y="113"/>
                      <a:pt x="340" y="113"/>
                      <a:pt x="340" y="113"/>
                    </a:cubicBezTo>
                    <a:close/>
                    <a:moveTo>
                      <a:pt x="348" y="118"/>
                    </a:moveTo>
                    <a:cubicBezTo>
                      <a:pt x="349" y="132"/>
                      <a:pt x="362" y="111"/>
                      <a:pt x="350" y="115"/>
                    </a:cubicBezTo>
                    <a:cubicBezTo>
                      <a:pt x="349" y="116"/>
                      <a:pt x="349" y="116"/>
                      <a:pt x="349" y="116"/>
                    </a:cubicBezTo>
                    <a:lnTo>
                      <a:pt x="348" y="118"/>
                    </a:lnTo>
                    <a:close/>
                    <a:moveTo>
                      <a:pt x="226" y="267"/>
                    </a:moveTo>
                    <a:cubicBezTo>
                      <a:pt x="229" y="267"/>
                      <a:pt x="231" y="266"/>
                      <a:pt x="231" y="265"/>
                    </a:cubicBezTo>
                    <a:cubicBezTo>
                      <a:pt x="233" y="265"/>
                      <a:pt x="233" y="265"/>
                      <a:pt x="233" y="265"/>
                    </a:cubicBezTo>
                    <a:cubicBezTo>
                      <a:pt x="242" y="272"/>
                      <a:pt x="243" y="286"/>
                      <a:pt x="251" y="296"/>
                    </a:cubicBezTo>
                    <a:cubicBezTo>
                      <a:pt x="253" y="278"/>
                      <a:pt x="261" y="322"/>
                      <a:pt x="266" y="304"/>
                    </a:cubicBezTo>
                    <a:cubicBezTo>
                      <a:pt x="277" y="304"/>
                      <a:pt x="291" y="301"/>
                      <a:pt x="303" y="298"/>
                    </a:cubicBezTo>
                    <a:cubicBezTo>
                      <a:pt x="314" y="292"/>
                      <a:pt x="319" y="300"/>
                      <a:pt x="324" y="308"/>
                    </a:cubicBezTo>
                    <a:cubicBezTo>
                      <a:pt x="326" y="322"/>
                      <a:pt x="330" y="336"/>
                      <a:pt x="326" y="350"/>
                    </a:cubicBezTo>
                    <a:cubicBezTo>
                      <a:pt x="330" y="363"/>
                      <a:pt x="318" y="370"/>
                      <a:pt x="314" y="381"/>
                    </a:cubicBezTo>
                    <a:cubicBezTo>
                      <a:pt x="319" y="396"/>
                      <a:pt x="297" y="397"/>
                      <a:pt x="300" y="410"/>
                    </a:cubicBezTo>
                    <a:cubicBezTo>
                      <a:pt x="308" y="416"/>
                      <a:pt x="312" y="424"/>
                      <a:pt x="309" y="434"/>
                    </a:cubicBezTo>
                    <a:cubicBezTo>
                      <a:pt x="320" y="444"/>
                      <a:pt x="328" y="457"/>
                      <a:pt x="339" y="468"/>
                    </a:cubicBezTo>
                    <a:cubicBezTo>
                      <a:pt x="342" y="480"/>
                      <a:pt x="361" y="478"/>
                      <a:pt x="357" y="490"/>
                    </a:cubicBezTo>
                    <a:cubicBezTo>
                      <a:pt x="343" y="496"/>
                      <a:pt x="357" y="513"/>
                      <a:pt x="368" y="503"/>
                    </a:cubicBezTo>
                    <a:cubicBezTo>
                      <a:pt x="366" y="492"/>
                      <a:pt x="373" y="478"/>
                      <a:pt x="365" y="469"/>
                    </a:cubicBezTo>
                    <a:cubicBezTo>
                      <a:pt x="351" y="460"/>
                      <a:pt x="374" y="454"/>
                      <a:pt x="371" y="442"/>
                    </a:cubicBezTo>
                    <a:cubicBezTo>
                      <a:pt x="375" y="421"/>
                      <a:pt x="398" y="437"/>
                      <a:pt x="409" y="424"/>
                    </a:cubicBezTo>
                    <a:cubicBezTo>
                      <a:pt x="415" y="410"/>
                      <a:pt x="414" y="395"/>
                      <a:pt x="417" y="381"/>
                    </a:cubicBezTo>
                    <a:cubicBezTo>
                      <a:pt x="417" y="367"/>
                      <a:pt x="412" y="353"/>
                      <a:pt x="423" y="341"/>
                    </a:cubicBezTo>
                    <a:cubicBezTo>
                      <a:pt x="424" y="328"/>
                      <a:pt x="423" y="313"/>
                      <a:pt x="412" y="303"/>
                    </a:cubicBezTo>
                    <a:cubicBezTo>
                      <a:pt x="402" y="293"/>
                      <a:pt x="399" y="278"/>
                      <a:pt x="389" y="268"/>
                    </a:cubicBezTo>
                    <a:cubicBezTo>
                      <a:pt x="379" y="258"/>
                      <a:pt x="375" y="245"/>
                      <a:pt x="365" y="237"/>
                    </a:cubicBezTo>
                    <a:cubicBezTo>
                      <a:pt x="357" y="224"/>
                      <a:pt x="337" y="233"/>
                      <a:pt x="335" y="216"/>
                    </a:cubicBezTo>
                    <a:cubicBezTo>
                      <a:pt x="336" y="201"/>
                      <a:pt x="334" y="186"/>
                      <a:pt x="334" y="170"/>
                    </a:cubicBezTo>
                    <a:cubicBezTo>
                      <a:pt x="331" y="156"/>
                      <a:pt x="327" y="143"/>
                      <a:pt x="325" y="129"/>
                    </a:cubicBezTo>
                    <a:cubicBezTo>
                      <a:pt x="327" y="115"/>
                      <a:pt x="341" y="106"/>
                      <a:pt x="345" y="93"/>
                    </a:cubicBezTo>
                    <a:cubicBezTo>
                      <a:pt x="342" y="76"/>
                      <a:pt x="360" y="82"/>
                      <a:pt x="371" y="81"/>
                    </a:cubicBezTo>
                    <a:cubicBezTo>
                      <a:pt x="372" y="80"/>
                      <a:pt x="372" y="80"/>
                      <a:pt x="372" y="80"/>
                    </a:cubicBezTo>
                    <a:cubicBezTo>
                      <a:pt x="385" y="85"/>
                      <a:pt x="400" y="80"/>
                      <a:pt x="414" y="84"/>
                    </a:cubicBezTo>
                    <a:cubicBezTo>
                      <a:pt x="425" y="84"/>
                      <a:pt x="437" y="60"/>
                      <a:pt x="446" y="78"/>
                    </a:cubicBezTo>
                    <a:cubicBezTo>
                      <a:pt x="461" y="77"/>
                      <a:pt x="457" y="99"/>
                      <a:pt x="472" y="93"/>
                    </a:cubicBezTo>
                    <a:cubicBezTo>
                      <a:pt x="483" y="91"/>
                      <a:pt x="497" y="102"/>
                      <a:pt x="504" y="87"/>
                    </a:cubicBezTo>
                    <a:cubicBezTo>
                      <a:pt x="515" y="80"/>
                      <a:pt x="524" y="88"/>
                      <a:pt x="533" y="93"/>
                    </a:cubicBezTo>
                    <a:cubicBezTo>
                      <a:pt x="543" y="95"/>
                      <a:pt x="553" y="98"/>
                      <a:pt x="562" y="91"/>
                    </a:cubicBezTo>
                    <a:cubicBezTo>
                      <a:pt x="579" y="90"/>
                      <a:pt x="580" y="75"/>
                      <a:pt x="587" y="65"/>
                    </a:cubicBezTo>
                    <a:cubicBezTo>
                      <a:pt x="603" y="56"/>
                      <a:pt x="616" y="67"/>
                      <a:pt x="628" y="74"/>
                    </a:cubicBezTo>
                    <a:cubicBezTo>
                      <a:pt x="642" y="66"/>
                      <a:pt x="656" y="56"/>
                      <a:pt x="673" y="56"/>
                    </a:cubicBezTo>
                    <a:cubicBezTo>
                      <a:pt x="691" y="62"/>
                      <a:pt x="701" y="41"/>
                      <a:pt x="718" y="40"/>
                    </a:cubicBezTo>
                    <a:cubicBezTo>
                      <a:pt x="728" y="38"/>
                      <a:pt x="735" y="31"/>
                      <a:pt x="745" y="28"/>
                    </a:cubicBezTo>
                    <a:cubicBezTo>
                      <a:pt x="753" y="20"/>
                      <a:pt x="762" y="14"/>
                      <a:pt x="772" y="9"/>
                    </a:cubicBezTo>
                    <a:cubicBezTo>
                      <a:pt x="774" y="8"/>
                      <a:pt x="774" y="8"/>
                      <a:pt x="774" y="8"/>
                    </a:cubicBezTo>
                    <a:cubicBezTo>
                      <a:pt x="780" y="0"/>
                      <a:pt x="780" y="0"/>
                      <a:pt x="780" y="0"/>
                    </a:cubicBezTo>
                    <a:cubicBezTo>
                      <a:pt x="781" y="0"/>
                      <a:pt x="781" y="0"/>
                      <a:pt x="781" y="0"/>
                    </a:cubicBezTo>
                    <a:cubicBezTo>
                      <a:pt x="784" y="3"/>
                      <a:pt x="785" y="9"/>
                      <a:pt x="789" y="11"/>
                    </a:cubicBezTo>
                    <a:cubicBezTo>
                      <a:pt x="793" y="13"/>
                      <a:pt x="795" y="20"/>
                      <a:pt x="791" y="22"/>
                    </a:cubicBezTo>
                    <a:cubicBezTo>
                      <a:pt x="790" y="28"/>
                      <a:pt x="791" y="35"/>
                      <a:pt x="790" y="41"/>
                    </a:cubicBezTo>
                    <a:cubicBezTo>
                      <a:pt x="792" y="45"/>
                      <a:pt x="791" y="50"/>
                      <a:pt x="788" y="54"/>
                    </a:cubicBezTo>
                    <a:cubicBezTo>
                      <a:pt x="784" y="60"/>
                      <a:pt x="779" y="66"/>
                      <a:pt x="776" y="74"/>
                    </a:cubicBezTo>
                    <a:cubicBezTo>
                      <a:pt x="772" y="81"/>
                      <a:pt x="767" y="89"/>
                      <a:pt x="765" y="98"/>
                    </a:cubicBezTo>
                    <a:cubicBezTo>
                      <a:pt x="761" y="107"/>
                      <a:pt x="764" y="117"/>
                      <a:pt x="763" y="127"/>
                    </a:cubicBezTo>
                    <a:cubicBezTo>
                      <a:pt x="761" y="142"/>
                      <a:pt x="765" y="158"/>
                      <a:pt x="764" y="173"/>
                    </a:cubicBezTo>
                    <a:cubicBezTo>
                      <a:pt x="763" y="177"/>
                      <a:pt x="765" y="183"/>
                      <a:pt x="762" y="186"/>
                    </a:cubicBezTo>
                    <a:cubicBezTo>
                      <a:pt x="760" y="189"/>
                      <a:pt x="753" y="191"/>
                      <a:pt x="755" y="196"/>
                    </a:cubicBezTo>
                    <a:cubicBezTo>
                      <a:pt x="757" y="200"/>
                      <a:pt x="754" y="207"/>
                      <a:pt x="761" y="206"/>
                    </a:cubicBezTo>
                    <a:cubicBezTo>
                      <a:pt x="760" y="213"/>
                      <a:pt x="759" y="221"/>
                      <a:pt x="759" y="229"/>
                    </a:cubicBezTo>
                    <a:cubicBezTo>
                      <a:pt x="757" y="242"/>
                      <a:pt x="754" y="255"/>
                      <a:pt x="756" y="268"/>
                    </a:cubicBezTo>
                    <a:cubicBezTo>
                      <a:pt x="755" y="274"/>
                      <a:pt x="759" y="280"/>
                      <a:pt x="755" y="286"/>
                    </a:cubicBezTo>
                    <a:cubicBezTo>
                      <a:pt x="752" y="290"/>
                      <a:pt x="753" y="293"/>
                      <a:pt x="758" y="296"/>
                    </a:cubicBezTo>
                    <a:cubicBezTo>
                      <a:pt x="762" y="291"/>
                      <a:pt x="765" y="293"/>
                      <a:pt x="766" y="299"/>
                    </a:cubicBezTo>
                    <a:cubicBezTo>
                      <a:pt x="769" y="303"/>
                      <a:pt x="763" y="306"/>
                      <a:pt x="761" y="309"/>
                    </a:cubicBezTo>
                    <a:cubicBezTo>
                      <a:pt x="756" y="314"/>
                      <a:pt x="767" y="312"/>
                      <a:pt x="769" y="316"/>
                    </a:cubicBezTo>
                    <a:cubicBezTo>
                      <a:pt x="773" y="319"/>
                      <a:pt x="769" y="325"/>
                      <a:pt x="770" y="329"/>
                    </a:cubicBezTo>
                    <a:cubicBezTo>
                      <a:pt x="766" y="336"/>
                      <a:pt x="761" y="342"/>
                      <a:pt x="759" y="350"/>
                    </a:cubicBezTo>
                    <a:cubicBezTo>
                      <a:pt x="757" y="358"/>
                      <a:pt x="750" y="362"/>
                      <a:pt x="745" y="368"/>
                    </a:cubicBezTo>
                    <a:cubicBezTo>
                      <a:pt x="740" y="371"/>
                      <a:pt x="751" y="371"/>
                      <a:pt x="753" y="373"/>
                    </a:cubicBezTo>
                    <a:cubicBezTo>
                      <a:pt x="752" y="380"/>
                      <a:pt x="751" y="387"/>
                      <a:pt x="748" y="394"/>
                    </a:cubicBezTo>
                    <a:cubicBezTo>
                      <a:pt x="745" y="397"/>
                      <a:pt x="740" y="398"/>
                      <a:pt x="737" y="400"/>
                    </a:cubicBezTo>
                    <a:cubicBezTo>
                      <a:pt x="731" y="406"/>
                      <a:pt x="725" y="412"/>
                      <a:pt x="719" y="418"/>
                    </a:cubicBezTo>
                    <a:cubicBezTo>
                      <a:pt x="713" y="423"/>
                      <a:pt x="709" y="430"/>
                      <a:pt x="706" y="438"/>
                    </a:cubicBezTo>
                    <a:cubicBezTo>
                      <a:pt x="700" y="442"/>
                      <a:pt x="693" y="444"/>
                      <a:pt x="687" y="448"/>
                    </a:cubicBezTo>
                    <a:cubicBezTo>
                      <a:pt x="679" y="449"/>
                      <a:pt x="687" y="452"/>
                      <a:pt x="689" y="456"/>
                    </a:cubicBezTo>
                    <a:cubicBezTo>
                      <a:pt x="689" y="460"/>
                      <a:pt x="685" y="464"/>
                      <a:pt x="683" y="468"/>
                    </a:cubicBezTo>
                    <a:cubicBezTo>
                      <a:pt x="670" y="477"/>
                      <a:pt x="656" y="486"/>
                      <a:pt x="640" y="491"/>
                    </a:cubicBezTo>
                    <a:cubicBezTo>
                      <a:pt x="637" y="495"/>
                      <a:pt x="635" y="500"/>
                      <a:pt x="632" y="504"/>
                    </a:cubicBezTo>
                    <a:cubicBezTo>
                      <a:pt x="628" y="508"/>
                      <a:pt x="621" y="510"/>
                      <a:pt x="617" y="513"/>
                    </a:cubicBezTo>
                    <a:cubicBezTo>
                      <a:pt x="612" y="517"/>
                      <a:pt x="605" y="513"/>
                      <a:pt x="600" y="514"/>
                    </a:cubicBezTo>
                    <a:cubicBezTo>
                      <a:pt x="592" y="513"/>
                      <a:pt x="584" y="516"/>
                      <a:pt x="577" y="518"/>
                    </a:cubicBezTo>
                    <a:cubicBezTo>
                      <a:pt x="556" y="526"/>
                      <a:pt x="535" y="535"/>
                      <a:pt x="515" y="545"/>
                    </a:cubicBezTo>
                    <a:cubicBezTo>
                      <a:pt x="501" y="553"/>
                      <a:pt x="488" y="563"/>
                      <a:pt x="475" y="573"/>
                    </a:cubicBezTo>
                    <a:cubicBezTo>
                      <a:pt x="472" y="577"/>
                      <a:pt x="472" y="584"/>
                      <a:pt x="468" y="587"/>
                    </a:cubicBezTo>
                    <a:cubicBezTo>
                      <a:pt x="463" y="593"/>
                      <a:pt x="455" y="590"/>
                      <a:pt x="449" y="593"/>
                    </a:cubicBezTo>
                    <a:cubicBezTo>
                      <a:pt x="443" y="595"/>
                      <a:pt x="453" y="598"/>
                      <a:pt x="454" y="601"/>
                    </a:cubicBezTo>
                    <a:cubicBezTo>
                      <a:pt x="444" y="613"/>
                      <a:pt x="432" y="623"/>
                      <a:pt x="424" y="636"/>
                    </a:cubicBezTo>
                    <a:cubicBezTo>
                      <a:pt x="422" y="641"/>
                      <a:pt x="418" y="642"/>
                      <a:pt x="414" y="638"/>
                    </a:cubicBezTo>
                    <a:cubicBezTo>
                      <a:pt x="412" y="634"/>
                      <a:pt x="412" y="629"/>
                      <a:pt x="410" y="625"/>
                    </a:cubicBezTo>
                    <a:cubicBezTo>
                      <a:pt x="406" y="631"/>
                      <a:pt x="403" y="638"/>
                      <a:pt x="400" y="645"/>
                    </a:cubicBezTo>
                    <a:cubicBezTo>
                      <a:pt x="396" y="648"/>
                      <a:pt x="389" y="648"/>
                      <a:pt x="386" y="653"/>
                    </a:cubicBezTo>
                    <a:cubicBezTo>
                      <a:pt x="377" y="663"/>
                      <a:pt x="367" y="672"/>
                      <a:pt x="357" y="681"/>
                    </a:cubicBezTo>
                    <a:cubicBezTo>
                      <a:pt x="351" y="687"/>
                      <a:pt x="345" y="692"/>
                      <a:pt x="337" y="696"/>
                    </a:cubicBezTo>
                    <a:cubicBezTo>
                      <a:pt x="330" y="700"/>
                      <a:pt x="325" y="706"/>
                      <a:pt x="319" y="712"/>
                    </a:cubicBezTo>
                    <a:cubicBezTo>
                      <a:pt x="315" y="715"/>
                      <a:pt x="309" y="715"/>
                      <a:pt x="304" y="716"/>
                    </a:cubicBezTo>
                    <a:cubicBezTo>
                      <a:pt x="302" y="729"/>
                      <a:pt x="298" y="742"/>
                      <a:pt x="296" y="755"/>
                    </a:cubicBezTo>
                    <a:cubicBezTo>
                      <a:pt x="297" y="759"/>
                      <a:pt x="296" y="764"/>
                      <a:pt x="298" y="768"/>
                    </a:cubicBezTo>
                    <a:cubicBezTo>
                      <a:pt x="304" y="774"/>
                      <a:pt x="311" y="778"/>
                      <a:pt x="315" y="784"/>
                    </a:cubicBezTo>
                    <a:cubicBezTo>
                      <a:pt x="319" y="788"/>
                      <a:pt x="318" y="794"/>
                      <a:pt x="318" y="799"/>
                    </a:cubicBezTo>
                    <a:cubicBezTo>
                      <a:pt x="320" y="802"/>
                      <a:pt x="321" y="807"/>
                      <a:pt x="320" y="811"/>
                    </a:cubicBezTo>
                    <a:cubicBezTo>
                      <a:pt x="322" y="824"/>
                      <a:pt x="326" y="837"/>
                      <a:pt x="329" y="850"/>
                    </a:cubicBezTo>
                    <a:cubicBezTo>
                      <a:pt x="333" y="860"/>
                      <a:pt x="331" y="870"/>
                      <a:pt x="331" y="880"/>
                    </a:cubicBezTo>
                    <a:cubicBezTo>
                      <a:pt x="330" y="883"/>
                      <a:pt x="331" y="893"/>
                      <a:pt x="334" y="888"/>
                    </a:cubicBezTo>
                    <a:cubicBezTo>
                      <a:pt x="338" y="883"/>
                      <a:pt x="341" y="884"/>
                      <a:pt x="345" y="889"/>
                    </a:cubicBezTo>
                    <a:cubicBezTo>
                      <a:pt x="344" y="900"/>
                      <a:pt x="342" y="910"/>
                      <a:pt x="340" y="921"/>
                    </a:cubicBezTo>
                    <a:cubicBezTo>
                      <a:pt x="336" y="936"/>
                      <a:pt x="335" y="952"/>
                      <a:pt x="331" y="967"/>
                    </a:cubicBezTo>
                    <a:cubicBezTo>
                      <a:pt x="323" y="983"/>
                      <a:pt x="319" y="1001"/>
                      <a:pt x="312" y="1017"/>
                    </a:cubicBezTo>
                    <a:cubicBezTo>
                      <a:pt x="308" y="1023"/>
                      <a:pt x="310" y="1030"/>
                      <a:pt x="310" y="1037"/>
                    </a:cubicBezTo>
                    <a:cubicBezTo>
                      <a:pt x="313" y="1032"/>
                      <a:pt x="315" y="1026"/>
                      <a:pt x="319" y="1022"/>
                    </a:cubicBezTo>
                    <a:cubicBezTo>
                      <a:pt x="321" y="1020"/>
                      <a:pt x="328" y="1011"/>
                      <a:pt x="326" y="1018"/>
                    </a:cubicBezTo>
                    <a:cubicBezTo>
                      <a:pt x="324" y="1025"/>
                      <a:pt x="322" y="1033"/>
                      <a:pt x="317" y="1039"/>
                    </a:cubicBezTo>
                    <a:cubicBezTo>
                      <a:pt x="313" y="1049"/>
                      <a:pt x="306" y="1056"/>
                      <a:pt x="298" y="1064"/>
                    </a:cubicBezTo>
                    <a:cubicBezTo>
                      <a:pt x="293" y="1070"/>
                      <a:pt x="286" y="1075"/>
                      <a:pt x="279" y="1079"/>
                    </a:cubicBezTo>
                    <a:cubicBezTo>
                      <a:pt x="272" y="1085"/>
                      <a:pt x="264" y="1087"/>
                      <a:pt x="256" y="1089"/>
                    </a:cubicBezTo>
                    <a:cubicBezTo>
                      <a:pt x="249" y="1093"/>
                      <a:pt x="240" y="1093"/>
                      <a:pt x="232" y="1093"/>
                    </a:cubicBezTo>
                    <a:cubicBezTo>
                      <a:pt x="215" y="1098"/>
                      <a:pt x="198" y="1105"/>
                      <a:pt x="181" y="1112"/>
                    </a:cubicBezTo>
                    <a:cubicBezTo>
                      <a:pt x="174" y="1114"/>
                      <a:pt x="168" y="1119"/>
                      <a:pt x="162" y="1123"/>
                    </a:cubicBezTo>
                    <a:cubicBezTo>
                      <a:pt x="154" y="1126"/>
                      <a:pt x="146" y="1130"/>
                      <a:pt x="138" y="1131"/>
                    </a:cubicBezTo>
                    <a:cubicBezTo>
                      <a:pt x="127" y="1137"/>
                      <a:pt x="123" y="1150"/>
                      <a:pt x="114" y="1158"/>
                    </a:cubicBezTo>
                    <a:cubicBezTo>
                      <a:pt x="111" y="1161"/>
                      <a:pt x="109" y="1167"/>
                      <a:pt x="104" y="1166"/>
                    </a:cubicBezTo>
                    <a:cubicBezTo>
                      <a:pt x="108" y="1170"/>
                      <a:pt x="112" y="1173"/>
                      <a:pt x="114" y="1177"/>
                    </a:cubicBezTo>
                    <a:cubicBezTo>
                      <a:pt x="117" y="1180"/>
                      <a:pt x="118" y="1189"/>
                      <a:pt x="122" y="1187"/>
                    </a:cubicBezTo>
                    <a:cubicBezTo>
                      <a:pt x="127" y="1184"/>
                      <a:pt x="131" y="1180"/>
                      <a:pt x="133" y="1175"/>
                    </a:cubicBezTo>
                    <a:cubicBezTo>
                      <a:pt x="130" y="1186"/>
                      <a:pt x="128" y="1198"/>
                      <a:pt x="127" y="1209"/>
                    </a:cubicBezTo>
                    <a:cubicBezTo>
                      <a:pt x="126" y="1213"/>
                      <a:pt x="126" y="1219"/>
                      <a:pt x="124" y="1221"/>
                    </a:cubicBezTo>
                    <a:cubicBezTo>
                      <a:pt x="124" y="1224"/>
                      <a:pt x="123" y="1227"/>
                      <a:pt x="123" y="1229"/>
                    </a:cubicBezTo>
                    <a:cubicBezTo>
                      <a:pt x="122" y="1229"/>
                      <a:pt x="122" y="1229"/>
                      <a:pt x="122" y="1229"/>
                    </a:cubicBezTo>
                    <a:cubicBezTo>
                      <a:pt x="119" y="1229"/>
                      <a:pt x="115" y="1229"/>
                      <a:pt x="111" y="1229"/>
                    </a:cubicBezTo>
                    <a:cubicBezTo>
                      <a:pt x="98" y="1230"/>
                      <a:pt x="85" y="1227"/>
                      <a:pt x="72" y="1226"/>
                    </a:cubicBezTo>
                    <a:cubicBezTo>
                      <a:pt x="72" y="1226"/>
                      <a:pt x="72" y="1226"/>
                      <a:pt x="72" y="1226"/>
                    </a:cubicBezTo>
                    <a:cubicBezTo>
                      <a:pt x="80" y="1225"/>
                      <a:pt x="76" y="1207"/>
                      <a:pt x="77" y="1200"/>
                    </a:cubicBezTo>
                    <a:cubicBezTo>
                      <a:pt x="69" y="1187"/>
                      <a:pt x="89" y="1168"/>
                      <a:pt x="71" y="1161"/>
                    </a:cubicBezTo>
                    <a:cubicBezTo>
                      <a:pt x="69" y="1161"/>
                      <a:pt x="69" y="1161"/>
                      <a:pt x="69" y="1161"/>
                    </a:cubicBezTo>
                    <a:cubicBezTo>
                      <a:pt x="69" y="1160"/>
                      <a:pt x="70" y="1159"/>
                      <a:pt x="71" y="1157"/>
                    </a:cubicBezTo>
                    <a:cubicBezTo>
                      <a:pt x="66" y="1144"/>
                      <a:pt x="82" y="1135"/>
                      <a:pt x="77" y="1121"/>
                    </a:cubicBezTo>
                    <a:cubicBezTo>
                      <a:pt x="84" y="1100"/>
                      <a:pt x="80" y="1076"/>
                      <a:pt x="85" y="1054"/>
                    </a:cubicBezTo>
                    <a:cubicBezTo>
                      <a:pt x="89" y="1041"/>
                      <a:pt x="76" y="1030"/>
                      <a:pt x="80" y="1017"/>
                    </a:cubicBezTo>
                    <a:cubicBezTo>
                      <a:pt x="78" y="1005"/>
                      <a:pt x="67" y="997"/>
                      <a:pt x="68" y="984"/>
                    </a:cubicBezTo>
                    <a:cubicBezTo>
                      <a:pt x="57" y="975"/>
                      <a:pt x="62" y="962"/>
                      <a:pt x="62" y="950"/>
                    </a:cubicBezTo>
                    <a:cubicBezTo>
                      <a:pt x="58" y="932"/>
                      <a:pt x="54" y="913"/>
                      <a:pt x="50" y="895"/>
                    </a:cubicBezTo>
                    <a:cubicBezTo>
                      <a:pt x="50" y="892"/>
                      <a:pt x="50" y="892"/>
                      <a:pt x="50" y="892"/>
                    </a:cubicBezTo>
                    <a:cubicBezTo>
                      <a:pt x="51" y="892"/>
                      <a:pt x="52" y="893"/>
                      <a:pt x="54" y="893"/>
                    </a:cubicBezTo>
                    <a:cubicBezTo>
                      <a:pt x="81" y="868"/>
                      <a:pt x="107" y="842"/>
                      <a:pt x="133" y="816"/>
                    </a:cubicBezTo>
                    <a:cubicBezTo>
                      <a:pt x="147" y="817"/>
                      <a:pt x="129" y="805"/>
                      <a:pt x="135" y="798"/>
                    </a:cubicBezTo>
                    <a:cubicBezTo>
                      <a:pt x="150" y="790"/>
                      <a:pt x="142" y="774"/>
                      <a:pt x="146" y="762"/>
                    </a:cubicBezTo>
                    <a:cubicBezTo>
                      <a:pt x="159" y="759"/>
                      <a:pt x="165" y="749"/>
                      <a:pt x="173" y="739"/>
                    </a:cubicBezTo>
                    <a:cubicBezTo>
                      <a:pt x="174" y="728"/>
                      <a:pt x="183" y="722"/>
                      <a:pt x="187" y="714"/>
                    </a:cubicBezTo>
                    <a:cubicBezTo>
                      <a:pt x="192" y="706"/>
                      <a:pt x="188" y="700"/>
                      <a:pt x="185" y="693"/>
                    </a:cubicBezTo>
                    <a:cubicBezTo>
                      <a:pt x="177" y="696"/>
                      <a:pt x="174" y="690"/>
                      <a:pt x="178" y="681"/>
                    </a:cubicBezTo>
                    <a:cubicBezTo>
                      <a:pt x="168" y="674"/>
                      <a:pt x="181" y="663"/>
                      <a:pt x="181" y="653"/>
                    </a:cubicBezTo>
                    <a:cubicBezTo>
                      <a:pt x="189" y="641"/>
                      <a:pt x="164" y="646"/>
                      <a:pt x="172" y="636"/>
                    </a:cubicBezTo>
                    <a:cubicBezTo>
                      <a:pt x="166" y="620"/>
                      <a:pt x="192" y="631"/>
                      <a:pt x="189" y="617"/>
                    </a:cubicBezTo>
                    <a:cubicBezTo>
                      <a:pt x="180" y="607"/>
                      <a:pt x="196" y="603"/>
                      <a:pt x="199" y="595"/>
                    </a:cubicBezTo>
                    <a:cubicBezTo>
                      <a:pt x="194" y="587"/>
                      <a:pt x="196" y="579"/>
                      <a:pt x="194" y="570"/>
                    </a:cubicBezTo>
                    <a:cubicBezTo>
                      <a:pt x="190" y="556"/>
                      <a:pt x="209" y="544"/>
                      <a:pt x="198" y="531"/>
                    </a:cubicBezTo>
                    <a:cubicBezTo>
                      <a:pt x="204" y="520"/>
                      <a:pt x="202" y="507"/>
                      <a:pt x="197" y="496"/>
                    </a:cubicBezTo>
                    <a:cubicBezTo>
                      <a:pt x="183" y="486"/>
                      <a:pt x="211" y="475"/>
                      <a:pt x="198" y="469"/>
                    </a:cubicBezTo>
                    <a:cubicBezTo>
                      <a:pt x="183" y="475"/>
                      <a:pt x="184" y="456"/>
                      <a:pt x="171" y="454"/>
                    </a:cubicBezTo>
                    <a:cubicBezTo>
                      <a:pt x="161" y="449"/>
                      <a:pt x="150" y="446"/>
                      <a:pt x="139" y="447"/>
                    </a:cubicBezTo>
                    <a:cubicBezTo>
                      <a:pt x="123" y="448"/>
                      <a:pt x="119" y="424"/>
                      <a:pt x="102" y="427"/>
                    </a:cubicBezTo>
                    <a:cubicBezTo>
                      <a:pt x="88" y="425"/>
                      <a:pt x="80" y="404"/>
                      <a:pt x="65" y="416"/>
                    </a:cubicBezTo>
                    <a:cubicBezTo>
                      <a:pt x="55" y="411"/>
                      <a:pt x="43" y="411"/>
                      <a:pt x="31" y="411"/>
                    </a:cubicBezTo>
                    <a:cubicBezTo>
                      <a:pt x="14" y="415"/>
                      <a:pt x="24" y="393"/>
                      <a:pt x="22" y="383"/>
                    </a:cubicBezTo>
                    <a:cubicBezTo>
                      <a:pt x="17" y="383"/>
                      <a:pt x="17" y="383"/>
                      <a:pt x="17" y="383"/>
                    </a:cubicBezTo>
                    <a:cubicBezTo>
                      <a:pt x="25" y="380"/>
                      <a:pt x="15" y="371"/>
                      <a:pt x="20" y="368"/>
                    </a:cubicBezTo>
                    <a:cubicBezTo>
                      <a:pt x="18" y="358"/>
                      <a:pt x="0" y="339"/>
                      <a:pt x="17" y="333"/>
                    </a:cubicBezTo>
                    <a:cubicBezTo>
                      <a:pt x="30" y="329"/>
                      <a:pt x="43" y="321"/>
                      <a:pt x="58" y="318"/>
                    </a:cubicBezTo>
                    <a:cubicBezTo>
                      <a:pt x="76" y="313"/>
                      <a:pt x="97" y="313"/>
                      <a:pt x="114" y="303"/>
                    </a:cubicBezTo>
                    <a:cubicBezTo>
                      <a:pt x="128" y="297"/>
                      <a:pt x="142" y="294"/>
                      <a:pt x="156" y="289"/>
                    </a:cubicBezTo>
                    <a:cubicBezTo>
                      <a:pt x="180" y="285"/>
                      <a:pt x="202" y="274"/>
                      <a:pt x="226" y="267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42" name="Morocco"/>
              <p:cNvSpPr>
                <a:spLocks/>
              </p:cNvSpPr>
              <p:nvPr/>
            </p:nvSpPr>
            <p:spPr bwMode="auto">
              <a:xfrm>
                <a:off x="3934185" y="3405406"/>
                <a:ext cx="311752" cy="256288"/>
              </a:xfrm>
              <a:custGeom>
                <a:avLst/>
                <a:gdLst>
                  <a:gd name="T0" fmla="*/ 755 w 853"/>
                  <a:gd name="T1" fmla="*/ 52 h 594"/>
                  <a:gd name="T2" fmla="*/ 790 w 853"/>
                  <a:gd name="T3" fmla="*/ 66 h 594"/>
                  <a:gd name="T4" fmla="*/ 797 w 853"/>
                  <a:gd name="T5" fmla="*/ 68 h 594"/>
                  <a:gd name="T6" fmla="*/ 817 w 853"/>
                  <a:gd name="T7" fmla="*/ 109 h 594"/>
                  <a:gd name="T8" fmla="*/ 816 w 853"/>
                  <a:gd name="T9" fmla="*/ 164 h 594"/>
                  <a:gd name="T10" fmla="*/ 823 w 853"/>
                  <a:gd name="T11" fmla="*/ 221 h 594"/>
                  <a:gd name="T12" fmla="*/ 839 w 853"/>
                  <a:gd name="T13" fmla="*/ 267 h 594"/>
                  <a:gd name="T14" fmla="*/ 839 w 853"/>
                  <a:gd name="T15" fmla="*/ 267 h 594"/>
                  <a:gd name="T16" fmla="*/ 811 w 853"/>
                  <a:gd name="T17" fmla="*/ 289 h 594"/>
                  <a:gd name="T18" fmla="*/ 717 w 853"/>
                  <a:gd name="T19" fmla="*/ 293 h 594"/>
                  <a:gd name="T20" fmla="*/ 654 w 853"/>
                  <a:gd name="T21" fmla="*/ 328 h 594"/>
                  <a:gd name="T22" fmla="*/ 654 w 853"/>
                  <a:gd name="T23" fmla="*/ 368 h 594"/>
                  <a:gd name="T24" fmla="*/ 589 w 853"/>
                  <a:gd name="T25" fmla="*/ 391 h 594"/>
                  <a:gd name="T26" fmla="*/ 508 w 853"/>
                  <a:gd name="T27" fmla="*/ 440 h 594"/>
                  <a:gd name="T28" fmla="*/ 432 w 853"/>
                  <a:gd name="T29" fmla="*/ 456 h 594"/>
                  <a:gd name="T30" fmla="*/ 361 w 853"/>
                  <a:gd name="T31" fmla="*/ 482 h 594"/>
                  <a:gd name="T32" fmla="*/ 302 w 853"/>
                  <a:gd name="T33" fmla="*/ 516 h 594"/>
                  <a:gd name="T34" fmla="*/ 0 w 853"/>
                  <a:gd name="T35" fmla="*/ 576 h 594"/>
                  <a:gd name="T36" fmla="*/ 30 w 853"/>
                  <a:gd name="T37" fmla="*/ 556 h 594"/>
                  <a:gd name="T38" fmla="*/ 95 w 853"/>
                  <a:gd name="T39" fmla="*/ 543 h 594"/>
                  <a:gd name="T40" fmla="*/ 145 w 853"/>
                  <a:gd name="T41" fmla="*/ 510 h 594"/>
                  <a:gd name="T42" fmla="*/ 198 w 853"/>
                  <a:gd name="T43" fmla="*/ 479 h 594"/>
                  <a:gd name="T44" fmla="*/ 232 w 853"/>
                  <a:gd name="T45" fmla="*/ 443 h 594"/>
                  <a:gd name="T46" fmla="*/ 259 w 853"/>
                  <a:gd name="T47" fmla="*/ 397 h 594"/>
                  <a:gd name="T48" fmla="*/ 256 w 853"/>
                  <a:gd name="T49" fmla="*/ 355 h 594"/>
                  <a:gd name="T50" fmla="*/ 294 w 853"/>
                  <a:gd name="T51" fmla="*/ 281 h 594"/>
                  <a:gd name="T52" fmla="*/ 309 w 853"/>
                  <a:gd name="T53" fmla="*/ 270 h 594"/>
                  <a:gd name="T54" fmla="*/ 324 w 853"/>
                  <a:gd name="T55" fmla="*/ 244 h 594"/>
                  <a:gd name="T56" fmla="*/ 363 w 853"/>
                  <a:gd name="T57" fmla="*/ 197 h 594"/>
                  <a:gd name="T58" fmla="*/ 417 w 853"/>
                  <a:gd name="T59" fmla="*/ 168 h 594"/>
                  <a:gd name="T60" fmla="*/ 497 w 853"/>
                  <a:gd name="T61" fmla="*/ 131 h 594"/>
                  <a:gd name="T62" fmla="*/ 530 w 853"/>
                  <a:gd name="T63" fmla="*/ 93 h 594"/>
                  <a:gd name="T64" fmla="*/ 575 w 853"/>
                  <a:gd name="T65" fmla="*/ 14 h 594"/>
                  <a:gd name="T66" fmla="*/ 609 w 853"/>
                  <a:gd name="T67" fmla="*/ 0 h 594"/>
                  <a:gd name="T68" fmla="*/ 625 w 853"/>
                  <a:gd name="T69" fmla="*/ 30 h 594"/>
                  <a:gd name="T70" fmla="*/ 664 w 853"/>
                  <a:gd name="T71" fmla="*/ 57 h 594"/>
                  <a:gd name="T72" fmla="*/ 711 w 853"/>
                  <a:gd name="T73" fmla="*/ 53 h 5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53" h="594">
                    <a:moveTo>
                      <a:pt x="740" y="54"/>
                    </a:moveTo>
                    <a:cubicBezTo>
                      <a:pt x="745" y="55"/>
                      <a:pt x="750" y="49"/>
                      <a:pt x="755" y="52"/>
                    </a:cubicBezTo>
                    <a:cubicBezTo>
                      <a:pt x="762" y="55"/>
                      <a:pt x="766" y="63"/>
                      <a:pt x="773" y="64"/>
                    </a:cubicBezTo>
                    <a:cubicBezTo>
                      <a:pt x="778" y="67"/>
                      <a:pt x="784" y="67"/>
                      <a:pt x="790" y="66"/>
                    </a:cubicBezTo>
                    <a:cubicBezTo>
                      <a:pt x="792" y="66"/>
                      <a:pt x="795" y="66"/>
                      <a:pt x="797" y="67"/>
                    </a:cubicBezTo>
                    <a:cubicBezTo>
                      <a:pt x="797" y="68"/>
                      <a:pt x="797" y="68"/>
                      <a:pt x="797" y="68"/>
                    </a:cubicBezTo>
                    <a:cubicBezTo>
                      <a:pt x="798" y="77"/>
                      <a:pt x="811" y="83"/>
                      <a:pt x="816" y="90"/>
                    </a:cubicBezTo>
                    <a:cubicBezTo>
                      <a:pt x="829" y="95"/>
                      <a:pt x="812" y="102"/>
                      <a:pt x="817" y="109"/>
                    </a:cubicBezTo>
                    <a:cubicBezTo>
                      <a:pt x="830" y="114"/>
                      <a:pt x="813" y="121"/>
                      <a:pt x="819" y="128"/>
                    </a:cubicBezTo>
                    <a:cubicBezTo>
                      <a:pt x="825" y="140"/>
                      <a:pt x="818" y="152"/>
                      <a:pt x="816" y="164"/>
                    </a:cubicBezTo>
                    <a:cubicBezTo>
                      <a:pt x="809" y="173"/>
                      <a:pt x="824" y="177"/>
                      <a:pt x="820" y="186"/>
                    </a:cubicBezTo>
                    <a:cubicBezTo>
                      <a:pt x="810" y="197"/>
                      <a:pt x="815" y="210"/>
                      <a:pt x="823" y="221"/>
                    </a:cubicBezTo>
                    <a:cubicBezTo>
                      <a:pt x="815" y="232"/>
                      <a:pt x="827" y="245"/>
                      <a:pt x="837" y="251"/>
                    </a:cubicBezTo>
                    <a:cubicBezTo>
                      <a:pt x="845" y="254"/>
                      <a:pt x="853" y="267"/>
                      <a:pt x="839" y="267"/>
                    </a:cubicBezTo>
                    <a:cubicBezTo>
                      <a:pt x="840" y="265"/>
                      <a:pt x="841" y="265"/>
                      <a:pt x="839" y="267"/>
                    </a:cubicBezTo>
                    <a:cubicBezTo>
                      <a:pt x="839" y="267"/>
                      <a:pt x="839" y="267"/>
                      <a:pt x="839" y="267"/>
                    </a:cubicBezTo>
                    <a:cubicBezTo>
                      <a:pt x="835" y="272"/>
                      <a:pt x="821" y="288"/>
                      <a:pt x="834" y="285"/>
                    </a:cubicBezTo>
                    <a:cubicBezTo>
                      <a:pt x="834" y="297"/>
                      <a:pt x="818" y="287"/>
                      <a:pt x="811" y="289"/>
                    </a:cubicBezTo>
                    <a:cubicBezTo>
                      <a:pt x="794" y="288"/>
                      <a:pt x="776" y="285"/>
                      <a:pt x="759" y="283"/>
                    </a:cubicBezTo>
                    <a:cubicBezTo>
                      <a:pt x="745" y="287"/>
                      <a:pt x="726" y="281"/>
                      <a:pt x="717" y="293"/>
                    </a:cubicBezTo>
                    <a:cubicBezTo>
                      <a:pt x="716" y="313"/>
                      <a:pt x="689" y="308"/>
                      <a:pt x="675" y="314"/>
                    </a:cubicBezTo>
                    <a:cubicBezTo>
                      <a:pt x="664" y="306"/>
                      <a:pt x="650" y="314"/>
                      <a:pt x="654" y="328"/>
                    </a:cubicBezTo>
                    <a:cubicBezTo>
                      <a:pt x="663" y="334"/>
                      <a:pt x="651" y="341"/>
                      <a:pt x="652" y="350"/>
                    </a:cubicBezTo>
                    <a:cubicBezTo>
                      <a:pt x="663" y="348"/>
                      <a:pt x="671" y="370"/>
                      <a:pt x="654" y="368"/>
                    </a:cubicBezTo>
                    <a:cubicBezTo>
                      <a:pt x="642" y="366"/>
                      <a:pt x="631" y="370"/>
                      <a:pt x="624" y="379"/>
                    </a:cubicBezTo>
                    <a:cubicBezTo>
                      <a:pt x="613" y="386"/>
                      <a:pt x="601" y="389"/>
                      <a:pt x="589" y="391"/>
                    </a:cubicBezTo>
                    <a:cubicBezTo>
                      <a:pt x="570" y="392"/>
                      <a:pt x="563" y="407"/>
                      <a:pt x="552" y="420"/>
                    </a:cubicBezTo>
                    <a:cubicBezTo>
                      <a:pt x="541" y="432"/>
                      <a:pt x="525" y="441"/>
                      <a:pt x="508" y="440"/>
                    </a:cubicBezTo>
                    <a:cubicBezTo>
                      <a:pt x="493" y="442"/>
                      <a:pt x="477" y="445"/>
                      <a:pt x="462" y="442"/>
                    </a:cubicBezTo>
                    <a:cubicBezTo>
                      <a:pt x="459" y="457"/>
                      <a:pt x="446" y="464"/>
                      <a:pt x="432" y="456"/>
                    </a:cubicBezTo>
                    <a:cubicBezTo>
                      <a:pt x="416" y="449"/>
                      <a:pt x="403" y="459"/>
                      <a:pt x="392" y="469"/>
                    </a:cubicBezTo>
                    <a:cubicBezTo>
                      <a:pt x="380" y="467"/>
                      <a:pt x="372" y="475"/>
                      <a:pt x="361" y="482"/>
                    </a:cubicBezTo>
                    <a:cubicBezTo>
                      <a:pt x="352" y="490"/>
                      <a:pt x="340" y="492"/>
                      <a:pt x="330" y="499"/>
                    </a:cubicBezTo>
                    <a:cubicBezTo>
                      <a:pt x="322" y="506"/>
                      <a:pt x="313" y="512"/>
                      <a:pt x="302" y="516"/>
                    </a:cubicBezTo>
                    <a:cubicBezTo>
                      <a:pt x="298" y="542"/>
                      <a:pt x="294" y="568"/>
                      <a:pt x="290" y="594"/>
                    </a:cubicBezTo>
                    <a:cubicBezTo>
                      <a:pt x="190" y="589"/>
                      <a:pt x="100" y="583"/>
                      <a:pt x="0" y="576"/>
                    </a:cubicBezTo>
                    <a:cubicBezTo>
                      <a:pt x="7" y="572"/>
                      <a:pt x="8" y="565"/>
                      <a:pt x="12" y="559"/>
                    </a:cubicBezTo>
                    <a:cubicBezTo>
                      <a:pt x="18" y="558"/>
                      <a:pt x="24" y="555"/>
                      <a:pt x="30" y="556"/>
                    </a:cubicBezTo>
                    <a:cubicBezTo>
                      <a:pt x="41" y="558"/>
                      <a:pt x="51" y="555"/>
                      <a:pt x="62" y="553"/>
                    </a:cubicBezTo>
                    <a:cubicBezTo>
                      <a:pt x="73" y="551"/>
                      <a:pt x="84" y="546"/>
                      <a:pt x="95" y="543"/>
                    </a:cubicBezTo>
                    <a:cubicBezTo>
                      <a:pt x="104" y="542"/>
                      <a:pt x="110" y="536"/>
                      <a:pt x="118" y="531"/>
                    </a:cubicBezTo>
                    <a:cubicBezTo>
                      <a:pt x="127" y="524"/>
                      <a:pt x="135" y="516"/>
                      <a:pt x="145" y="510"/>
                    </a:cubicBezTo>
                    <a:cubicBezTo>
                      <a:pt x="154" y="503"/>
                      <a:pt x="166" y="501"/>
                      <a:pt x="176" y="497"/>
                    </a:cubicBezTo>
                    <a:cubicBezTo>
                      <a:pt x="183" y="491"/>
                      <a:pt x="192" y="487"/>
                      <a:pt x="198" y="479"/>
                    </a:cubicBezTo>
                    <a:cubicBezTo>
                      <a:pt x="206" y="476"/>
                      <a:pt x="213" y="469"/>
                      <a:pt x="218" y="462"/>
                    </a:cubicBezTo>
                    <a:cubicBezTo>
                      <a:pt x="223" y="456"/>
                      <a:pt x="226" y="449"/>
                      <a:pt x="232" y="443"/>
                    </a:cubicBezTo>
                    <a:cubicBezTo>
                      <a:pt x="237" y="435"/>
                      <a:pt x="245" y="429"/>
                      <a:pt x="251" y="421"/>
                    </a:cubicBezTo>
                    <a:cubicBezTo>
                      <a:pt x="257" y="415"/>
                      <a:pt x="258" y="405"/>
                      <a:pt x="259" y="397"/>
                    </a:cubicBezTo>
                    <a:cubicBezTo>
                      <a:pt x="260" y="387"/>
                      <a:pt x="255" y="377"/>
                      <a:pt x="252" y="368"/>
                    </a:cubicBezTo>
                    <a:cubicBezTo>
                      <a:pt x="251" y="364"/>
                      <a:pt x="255" y="360"/>
                      <a:pt x="256" y="355"/>
                    </a:cubicBezTo>
                    <a:cubicBezTo>
                      <a:pt x="259" y="342"/>
                      <a:pt x="260" y="328"/>
                      <a:pt x="266" y="315"/>
                    </a:cubicBezTo>
                    <a:cubicBezTo>
                      <a:pt x="274" y="303"/>
                      <a:pt x="285" y="292"/>
                      <a:pt x="294" y="281"/>
                    </a:cubicBezTo>
                    <a:cubicBezTo>
                      <a:pt x="293" y="275"/>
                      <a:pt x="299" y="275"/>
                      <a:pt x="303" y="273"/>
                    </a:cubicBezTo>
                    <a:cubicBezTo>
                      <a:pt x="305" y="272"/>
                      <a:pt x="314" y="268"/>
                      <a:pt x="309" y="270"/>
                    </a:cubicBezTo>
                    <a:cubicBezTo>
                      <a:pt x="311" y="266"/>
                      <a:pt x="313" y="262"/>
                      <a:pt x="316" y="259"/>
                    </a:cubicBezTo>
                    <a:cubicBezTo>
                      <a:pt x="318" y="254"/>
                      <a:pt x="323" y="249"/>
                      <a:pt x="324" y="244"/>
                    </a:cubicBezTo>
                    <a:cubicBezTo>
                      <a:pt x="325" y="239"/>
                      <a:pt x="322" y="233"/>
                      <a:pt x="327" y="230"/>
                    </a:cubicBezTo>
                    <a:cubicBezTo>
                      <a:pt x="339" y="218"/>
                      <a:pt x="352" y="209"/>
                      <a:pt x="363" y="197"/>
                    </a:cubicBezTo>
                    <a:cubicBezTo>
                      <a:pt x="368" y="190"/>
                      <a:pt x="375" y="185"/>
                      <a:pt x="382" y="181"/>
                    </a:cubicBezTo>
                    <a:cubicBezTo>
                      <a:pt x="393" y="175"/>
                      <a:pt x="405" y="172"/>
                      <a:pt x="417" y="168"/>
                    </a:cubicBezTo>
                    <a:cubicBezTo>
                      <a:pt x="431" y="164"/>
                      <a:pt x="445" y="160"/>
                      <a:pt x="458" y="154"/>
                    </a:cubicBezTo>
                    <a:cubicBezTo>
                      <a:pt x="472" y="148"/>
                      <a:pt x="486" y="142"/>
                      <a:pt x="497" y="131"/>
                    </a:cubicBezTo>
                    <a:cubicBezTo>
                      <a:pt x="503" y="127"/>
                      <a:pt x="507" y="122"/>
                      <a:pt x="510" y="116"/>
                    </a:cubicBezTo>
                    <a:cubicBezTo>
                      <a:pt x="515" y="106"/>
                      <a:pt x="523" y="100"/>
                      <a:pt x="530" y="93"/>
                    </a:cubicBezTo>
                    <a:cubicBezTo>
                      <a:pt x="535" y="85"/>
                      <a:pt x="540" y="77"/>
                      <a:pt x="544" y="68"/>
                    </a:cubicBezTo>
                    <a:cubicBezTo>
                      <a:pt x="553" y="50"/>
                      <a:pt x="565" y="33"/>
                      <a:pt x="575" y="14"/>
                    </a:cubicBezTo>
                    <a:cubicBezTo>
                      <a:pt x="576" y="10"/>
                      <a:pt x="580" y="8"/>
                      <a:pt x="584" y="5"/>
                    </a:cubicBezTo>
                    <a:cubicBezTo>
                      <a:pt x="592" y="4"/>
                      <a:pt x="601" y="2"/>
                      <a:pt x="609" y="0"/>
                    </a:cubicBezTo>
                    <a:cubicBezTo>
                      <a:pt x="613" y="0"/>
                      <a:pt x="613" y="7"/>
                      <a:pt x="615" y="10"/>
                    </a:cubicBezTo>
                    <a:cubicBezTo>
                      <a:pt x="616" y="17"/>
                      <a:pt x="620" y="24"/>
                      <a:pt x="625" y="30"/>
                    </a:cubicBezTo>
                    <a:cubicBezTo>
                      <a:pt x="631" y="39"/>
                      <a:pt x="641" y="43"/>
                      <a:pt x="649" y="50"/>
                    </a:cubicBezTo>
                    <a:cubicBezTo>
                      <a:pt x="652" y="55"/>
                      <a:pt x="659" y="55"/>
                      <a:pt x="664" y="57"/>
                    </a:cubicBezTo>
                    <a:cubicBezTo>
                      <a:pt x="674" y="56"/>
                      <a:pt x="684" y="53"/>
                      <a:pt x="694" y="50"/>
                    </a:cubicBezTo>
                    <a:cubicBezTo>
                      <a:pt x="700" y="53"/>
                      <a:pt x="705" y="53"/>
                      <a:pt x="711" y="53"/>
                    </a:cubicBezTo>
                    <a:cubicBezTo>
                      <a:pt x="721" y="54"/>
                      <a:pt x="731" y="54"/>
                      <a:pt x="740" y="54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43" name="Mongolia"/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6280924" y="2913868"/>
                <a:ext cx="765033" cy="311753"/>
              </a:xfrm>
              <a:custGeom>
                <a:avLst/>
                <a:gdLst/>
                <a:ahLst/>
                <a:cxnLst>
                  <a:cxn ang="0">
                    <a:pos x="115" y="14"/>
                  </a:cxn>
                  <a:cxn ang="0">
                    <a:pos x="119" y="23"/>
                  </a:cxn>
                  <a:cxn ang="0">
                    <a:pos x="126" y="23"/>
                  </a:cxn>
                  <a:cxn ang="0">
                    <a:pos x="132" y="20"/>
                  </a:cxn>
                  <a:cxn ang="0">
                    <a:pos x="134" y="23"/>
                  </a:cxn>
                  <a:cxn ang="0">
                    <a:pos x="138" y="29"/>
                  </a:cxn>
                  <a:cxn ang="0">
                    <a:pos x="128" y="29"/>
                  </a:cxn>
                  <a:cxn ang="0">
                    <a:pos x="126" y="32"/>
                  </a:cxn>
                  <a:cxn ang="0">
                    <a:pos x="123" y="36"/>
                  </a:cxn>
                  <a:cxn ang="0">
                    <a:pos x="119" y="38"/>
                  </a:cxn>
                  <a:cxn ang="0">
                    <a:pos x="115" y="38"/>
                  </a:cxn>
                  <a:cxn ang="0">
                    <a:pos x="111" y="41"/>
                  </a:cxn>
                  <a:cxn ang="0">
                    <a:pos x="115" y="45"/>
                  </a:cxn>
                  <a:cxn ang="0">
                    <a:pos x="109" y="52"/>
                  </a:cxn>
                  <a:cxn ang="0">
                    <a:pos x="100" y="54"/>
                  </a:cxn>
                  <a:cxn ang="0">
                    <a:pos x="88" y="56"/>
                  </a:cxn>
                  <a:cxn ang="0">
                    <a:pos x="69" y="52"/>
                  </a:cxn>
                  <a:cxn ang="0">
                    <a:pos x="52" y="52"/>
                  </a:cxn>
                  <a:cxn ang="0">
                    <a:pos x="40" y="41"/>
                  </a:cxn>
                  <a:cxn ang="0">
                    <a:pos x="21" y="36"/>
                  </a:cxn>
                  <a:cxn ang="0">
                    <a:pos x="19" y="27"/>
                  </a:cxn>
                  <a:cxn ang="0">
                    <a:pos x="13" y="23"/>
                  </a:cxn>
                  <a:cxn ang="0">
                    <a:pos x="7" y="20"/>
                  </a:cxn>
                  <a:cxn ang="0">
                    <a:pos x="0" y="14"/>
                  </a:cxn>
                  <a:cxn ang="0">
                    <a:pos x="15" y="5"/>
                  </a:cxn>
                  <a:cxn ang="0">
                    <a:pos x="23" y="9"/>
                  </a:cxn>
                  <a:cxn ang="0">
                    <a:pos x="30" y="11"/>
                  </a:cxn>
                  <a:cxn ang="0">
                    <a:pos x="40" y="11"/>
                  </a:cxn>
                  <a:cxn ang="0">
                    <a:pos x="40" y="5"/>
                  </a:cxn>
                  <a:cxn ang="0">
                    <a:pos x="38" y="2"/>
                  </a:cxn>
                  <a:cxn ang="0">
                    <a:pos x="40" y="0"/>
                  </a:cxn>
                  <a:cxn ang="0">
                    <a:pos x="52" y="2"/>
                  </a:cxn>
                  <a:cxn ang="0">
                    <a:pos x="61" y="9"/>
                  </a:cxn>
                  <a:cxn ang="0">
                    <a:pos x="71" y="9"/>
                  </a:cxn>
                  <a:cxn ang="0">
                    <a:pos x="92" y="14"/>
                  </a:cxn>
                  <a:cxn ang="0">
                    <a:pos x="103" y="11"/>
                  </a:cxn>
                  <a:cxn ang="0">
                    <a:pos x="109" y="9"/>
                  </a:cxn>
                  <a:cxn ang="0">
                    <a:pos x="117" y="11"/>
                  </a:cxn>
                  <a:cxn ang="0">
                    <a:pos x="115" y="14"/>
                  </a:cxn>
                </a:cxnLst>
                <a:rect l="0" t="0" r="r" b="b"/>
                <a:pathLst>
                  <a:path w="138" h="56">
                    <a:moveTo>
                      <a:pt x="115" y="14"/>
                    </a:moveTo>
                    <a:lnTo>
                      <a:pt x="119" y="23"/>
                    </a:lnTo>
                    <a:lnTo>
                      <a:pt x="126" y="23"/>
                    </a:lnTo>
                    <a:lnTo>
                      <a:pt x="132" y="20"/>
                    </a:lnTo>
                    <a:lnTo>
                      <a:pt x="134" y="23"/>
                    </a:lnTo>
                    <a:lnTo>
                      <a:pt x="138" y="29"/>
                    </a:lnTo>
                    <a:lnTo>
                      <a:pt x="128" y="29"/>
                    </a:lnTo>
                    <a:lnTo>
                      <a:pt x="126" y="32"/>
                    </a:lnTo>
                    <a:lnTo>
                      <a:pt x="123" y="36"/>
                    </a:lnTo>
                    <a:lnTo>
                      <a:pt x="119" y="38"/>
                    </a:lnTo>
                    <a:lnTo>
                      <a:pt x="115" y="38"/>
                    </a:lnTo>
                    <a:lnTo>
                      <a:pt x="111" y="41"/>
                    </a:lnTo>
                    <a:lnTo>
                      <a:pt x="115" y="45"/>
                    </a:lnTo>
                    <a:lnTo>
                      <a:pt x="109" y="52"/>
                    </a:lnTo>
                    <a:lnTo>
                      <a:pt x="100" y="54"/>
                    </a:lnTo>
                    <a:lnTo>
                      <a:pt x="88" y="56"/>
                    </a:lnTo>
                    <a:lnTo>
                      <a:pt x="69" y="52"/>
                    </a:lnTo>
                    <a:lnTo>
                      <a:pt x="52" y="52"/>
                    </a:lnTo>
                    <a:lnTo>
                      <a:pt x="40" y="41"/>
                    </a:lnTo>
                    <a:lnTo>
                      <a:pt x="21" y="36"/>
                    </a:lnTo>
                    <a:lnTo>
                      <a:pt x="19" y="27"/>
                    </a:lnTo>
                    <a:lnTo>
                      <a:pt x="13" y="23"/>
                    </a:lnTo>
                    <a:lnTo>
                      <a:pt x="7" y="20"/>
                    </a:lnTo>
                    <a:lnTo>
                      <a:pt x="0" y="14"/>
                    </a:lnTo>
                    <a:lnTo>
                      <a:pt x="15" y="5"/>
                    </a:lnTo>
                    <a:lnTo>
                      <a:pt x="23" y="9"/>
                    </a:lnTo>
                    <a:lnTo>
                      <a:pt x="30" y="11"/>
                    </a:lnTo>
                    <a:lnTo>
                      <a:pt x="40" y="11"/>
                    </a:lnTo>
                    <a:lnTo>
                      <a:pt x="40" y="5"/>
                    </a:lnTo>
                    <a:lnTo>
                      <a:pt x="38" y="2"/>
                    </a:lnTo>
                    <a:lnTo>
                      <a:pt x="40" y="0"/>
                    </a:lnTo>
                    <a:lnTo>
                      <a:pt x="52" y="2"/>
                    </a:lnTo>
                    <a:lnTo>
                      <a:pt x="61" y="9"/>
                    </a:lnTo>
                    <a:lnTo>
                      <a:pt x="71" y="9"/>
                    </a:lnTo>
                    <a:lnTo>
                      <a:pt x="92" y="14"/>
                    </a:lnTo>
                    <a:lnTo>
                      <a:pt x="103" y="11"/>
                    </a:lnTo>
                    <a:lnTo>
                      <a:pt x="109" y="9"/>
                    </a:lnTo>
                    <a:lnTo>
                      <a:pt x="117" y="11"/>
                    </a:lnTo>
                    <a:lnTo>
                      <a:pt x="115" y="14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44" name="Montenegro"/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695393" y="3164418"/>
                <a:ext cx="59291" cy="61203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7" y="11"/>
                  </a:cxn>
                  <a:cxn ang="0">
                    <a:pos x="7" y="7"/>
                  </a:cxn>
                  <a:cxn ang="0">
                    <a:pos x="11" y="7"/>
                  </a:cxn>
                  <a:cxn ang="0">
                    <a:pos x="5" y="0"/>
                  </a:cxn>
                  <a:cxn ang="0">
                    <a:pos x="0" y="2"/>
                  </a:cxn>
                  <a:cxn ang="0">
                    <a:pos x="0" y="5"/>
                  </a:cxn>
                  <a:cxn ang="0">
                    <a:pos x="0" y="7"/>
                  </a:cxn>
                </a:cxnLst>
                <a:rect l="0" t="0" r="r" b="b"/>
                <a:pathLst>
                  <a:path w="11" h="11">
                    <a:moveTo>
                      <a:pt x="0" y="7"/>
                    </a:moveTo>
                    <a:lnTo>
                      <a:pt x="7" y="11"/>
                    </a:lnTo>
                    <a:lnTo>
                      <a:pt x="7" y="7"/>
                    </a:lnTo>
                    <a:lnTo>
                      <a:pt x="11" y="7"/>
                    </a:lnTo>
                    <a:lnTo>
                      <a:pt x="5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45" name="Monaco"/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 rot="16200000">
                <a:off x="4420938" y="3140510"/>
                <a:ext cx="11476" cy="3634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4"/>
                  </a:cxn>
                  <a:cxn ang="0">
                    <a:pos x="2" y="9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lnTo>
                      <a:pt x="0" y="4"/>
                    </a:lnTo>
                    <a:lnTo>
                      <a:pt x="2" y="9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46" name="Moldawia"/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4894301" y="3013323"/>
                <a:ext cx="66941" cy="101367"/>
              </a:xfrm>
              <a:custGeom>
                <a:avLst/>
                <a:gdLst/>
                <a:ahLst/>
                <a:cxnLst>
                  <a:cxn ang="0">
                    <a:pos x="8" y="18"/>
                  </a:cxn>
                  <a:cxn ang="0">
                    <a:pos x="4" y="9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8" y="2"/>
                  </a:cxn>
                  <a:cxn ang="0">
                    <a:pos x="10" y="5"/>
                  </a:cxn>
                  <a:cxn ang="0">
                    <a:pos x="12" y="9"/>
                  </a:cxn>
                  <a:cxn ang="0">
                    <a:pos x="12" y="11"/>
                  </a:cxn>
                  <a:cxn ang="0">
                    <a:pos x="10" y="11"/>
                  </a:cxn>
                  <a:cxn ang="0">
                    <a:pos x="8" y="16"/>
                  </a:cxn>
                  <a:cxn ang="0">
                    <a:pos x="8" y="18"/>
                  </a:cxn>
                </a:cxnLst>
                <a:rect l="0" t="0" r="r" b="b"/>
                <a:pathLst>
                  <a:path w="12" h="18">
                    <a:moveTo>
                      <a:pt x="8" y="18"/>
                    </a:moveTo>
                    <a:lnTo>
                      <a:pt x="4" y="9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8" y="2"/>
                    </a:lnTo>
                    <a:lnTo>
                      <a:pt x="10" y="5"/>
                    </a:lnTo>
                    <a:lnTo>
                      <a:pt x="12" y="9"/>
                    </a:lnTo>
                    <a:lnTo>
                      <a:pt x="12" y="11"/>
                    </a:lnTo>
                    <a:lnTo>
                      <a:pt x="10" y="11"/>
                    </a:lnTo>
                    <a:lnTo>
                      <a:pt x="8" y="16"/>
                    </a:lnTo>
                    <a:lnTo>
                      <a:pt x="8" y="18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623" name="Mexico"/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1326865" y="3515515"/>
                <a:ext cx="682343" cy="579637"/>
              </a:xfrm>
              <a:custGeom>
                <a:avLst/>
                <a:gdLst>
                  <a:gd name="T0" fmla="*/ 0 w 123"/>
                  <a:gd name="T1" fmla="*/ 100322 h 104"/>
                  <a:gd name="T2" fmla="*/ 11095 w 123"/>
                  <a:gd name="T3" fmla="*/ 167203 h 104"/>
                  <a:gd name="T4" fmla="*/ 11095 w 123"/>
                  <a:gd name="T5" fmla="*/ 178350 h 104"/>
                  <a:gd name="T6" fmla="*/ 61023 w 123"/>
                  <a:gd name="T7" fmla="*/ 228511 h 104"/>
                  <a:gd name="T8" fmla="*/ 94308 w 123"/>
                  <a:gd name="T9" fmla="*/ 289819 h 104"/>
                  <a:gd name="T10" fmla="*/ 105403 w 123"/>
                  <a:gd name="T11" fmla="*/ 317686 h 104"/>
                  <a:gd name="T12" fmla="*/ 83213 w 123"/>
                  <a:gd name="T13" fmla="*/ 217364 h 104"/>
                  <a:gd name="T14" fmla="*/ 49928 w 123"/>
                  <a:gd name="T15" fmla="*/ 39014 h 104"/>
                  <a:gd name="T16" fmla="*/ 83213 w 123"/>
                  <a:gd name="T17" fmla="*/ 50161 h 104"/>
                  <a:gd name="T18" fmla="*/ 105403 w 123"/>
                  <a:gd name="T19" fmla="*/ 167203 h 104"/>
                  <a:gd name="T20" fmla="*/ 138688 w 123"/>
                  <a:gd name="T21" fmla="*/ 217364 h 104"/>
                  <a:gd name="T22" fmla="*/ 149783 w 123"/>
                  <a:gd name="T23" fmla="*/ 239658 h 104"/>
                  <a:gd name="T24" fmla="*/ 221900 w 123"/>
                  <a:gd name="T25" fmla="*/ 367847 h 104"/>
                  <a:gd name="T26" fmla="*/ 199710 w 123"/>
                  <a:gd name="T27" fmla="*/ 418007 h 104"/>
                  <a:gd name="T28" fmla="*/ 277375 w 123"/>
                  <a:gd name="T29" fmla="*/ 479315 h 104"/>
                  <a:gd name="T30" fmla="*/ 371683 w 123"/>
                  <a:gd name="T31" fmla="*/ 529476 h 104"/>
                  <a:gd name="T32" fmla="*/ 438253 w 123"/>
                  <a:gd name="T33" fmla="*/ 529476 h 104"/>
                  <a:gd name="T34" fmla="*/ 521465 w 123"/>
                  <a:gd name="T35" fmla="*/ 579637 h 104"/>
                  <a:gd name="T36" fmla="*/ 565845 w 123"/>
                  <a:gd name="T37" fmla="*/ 529476 h 104"/>
                  <a:gd name="T38" fmla="*/ 565845 w 123"/>
                  <a:gd name="T39" fmla="*/ 479315 h 104"/>
                  <a:gd name="T40" fmla="*/ 626868 w 123"/>
                  <a:gd name="T41" fmla="*/ 468168 h 104"/>
                  <a:gd name="T42" fmla="*/ 637963 w 123"/>
                  <a:gd name="T43" fmla="*/ 468168 h 104"/>
                  <a:gd name="T44" fmla="*/ 660153 w 123"/>
                  <a:gd name="T45" fmla="*/ 367847 h 104"/>
                  <a:gd name="T46" fmla="*/ 576940 w 123"/>
                  <a:gd name="T47" fmla="*/ 429154 h 104"/>
                  <a:gd name="T48" fmla="*/ 565845 w 123"/>
                  <a:gd name="T49" fmla="*/ 468168 h 104"/>
                  <a:gd name="T50" fmla="*/ 532560 w 123"/>
                  <a:gd name="T51" fmla="*/ 468168 h 104"/>
                  <a:gd name="T52" fmla="*/ 438253 w 123"/>
                  <a:gd name="T53" fmla="*/ 429154 h 104"/>
                  <a:gd name="T54" fmla="*/ 416063 w 123"/>
                  <a:gd name="T55" fmla="*/ 278672 h 104"/>
                  <a:gd name="T56" fmla="*/ 393873 w 123"/>
                  <a:gd name="T57" fmla="*/ 217364 h 104"/>
                  <a:gd name="T58" fmla="*/ 327303 w 123"/>
                  <a:gd name="T59" fmla="*/ 89175 h 104"/>
                  <a:gd name="T60" fmla="*/ 299565 w 123"/>
                  <a:gd name="T61" fmla="*/ 128189 h 104"/>
                  <a:gd name="T62" fmla="*/ 277375 w 123"/>
                  <a:gd name="T63" fmla="*/ 78028 h 104"/>
                  <a:gd name="T64" fmla="*/ 138688 w 123"/>
                  <a:gd name="T65" fmla="*/ 50161 h 104"/>
                  <a:gd name="T66" fmla="*/ 22190 w 123"/>
                  <a:gd name="T67" fmla="*/ 0 h 10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23"/>
                  <a:gd name="T103" fmla="*/ 0 h 104"/>
                  <a:gd name="T104" fmla="*/ 123 w 123"/>
                  <a:gd name="T105" fmla="*/ 104 h 10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23" h="104">
                    <a:moveTo>
                      <a:pt x="0" y="0"/>
                    </a:moveTo>
                    <a:lnTo>
                      <a:pt x="0" y="18"/>
                    </a:lnTo>
                    <a:lnTo>
                      <a:pt x="4" y="25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2" y="32"/>
                    </a:lnTo>
                    <a:lnTo>
                      <a:pt x="11" y="39"/>
                    </a:lnTo>
                    <a:lnTo>
                      <a:pt x="11" y="41"/>
                    </a:lnTo>
                    <a:lnTo>
                      <a:pt x="9" y="48"/>
                    </a:lnTo>
                    <a:lnTo>
                      <a:pt x="17" y="52"/>
                    </a:lnTo>
                    <a:lnTo>
                      <a:pt x="17" y="59"/>
                    </a:lnTo>
                    <a:lnTo>
                      <a:pt x="19" y="57"/>
                    </a:lnTo>
                    <a:lnTo>
                      <a:pt x="17" y="50"/>
                    </a:lnTo>
                    <a:lnTo>
                      <a:pt x="15" y="39"/>
                    </a:lnTo>
                    <a:lnTo>
                      <a:pt x="4" y="16"/>
                    </a:lnTo>
                    <a:lnTo>
                      <a:pt x="9" y="7"/>
                    </a:lnTo>
                    <a:lnTo>
                      <a:pt x="15" y="7"/>
                    </a:lnTo>
                    <a:lnTo>
                      <a:pt x="15" y="9"/>
                    </a:lnTo>
                    <a:lnTo>
                      <a:pt x="17" y="23"/>
                    </a:lnTo>
                    <a:lnTo>
                      <a:pt x="19" y="30"/>
                    </a:lnTo>
                    <a:lnTo>
                      <a:pt x="19" y="32"/>
                    </a:lnTo>
                    <a:lnTo>
                      <a:pt x="25" y="39"/>
                    </a:lnTo>
                    <a:lnTo>
                      <a:pt x="23" y="41"/>
                    </a:lnTo>
                    <a:lnTo>
                      <a:pt x="27" y="43"/>
                    </a:lnTo>
                    <a:lnTo>
                      <a:pt x="36" y="59"/>
                    </a:lnTo>
                    <a:lnTo>
                      <a:pt x="40" y="66"/>
                    </a:lnTo>
                    <a:lnTo>
                      <a:pt x="34" y="72"/>
                    </a:lnTo>
                    <a:lnTo>
                      <a:pt x="36" y="75"/>
                    </a:lnTo>
                    <a:lnTo>
                      <a:pt x="42" y="84"/>
                    </a:lnTo>
                    <a:lnTo>
                      <a:pt x="50" y="86"/>
                    </a:lnTo>
                    <a:lnTo>
                      <a:pt x="54" y="90"/>
                    </a:lnTo>
                    <a:lnTo>
                      <a:pt x="67" y="95"/>
                    </a:lnTo>
                    <a:lnTo>
                      <a:pt x="73" y="99"/>
                    </a:lnTo>
                    <a:lnTo>
                      <a:pt x="79" y="95"/>
                    </a:lnTo>
                    <a:lnTo>
                      <a:pt x="84" y="95"/>
                    </a:lnTo>
                    <a:lnTo>
                      <a:pt x="94" y="104"/>
                    </a:lnTo>
                    <a:lnTo>
                      <a:pt x="98" y="95"/>
                    </a:lnTo>
                    <a:lnTo>
                      <a:pt x="102" y="95"/>
                    </a:lnTo>
                    <a:lnTo>
                      <a:pt x="98" y="90"/>
                    </a:lnTo>
                    <a:lnTo>
                      <a:pt x="102" y="86"/>
                    </a:lnTo>
                    <a:lnTo>
                      <a:pt x="111" y="86"/>
                    </a:lnTo>
                    <a:lnTo>
                      <a:pt x="113" y="84"/>
                    </a:lnTo>
                    <a:lnTo>
                      <a:pt x="115" y="86"/>
                    </a:lnTo>
                    <a:lnTo>
                      <a:pt x="115" y="84"/>
                    </a:lnTo>
                    <a:lnTo>
                      <a:pt x="123" y="66"/>
                    </a:lnTo>
                    <a:lnTo>
                      <a:pt x="119" y="66"/>
                    </a:lnTo>
                    <a:lnTo>
                      <a:pt x="107" y="68"/>
                    </a:lnTo>
                    <a:lnTo>
                      <a:pt x="104" y="77"/>
                    </a:lnTo>
                    <a:lnTo>
                      <a:pt x="98" y="81"/>
                    </a:lnTo>
                    <a:lnTo>
                      <a:pt x="102" y="84"/>
                    </a:lnTo>
                    <a:lnTo>
                      <a:pt x="98" y="84"/>
                    </a:lnTo>
                    <a:lnTo>
                      <a:pt x="96" y="84"/>
                    </a:lnTo>
                    <a:lnTo>
                      <a:pt x="84" y="84"/>
                    </a:lnTo>
                    <a:lnTo>
                      <a:pt x="79" y="77"/>
                    </a:lnTo>
                    <a:lnTo>
                      <a:pt x="73" y="59"/>
                    </a:lnTo>
                    <a:lnTo>
                      <a:pt x="75" y="50"/>
                    </a:lnTo>
                    <a:lnTo>
                      <a:pt x="79" y="41"/>
                    </a:lnTo>
                    <a:lnTo>
                      <a:pt x="71" y="39"/>
                    </a:lnTo>
                    <a:lnTo>
                      <a:pt x="65" y="18"/>
                    </a:lnTo>
                    <a:lnTo>
                      <a:pt x="59" y="16"/>
                    </a:lnTo>
                    <a:lnTo>
                      <a:pt x="57" y="23"/>
                    </a:lnTo>
                    <a:lnTo>
                      <a:pt x="54" y="23"/>
                    </a:lnTo>
                    <a:lnTo>
                      <a:pt x="50" y="16"/>
                    </a:lnTo>
                    <a:lnTo>
                      <a:pt x="50" y="14"/>
                    </a:lnTo>
                    <a:lnTo>
                      <a:pt x="48" y="7"/>
                    </a:lnTo>
                    <a:lnTo>
                      <a:pt x="25" y="9"/>
                    </a:lnTo>
                    <a:lnTo>
                      <a:pt x="11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F7A04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3348624" name="Mauritius"/>
              <p:cNvGrpSpPr>
                <a:grpSpLocks/>
              </p:cNvGrpSpPr>
              <p:nvPr/>
            </p:nvGrpSpPr>
            <p:grpSpPr bwMode="auto">
              <a:xfrm>
                <a:off x="5637273" y="5159679"/>
                <a:ext cx="83698" cy="151833"/>
                <a:chOff x="5637273" y="5140590"/>
                <a:chExt cx="83698" cy="151833"/>
              </a:xfrm>
            </p:grpSpPr>
            <p:sp>
              <p:nvSpPr>
                <p:cNvPr id="782" name="Mauritius"/>
                <p:cNvSpPr>
                  <a:spLocks/>
                </p:cNvSpPr>
                <p:nvPr/>
              </p:nvSpPr>
              <p:spPr bwMode="auto">
                <a:xfrm>
                  <a:off x="5707150" y="5249189"/>
                  <a:ext cx="13387" cy="19126"/>
                </a:xfrm>
                <a:custGeom>
                  <a:avLst/>
                  <a:gdLst>
                    <a:gd name="T0" fmla="*/ 35 w 37"/>
                    <a:gd name="T1" fmla="*/ 13 h 43"/>
                    <a:gd name="T2" fmla="*/ 36 w 37"/>
                    <a:gd name="T3" fmla="*/ 18 h 43"/>
                    <a:gd name="T4" fmla="*/ 35 w 37"/>
                    <a:gd name="T5" fmla="*/ 26 h 43"/>
                    <a:gd name="T6" fmla="*/ 30 w 37"/>
                    <a:gd name="T7" fmla="*/ 32 h 43"/>
                    <a:gd name="T8" fmla="*/ 29 w 37"/>
                    <a:gd name="T9" fmla="*/ 37 h 43"/>
                    <a:gd name="T10" fmla="*/ 23 w 37"/>
                    <a:gd name="T11" fmla="*/ 41 h 43"/>
                    <a:gd name="T12" fmla="*/ 16 w 37"/>
                    <a:gd name="T13" fmla="*/ 43 h 43"/>
                    <a:gd name="T14" fmla="*/ 9 w 37"/>
                    <a:gd name="T15" fmla="*/ 41 h 43"/>
                    <a:gd name="T16" fmla="*/ 2 w 37"/>
                    <a:gd name="T17" fmla="*/ 38 h 43"/>
                    <a:gd name="T18" fmla="*/ 2 w 37"/>
                    <a:gd name="T19" fmla="*/ 35 h 43"/>
                    <a:gd name="T20" fmla="*/ 6 w 37"/>
                    <a:gd name="T21" fmla="*/ 31 h 43"/>
                    <a:gd name="T22" fmla="*/ 7 w 37"/>
                    <a:gd name="T23" fmla="*/ 24 h 43"/>
                    <a:gd name="T24" fmla="*/ 12 w 37"/>
                    <a:gd name="T25" fmla="*/ 16 h 43"/>
                    <a:gd name="T26" fmla="*/ 16 w 37"/>
                    <a:gd name="T27" fmla="*/ 14 h 43"/>
                    <a:gd name="T28" fmla="*/ 20 w 37"/>
                    <a:gd name="T29" fmla="*/ 8 h 43"/>
                    <a:gd name="T30" fmla="*/ 24 w 37"/>
                    <a:gd name="T31" fmla="*/ 2 h 43"/>
                    <a:gd name="T32" fmla="*/ 31 w 37"/>
                    <a:gd name="T33" fmla="*/ 2 h 43"/>
                    <a:gd name="T34" fmla="*/ 32 w 37"/>
                    <a:gd name="T35" fmla="*/ 7 h 43"/>
                    <a:gd name="T36" fmla="*/ 35 w 37"/>
                    <a:gd name="T37" fmla="*/ 1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7" h="43">
                      <a:moveTo>
                        <a:pt x="35" y="13"/>
                      </a:moveTo>
                      <a:cubicBezTo>
                        <a:pt x="33" y="14"/>
                        <a:pt x="36" y="16"/>
                        <a:pt x="36" y="18"/>
                      </a:cubicBezTo>
                      <a:cubicBezTo>
                        <a:pt x="37" y="20"/>
                        <a:pt x="37" y="23"/>
                        <a:pt x="35" y="26"/>
                      </a:cubicBezTo>
                      <a:cubicBezTo>
                        <a:pt x="34" y="28"/>
                        <a:pt x="33" y="31"/>
                        <a:pt x="30" y="32"/>
                      </a:cubicBezTo>
                      <a:cubicBezTo>
                        <a:pt x="28" y="32"/>
                        <a:pt x="29" y="35"/>
                        <a:pt x="29" y="37"/>
                      </a:cubicBezTo>
                      <a:cubicBezTo>
                        <a:pt x="27" y="39"/>
                        <a:pt x="25" y="41"/>
                        <a:pt x="23" y="41"/>
                      </a:cubicBezTo>
                      <a:cubicBezTo>
                        <a:pt x="20" y="41"/>
                        <a:pt x="18" y="43"/>
                        <a:pt x="16" y="43"/>
                      </a:cubicBezTo>
                      <a:cubicBezTo>
                        <a:pt x="13" y="43"/>
                        <a:pt x="11" y="42"/>
                        <a:pt x="9" y="41"/>
                      </a:cubicBezTo>
                      <a:cubicBezTo>
                        <a:pt x="6" y="41"/>
                        <a:pt x="4" y="41"/>
                        <a:pt x="2" y="38"/>
                      </a:cubicBezTo>
                      <a:cubicBezTo>
                        <a:pt x="1" y="38"/>
                        <a:pt x="0" y="34"/>
                        <a:pt x="2" y="35"/>
                      </a:cubicBezTo>
                      <a:cubicBezTo>
                        <a:pt x="5" y="36"/>
                        <a:pt x="6" y="33"/>
                        <a:pt x="6" y="31"/>
                      </a:cubicBezTo>
                      <a:cubicBezTo>
                        <a:pt x="5" y="29"/>
                        <a:pt x="7" y="26"/>
                        <a:pt x="7" y="24"/>
                      </a:cubicBezTo>
                      <a:cubicBezTo>
                        <a:pt x="8" y="21"/>
                        <a:pt x="10" y="18"/>
                        <a:pt x="12" y="16"/>
                      </a:cubicBezTo>
                      <a:cubicBezTo>
                        <a:pt x="13" y="15"/>
                        <a:pt x="15" y="14"/>
                        <a:pt x="16" y="14"/>
                      </a:cubicBezTo>
                      <a:cubicBezTo>
                        <a:pt x="19" y="13"/>
                        <a:pt x="18" y="10"/>
                        <a:pt x="20" y="8"/>
                      </a:cubicBezTo>
                      <a:cubicBezTo>
                        <a:pt x="21" y="6"/>
                        <a:pt x="21" y="3"/>
                        <a:pt x="24" y="2"/>
                      </a:cubicBezTo>
                      <a:cubicBezTo>
                        <a:pt x="26" y="1"/>
                        <a:pt x="29" y="0"/>
                        <a:pt x="31" y="2"/>
                      </a:cubicBezTo>
                      <a:cubicBezTo>
                        <a:pt x="33" y="3"/>
                        <a:pt x="32" y="5"/>
                        <a:pt x="32" y="7"/>
                      </a:cubicBezTo>
                      <a:cubicBezTo>
                        <a:pt x="32" y="10"/>
                        <a:pt x="35" y="10"/>
                        <a:pt x="35" y="13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83" name="Mauritius"/>
                <p:cNvSpPr>
                  <a:spLocks/>
                </p:cNvSpPr>
                <p:nvPr/>
              </p:nvSpPr>
              <p:spPr bwMode="auto">
                <a:xfrm>
                  <a:off x="5653598" y="5274054"/>
                  <a:ext cx="17213" cy="19126"/>
                </a:xfrm>
                <a:custGeom>
                  <a:avLst/>
                  <a:gdLst>
                    <a:gd name="T0" fmla="*/ 37 w 43"/>
                    <a:gd name="T1" fmla="*/ 22 h 43"/>
                    <a:gd name="T2" fmla="*/ 41 w 43"/>
                    <a:gd name="T3" fmla="*/ 28 h 43"/>
                    <a:gd name="T4" fmla="*/ 37 w 43"/>
                    <a:gd name="T5" fmla="*/ 35 h 43"/>
                    <a:gd name="T6" fmla="*/ 34 w 43"/>
                    <a:gd name="T7" fmla="*/ 42 h 43"/>
                    <a:gd name="T8" fmla="*/ 23 w 43"/>
                    <a:gd name="T9" fmla="*/ 43 h 43"/>
                    <a:gd name="T10" fmla="*/ 16 w 43"/>
                    <a:gd name="T11" fmla="*/ 40 h 43"/>
                    <a:gd name="T12" fmla="*/ 10 w 43"/>
                    <a:gd name="T13" fmla="*/ 36 h 43"/>
                    <a:gd name="T14" fmla="*/ 5 w 43"/>
                    <a:gd name="T15" fmla="*/ 31 h 43"/>
                    <a:gd name="T16" fmla="*/ 4 w 43"/>
                    <a:gd name="T17" fmla="*/ 24 h 43"/>
                    <a:gd name="T18" fmla="*/ 1 w 43"/>
                    <a:gd name="T19" fmla="*/ 17 h 43"/>
                    <a:gd name="T20" fmla="*/ 4 w 43"/>
                    <a:gd name="T21" fmla="*/ 11 h 43"/>
                    <a:gd name="T22" fmla="*/ 8 w 43"/>
                    <a:gd name="T23" fmla="*/ 5 h 43"/>
                    <a:gd name="T24" fmla="*/ 13 w 43"/>
                    <a:gd name="T25" fmla="*/ 3 h 43"/>
                    <a:gd name="T26" fmla="*/ 21 w 43"/>
                    <a:gd name="T27" fmla="*/ 3 h 43"/>
                    <a:gd name="T28" fmla="*/ 27 w 43"/>
                    <a:gd name="T29" fmla="*/ 4 h 43"/>
                    <a:gd name="T30" fmla="*/ 33 w 43"/>
                    <a:gd name="T31" fmla="*/ 7 h 43"/>
                    <a:gd name="T32" fmla="*/ 34 w 43"/>
                    <a:gd name="T33" fmla="*/ 14 h 43"/>
                    <a:gd name="T34" fmla="*/ 35 w 43"/>
                    <a:gd name="T35" fmla="*/ 15 h 43"/>
                    <a:gd name="T36" fmla="*/ 37 w 43"/>
                    <a:gd name="T37" fmla="*/ 22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3" h="43">
                      <a:moveTo>
                        <a:pt x="37" y="22"/>
                      </a:moveTo>
                      <a:cubicBezTo>
                        <a:pt x="38" y="24"/>
                        <a:pt x="43" y="24"/>
                        <a:pt x="41" y="28"/>
                      </a:cubicBezTo>
                      <a:cubicBezTo>
                        <a:pt x="40" y="30"/>
                        <a:pt x="38" y="33"/>
                        <a:pt x="37" y="35"/>
                      </a:cubicBezTo>
                      <a:cubicBezTo>
                        <a:pt x="37" y="37"/>
                        <a:pt x="38" y="41"/>
                        <a:pt x="34" y="42"/>
                      </a:cubicBezTo>
                      <a:cubicBezTo>
                        <a:pt x="31" y="42"/>
                        <a:pt x="27" y="43"/>
                        <a:pt x="23" y="43"/>
                      </a:cubicBezTo>
                      <a:cubicBezTo>
                        <a:pt x="21" y="42"/>
                        <a:pt x="18" y="43"/>
                        <a:pt x="16" y="40"/>
                      </a:cubicBezTo>
                      <a:cubicBezTo>
                        <a:pt x="14" y="38"/>
                        <a:pt x="11" y="38"/>
                        <a:pt x="10" y="36"/>
                      </a:cubicBezTo>
                      <a:cubicBezTo>
                        <a:pt x="8" y="34"/>
                        <a:pt x="5" y="34"/>
                        <a:pt x="5" y="31"/>
                      </a:cubicBezTo>
                      <a:cubicBezTo>
                        <a:pt x="3" y="29"/>
                        <a:pt x="3" y="27"/>
                        <a:pt x="4" y="24"/>
                      </a:cubicBezTo>
                      <a:cubicBezTo>
                        <a:pt x="4" y="22"/>
                        <a:pt x="2" y="19"/>
                        <a:pt x="1" y="17"/>
                      </a:cubicBezTo>
                      <a:cubicBezTo>
                        <a:pt x="0" y="15"/>
                        <a:pt x="1" y="12"/>
                        <a:pt x="4" y="11"/>
                      </a:cubicBezTo>
                      <a:cubicBezTo>
                        <a:pt x="7" y="10"/>
                        <a:pt x="6" y="6"/>
                        <a:pt x="8" y="5"/>
                      </a:cubicBezTo>
                      <a:cubicBezTo>
                        <a:pt x="10" y="5"/>
                        <a:pt x="12" y="4"/>
                        <a:pt x="13" y="3"/>
                      </a:cubicBezTo>
                      <a:cubicBezTo>
                        <a:pt x="16" y="2"/>
                        <a:pt x="19" y="0"/>
                        <a:pt x="21" y="3"/>
                      </a:cubicBezTo>
                      <a:cubicBezTo>
                        <a:pt x="23" y="4"/>
                        <a:pt x="25" y="3"/>
                        <a:pt x="27" y="4"/>
                      </a:cubicBezTo>
                      <a:cubicBezTo>
                        <a:pt x="29" y="5"/>
                        <a:pt x="31" y="6"/>
                        <a:pt x="33" y="7"/>
                      </a:cubicBezTo>
                      <a:cubicBezTo>
                        <a:pt x="35" y="9"/>
                        <a:pt x="34" y="12"/>
                        <a:pt x="34" y="14"/>
                      </a:cubicBezTo>
                      <a:cubicBezTo>
                        <a:pt x="34" y="14"/>
                        <a:pt x="35" y="14"/>
                        <a:pt x="35" y="15"/>
                      </a:cubicBezTo>
                      <a:cubicBezTo>
                        <a:pt x="35" y="17"/>
                        <a:pt x="36" y="20"/>
                        <a:pt x="37" y="22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84" name="Mauritius"/>
                <p:cNvSpPr>
                  <a:spLocks/>
                </p:cNvSpPr>
                <p:nvPr>
                  <p:custDataLst>
                    <p:tags r:id="rId138"/>
                  </p:custDataLst>
                </p:nvPr>
              </p:nvSpPr>
              <p:spPr bwMode="auto">
                <a:xfrm>
                  <a:off x="5640209" y="5140172"/>
                  <a:ext cx="9563" cy="17213"/>
                </a:xfrm>
                <a:custGeom>
                  <a:avLst/>
                  <a:gdLst/>
                  <a:ahLst/>
                  <a:cxnLst>
                    <a:cxn ang="0">
                      <a:pos x="0" y="3"/>
                    </a:cxn>
                    <a:cxn ang="0">
                      <a:pos x="2" y="0"/>
                    </a:cxn>
                    <a:cxn ang="0">
                      <a:pos x="2" y="3"/>
                    </a:cxn>
                    <a:cxn ang="0">
                      <a:pos x="0" y="3"/>
                    </a:cxn>
                  </a:cxnLst>
                  <a:rect l="0" t="0" r="r" b="b"/>
                  <a:pathLst>
                    <a:path w="2" h="3">
                      <a:moveTo>
                        <a:pt x="0" y="3"/>
                      </a:moveTo>
                      <a:lnTo>
                        <a:pt x="2" y="0"/>
                      </a:lnTo>
                      <a:lnTo>
                        <a:pt x="2" y="3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549" name="Mauritania"/>
              <p:cNvSpPr>
                <a:spLocks/>
              </p:cNvSpPr>
              <p:nvPr/>
            </p:nvSpPr>
            <p:spPr bwMode="auto">
              <a:xfrm>
                <a:off x="3802218" y="3675083"/>
                <a:ext cx="323226" cy="405471"/>
              </a:xfrm>
              <a:custGeom>
                <a:avLst/>
                <a:gdLst>
                  <a:gd name="T0" fmla="*/ 18 w 890"/>
                  <a:gd name="T1" fmla="*/ 443 h 943"/>
                  <a:gd name="T2" fmla="*/ 21 w 890"/>
                  <a:gd name="T3" fmla="*/ 431 h 943"/>
                  <a:gd name="T4" fmla="*/ 289 w 890"/>
                  <a:gd name="T5" fmla="*/ 434 h 943"/>
                  <a:gd name="T6" fmla="*/ 300 w 890"/>
                  <a:gd name="T7" fmla="*/ 314 h 943"/>
                  <a:gd name="T8" fmla="*/ 381 w 890"/>
                  <a:gd name="T9" fmla="*/ 277 h 943"/>
                  <a:gd name="T10" fmla="*/ 636 w 890"/>
                  <a:gd name="T11" fmla="*/ 97 h 943"/>
                  <a:gd name="T12" fmla="*/ 890 w 890"/>
                  <a:gd name="T13" fmla="*/ 183 h 943"/>
                  <a:gd name="T14" fmla="*/ 769 w 890"/>
                  <a:gd name="T15" fmla="*/ 179 h 943"/>
                  <a:gd name="T16" fmla="*/ 788 w 890"/>
                  <a:gd name="T17" fmla="*/ 849 h 943"/>
                  <a:gd name="T18" fmla="*/ 501 w 890"/>
                  <a:gd name="T19" fmla="*/ 891 h 943"/>
                  <a:gd name="T20" fmla="*/ 481 w 890"/>
                  <a:gd name="T21" fmla="*/ 895 h 943"/>
                  <a:gd name="T22" fmla="*/ 398 w 890"/>
                  <a:gd name="T23" fmla="*/ 897 h 943"/>
                  <a:gd name="T24" fmla="*/ 350 w 890"/>
                  <a:gd name="T25" fmla="*/ 877 h 943"/>
                  <a:gd name="T26" fmla="*/ 316 w 890"/>
                  <a:gd name="T27" fmla="*/ 919 h 943"/>
                  <a:gd name="T28" fmla="*/ 285 w 890"/>
                  <a:gd name="T29" fmla="*/ 940 h 943"/>
                  <a:gd name="T30" fmla="*/ 246 w 890"/>
                  <a:gd name="T31" fmla="*/ 904 h 943"/>
                  <a:gd name="T32" fmla="*/ 232 w 890"/>
                  <a:gd name="T33" fmla="*/ 883 h 943"/>
                  <a:gd name="T34" fmla="*/ 212 w 890"/>
                  <a:gd name="T35" fmla="*/ 839 h 943"/>
                  <a:gd name="T36" fmla="*/ 189 w 890"/>
                  <a:gd name="T37" fmla="*/ 829 h 943"/>
                  <a:gd name="T38" fmla="*/ 171 w 890"/>
                  <a:gd name="T39" fmla="*/ 813 h 943"/>
                  <a:gd name="T40" fmla="*/ 139 w 890"/>
                  <a:gd name="T41" fmla="*/ 791 h 943"/>
                  <a:gd name="T42" fmla="*/ 96 w 890"/>
                  <a:gd name="T43" fmla="*/ 792 h 943"/>
                  <a:gd name="T44" fmla="*/ 26 w 890"/>
                  <a:gd name="T45" fmla="*/ 792 h 943"/>
                  <a:gd name="T46" fmla="*/ 0 w 890"/>
                  <a:gd name="T47" fmla="*/ 827 h 943"/>
                  <a:gd name="T48" fmla="*/ 9 w 890"/>
                  <a:gd name="T49" fmla="*/ 774 h 943"/>
                  <a:gd name="T50" fmla="*/ 40 w 890"/>
                  <a:gd name="T51" fmla="*/ 706 h 943"/>
                  <a:gd name="T52" fmla="*/ 52 w 890"/>
                  <a:gd name="T53" fmla="*/ 619 h 943"/>
                  <a:gd name="T54" fmla="*/ 31 w 890"/>
                  <a:gd name="T55" fmla="*/ 574 h 943"/>
                  <a:gd name="T56" fmla="*/ 45 w 890"/>
                  <a:gd name="T57" fmla="*/ 550 h 943"/>
                  <a:gd name="T58" fmla="*/ 59 w 890"/>
                  <a:gd name="T59" fmla="*/ 503 h 943"/>
                  <a:gd name="T60" fmla="*/ 41 w 890"/>
                  <a:gd name="T61" fmla="*/ 479 h 943"/>
                  <a:gd name="T62" fmla="*/ 27 w 890"/>
                  <a:gd name="T63" fmla="*/ 441 h 9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90" h="943">
                    <a:moveTo>
                      <a:pt x="27" y="441"/>
                    </a:moveTo>
                    <a:cubicBezTo>
                      <a:pt x="27" y="435"/>
                      <a:pt x="21" y="442"/>
                      <a:pt x="18" y="443"/>
                    </a:cubicBezTo>
                    <a:cubicBezTo>
                      <a:pt x="17" y="444"/>
                      <a:pt x="16" y="444"/>
                      <a:pt x="15" y="444"/>
                    </a:cubicBezTo>
                    <a:cubicBezTo>
                      <a:pt x="18" y="439"/>
                      <a:pt x="20" y="435"/>
                      <a:pt x="21" y="431"/>
                    </a:cubicBezTo>
                    <a:cubicBezTo>
                      <a:pt x="22" y="417"/>
                      <a:pt x="33" y="420"/>
                      <a:pt x="44" y="421"/>
                    </a:cubicBezTo>
                    <a:cubicBezTo>
                      <a:pt x="128" y="426"/>
                      <a:pt x="205" y="430"/>
                      <a:pt x="289" y="434"/>
                    </a:cubicBezTo>
                    <a:cubicBezTo>
                      <a:pt x="291" y="405"/>
                      <a:pt x="294" y="376"/>
                      <a:pt x="296" y="346"/>
                    </a:cubicBezTo>
                    <a:cubicBezTo>
                      <a:pt x="296" y="336"/>
                      <a:pt x="291" y="323"/>
                      <a:pt x="300" y="314"/>
                    </a:cubicBezTo>
                    <a:cubicBezTo>
                      <a:pt x="312" y="302"/>
                      <a:pt x="328" y="293"/>
                      <a:pt x="344" y="287"/>
                    </a:cubicBezTo>
                    <a:cubicBezTo>
                      <a:pt x="357" y="287"/>
                      <a:pt x="368" y="278"/>
                      <a:pt x="381" y="277"/>
                    </a:cubicBezTo>
                    <a:cubicBezTo>
                      <a:pt x="390" y="213"/>
                      <a:pt x="400" y="149"/>
                      <a:pt x="411" y="85"/>
                    </a:cubicBezTo>
                    <a:cubicBezTo>
                      <a:pt x="486" y="89"/>
                      <a:pt x="561" y="93"/>
                      <a:pt x="636" y="97"/>
                    </a:cubicBezTo>
                    <a:cubicBezTo>
                      <a:pt x="641" y="65"/>
                      <a:pt x="646" y="32"/>
                      <a:pt x="651" y="0"/>
                    </a:cubicBezTo>
                    <a:cubicBezTo>
                      <a:pt x="731" y="61"/>
                      <a:pt x="811" y="122"/>
                      <a:pt x="890" y="183"/>
                    </a:cubicBezTo>
                    <a:cubicBezTo>
                      <a:pt x="860" y="183"/>
                      <a:pt x="830" y="181"/>
                      <a:pt x="800" y="180"/>
                    </a:cubicBezTo>
                    <a:cubicBezTo>
                      <a:pt x="790" y="179"/>
                      <a:pt x="780" y="179"/>
                      <a:pt x="769" y="179"/>
                    </a:cubicBezTo>
                    <a:cubicBezTo>
                      <a:pt x="766" y="391"/>
                      <a:pt x="767" y="603"/>
                      <a:pt x="773" y="815"/>
                    </a:cubicBezTo>
                    <a:cubicBezTo>
                      <a:pt x="771" y="830"/>
                      <a:pt x="800" y="831"/>
                      <a:pt x="788" y="849"/>
                    </a:cubicBezTo>
                    <a:cubicBezTo>
                      <a:pt x="783" y="865"/>
                      <a:pt x="779" y="882"/>
                      <a:pt x="775" y="899"/>
                    </a:cubicBezTo>
                    <a:cubicBezTo>
                      <a:pt x="684" y="895"/>
                      <a:pt x="592" y="894"/>
                      <a:pt x="501" y="891"/>
                    </a:cubicBezTo>
                    <a:cubicBezTo>
                      <a:pt x="494" y="889"/>
                      <a:pt x="507" y="871"/>
                      <a:pt x="494" y="879"/>
                    </a:cubicBezTo>
                    <a:cubicBezTo>
                      <a:pt x="491" y="886"/>
                      <a:pt x="494" y="900"/>
                      <a:pt x="481" y="895"/>
                    </a:cubicBezTo>
                    <a:cubicBezTo>
                      <a:pt x="468" y="897"/>
                      <a:pt x="455" y="901"/>
                      <a:pt x="442" y="899"/>
                    </a:cubicBezTo>
                    <a:cubicBezTo>
                      <a:pt x="429" y="893"/>
                      <a:pt x="408" y="888"/>
                      <a:pt x="398" y="897"/>
                    </a:cubicBezTo>
                    <a:cubicBezTo>
                      <a:pt x="393" y="903"/>
                      <a:pt x="388" y="911"/>
                      <a:pt x="382" y="916"/>
                    </a:cubicBezTo>
                    <a:cubicBezTo>
                      <a:pt x="376" y="900"/>
                      <a:pt x="357" y="893"/>
                      <a:pt x="350" y="877"/>
                    </a:cubicBezTo>
                    <a:cubicBezTo>
                      <a:pt x="343" y="871"/>
                      <a:pt x="338" y="887"/>
                      <a:pt x="328" y="883"/>
                    </a:cubicBezTo>
                    <a:cubicBezTo>
                      <a:pt x="324" y="895"/>
                      <a:pt x="316" y="906"/>
                      <a:pt x="316" y="919"/>
                    </a:cubicBezTo>
                    <a:cubicBezTo>
                      <a:pt x="324" y="931"/>
                      <a:pt x="304" y="943"/>
                      <a:pt x="295" y="942"/>
                    </a:cubicBezTo>
                    <a:cubicBezTo>
                      <a:pt x="291" y="942"/>
                      <a:pt x="288" y="942"/>
                      <a:pt x="285" y="940"/>
                    </a:cubicBezTo>
                    <a:cubicBezTo>
                      <a:pt x="276" y="936"/>
                      <a:pt x="271" y="927"/>
                      <a:pt x="266" y="919"/>
                    </a:cubicBezTo>
                    <a:cubicBezTo>
                      <a:pt x="258" y="915"/>
                      <a:pt x="250" y="912"/>
                      <a:pt x="246" y="904"/>
                    </a:cubicBezTo>
                    <a:cubicBezTo>
                      <a:pt x="238" y="904"/>
                      <a:pt x="252" y="896"/>
                      <a:pt x="242" y="894"/>
                    </a:cubicBezTo>
                    <a:cubicBezTo>
                      <a:pt x="239" y="889"/>
                      <a:pt x="241" y="879"/>
                      <a:pt x="232" y="883"/>
                    </a:cubicBezTo>
                    <a:cubicBezTo>
                      <a:pt x="229" y="877"/>
                      <a:pt x="229" y="871"/>
                      <a:pt x="221" y="871"/>
                    </a:cubicBezTo>
                    <a:cubicBezTo>
                      <a:pt x="221" y="860"/>
                      <a:pt x="216" y="850"/>
                      <a:pt x="212" y="839"/>
                    </a:cubicBezTo>
                    <a:cubicBezTo>
                      <a:pt x="212" y="833"/>
                      <a:pt x="201" y="838"/>
                      <a:pt x="207" y="832"/>
                    </a:cubicBezTo>
                    <a:cubicBezTo>
                      <a:pt x="196" y="833"/>
                      <a:pt x="187" y="834"/>
                      <a:pt x="189" y="829"/>
                    </a:cubicBezTo>
                    <a:cubicBezTo>
                      <a:pt x="179" y="836"/>
                      <a:pt x="170" y="815"/>
                      <a:pt x="171" y="813"/>
                    </a:cubicBezTo>
                    <a:cubicBezTo>
                      <a:pt x="171" y="813"/>
                      <a:pt x="171" y="813"/>
                      <a:pt x="171" y="813"/>
                    </a:cubicBezTo>
                    <a:cubicBezTo>
                      <a:pt x="171" y="813"/>
                      <a:pt x="171" y="813"/>
                      <a:pt x="171" y="813"/>
                    </a:cubicBezTo>
                    <a:cubicBezTo>
                      <a:pt x="160" y="804"/>
                      <a:pt x="153" y="789"/>
                      <a:pt x="139" y="791"/>
                    </a:cubicBezTo>
                    <a:cubicBezTo>
                      <a:pt x="127" y="792"/>
                      <a:pt x="111" y="786"/>
                      <a:pt x="103" y="788"/>
                    </a:cubicBezTo>
                    <a:cubicBezTo>
                      <a:pt x="98" y="790"/>
                      <a:pt x="96" y="784"/>
                      <a:pt x="96" y="792"/>
                    </a:cubicBezTo>
                    <a:cubicBezTo>
                      <a:pt x="82" y="796"/>
                      <a:pt x="69" y="790"/>
                      <a:pt x="56" y="799"/>
                    </a:cubicBezTo>
                    <a:cubicBezTo>
                      <a:pt x="45" y="797"/>
                      <a:pt x="36" y="797"/>
                      <a:pt x="26" y="792"/>
                    </a:cubicBezTo>
                    <a:cubicBezTo>
                      <a:pt x="9" y="792"/>
                      <a:pt x="16" y="815"/>
                      <a:pt x="4" y="823"/>
                    </a:cubicBezTo>
                    <a:cubicBezTo>
                      <a:pt x="3" y="831"/>
                      <a:pt x="2" y="823"/>
                      <a:pt x="0" y="827"/>
                    </a:cubicBezTo>
                    <a:cubicBezTo>
                      <a:pt x="1" y="820"/>
                      <a:pt x="1" y="813"/>
                      <a:pt x="2" y="806"/>
                    </a:cubicBezTo>
                    <a:cubicBezTo>
                      <a:pt x="3" y="795"/>
                      <a:pt x="6" y="785"/>
                      <a:pt x="9" y="774"/>
                    </a:cubicBezTo>
                    <a:cubicBezTo>
                      <a:pt x="11" y="766"/>
                      <a:pt x="13" y="759"/>
                      <a:pt x="18" y="752"/>
                    </a:cubicBezTo>
                    <a:cubicBezTo>
                      <a:pt x="26" y="737"/>
                      <a:pt x="34" y="721"/>
                      <a:pt x="40" y="706"/>
                    </a:cubicBezTo>
                    <a:cubicBezTo>
                      <a:pt x="44" y="692"/>
                      <a:pt x="46" y="678"/>
                      <a:pt x="49" y="664"/>
                    </a:cubicBezTo>
                    <a:cubicBezTo>
                      <a:pt x="52" y="649"/>
                      <a:pt x="51" y="634"/>
                      <a:pt x="52" y="619"/>
                    </a:cubicBezTo>
                    <a:cubicBezTo>
                      <a:pt x="53" y="613"/>
                      <a:pt x="51" y="608"/>
                      <a:pt x="49" y="602"/>
                    </a:cubicBezTo>
                    <a:cubicBezTo>
                      <a:pt x="41" y="594"/>
                      <a:pt x="37" y="584"/>
                      <a:pt x="31" y="574"/>
                    </a:cubicBezTo>
                    <a:cubicBezTo>
                      <a:pt x="29" y="571"/>
                      <a:pt x="26" y="564"/>
                      <a:pt x="33" y="568"/>
                    </a:cubicBezTo>
                    <a:cubicBezTo>
                      <a:pt x="38" y="562"/>
                      <a:pt x="41" y="556"/>
                      <a:pt x="45" y="550"/>
                    </a:cubicBezTo>
                    <a:cubicBezTo>
                      <a:pt x="48" y="542"/>
                      <a:pt x="52" y="534"/>
                      <a:pt x="53" y="525"/>
                    </a:cubicBezTo>
                    <a:cubicBezTo>
                      <a:pt x="52" y="517"/>
                      <a:pt x="60" y="511"/>
                      <a:pt x="59" y="503"/>
                    </a:cubicBezTo>
                    <a:cubicBezTo>
                      <a:pt x="57" y="494"/>
                      <a:pt x="53" y="486"/>
                      <a:pt x="49" y="477"/>
                    </a:cubicBezTo>
                    <a:cubicBezTo>
                      <a:pt x="46" y="469"/>
                      <a:pt x="45" y="477"/>
                      <a:pt x="41" y="479"/>
                    </a:cubicBezTo>
                    <a:cubicBezTo>
                      <a:pt x="36" y="483"/>
                      <a:pt x="38" y="473"/>
                      <a:pt x="36" y="470"/>
                    </a:cubicBezTo>
                    <a:cubicBezTo>
                      <a:pt x="35" y="460"/>
                      <a:pt x="30" y="451"/>
                      <a:pt x="27" y="44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0" name="Malta"/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4609327" y="3351853"/>
                <a:ext cx="11475" cy="17214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2" y="0"/>
                  </a:cxn>
                  <a:cxn ang="0">
                    <a:pos x="2" y="3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2" y="0"/>
                    </a:lnTo>
                    <a:lnTo>
                      <a:pt x="2" y="3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1" name="Mali"/>
              <p:cNvSpPr>
                <a:spLocks/>
              </p:cNvSpPr>
              <p:nvPr/>
            </p:nvSpPr>
            <p:spPr bwMode="auto">
              <a:xfrm>
                <a:off x="3901672" y="3751587"/>
                <a:ext cx="443719" cy="487713"/>
              </a:xfrm>
              <a:custGeom>
                <a:avLst/>
                <a:gdLst>
                  <a:gd name="T0" fmla="*/ 40 w 1219"/>
                  <a:gd name="T1" fmla="*/ 740 h 1132"/>
                  <a:gd name="T2" fmla="*/ 74 w 1219"/>
                  <a:gd name="T3" fmla="*/ 698 h 1132"/>
                  <a:gd name="T4" fmla="*/ 122 w 1219"/>
                  <a:gd name="T5" fmla="*/ 718 h 1132"/>
                  <a:gd name="T6" fmla="*/ 205 w 1219"/>
                  <a:gd name="T7" fmla="*/ 716 h 1132"/>
                  <a:gd name="T8" fmla="*/ 225 w 1219"/>
                  <a:gd name="T9" fmla="*/ 712 h 1132"/>
                  <a:gd name="T10" fmla="*/ 512 w 1219"/>
                  <a:gd name="T11" fmla="*/ 670 h 1132"/>
                  <a:gd name="T12" fmla="*/ 493 w 1219"/>
                  <a:gd name="T13" fmla="*/ 0 h 1132"/>
                  <a:gd name="T14" fmla="*/ 614 w 1219"/>
                  <a:gd name="T15" fmla="*/ 4 h 1132"/>
                  <a:gd name="T16" fmla="*/ 928 w 1219"/>
                  <a:gd name="T17" fmla="*/ 253 h 1132"/>
                  <a:gd name="T18" fmla="*/ 1015 w 1219"/>
                  <a:gd name="T19" fmla="*/ 337 h 1132"/>
                  <a:gd name="T20" fmla="*/ 1076 w 1219"/>
                  <a:gd name="T21" fmla="*/ 373 h 1132"/>
                  <a:gd name="T22" fmla="*/ 1148 w 1219"/>
                  <a:gd name="T23" fmla="*/ 410 h 1132"/>
                  <a:gd name="T24" fmla="*/ 1169 w 1219"/>
                  <a:gd name="T25" fmla="*/ 468 h 1132"/>
                  <a:gd name="T26" fmla="*/ 1212 w 1219"/>
                  <a:gd name="T27" fmla="*/ 616 h 1132"/>
                  <a:gd name="T28" fmla="*/ 1185 w 1219"/>
                  <a:gd name="T29" fmla="*/ 704 h 1132"/>
                  <a:gd name="T30" fmla="*/ 1147 w 1219"/>
                  <a:gd name="T31" fmla="*/ 742 h 1132"/>
                  <a:gd name="T32" fmla="*/ 1012 w 1219"/>
                  <a:gd name="T33" fmla="*/ 746 h 1132"/>
                  <a:gd name="T34" fmla="*/ 933 w 1219"/>
                  <a:gd name="T35" fmla="*/ 767 h 1132"/>
                  <a:gd name="T36" fmla="*/ 923 w 1219"/>
                  <a:gd name="T37" fmla="*/ 769 h 1132"/>
                  <a:gd name="T38" fmla="*/ 895 w 1219"/>
                  <a:gd name="T39" fmla="*/ 767 h 1132"/>
                  <a:gd name="T40" fmla="*/ 841 w 1219"/>
                  <a:gd name="T41" fmla="*/ 761 h 1132"/>
                  <a:gd name="T42" fmla="*/ 760 w 1219"/>
                  <a:gd name="T43" fmla="*/ 803 h 1132"/>
                  <a:gd name="T44" fmla="*/ 699 w 1219"/>
                  <a:gd name="T45" fmla="*/ 827 h 1132"/>
                  <a:gd name="T46" fmla="*/ 655 w 1219"/>
                  <a:gd name="T47" fmla="*/ 861 h 1132"/>
                  <a:gd name="T48" fmla="*/ 638 w 1219"/>
                  <a:gd name="T49" fmla="*/ 896 h 1132"/>
                  <a:gd name="T50" fmla="*/ 600 w 1219"/>
                  <a:gd name="T51" fmla="*/ 875 h 1132"/>
                  <a:gd name="T52" fmla="*/ 580 w 1219"/>
                  <a:gd name="T53" fmla="*/ 924 h 1132"/>
                  <a:gd name="T54" fmla="*/ 563 w 1219"/>
                  <a:gd name="T55" fmla="*/ 962 h 1132"/>
                  <a:gd name="T56" fmla="*/ 520 w 1219"/>
                  <a:gd name="T57" fmla="*/ 988 h 1132"/>
                  <a:gd name="T58" fmla="*/ 490 w 1219"/>
                  <a:gd name="T59" fmla="*/ 1000 h 1132"/>
                  <a:gd name="T60" fmla="*/ 496 w 1219"/>
                  <a:gd name="T61" fmla="*/ 1013 h 1132"/>
                  <a:gd name="T62" fmla="*/ 478 w 1219"/>
                  <a:gd name="T63" fmla="*/ 1060 h 1132"/>
                  <a:gd name="T64" fmla="*/ 475 w 1219"/>
                  <a:gd name="T65" fmla="*/ 1106 h 1132"/>
                  <a:gd name="T66" fmla="*/ 448 w 1219"/>
                  <a:gd name="T67" fmla="*/ 1110 h 1132"/>
                  <a:gd name="T68" fmla="*/ 422 w 1219"/>
                  <a:gd name="T69" fmla="*/ 1097 h 1132"/>
                  <a:gd name="T70" fmla="*/ 398 w 1219"/>
                  <a:gd name="T71" fmla="*/ 1093 h 1132"/>
                  <a:gd name="T72" fmla="*/ 376 w 1219"/>
                  <a:gd name="T73" fmla="*/ 1110 h 1132"/>
                  <a:gd name="T74" fmla="*/ 338 w 1219"/>
                  <a:gd name="T75" fmla="*/ 1113 h 1132"/>
                  <a:gd name="T76" fmla="*/ 303 w 1219"/>
                  <a:gd name="T77" fmla="*/ 1121 h 1132"/>
                  <a:gd name="T78" fmla="*/ 293 w 1219"/>
                  <a:gd name="T79" fmla="*/ 1112 h 1132"/>
                  <a:gd name="T80" fmla="*/ 273 w 1219"/>
                  <a:gd name="T81" fmla="*/ 1060 h 1132"/>
                  <a:gd name="T82" fmla="*/ 266 w 1219"/>
                  <a:gd name="T83" fmla="*/ 1037 h 1132"/>
                  <a:gd name="T84" fmla="*/ 246 w 1219"/>
                  <a:gd name="T85" fmla="*/ 1010 h 1132"/>
                  <a:gd name="T86" fmla="*/ 235 w 1219"/>
                  <a:gd name="T87" fmla="*/ 969 h 1132"/>
                  <a:gd name="T88" fmla="*/ 202 w 1219"/>
                  <a:gd name="T89" fmla="*/ 948 h 1132"/>
                  <a:gd name="T90" fmla="*/ 163 w 1219"/>
                  <a:gd name="T91" fmla="*/ 974 h 1132"/>
                  <a:gd name="T92" fmla="*/ 98 w 1219"/>
                  <a:gd name="T93" fmla="*/ 978 h 1132"/>
                  <a:gd name="T94" fmla="*/ 48 w 1219"/>
                  <a:gd name="T95" fmla="*/ 965 h 1132"/>
                  <a:gd name="T96" fmla="*/ 51 w 1219"/>
                  <a:gd name="T97" fmla="*/ 944 h 1132"/>
                  <a:gd name="T98" fmla="*/ 56 w 1219"/>
                  <a:gd name="T99" fmla="*/ 910 h 1132"/>
                  <a:gd name="T100" fmla="*/ 45 w 1219"/>
                  <a:gd name="T101" fmla="*/ 871 h 1132"/>
                  <a:gd name="T102" fmla="*/ 17 w 1219"/>
                  <a:gd name="T103" fmla="*/ 842 h 1132"/>
                  <a:gd name="T104" fmla="*/ 14 w 1219"/>
                  <a:gd name="T105" fmla="*/ 793 h 1132"/>
                  <a:gd name="T106" fmla="*/ 9 w 1219"/>
                  <a:gd name="T107" fmla="*/ 761 h 1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19" h="1132">
                    <a:moveTo>
                      <a:pt x="19" y="763"/>
                    </a:moveTo>
                    <a:cubicBezTo>
                      <a:pt x="28" y="764"/>
                      <a:pt x="48" y="752"/>
                      <a:pt x="40" y="740"/>
                    </a:cubicBezTo>
                    <a:cubicBezTo>
                      <a:pt x="40" y="727"/>
                      <a:pt x="48" y="716"/>
                      <a:pt x="52" y="704"/>
                    </a:cubicBezTo>
                    <a:cubicBezTo>
                      <a:pt x="62" y="708"/>
                      <a:pt x="67" y="692"/>
                      <a:pt x="74" y="698"/>
                    </a:cubicBezTo>
                    <a:cubicBezTo>
                      <a:pt x="81" y="714"/>
                      <a:pt x="100" y="721"/>
                      <a:pt x="106" y="737"/>
                    </a:cubicBezTo>
                    <a:cubicBezTo>
                      <a:pt x="112" y="732"/>
                      <a:pt x="117" y="724"/>
                      <a:pt x="122" y="718"/>
                    </a:cubicBezTo>
                    <a:cubicBezTo>
                      <a:pt x="132" y="709"/>
                      <a:pt x="153" y="714"/>
                      <a:pt x="166" y="720"/>
                    </a:cubicBezTo>
                    <a:cubicBezTo>
                      <a:pt x="179" y="722"/>
                      <a:pt x="192" y="718"/>
                      <a:pt x="205" y="716"/>
                    </a:cubicBezTo>
                    <a:cubicBezTo>
                      <a:pt x="218" y="721"/>
                      <a:pt x="215" y="707"/>
                      <a:pt x="218" y="700"/>
                    </a:cubicBezTo>
                    <a:cubicBezTo>
                      <a:pt x="231" y="692"/>
                      <a:pt x="218" y="710"/>
                      <a:pt x="225" y="712"/>
                    </a:cubicBezTo>
                    <a:cubicBezTo>
                      <a:pt x="316" y="715"/>
                      <a:pt x="408" y="716"/>
                      <a:pt x="499" y="720"/>
                    </a:cubicBezTo>
                    <a:cubicBezTo>
                      <a:pt x="503" y="703"/>
                      <a:pt x="507" y="686"/>
                      <a:pt x="512" y="670"/>
                    </a:cubicBezTo>
                    <a:cubicBezTo>
                      <a:pt x="524" y="652"/>
                      <a:pt x="495" y="651"/>
                      <a:pt x="497" y="636"/>
                    </a:cubicBezTo>
                    <a:cubicBezTo>
                      <a:pt x="491" y="424"/>
                      <a:pt x="490" y="212"/>
                      <a:pt x="493" y="0"/>
                    </a:cubicBezTo>
                    <a:cubicBezTo>
                      <a:pt x="504" y="0"/>
                      <a:pt x="514" y="0"/>
                      <a:pt x="524" y="1"/>
                    </a:cubicBezTo>
                    <a:cubicBezTo>
                      <a:pt x="554" y="2"/>
                      <a:pt x="584" y="4"/>
                      <a:pt x="614" y="4"/>
                    </a:cubicBezTo>
                    <a:cubicBezTo>
                      <a:pt x="615" y="5"/>
                      <a:pt x="615" y="5"/>
                      <a:pt x="615" y="5"/>
                    </a:cubicBezTo>
                    <a:cubicBezTo>
                      <a:pt x="720" y="86"/>
                      <a:pt x="825" y="169"/>
                      <a:pt x="928" y="253"/>
                    </a:cubicBezTo>
                    <a:cubicBezTo>
                      <a:pt x="954" y="272"/>
                      <a:pt x="981" y="290"/>
                      <a:pt x="1007" y="309"/>
                    </a:cubicBezTo>
                    <a:cubicBezTo>
                      <a:pt x="1014" y="318"/>
                      <a:pt x="996" y="340"/>
                      <a:pt x="1015" y="337"/>
                    </a:cubicBezTo>
                    <a:cubicBezTo>
                      <a:pt x="1025" y="346"/>
                      <a:pt x="1042" y="347"/>
                      <a:pt x="1042" y="364"/>
                    </a:cubicBezTo>
                    <a:cubicBezTo>
                      <a:pt x="1052" y="372"/>
                      <a:pt x="1063" y="379"/>
                      <a:pt x="1076" y="373"/>
                    </a:cubicBezTo>
                    <a:cubicBezTo>
                      <a:pt x="1089" y="374"/>
                      <a:pt x="1090" y="397"/>
                      <a:pt x="1107" y="393"/>
                    </a:cubicBezTo>
                    <a:cubicBezTo>
                      <a:pt x="1122" y="396"/>
                      <a:pt x="1138" y="398"/>
                      <a:pt x="1148" y="410"/>
                    </a:cubicBezTo>
                    <a:cubicBezTo>
                      <a:pt x="1143" y="424"/>
                      <a:pt x="1156" y="440"/>
                      <a:pt x="1142" y="450"/>
                    </a:cubicBezTo>
                    <a:cubicBezTo>
                      <a:pt x="1132" y="465"/>
                      <a:pt x="1158" y="475"/>
                      <a:pt x="1169" y="468"/>
                    </a:cubicBezTo>
                    <a:cubicBezTo>
                      <a:pt x="1186" y="466"/>
                      <a:pt x="1202" y="463"/>
                      <a:pt x="1219" y="460"/>
                    </a:cubicBezTo>
                    <a:cubicBezTo>
                      <a:pt x="1216" y="512"/>
                      <a:pt x="1215" y="564"/>
                      <a:pt x="1212" y="616"/>
                    </a:cubicBezTo>
                    <a:cubicBezTo>
                      <a:pt x="1207" y="631"/>
                      <a:pt x="1207" y="647"/>
                      <a:pt x="1207" y="663"/>
                    </a:cubicBezTo>
                    <a:cubicBezTo>
                      <a:pt x="1193" y="673"/>
                      <a:pt x="1193" y="690"/>
                      <a:pt x="1185" y="704"/>
                    </a:cubicBezTo>
                    <a:cubicBezTo>
                      <a:pt x="1187" y="719"/>
                      <a:pt x="1172" y="719"/>
                      <a:pt x="1164" y="727"/>
                    </a:cubicBezTo>
                    <a:cubicBezTo>
                      <a:pt x="1153" y="729"/>
                      <a:pt x="1158" y="748"/>
                      <a:pt x="1147" y="742"/>
                    </a:cubicBezTo>
                    <a:cubicBezTo>
                      <a:pt x="1136" y="743"/>
                      <a:pt x="1121" y="731"/>
                      <a:pt x="1116" y="744"/>
                    </a:cubicBezTo>
                    <a:cubicBezTo>
                      <a:pt x="1081" y="742"/>
                      <a:pt x="1046" y="744"/>
                      <a:pt x="1012" y="746"/>
                    </a:cubicBezTo>
                    <a:cubicBezTo>
                      <a:pt x="1000" y="745"/>
                      <a:pt x="988" y="746"/>
                      <a:pt x="980" y="757"/>
                    </a:cubicBezTo>
                    <a:cubicBezTo>
                      <a:pt x="970" y="771"/>
                      <a:pt x="949" y="774"/>
                      <a:pt x="933" y="767"/>
                    </a:cubicBezTo>
                    <a:cubicBezTo>
                      <a:pt x="933" y="767"/>
                      <a:pt x="933" y="767"/>
                      <a:pt x="933" y="767"/>
                    </a:cubicBezTo>
                    <a:cubicBezTo>
                      <a:pt x="930" y="769"/>
                      <a:pt x="926" y="770"/>
                      <a:pt x="923" y="769"/>
                    </a:cubicBezTo>
                    <a:cubicBezTo>
                      <a:pt x="915" y="765"/>
                      <a:pt x="913" y="768"/>
                      <a:pt x="912" y="773"/>
                    </a:cubicBezTo>
                    <a:cubicBezTo>
                      <a:pt x="906" y="771"/>
                      <a:pt x="901" y="769"/>
                      <a:pt x="895" y="767"/>
                    </a:cubicBezTo>
                    <a:cubicBezTo>
                      <a:pt x="886" y="764"/>
                      <a:pt x="879" y="757"/>
                      <a:pt x="870" y="764"/>
                    </a:cubicBezTo>
                    <a:cubicBezTo>
                      <a:pt x="862" y="760"/>
                      <a:pt x="850" y="757"/>
                      <a:pt x="841" y="761"/>
                    </a:cubicBezTo>
                    <a:cubicBezTo>
                      <a:pt x="828" y="773"/>
                      <a:pt x="814" y="784"/>
                      <a:pt x="797" y="786"/>
                    </a:cubicBezTo>
                    <a:cubicBezTo>
                      <a:pt x="784" y="792"/>
                      <a:pt x="774" y="805"/>
                      <a:pt x="760" y="803"/>
                    </a:cubicBezTo>
                    <a:cubicBezTo>
                      <a:pt x="741" y="798"/>
                      <a:pt x="753" y="822"/>
                      <a:pt x="741" y="827"/>
                    </a:cubicBezTo>
                    <a:cubicBezTo>
                      <a:pt x="728" y="824"/>
                      <a:pt x="710" y="809"/>
                      <a:pt x="699" y="827"/>
                    </a:cubicBezTo>
                    <a:cubicBezTo>
                      <a:pt x="685" y="832"/>
                      <a:pt x="676" y="847"/>
                      <a:pt x="679" y="861"/>
                    </a:cubicBezTo>
                    <a:cubicBezTo>
                      <a:pt x="674" y="872"/>
                      <a:pt x="664" y="861"/>
                      <a:pt x="655" y="861"/>
                    </a:cubicBezTo>
                    <a:cubicBezTo>
                      <a:pt x="658" y="861"/>
                      <a:pt x="650" y="877"/>
                      <a:pt x="652" y="883"/>
                    </a:cubicBezTo>
                    <a:cubicBezTo>
                      <a:pt x="656" y="898"/>
                      <a:pt x="638" y="887"/>
                      <a:pt x="638" y="896"/>
                    </a:cubicBezTo>
                    <a:cubicBezTo>
                      <a:pt x="628" y="908"/>
                      <a:pt x="617" y="883"/>
                      <a:pt x="605" y="884"/>
                    </a:cubicBezTo>
                    <a:cubicBezTo>
                      <a:pt x="595" y="884"/>
                      <a:pt x="608" y="878"/>
                      <a:pt x="600" y="875"/>
                    </a:cubicBezTo>
                    <a:cubicBezTo>
                      <a:pt x="594" y="880"/>
                      <a:pt x="583" y="890"/>
                      <a:pt x="580" y="897"/>
                    </a:cubicBezTo>
                    <a:cubicBezTo>
                      <a:pt x="563" y="900"/>
                      <a:pt x="582" y="913"/>
                      <a:pt x="580" y="924"/>
                    </a:cubicBezTo>
                    <a:cubicBezTo>
                      <a:pt x="583" y="939"/>
                      <a:pt x="561" y="926"/>
                      <a:pt x="560" y="937"/>
                    </a:cubicBezTo>
                    <a:cubicBezTo>
                      <a:pt x="570" y="945"/>
                      <a:pt x="560" y="952"/>
                      <a:pt x="563" y="962"/>
                    </a:cubicBezTo>
                    <a:cubicBezTo>
                      <a:pt x="560" y="963"/>
                      <a:pt x="553" y="970"/>
                      <a:pt x="552" y="972"/>
                    </a:cubicBezTo>
                    <a:cubicBezTo>
                      <a:pt x="549" y="984"/>
                      <a:pt x="532" y="988"/>
                      <a:pt x="520" y="988"/>
                    </a:cubicBezTo>
                    <a:cubicBezTo>
                      <a:pt x="509" y="986"/>
                      <a:pt x="503" y="997"/>
                      <a:pt x="494" y="999"/>
                    </a:cubicBezTo>
                    <a:cubicBezTo>
                      <a:pt x="492" y="997"/>
                      <a:pt x="490" y="996"/>
                      <a:pt x="490" y="1000"/>
                    </a:cubicBezTo>
                    <a:cubicBezTo>
                      <a:pt x="491" y="1000"/>
                      <a:pt x="493" y="1000"/>
                      <a:pt x="494" y="999"/>
                    </a:cubicBezTo>
                    <a:cubicBezTo>
                      <a:pt x="496" y="1003"/>
                      <a:pt x="498" y="1010"/>
                      <a:pt x="496" y="1013"/>
                    </a:cubicBezTo>
                    <a:cubicBezTo>
                      <a:pt x="505" y="1023"/>
                      <a:pt x="498" y="1033"/>
                      <a:pt x="496" y="1044"/>
                    </a:cubicBezTo>
                    <a:cubicBezTo>
                      <a:pt x="496" y="1056"/>
                      <a:pt x="482" y="1053"/>
                      <a:pt x="478" y="1060"/>
                    </a:cubicBezTo>
                    <a:cubicBezTo>
                      <a:pt x="484" y="1071"/>
                      <a:pt x="481" y="1081"/>
                      <a:pt x="478" y="1091"/>
                    </a:cubicBezTo>
                    <a:cubicBezTo>
                      <a:pt x="476" y="1095"/>
                      <a:pt x="475" y="1101"/>
                      <a:pt x="475" y="1106"/>
                    </a:cubicBezTo>
                    <a:cubicBezTo>
                      <a:pt x="474" y="1106"/>
                      <a:pt x="474" y="1106"/>
                      <a:pt x="474" y="1106"/>
                    </a:cubicBezTo>
                    <a:cubicBezTo>
                      <a:pt x="466" y="1103"/>
                      <a:pt x="455" y="1107"/>
                      <a:pt x="448" y="1110"/>
                    </a:cubicBezTo>
                    <a:cubicBezTo>
                      <a:pt x="446" y="1120"/>
                      <a:pt x="430" y="1132"/>
                      <a:pt x="422" y="1118"/>
                    </a:cubicBezTo>
                    <a:cubicBezTo>
                      <a:pt x="427" y="1111"/>
                      <a:pt x="427" y="1102"/>
                      <a:pt x="422" y="1097"/>
                    </a:cubicBezTo>
                    <a:cubicBezTo>
                      <a:pt x="430" y="1087"/>
                      <a:pt x="418" y="1079"/>
                      <a:pt x="409" y="1087"/>
                    </a:cubicBezTo>
                    <a:cubicBezTo>
                      <a:pt x="413" y="1094"/>
                      <a:pt x="405" y="1099"/>
                      <a:pt x="398" y="1093"/>
                    </a:cubicBezTo>
                    <a:cubicBezTo>
                      <a:pt x="393" y="1082"/>
                      <a:pt x="388" y="1094"/>
                      <a:pt x="389" y="1100"/>
                    </a:cubicBezTo>
                    <a:cubicBezTo>
                      <a:pt x="396" y="1111"/>
                      <a:pt x="384" y="1112"/>
                      <a:pt x="376" y="1110"/>
                    </a:cubicBezTo>
                    <a:cubicBezTo>
                      <a:pt x="362" y="1108"/>
                      <a:pt x="371" y="1122"/>
                      <a:pt x="364" y="1126"/>
                    </a:cubicBezTo>
                    <a:cubicBezTo>
                      <a:pt x="358" y="1116"/>
                      <a:pt x="343" y="1123"/>
                      <a:pt x="338" y="1113"/>
                    </a:cubicBezTo>
                    <a:cubicBezTo>
                      <a:pt x="337" y="1128"/>
                      <a:pt x="334" y="1095"/>
                      <a:pt x="325" y="1104"/>
                    </a:cubicBezTo>
                    <a:cubicBezTo>
                      <a:pt x="312" y="1099"/>
                      <a:pt x="310" y="1116"/>
                      <a:pt x="303" y="1121"/>
                    </a:cubicBezTo>
                    <a:cubicBezTo>
                      <a:pt x="298" y="1125"/>
                      <a:pt x="296" y="1124"/>
                      <a:pt x="295" y="1123"/>
                    </a:cubicBezTo>
                    <a:cubicBezTo>
                      <a:pt x="294" y="1120"/>
                      <a:pt x="295" y="1115"/>
                      <a:pt x="293" y="1112"/>
                    </a:cubicBezTo>
                    <a:cubicBezTo>
                      <a:pt x="277" y="1107"/>
                      <a:pt x="292" y="1111"/>
                      <a:pt x="281" y="1104"/>
                    </a:cubicBezTo>
                    <a:cubicBezTo>
                      <a:pt x="265" y="1096"/>
                      <a:pt x="273" y="1074"/>
                      <a:pt x="273" y="1060"/>
                    </a:cubicBezTo>
                    <a:cubicBezTo>
                      <a:pt x="266" y="1045"/>
                      <a:pt x="255" y="1065"/>
                      <a:pt x="245" y="1061"/>
                    </a:cubicBezTo>
                    <a:cubicBezTo>
                      <a:pt x="248" y="1052"/>
                      <a:pt x="257" y="1038"/>
                      <a:pt x="266" y="1037"/>
                    </a:cubicBezTo>
                    <a:cubicBezTo>
                      <a:pt x="273" y="1037"/>
                      <a:pt x="265" y="1033"/>
                      <a:pt x="268" y="1031"/>
                    </a:cubicBezTo>
                    <a:cubicBezTo>
                      <a:pt x="262" y="1023"/>
                      <a:pt x="248" y="1022"/>
                      <a:pt x="246" y="1010"/>
                    </a:cubicBezTo>
                    <a:cubicBezTo>
                      <a:pt x="235" y="1010"/>
                      <a:pt x="238" y="1000"/>
                      <a:pt x="241" y="993"/>
                    </a:cubicBezTo>
                    <a:cubicBezTo>
                      <a:pt x="248" y="981"/>
                      <a:pt x="229" y="980"/>
                      <a:pt x="235" y="969"/>
                    </a:cubicBezTo>
                    <a:cubicBezTo>
                      <a:pt x="227" y="965"/>
                      <a:pt x="232" y="959"/>
                      <a:pt x="230" y="952"/>
                    </a:cubicBezTo>
                    <a:cubicBezTo>
                      <a:pt x="225" y="945"/>
                      <a:pt x="202" y="937"/>
                      <a:pt x="202" y="948"/>
                    </a:cubicBezTo>
                    <a:cubicBezTo>
                      <a:pt x="214" y="959"/>
                      <a:pt x="197" y="961"/>
                      <a:pt x="189" y="964"/>
                    </a:cubicBezTo>
                    <a:cubicBezTo>
                      <a:pt x="178" y="965"/>
                      <a:pt x="177" y="985"/>
                      <a:pt x="163" y="974"/>
                    </a:cubicBezTo>
                    <a:cubicBezTo>
                      <a:pt x="152" y="970"/>
                      <a:pt x="139" y="958"/>
                      <a:pt x="128" y="966"/>
                    </a:cubicBezTo>
                    <a:cubicBezTo>
                      <a:pt x="115" y="966"/>
                      <a:pt x="107" y="998"/>
                      <a:pt x="98" y="978"/>
                    </a:cubicBezTo>
                    <a:cubicBezTo>
                      <a:pt x="99" y="965"/>
                      <a:pt x="81" y="953"/>
                      <a:pt x="74" y="969"/>
                    </a:cubicBezTo>
                    <a:cubicBezTo>
                      <a:pt x="67" y="984"/>
                      <a:pt x="56" y="972"/>
                      <a:pt x="48" y="965"/>
                    </a:cubicBezTo>
                    <a:cubicBezTo>
                      <a:pt x="49" y="960"/>
                      <a:pt x="51" y="950"/>
                      <a:pt x="54" y="947"/>
                    </a:cubicBezTo>
                    <a:cubicBezTo>
                      <a:pt x="51" y="944"/>
                      <a:pt x="51" y="944"/>
                      <a:pt x="51" y="944"/>
                    </a:cubicBezTo>
                    <a:cubicBezTo>
                      <a:pt x="54" y="944"/>
                      <a:pt x="56" y="943"/>
                      <a:pt x="58" y="940"/>
                    </a:cubicBezTo>
                    <a:cubicBezTo>
                      <a:pt x="47" y="932"/>
                      <a:pt x="60" y="920"/>
                      <a:pt x="56" y="910"/>
                    </a:cubicBezTo>
                    <a:cubicBezTo>
                      <a:pt x="61" y="904"/>
                      <a:pt x="59" y="903"/>
                      <a:pt x="57" y="898"/>
                    </a:cubicBezTo>
                    <a:cubicBezTo>
                      <a:pt x="49" y="891"/>
                      <a:pt x="50" y="880"/>
                      <a:pt x="45" y="871"/>
                    </a:cubicBezTo>
                    <a:cubicBezTo>
                      <a:pt x="37" y="861"/>
                      <a:pt x="33" y="881"/>
                      <a:pt x="27" y="871"/>
                    </a:cubicBezTo>
                    <a:cubicBezTo>
                      <a:pt x="31" y="860"/>
                      <a:pt x="9" y="853"/>
                      <a:pt x="17" y="842"/>
                    </a:cubicBezTo>
                    <a:cubicBezTo>
                      <a:pt x="27" y="837"/>
                      <a:pt x="24" y="829"/>
                      <a:pt x="21" y="821"/>
                    </a:cubicBezTo>
                    <a:cubicBezTo>
                      <a:pt x="26" y="810"/>
                      <a:pt x="22" y="799"/>
                      <a:pt x="14" y="793"/>
                    </a:cubicBezTo>
                    <a:cubicBezTo>
                      <a:pt x="0" y="784"/>
                      <a:pt x="23" y="771"/>
                      <a:pt x="9" y="762"/>
                    </a:cubicBezTo>
                    <a:cubicBezTo>
                      <a:pt x="9" y="761"/>
                      <a:pt x="9" y="761"/>
                      <a:pt x="9" y="761"/>
                    </a:cubicBezTo>
                    <a:cubicBezTo>
                      <a:pt x="12" y="763"/>
                      <a:pt x="15" y="763"/>
                      <a:pt x="19" y="763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2" name="Maldives"/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6103053" y="4378920"/>
                <a:ext cx="55465" cy="4972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9"/>
                  </a:cxn>
                  <a:cxn ang="0">
                    <a:pos x="4" y="9"/>
                  </a:cxn>
                  <a:cxn ang="0">
                    <a:pos x="10" y="6"/>
                  </a:cxn>
                  <a:cxn ang="0">
                    <a:pos x="10" y="0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10" h="9">
                    <a:moveTo>
                      <a:pt x="0" y="2"/>
                    </a:moveTo>
                    <a:lnTo>
                      <a:pt x="2" y="9"/>
                    </a:lnTo>
                    <a:lnTo>
                      <a:pt x="4" y="9"/>
                    </a:lnTo>
                    <a:lnTo>
                      <a:pt x="10" y="6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553" name="Malaysia"/>
              <p:cNvGrpSpPr/>
              <p:nvPr/>
            </p:nvGrpSpPr>
            <p:grpSpPr>
              <a:xfrm>
                <a:off x="6874364" y="4357104"/>
                <a:ext cx="493727" cy="189497"/>
                <a:chOff x="6874364" y="4338015"/>
                <a:chExt cx="493727" cy="189497"/>
              </a:xfrm>
              <a:solidFill>
                <a:srgbClr val="EE8B8B"/>
              </a:solidFill>
            </p:grpSpPr>
            <p:sp>
              <p:nvSpPr>
                <p:cNvPr id="780" name="Malaysia"/>
                <p:cNvSpPr>
                  <a:spLocks/>
                </p:cNvSpPr>
                <p:nvPr/>
              </p:nvSpPr>
              <p:spPr bwMode="auto">
                <a:xfrm>
                  <a:off x="7118454" y="4338015"/>
                  <a:ext cx="249637" cy="189497"/>
                </a:xfrm>
                <a:custGeom>
                  <a:avLst/>
                  <a:gdLst/>
                  <a:ahLst/>
                  <a:cxnLst>
                    <a:cxn ang="0">
                      <a:pos x="43" y="11"/>
                    </a:cxn>
                    <a:cxn ang="0">
                      <a:pos x="39" y="11"/>
                    </a:cxn>
                    <a:cxn ang="0">
                      <a:pos x="45" y="9"/>
                    </a:cxn>
                    <a:cxn ang="0">
                      <a:pos x="37" y="5"/>
                    </a:cxn>
                    <a:cxn ang="0">
                      <a:pos x="37" y="2"/>
                    </a:cxn>
                    <a:cxn ang="0">
                      <a:pos x="35" y="0"/>
                    </a:cxn>
                    <a:cxn ang="0">
                      <a:pos x="27" y="9"/>
                    </a:cxn>
                    <a:cxn ang="0">
                      <a:pos x="27" y="11"/>
                    </a:cxn>
                    <a:cxn ang="0">
                      <a:pos x="27" y="16"/>
                    </a:cxn>
                    <a:cxn ang="0">
                      <a:pos x="23" y="16"/>
                    </a:cxn>
                    <a:cxn ang="0">
                      <a:pos x="20" y="11"/>
                    </a:cxn>
                    <a:cxn ang="0">
                      <a:pos x="14" y="20"/>
                    </a:cxn>
                    <a:cxn ang="0">
                      <a:pos x="8" y="20"/>
                    </a:cxn>
                    <a:cxn ang="0">
                      <a:pos x="6" y="29"/>
                    </a:cxn>
                    <a:cxn ang="0">
                      <a:pos x="0" y="27"/>
                    </a:cxn>
                    <a:cxn ang="0">
                      <a:pos x="4" y="34"/>
                    </a:cxn>
                    <a:cxn ang="0">
                      <a:pos x="8" y="34"/>
                    </a:cxn>
                    <a:cxn ang="0">
                      <a:pos x="12" y="29"/>
                    </a:cxn>
                    <a:cxn ang="0">
                      <a:pos x="16" y="34"/>
                    </a:cxn>
                    <a:cxn ang="0">
                      <a:pos x="23" y="29"/>
                    </a:cxn>
                    <a:cxn ang="0">
                      <a:pos x="29" y="16"/>
                    </a:cxn>
                    <a:cxn ang="0">
                      <a:pos x="31" y="16"/>
                    </a:cxn>
                    <a:cxn ang="0">
                      <a:pos x="37" y="16"/>
                    </a:cxn>
                    <a:cxn ang="0">
                      <a:pos x="39" y="14"/>
                    </a:cxn>
                    <a:cxn ang="0">
                      <a:pos x="43" y="11"/>
                    </a:cxn>
                  </a:cxnLst>
                  <a:rect l="0" t="0" r="r" b="b"/>
                  <a:pathLst>
                    <a:path w="45" h="34">
                      <a:moveTo>
                        <a:pt x="43" y="11"/>
                      </a:moveTo>
                      <a:lnTo>
                        <a:pt x="39" y="11"/>
                      </a:lnTo>
                      <a:lnTo>
                        <a:pt x="45" y="9"/>
                      </a:lnTo>
                      <a:lnTo>
                        <a:pt x="37" y="5"/>
                      </a:lnTo>
                      <a:lnTo>
                        <a:pt x="37" y="2"/>
                      </a:lnTo>
                      <a:lnTo>
                        <a:pt x="35" y="0"/>
                      </a:lnTo>
                      <a:lnTo>
                        <a:pt x="27" y="9"/>
                      </a:lnTo>
                      <a:lnTo>
                        <a:pt x="27" y="11"/>
                      </a:lnTo>
                      <a:lnTo>
                        <a:pt x="27" y="16"/>
                      </a:lnTo>
                      <a:lnTo>
                        <a:pt x="23" y="16"/>
                      </a:lnTo>
                      <a:lnTo>
                        <a:pt x="20" y="11"/>
                      </a:lnTo>
                      <a:lnTo>
                        <a:pt x="14" y="20"/>
                      </a:lnTo>
                      <a:lnTo>
                        <a:pt x="8" y="20"/>
                      </a:lnTo>
                      <a:lnTo>
                        <a:pt x="6" y="29"/>
                      </a:lnTo>
                      <a:lnTo>
                        <a:pt x="0" y="27"/>
                      </a:lnTo>
                      <a:lnTo>
                        <a:pt x="4" y="34"/>
                      </a:lnTo>
                      <a:lnTo>
                        <a:pt x="8" y="34"/>
                      </a:lnTo>
                      <a:lnTo>
                        <a:pt x="12" y="29"/>
                      </a:lnTo>
                      <a:lnTo>
                        <a:pt x="16" y="34"/>
                      </a:lnTo>
                      <a:lnTo>
                        <a:pt x="23" y="29"/>
                      </a:lnTo>
                      <a:lnTo>
                        <a:pt x="29" y="16"/>
                      </a:lnTo>
                      <a:lnTo>
                        <a:pt x="31" y="16"/>
                      </a:lnTo>
                      <a:lnTo>
                        <a:pt x="37" y="16"/>
                      </a:lnTo>
                      <a:lnTo>
                        <a:pt x="39" y="14"/>
                      </a:lnTo>
                      <a:lnTo>
                        <a:pt x="43" y="11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81" name="Malaysia"/>
                <p:cNvSpPr>
                  <a:spLocks/>
                </p:cNvSpPr>
                <p:nvPr/>
              </p:nvSpPr>
              <p:spPr bwMode="auto">
                <a:xfrm>
                  <a:off x="6874364" y="4338015"/>
                  <a:ext cx="105402" cy="161630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" y="5"/>
                    </a:cxn>
                    <a:cxn ang="0">
                      <a:pos x="4" y="5"/>
                    </a:cxn>
                    <a:cxn ang="0">
                      <a:pos x="8" y="2"/>
                    </a:cxn>
                    <a:cxn ang="0">
                      <a:pos x="12" y="11"/>
                    </a:cxn>
                    <a:cxn ang="0">
                      <a:pos x="12" y="20"/>
                    </a:cxn>
                    <a:cxn ang="0">
                      <a:pos x="19" y="29"/>
                    </a:cxn>
                    <a:cxn ang="0">
                      <a:pos x="12" y="29"/>
                    </a:cxn>
                    <a:cxn ang="0">
                      <a:pos x="4" y="20"/>
                    </a:cxn>
                    <a:cxn ang="0">
                      <a:pos x="0" y="16"/>
                    </a:cxn>
                    <a:cxn ang="0">
                      <a:pos x="0" y="9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19" h="29">
                      <a:moveTo>
                        <a:pt x="0" y="2"/>
                      </a:move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2" y="5"/>
                      </a:lnTo>
                      <a:lnTo>
                        <a:pt x="4" y="5"/>
                      </a:lnTo>
                      <a:lnTo>
                        <a:pt x="8" y="2"/>
                      </a:lnTo>
                      <a:lnTo>
                        <a:pt x="12" y="11"/>
                      </a:lnTo>
                      <a:lnTo>
                        <a:pt x="12" y="20"/>
                      </a:lnTo>
                      <a:lnTo>
                        <a:pt x="19" y="29"/>
                      </a:lnTo>
                      <a:lnTo>
                        <a:pt x="12" y="29"/>
                      </a:lnTo>
                      <a:lnTo>
                        <a:pt x="4" y="20"/>
                      </a:lnTo>
                      <a:lnTo>
                        <a:pt x="0" y="16"/>
                      </a:lnTo>
                      <a:lnTo>
                        <a:pt x="0" y="9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48630" name="Malawi"/>
              <p:cNvSpPr>
                <a:spLocks/>
              </p:cNvSpPr>
              <p:nvPr/>
            </p:nvSpPr>
            <p:spPr bwMode="auto">
              <a:xfrm>
                <a:off x="5098571" y="4884244"/>
                <a:ext cx="85800" cy="258698"/>
              </a:xfrm>
              <a:custGeom>
                <a:avLst/>
                <a:gdLst>
                  <a:gd name="T0" fmla="*/ 6421968 w 237"/>
                  <a:gd name="T1" fmla="*/ 0 h 600"/>
                  <a:gd name="T2" fmla="*/ 10353924 w 237"/>
                  <a:gd name="T3" fmla="*/ 3160427 h 600"/>
                  <a:gd name="T4" fmla="*/ 15072202 w 237"/>
                  <a:gd name="T5" fmla="*/ 4275847 h 600"/>
                  <a:gd name="T6" fmla="*/ 16644839 w 237"/>
                  <a:gd name="T7" fmla="*/ 1859176 h 600"/>
                  <a:gd name="T8" fmla="*/ 20576795 w 237"/>
                  <a:gd name="T9" fmla="*/ 9109187 h 600"/>
                  <a:gd name="T10" fmla="*/ 21625220 w 237"/>
                  <a:gd name="T11" fmla="*/ 18962131 h 600"/>
                  <a:gd name="T12" fmla="*/ 21756273 w 237"/>
                  <a:gd name="T13" fmla="*/ 26026308 h 600"/>
                  <a:gd name="T14" fmla="*/ 24115598 w 237"/>
                  <a:gd name="T15" fmla="*/ 30859654 h 600"/>
                  <a:gd name="T16" fmla="*/ 24246651 w 237"/>
                  <a:gd name="T17" fmla="*/ 31045485 h 600"/>
                  <a:gd name="T18" fmla="*/ 24115598 w 237"/>
                  <a:gd name="T19" fmla="*/ 31231317 h 600"/>
                  <a:gd name="T20" fmla="*/ 20707848 w 237"/>
                  <a:gd name="T21" fmla="*/ 33462155 h 600"/>
                  <a:gd name="T22" fmla="*/ 18086786 w 237"/>
                  <a:gd name="T23" fmla="*/ 40154670 h 600"/>
                  <a:gd name="T24" fmla="*/ 19266264 w 237"/>
                  <a:gd name="T25" fmla="*/ 47776772 h 600"/>
                  <a:gd name="T26" fmla="*/ 19397317 w 237"/>
                  <a:gd name="T27" fmla="*/ 56328031 h 600"/>
                  <a:gd name="T28" fmla="*/ 23329273 w 237"/>
                  <a:gd name="T29" fmla="*/ 60232227 h 600"/>
                  <a:gd name="T30" fmla="*/ 26474554 w 237"/>
                  <a:gd name="T31" fmla="*/ 65995153 h 600"/>
                  <a:gd name="T32" fmla="*/ 29489138 w 237"/>
                  <a:gd name="T33" fmla="*/ 72501837 h 600"/>
                  <a:gd name="T34" fmla="*/ 30930722 w 237"/>
                  <a:gd name="T35" fmla="*/ 79566014 h 600"/>
                  <a:gd name="T36" fmla="*/ 30144404 w 237"/>
                  <a:gd name="T37" fmla="*/ 87001854 h 600"/>
                  <a:gd name="T38" fmla="*/ 29095979 w 237"/>
                  <a:gd name="T39" fmla="*/ 94995619 h 600"/>
                  <a:gd name="T40" fmla="*/ 24115598 w 237"/>
                  <a:gd name="T41" fmla="*/ 98341876 h 600"/>
                  <a:gd name="T42" fmla="*/ 23329273 w 237"/>
                  <a:gd name="T43" fmla="*/ 103361477 h 600"/>
                  <a:gd name="T44" fmla="*/ 23722432 w 237"/>
                  <a:gd name="T45" fmla="*/ 109681898 h 600"/>
                  <a:gd name="T46" fmla="*/ 22280486 w 237"/>
                  <a:gd name="T47" fmla="*/ 107265229 h 600"/>
                  <a:gd name="T48" fmla="*/ 19921530 w 237"/>
                  <a:gd name="T49" fmla="*/ 103175646 h 600"/>
                  <a:gd name="T50" fmla="*/ 15989574 w 237"/>
                  <a:gd name="T51" fmla="*/ 96854794 h 600"/>
                  <a:gd name="T52" fmla="*/ 14810096 w 237"/>
                  <a:gd name="T53" fmla="*/ 92393118 h 600"/>
                  <a:gd name="T54" fmla="*/ 16644839 w 237"/>
                  <a:gd name="T55" fmla="*/ 87001854 h 600"/>
                  <a:gd name="T56" fmla="*/ 18217839 w 237"/>
                  <a:gd name="T57" fmla="*/ 81238927 h 600"/>
                  <a:gd name="T58" fmla="*/ 17955371 w 237"/>
                  <a:gd name="T59" fmla="*/ 73430993 h 600"/>
                  <a:gd name="T60" fmla="*/ 15203255 w 237"/>
                  <a:gd name="T61" fmla="*/ 71572249 h 600"/>
                  <a:gd name="T62" fmla="*/ 10353924 w 237"/>
                  <a:gd name="T63" fmla="*/ 72687668 h 600"/>
                  <a:gd name="T64" fmla="*/ 8388127 w 237"/>
                  <a:gd name="T65" fmla="*/ 71200586 h 600"/>
                  <a:gd name="T66" fmla="*/ 6028809 w 237"/>
                  <a:gd name="T67" fmla="*/ 65437228 h 600"/>
                  <a:gd name="T68" fmla="*/ 5766701 w 237"/>
                  <a:gd name="T69" fmla="*/ 65437228 h 600"/>
                  <a:gd name="T70" fmla="*/ 4587223 w 237"/>
                  <a:gd name="T71" fmla="*/ 65251397 h 600"/>
                  <a:gd name="T72" fmla="*/ 2358957 w 237"/>
                  <a:gd name="T73" fmla="*/ 62091402 h 600"/>
                  <a:gd name="T74" fmla="*/ 1965798 w 237"/>
                  <a:gd name="T75" fmla="*/ 60046395 h 600"/>
                  <a:gd name="T76" fmla="*/ 3145639 w 237"/>
                  <a:gd name="T77" fmla="*/ 57257632 h 600"/>
                  <a:gd name="T78" fmla="*/ 4456170 w 237"/>
                  <a:gd name="T79" fmla="*/ 51494692 h 600"/>
                  <a:gd name="T80" fmla="*/ 4980382 w 237"/>
                  <a:gd name="T81" fmla="*/ 45917596 h 600"/>
                  <a:gd name="T82" fmla="*/ 7732500 w 237"/>
                  <a:gd name="T83" fmla="*/ 44430515 h 600"/>
                  <a:gd name="T84" fmla="*/ 8912340 w 237"/>
                  <a:gd name="T85" fmla="*/ 41828014 h 600"/>
                  <a:gd name="T86" fmla="*/ 8257074 w 237"/>
                  <a:gd name="T87" fmla="*/ 35135499 h 600"/>
                  <a:gd name="T88" fmla="*/ 7601446 w 237"/>
                  <a:gd name="T89" fmla="*/ 30302160 h 600"/>
                  <a:gd name="T90" fmla="*/ 8650234 w 237"/>
                  <a:gd name="T91" fmla="*/ 23237545 h 600"/>
                  <a:gd name="T92" fmla="*/ 9174446 w 237"/>
                  <a:gd name="T93" fmla="*/ 20077550 h 600"/>
                  <a:gd name="T94" fmla="*/ 10616030 w 237"/>
                  <a:gd name="T95" fmla="*/ 19333794 h 600"/>
                  <a:gd name="T96" fmla="*/ 11533402 w 237"/>
                  <a:gd name="T97" fmla="*/ 14686286 h 600"/>
                  <a:gd name="T98" fmla="*/ 9698659 w 237"/>
                  <a:gd name="T99" fmla="*/ 10224606 h 600"/>
                  <a:gd name="T100" fmla="*/ 8781287 w 237"/>
                  <a:gd name="T101" fmla="*/ 5391266 h 600"/>
                  <a:gd name="T102" fmla="*/ 6815128 w 237"/>
                  <a:gd name="T103" fmla="*/ 3532090 h 600"/>
                  <a:gd name="T104" fmla="*/ 6028809 w 237"/>
                  <a:gd name="T105" fmla="*/ 1301251 h 600"/>
                  <a:gd name="T106" fmla="*/ 6028809 w 237"/>
                  <a:gd name="T107" fmla="*/ 1301251 h 600"/>
                  <a:gd name="T108" fmla="*/ 6028809 w 237"/>
                  <a:gd name="T109" fmla="*/ 1301251 h 600"/>
                  <a:gd name="T110" fmla="*/ 5635648 w 237"/>
                  <a:gd name="T111" fmla="*/ 185831 h 600"/>
                  <a:gd name="T112" fmla="*/ 5635648 w 237"/>
                  <a:gd name="T113" fmla="*/ 0 h 600"/>
                  <a:gd name="T114" fmla="*/ 6421968 w 237"/>
                  <a:gd name="T115" fmla="*/ 0 h 60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237"/>
                  <a:gd name="T175" fmla="*/ 0 h 600"/>
                  <a:gd name="T176" fmla="*/ 237 w 237"/>
                  <a:gd name="T177" fmla="*/ 600 h 60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237" h="600">
                    <a:moveTo>
                      <a:pt x="49" y="0"/>
                    </a:moveTo>
                    <a:cubicBezTo>
                      <a:pt x="56" y="14"/>
                      <a:pt x="74" y="1"/>
                      <a:pt x="79" y="17"/>
                    </a:cubicBezTo>
                    <a:cubicBezTo>
                      <a:pt x="91" y="17"/>
                      <a:pt x="105" y="14"/>
                      <a:pt x="115" y="23"/>
                    </a:cubicBezTo>
                    <a:cubicBezTo>
                      <a:pt x="119" y="19"/>
                      <a:pt x="115" y="3"/>
                      <a:pt x="127" y="10"/>
                    </a:cubicBezTo>
                    <a:cubicBezTo>
                      <a:pt x="138" y="22"/>
                      <a:pt x="150" y="34"/>
                      <a:pt x="157" y="49"/>
                    </a:cubicBezTo>
                    <a:cubicBezTo>
                      <a:pt x="162" y="67"/>
                      <a:pt x="157" y="86"/>
                      <a:pt x="165" y="102"/>
                    </a:cubicBezTo>
                    <a:cubicBezTo>
                      <a:pt x="167" y="115"/>
                      <a:pt x="152" y="129"/>
                      <a:pt x="166" y="140"/>
                    </a:cubicBezTo>
                    <a:cubicBezTo>
                      <a:pt x="168" y="153"/>
                      <a:pt x="184" y="151"/>
                      <a:pt x="184" y="166"/>
                    </a:cubicBezTo>
                    <a:cubicBezTo>
                      <a:pt x="184" y="166"/>
                      <a:pt x="185" y="166"/>
                      <a:pt x="185" y="167"/>
                    </a:cubicBezTo>
                    <a:cubicBezTo>
                      <a:pt x="184" y="168"/>
                      <a:pt x="184" y="168"/>
                      <a:pt x="184" y="168"/>
                    </a:cubicBezTo>
                    <a:cubicBezTo>
                      <a:pt x="173" y="169"/>
                      <a:pt x="155" y="163"/>
                      <a:pt x="158" y="180"/>
                    </a:cubicBezTo>
                    <a:cubicBezTo>
                      <a:pt x="154" y="193"/>
                      <a:pt x="140" y="202"/>
                      <a:pt x="138" y="216"/>
                    </a:cubicBezTo>
                    <a:cubicBezTo>
                      <a:pt x="140" y="230"/>
                      <a:pt x="144" y="243"/>
                      <a:pt x="147" y="257"/>
                    </a:cubicBezTo>
                    <a:cubicBezTo>
                      <a:pt x="147" y="273"/>
                      <a:pt x="149" y="288"/>
                      <a:pt x="148" y="303"/>
                    </a:cubicBezTo>
                    <a:cubicBezTo>
                      <a:pt x="150" y="320"/>
                      <a:pt x="170" y="311"/>
                      <a:pt x="178" y="324"/>
                    </a:cubicBezTo>
                    <a:cubicBezTo>
                      <a:pt x="188" y="332"/>
                      <a:pt x="192" y="345"/>
                      <a:pt x="202" y="355"/>
                    </a:cubicBezTo>
                    <a:cubicBezTo>
                      <a:pt x="212" y="365"/>
                      <a:pt x="215" y="380"/>
                      <a:pt x="225" y="390"/>
                    </a:cubicBezTo>
                    <a:cubicBezTo>
                      <a:pt x="236" y="400"/>
                      <a:pt x="237" y="415"/>
                      <a:pt x="236" y="428"/>
                    </a:cubicBezTo>
                    <a:cubicBezTo>
                      <a:pt x="225" y="440"/>
                      <a:pt x="230" y="454"/>
                      <a:pt x="230" y="468"/>
                    </a:cubicBezTo>
                    <a:cubicBezTo>
                      <a:pt x="227" y="482"/>
                      <a:pt x="228" y="497"/>
                      <a:pt x="222" y="511"/>
                    </a:cubicBezTo>
                    <a:cubicBezTo>
                      <a:pt x="211" y="524"/>
                      <a:pt x="188" y="508"/>
                      <a:pt x="184" y="529"/>
                    </a:cubicBezTo>
                    <a:cubicBezTo>
                      <a:pt x="187" y="541"/>
                      <a:pt x="164" y="547"/>
                      <a:pt x="178" y="556"/>
                    </a:cubicBezTo>
                    <a:cubicBezTo>
                      <a:pt x="186" y="565"/>
                      <a:pt x="179" y="579"/>
                      <a:pt x="181" y="590"/>
                    </a:cubicBezTo>
                    <a:cubicBezTo>
                      <a:pt x="170" y="600"/>
                      <a:pt x="156" y="583"/>
                      <a:pt x="170" y="577"/>
                    </a:cubicBezTo>
                    <a:cubicBezTo>
                      <a:pt x="174" y="565"/>
                      <a:pt x="155" y="567"/>
                      <a:pt x="152" y="555"/>
                    </a:cubicBezTo>
                    <a:cubicBezTo>
                      <a:pt x="141" y="544"/>
                      <a:pt x="133" y="531"/>
                      <a:pt x="122" y="521"/>
                    </a:cubicBezTo>
                    <a:cubicBezTo>
                      <a:pt x="125" y="511"/>
                      <a:pt x="121" y="503"/>
                      <a:pt x="113" y="497"/>
                    </a:cubicBezTo>
                    <a:cubicBezTo>
                      <a:pt x="110" y="484"/>
                      <a:pt x="132" y="483"/>
                      <a:pt x="127" y="468"/>
                    </a:cubicBezTo>
                    <a:cubicBezTo>
                      <a:pt x="131" y="457"/>
                      <a:pt x="143" y="450"/>
                      <a:pt x="139" y="437"/>
                    </a:cubicBezTo>
                    <a:cubicBezTo>
                      <a:pt x="143" y="423"/>
                      <a:pt x="139" y="409"/>
                      <a:pt x="137" y="395"/>
                    </a:cubicBezTo>
                    <a:cubicBezTo>
                      <a:pt x="132" y="387"/>
                      <a:pt x="127" y="379"/>
                      <a:pt x="116" y="385"/>
                    </a:cubicBezTo>
                    <a:cubicBezTo>
                      <a:pt x="104" y="388"/>
                      <a:pt x="90" y="391"/>
                      <a:pt x="79" y="391"/>
                    </a:cubicBezTo>
                    <a:cubicBezTo>
                      <a:pt x="74" y="409"/>
                      <a:pt x="66" y="365"/>
                      <a:pt x="64" y="383"/>
                    </a:cubicBezTo>
                    <a:cubicBezTo>
                      <a:pt x="56" y="373"/>
                      <a:pt x="55" y="359"/>
                      <a:pt x="46" y="352"/>
                    </a:cubicBezTo>
                    <a:cubicBezTo>
                      <a:pt x="44" y="352"/>
                      <a:pt x="44" y="352"/>
                      <a:pt x="44" y="352"/>
                    </a:cubicBezTo>
                    <a:cubicBezTo>
                      <a:pt x="46" y="348"/>
                      <a:pt x="39" y="343"/>
                      <a:pt x="35" y="351"/>
                    </a:cubicBezTo>
                    <a:cubicBezTo>
                      <a:pt x="27" y="357"/>
                      <a:pt x="30" y="334"/>
                      <a:pt x="18" y="334"/>
                    </a:cubicBezTo>
                    <a:cubicBezTo>
                      <a:pt x="11" y="331"/>
                      <a:pt x="25" y="326"/>
                      <a:pt x="15" y="323"/>
                    </a:cubicBezTo>
                    <a:cubicBezTo>
                      <a:pt x="0" y="318"/>
                      <a:pt x="23" y="317"/>
                      <a:pt x="24" y="308"/>
                    </a:cubicBezTo>
                    <a:cubicBezTo>
                      <a:pt x="29" y="298"/>
                      <a:pt x="35" y="289"/>
                      <a:pt x="34" y="277"/>
                    </a:cubicBezTo>
                    <a:cubicBezTo>
                      <a:pt x="41" y="267"/>
                      <a:pt x="26" y="257"/>
                      <a:pt x="38" y="247"/>
                    </a:cubicBezTo>
                    <a:cubicBezTo>
                      <a:pt x="43" y="240"/>
                      <a:pt x="54" y="248"/>
                      <a:pt x="59" y="239"/>
                    </a:cubicBezTo>
                    <a:cubicBezTo>
                      <a:pt x="67" y="242"/>
                      <a:pt x="85" y="220"/>
                      <a:pt x="68" y="225"/>
                    </a:cubicBezTo>
                    <a:cubicBezTo>
                      <a:pt x="55" y="218"/>
                      <a:pt x="59" y="201"/>
                      <a:pt x="63" y="189"/>
                    </a:cubicBezTo>
                    <a:cubicBezTo>
                      <a:pt x="64" y="179"/>
                      <a:pt x="66" y="168"/>
                      <a:pt x="58" y="163"/>
                    </a:cubicBezTo>
                    <a:cubicBezTo>
                      <a:pt x="58" y="149"/>
                      <a:pt x="79" y="140"/>
                      <a:pt x="66" y="125"/>
                    </a:cubicBezTo>
                    <a:cubicBezTo>
                      <a:pt x="63" y="118"/>
                      <a:pt x="58" y="110"/>
                      <a:pt x="70" y="108"/>
                    </a:cubicBezTo>
                    <a:cubicBezTo>
                      <a:pt x="74" y="106"/>
                      <a:pt x="76" y="110"/>
                      <a:pt x="81" y="104"/>
                    </a:cubicBezTo>
                    <a:cubicBezTo>
                      <a:pt x="88" y="97"/>
                      <a:pt x="101" y="89"/>
                      <a:pt x="88" y="79"/>
                    </a:cubicBezTo>
                    <a:cubicBezTo>
                      <a:pt x="83" y="71"/>
                      <a:pt x="87" y="59"/>
                      <a:pt x="74" y="55"/>
                    </a:cubicBezTo>
                    <a:cubicBezTo>
                      <a:pt x="61" y="50"/>
                      <a:pt x="83" y="35"/>
                      <a:pt x="67" y="29"/>
                    </a:cubicBezTo>
                    <a:cubicBezTo>
                      <a:pt x="63" y="23"/>
                      <a:pt x="60" y="9"/>
                      <a:pt x="52" y="19"/>
                    </a:cubicBezTo>
                    <a:cubicBezTo>
                      <a:pt x="47" y="19"/>
                      <a:pt x="46" y="10"/>
                      <a:pt x="46" y="7"/>
                    </a:cubicBezTo>
                    <a:cubicBezTo>
                      <a:pt x="46" y="7"/>
                      <a:pt x="46" y="7"/>
                      <a:pt x="46" y="7"/>
                    </a:cubicBezTo>
                    <a:cubicBezTo>
                      <a:pt x="46" y="6"/>
                      <a:pt x="46" y="6"/>
                      <a:pt x="46" y="7"/>
                    </a:cubicBezTo>
                    <a:cubicBezTo>
                      <a:pt x="42" y="7"/>
                      <a:pt x="42" y="5"/>
                      <a:pt x="43" y="1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5" y="0"/>
                      <a:pt x="47" y="1"/>
                      <a:pt x="49" y="0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48631" name="Madagascar"/>
              <p:cNvSpPr>
                <a:spLocks/>
              </p:cNvSpPr>
              <p:nvPr/>
            </p:nvSpPr>
            <p:spPr bwMode="auto">
              <a:xfrm>
                <a:off x="5348234" y="4988557"/>
                <a:ext cx="207467" cy="442290"/>
              </a:xfrm>
              <a:custGeom>
                <a:avLst/>
                <a:gdLst>
                  <a:gd name="T0" fmla="*/ 48392318 w 569"/>
                  <a:gd name="T1" fmla="*/ 36121497 h 1025"/>
                  <a:gd name="T2" fmla="*/ 48525038 w 569"/>
                  <a:gd name="T3" fmla="*/ 40590566 h 1025"/>
                  <a:gd name="T4" fmla="*/ 53178277 w 569"/>
                  <a:gd name="T5" fmla="*/ 34445974 h 1025"/>
                  <a:gd name="T6" fmla="*/ 52779386 w 569"/>
                  <a:gd name="T7" fmla="*/ 28860177 h 1025"/>
                  <a:gd name="T8" fmla="*/ 54773475 w 569"/>
                  <a:gd name="T9" fmla="*/ 25694670 h 1025"/>
                  <a:gd name="T10" fmla="*/ 56501758 w 569"/>
                  <a:gd name="T11" fmla="*/ 20853647 h 1025"/>
                  <a:gd name="T12" fmla="*/ 59958325 w 569"/>
                  <a:gd name="T13" fmla="*/ 16199032 h 1025"/>
                  <a:gd name="T14" fmla="*/ 63414891 w 569"/>
                  <a:gd name="T15" fmla="*/ 13964710 h 1025"/>
                  <a:gd name="T16" fmla="*/ 63813782 w 569"/>
                  <a:gd name="T17" fmla="*/ 4282661 h 1025"/>
                  <a:gd name="T18" fmla="*/ 66472567 w 569"/>
                  <a:gd name="T19" fmla="*/ 1117160 h 1025"/>
                  <a:gd name="T20" fmla="*/ 71391611 w 569"/>
                  <a:gd name="T21" fmla="*/ 7634141 h 1025"/>
                  <a:gd name="T22" fmla="*/ 73651870 w 569"/>
                  <a:gd name="T23" fmla="*/ 18246942 h 1025"/>
                  <a:gd name="T24" fmla="*/ 74715457 w 569"/>
                  <a:gd name="T25" fmla="*/ 33887178 h 1025"/>
                  <a:gd name="T26" fmla="*/ 75512874 w 569"/>
                  <a:gd name="T27" fmla="*/ 48410681 h 1025"/>
                  <a:gd name="T28" fmla="*/ 72322477 w 569"/>
                  <a:gd name="T29" fmla="*/ 54741250 h 1025"/>
                  <a:gd name="T30" fmla="*/ 69796413 w 569"/>
                  <a:gd name="T31" fmla="*/ 48410681 h 1025"/>
                  <a:gd name="T32" fmla="*/ 69131717 w 569"/>
                  <a:gd name="T33" fmla="*/ 61257810 h 1025"/>
                  <a:gd name="T34" fmla="*/ 66074041 w 569"/>
                  <a:gd name="T35" fmla="*/ 70753880 h 1025"/>
                  <a:gd name="T36" fmla="*/ 62883280 w 569"/>
                  <a:gd name="T37" fmla="*/ 85463359 h 1025"/>
                  <a:gd name="T38" fmla="*/ 57565345 w 569"/>
                  <a:gd name="T39" fmla="*/ 103337908 h 1025"/>
                  <a:gd name="T40" fmla="*/ 52646301 w 569"/>
                  <a:gd name="T41" fmla="*/ 118792187 h 1025"/>
                  <a:gd name="T42" fmla="*/ 46132047 w 569"/>
                  <a:gd name="T43" fmla="*/ 139273441 h 1025"/>
                  <a:gd name="T44" fmla="*/ 39085829 w 569"/>
                  <a:gd name="T45" fmla="*/ 161430649 h 1025"/>
                  <a:gd name="T46" fmla="*/ 33635174 w 569"/>
                  <a:gd name="T47" fmla="*/ 176698493 h 1025"/>
                  <a:gd name="T48" fmla="*/ 28051434 w 569"/>
                  <a:gd name="T49" fmla="*/ 185076971 h 1025"/>
                  <a:gd name="T50" fmla="*/ 20340514 w 569"/>
                  <a:gd name="T51" fmla="*/ 186380540 h 1025"/>
                  <a:gd name="T52" fmla="*/ 12231073 w 569"/>
                  <a:gd name="T53" fmla="*/ 190849177 h 1025"/>
                  <a:gd name="T54" fmla="*/ 4121264 w 569"/>
                  <a:gd name="T55" fmla="*/ 180608334 h 1025"/>
                  <a:gd name="T56" fmla="*/ 1728284 w 569"/>
                  <a:gd name="T57" fmla="*/ 171298674 h 1025"/>
                  <a:gd name="T58" fmla="*/ 2924956 w 569"/>
                  <a:gd name="T59" fmla="*/ 160499467 h 1025"/>
                  <a:gd name="T60" fmla="*/ 531611 w 569"/>
                  <a:gd name="T61" fmla="*/ 150258625 h 1025"/>
                  <a:gd name="T62" fmla="*/ 797782 w 569"/>
                  <a:gd name="T63" fmla="*/ 136852713 h 1025"/>
                  <a:gd name="T64" fmla="*/ 5184851 w 569"/>
                  <a:gd name="T65" fmla="*/ 128287825 h 1025"/>
                  <a:gd name="T66" fmla="*/ 11433289 w 569"/>
                  <a:gd name="T67" fmla="*/ 115626687 h 1025"/>
                  <a:gd name="T68" fmla="*/ 15421834 w 569"/>
                  <a:gd name="T69" fmla="*/ 108178931 h 1025"/>
                  <a:gd name="T70" fmla="*/ 15421834 w 569"/>
                  <a:gd name="T71" fmla="*/ 100358816 h 1025"/>
                  <a:gd name="T72" fmla="*/ 13826272 w 569"/>
                  <a:gd name="T73" fmla="*/ 84159791 h 1025"/>
                  <a:gd name="T74" fmla="*/ 13693551 w 569"/>
                  <a:gd name="T75" fmla="*/ 72801789 h 1025"/>
                  <a:gd name="T76" fmla="*/ 18745316 w 569"/>
                  <a:gd name="T77" fmla="*/ 58651105 h 1025"/>
                  <a:gd name="T78" fmla="*/ 22334967 w 569"/>
                  <a:gd name="T79" fmla="*/ 56044387 h 1025"/>
                  <a:gd name="T80" fmla="*/ 26588956 w 569"/>
                  <a:gd name="T81" fmla="*/ 53437682 h 1025"/>
                  <a:gd name="T82" fmla="*/ 30045523 w 569"/>
                  <a:gd name="T83" fmla="*/ 53437682 h 1025"/>
                  <a:gd name="T84" fmla="*/ 33635174 w 569"/>
                  <a:gd name="T85" fmla="*/ 51203363 h 1025"/>
                  <a:gd name="T86" fmla="*/ 37224826 w 569"/>
                  <a:gd name="T87" fmla="*/ 55113636 h 1025"/>
                  <a:gd name="T88" fmla="*/ 38687303 w 569"/>
                  <a:gd name="T89" fmla="*/ 51762158 h 1025"/>
                  <a:gd name="T90" fmla="*/ 40415587 w 569"/>
                  <a:gd name="T91" fmla="*/ 45245180 h 1025"/>
                  <a:gd name="T92" fmla="*/ 43605983 w 569"/>
                  <a:gd name="T93" fmla="*/ 47851885 h 1025"/>
                  <a:gd name="T94" fmla="*/ 44802655 w 569"/>
                  <a:gd name="T95" fmla="*/ 42452498 h 102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569"/>
                  <a:gd name="T145" fmla="*/ 0 h 1025"/>
                  <a:gd name="T146" fmla="*/ 569 w 569"/>
                  <a:gd name="T147" fmla="*/ 1025 h 102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569" h="1025">
                    <a:moveTo>
                      <a:pt x="352" y="213"/>
                    </a:moveTo>
                    <a:cubicBezTo>
                      <a:pt x="354" y="209"/>
                      <a:pt x="361" y="206"/>
                      <a:pt x="357" y="202"/>
                    </a:cubicBezTo>
                    <a:cubicBezTo>
                      <a:pt x="358" y="199"/>
                      <a:pt x="362" y="197"/>
                      <a:pt x="364" y="194"/>
                    </a:cubicBezTo>
                    <a:cubicBezTo>
                      <a:pt x="366" y="192"/>
                      <a:pt x="367" y="191"/>
                      <a:pt x="367" y="195"/>
                    </a:cubicBezTo>
                    <a:cubicBezTo>
                      <a:pt x="370" y="199"/>
                      <a:pt x="370" y="205"/>
                      <a:pt x="367" y="209"/>
                    </a:cubicBezTo>
                    <a:cubicBezTo>
                      <a:pt x="367" y="212"/>
                      <a:pt x="365" y="217"/>
                      <a:pt x="365" y="218"/>
                    </a:cubicBezTo>
                    <a:cubicBezTo>
                      <a:pt x="373" y="210"/>
                      <a:pt x="380" y="201"/>
                      <a:pt x="388" y="192"/>
                    </a:cubicBezTo>
                    <a:cubicBezTo>
                      <a:pt x="393" y="192"/>
                      <a:pt x="398" y="194"/>
                      <a:pt x="404" y="193"/>
                    </a:cubicBezTo>
                    <a:cubicBezTo>
                      <a:pt x="407" y="191"/>
                      <a:pt x="404" y="186"/>
                      <a:pt x="400" y="185"/>
                    </a:cubicBezTo>
                    <a:cubicBezTo>
                      <a:pt x="398" y="184"/>
                      <a:pt x="394" y="184"/>
                      <a:pt x="392" y="181"/>
                    </a:cubicBezTo>
                    <a:cubicBezTo>
                      <a:pt x="391" y="177"/>
                      <a:pt x="386" y="173"/>
                      <a:pt x="388" y="169"/>
                    </a:cubicBezTo>
                    <a:cubicBezTo>
                      <a:pt x="390" y="164"/>
                      <a:pt x="393" y="159"/>
                      <a:pt x="397" y="155"/>
                    </a:cubicBezTo>
                    <a:cubicBezTo>
                      <a:pt x="400" y="153"/>
                      <a:pt x="402" y="148"/>
                      <a:pt x="404" y="148"/>
                    </a:cubicBezTo>
                    <a:cubicBezTo>
                      <a:pt x="406" y="150"/>
                      <a:pt x="408" y="155"/>
                      <a:pt x="410" y="154"/>
                    </a:cubicBezTo>
                    <a:cubicBezTo>
                      <a:pt x="411" y="149"/>
                      <a:pt x="412" y="144"/>
                      <a:pt x="412" y="138"/>
                    </a:cubicBezTo>
                    <a:cubicBezTo>
                      <a:pt x="410" y="132"/>
                      <a:pt x="409" y="125"/>
                      <a:pt x="408" y="119"/>
                    </a:cubicBezTo>
                    <a:cubicBezTo>
                      <a:pt x="407" y="114"/>
                      <a:pt x="407" y="110"/>
                      <a:pt x="411" y="106"/>
                    </a:cubicBezTo>
                    <a:cubicBezTo>
                      <a:pt x="416" y="106"/>
                      <a:pt x="421" y="109"/>
                      <a:pt x="425" y="112"/>
                    </a:cubicBezTo>
                    <a:cubicBezTo>
                      <a:pt x="426" y="117"/>
                      <a:pt x="427" y="121"/>
                      <a:pt x="428" y="126"/>
                    </a:cubicBezTo>
                    <a:cubicBezTo>
                      <a:pt x="434" y="118"/>
                      <a:pt x="441" y="109"/>
                      <a:pt x="447" y="101"/>
                    </a:cubicBezTo>
                    <a:cubicBezTo>
                      <a:pt x="449" y="96"/>
                      <a:pt x="450" y="91"/>
                      <a:pt x="451" y="87"/>
                    </a:cubicBezTo>
                    <a:cubicBezTo>
                      <a:pt x="454" y="86"/>
                      <a:pt x="456" y="91"/>
                      <a:pt x="459" y="93"/>
                    </a:cubicBezTo>
                    <a:cubicBezTo>
                      <a:pt x="463" y="94"/>
                      <a:pt x="467" y="88"/>
                      <a:pt x="471" y="87"/>
                    </a:cubicBezTo>
                    <a:cubicBezTo>
                      <a:pt x="474" y="84"/>
                      <a:pt x="475" y="79"/>
                      <a:pt x="477" y="75"/>
                    </a:cubicBezTo>
                    <a:cubicBezTo>
                      <a:pt x="479" y="70"/>
                      <a:pt x="481" y="65"/>
                      <a:pt x="482" y="60"/>
                    </a:cubicBezTo>
                    <a:cubicBezTo>
                      <a:pt x="483" y="51"/>
                      <a:pt x="485" y="43"/>
                      <a:pt x="485" y="34"/>
                    </a:cubicBezTo>
                    <a:cubicBezTo>
                      <a:pt x="484" y="30"/>
                      <a:pt x="482" y="27"/>
                      <a:pt x="480" y="23"/>
                    </a:cubicBezTo>
                    <a:cubicBezTo>
                      <a:pt x="478" y="21"/>
                      <a:pt x="479" y="20"/>
                      <a:pt x="481" y="22"/>
                    </a:cubicBezTo>
                    <a:cubicBezTo>
                      <a:pt x="486" y="25"/>
                      <a:pt x="488" y="19"/>
                      <a:pt x="491" y="16"/>
                    </a:cubicBezTo>
                    <a:cubicBezTo>
                      <a:pt x="494" y="13"/>
                      <a:pt x="497" y="9"/>
                      <a:pt x="500" y="6"/>
                    </a:cubicBezTo>
                    <a:cubicBezTo>
                      <a:pt x="503" y="5"/>
                      <a:pt x="507" y="0"/>
                      <a:pt x="510" y="1"/>
                    </a:cubicBezTo>
                    <a:cubicBezTo>
                      <a:pt x="514" y="6"/>
                      <a:pt x="519" y="11"/>
                      <a:pt x="523" y="16"/>
                    </a:cubicBezTo>
                    <a:cubicBezTo>
                      <a:pt x="527" y="24"/>
                      <a:pt x="531" y="34"/>
                      <a:pt x="537" y="41"/>
                    </a:cubicBezTo>
                    <a:cubicBezTo>
                      <a:pt x="540" y="44"/>
                      <a:pt x="543" y="48"/>
                      <a:pt x="546" y="52"/>
                    </a:cubicBezTo>
                    <a:cubicBezTo>
                      <a:pt x="547" y="58"/>
                      <a:pt x="550" y="63"/>
                      <a:pt x="552" y="69"/>
                    </a:cubicBezTo>
                    <a:cubicBezTo>
                      <a:pt x="553" y="78"/>
                      <a:pt x="555" y="88"/>
                      <a:pt x="554" y="98"/>
                    </a:cubicBezTo>
                    <a:cubicBezTo>
                      <a:pt x="554" y="107"/>
                      <a:pt x="557" y="115"/>
                      <a:pt x="558" y="124"/>
                    </a:cubicBezTo>
                    <a:cubicBezTo>
                      <a:pt x="560" y="133"/>
                      <a:pt x="559" y="143"/>
                      <a:pt x="560" y="153"/>
                    </a:cubicBezTo>
                    <a:cubicBezTo>
                      <a:pt x="561" y="162"/>
                      <a:pt x="563" y="172"/>
                      <a:pt x="562" y="182"/>
                    </a:cubicBezTo>
                    <a:cubicBezTo>
                      <a:pt x="561" y="193"/>
                      <a:pt x="562" y="204"/>
                      <a:pt x="563" y="215"/>
                    </a:cubicBezTo>
                    <a:cubicBezTo>
                      <a:pt x="564" y="222"/>
                      <a:pt x="567" y="230"/>
                      <a:pt x="569" y="237"/>
                    </a:cubicBezTo>
                    <a:cubicBezTo>
                      <a:pt x="569" y="244"/>
                      <a:pt x="569" y="252"/>
                      <a:pt x="568" y="260"/>
                    </a:cubicBezTo>
                    <a:cubicBezTo>
                      <a:pt x="567" y="266"/>
                      <a:pt x="565" y="273"/>
                      <a:pt x="563" y="280"/>
                    </a:cubicBezTo>
                    <a:cubicBezTo>
                      <a:pt x="561" y="286"/>
                      <a:pt x="558" y="291"/>
                      <a:pt x="555" y="296"/>
                    </a:cubicBezTo>
                    <a:cubicBezTo>
                      <a:pt x="552" y="296"/>
                      <a:pt x="545" y="300"/>
                      <a:pt x="544" y="294"/>
                    </a:cubicBezTo>
                    <a:cubicBezTo>
                      <a:pt x="542" y="286"/>
                      <a:pt x="539" y="278"/>
                      <a:pt x="538" y="269"/>
                    </a:cubicBezTo>
                    <a:cubicBezTo>
                      <a:pt x="537" y="266"/>
                      <a:pt x="538" y="260"/>
                      <a:pt x="536" y="258"/>
                    </a:cubicBezTo>
                    <a:cubicBezTo>
                      <a:pt x="533" y="259"/>
                      <a:pt x="526" y="257"/>
                      <a:pt x="525" y="260"/>
                    </a:cubicBezTo>
                    <a:cubicBezTo>
                      <a:pt x="522" y="270"/>
                      <a:pt x="519" y="280"/>
                      <a:pt x="516" y="291"/>
                    </a:cubicBezTo>
                    <a:cubicBezTo>
                      <a:pt x="516" y="298"/>
                      <a:pt x="515" y="305"/>
                      <a:pt x="514" y="312"/>
                    </a:cubicBezTo>
                    <a:cubicBezTo>
                      <a:pt x="516" y="317"/>
                      <a:pt x="518" y="323"/>
                      <a:pt x="520" y="329"/>
                    </a:cubicBezTo>
                    <a:cubicBezTo>
                      <a:pt x="519" y="336"/>
                      <a:pt x="518" y="344"/>
                      <a:pt x="517" y="351"/>
                    </a:cubicBezTo>
                    <a:cubicBezTo>
                      <a:pt x="515" y="356"/>
                      <a:pt x="513" y="362"/>
                      <a:pt x="509" y="366"/>
                    </a:cubicBezTo>
                    <a:cubicBezTo>
                      <a:pt x="505" y="371"/>
                      <a:pt x="500" y="375"/>
                      <a:pt x="497" y="380"/>
                    </a:cubicBezTo>
                    <a:cubicBezTo>
                      <a:pt x="494" y="385"/>
                      <a:pt x="491" y="389"/>
                      <a:pt x="489" y="394"/>
                    </a:cubicBezTo>
                    <a:cubicBezTo>
                      <a:pt x="486" y="406"/>
                      <a:pt x="482" y="417"/>
                      <a:pt x="481" y="429"/>
                    </a:cubicBezTo>
                    <a:cubicBezTo>
                      <a:pt x="480" y="439"/>
                      <a:pt x="476" y="449"/>
                      <a:pt x="473" y="459"/>
                    </a:cubicBezTo>
                    <a:cubicBezTo>
                      <a:pt x="468" y="476"/>
                      <a:pt x="463" y="493"/>
                      <a:pt x="456" y="509"/>
                    </a:cubicBezTo>
                    <a:cubicBezTo>
                      <a:pt x="451" y="521"/>
                      <a:pt x="445" y="533"/>
                      <a:pt x="439" y="545"/>
                    </a:cubicBezTo>
                    <a:cubicBezTo>
                      <a:pt x="434" y="547"/>
                      <a:pt x="434" y="551"/>
                      <a:pt x="433" y="555"/>
                    </a:cubicBezTo>
                    <a:cubicBezTo>
                      <a:pt x="432" y="562"/>
                      <a:pt x="428" y="568"/>
                      <a:pt x="425" y="574"/>
                    </a:cubicBezTo>
                    <a:cubicBezTo>
                      <a:pt x="421" y="584"/>
                      <a:pt x="416" y="594"/>
                      <a:pt x="412" y="604"/>
                    </a:cubicBezTo>
                    <a:cubicBezTo>
                      <a:pt x="406" y="615"/>
                      <a:pt x="402" y="627"/>
                      <a:pt x="396" y="638"/>
                    </a:cubicBezTo>
                    <a:cubicBezTo>
                      <a:pt x="391" y="648"/>
                      <a:pt x="385" y="657"/>
                      <a:pt x="381" y="666"/>
                    </a:cubicBezTo>
                    <a:cubicBezTo>
                      <a:pt x="375" y="680"/>
                      <a:pt x="371" y="694"/>
                      <a:pt x="365" y="707"/>
                    </a:cubicBezTo>
                    <a:cubicBezTo>
                      <a:pt x="359" y="721"/>
                      <a:pt x="353" y="734"/>
                      <a:pt x="347" y="748"/>
                    </a:cubicBezTo>
                    <a:cubicBezTo>
                      <a:pt x="341" y="758"/>
                      <a:pt x="335" y="768"/>
                      <a:pt x="330" y="779"/>
                    </a:cubicBezTo>
                    <a:cubicBezTo>
                      <a:pt x="322" y="799"/>
                      <a:pt x="313" y="818"/>
                      <a:pt x="305" y="838"/>
                    </a:cubicBezTo>
                    <a:cubicBezTo>
                      <a:pt x="302" y="848"/>
                      <a:pt x="299" y="858"/>
                      <a:pt x="294" y="867"/>
                    </a:cubicBezTo>
                    <a:cubicBezTo>
                      <a:pt x="289" y="875"/>
                      <a:pt x="287" y="884"/>
                      <a:pt x="284" y="893"/>
                    </a:cubicBezTo>
                    <a:cubicBezTo>
                      <a:pt x="280" y="902"/>
                      <a:pt x="277" y="911"/>
                      <a:pt x="272" y="919"/>
                    </a:cubicBezTo>
                    <a:cubicBezTo>
                      <a:pt x="266" y="929"/>
                      <a:pt x="259" y="939"/>
                      <a:pt x="253" y="949"/>
                    </a:cubicBezTo>
                    <a:cubicBezTo>
                      <a:pt x="249" y="958"/>
                      <a:pt x="242" y="966"/>
                      <a:pt x="236" y="974"/>
                    </a:cubicBezTo>
                    <a:cubicBezTo>
                      <a:pt x="233" y="977"/>
                      <a:pt x="231" y="982"/>
                      <a:pt x="227" y="984"/>
                    </a:cubicBezTo>
                    <a:cubicBezTo>
                      <a:pt x="222" y="988"/>
                      <a:pt x="217" y="992"/>
                      <a:pt x="211" y="994"/>
                    </a:cubicBezTo>
                    <a:cubicBezTo>
                      <a:pt x="207" y="997"/>
                      <a:pt x="202" y="998"/>
                      <a:pt x="198" y="995"/>
                    </a:cubicBezTo>
                    <a:cubicBezTo>
                      <a:pt x="193" y="994"/>
                      <a:pt x="188" y="996"/>
                      <a:pt x="183" y="996"/>
                    </a:cubicBezTo>
                    <a:cubicBezTo>
                      <a:pt x="173" y="998"/>
                      <a:pt x="163" y="999"/>
                      <a:pt x="153" y="1001"/>
                    </a:cubicBezTo>
                    <a:cubicBezTo>
                      <a:pt x="146" y="1004"/>
                      <a:pt x="139" y="1009"/>
                      <a:pt x="132" y="1012"/>
                    </a:cubicBezTo>
                    <a:cubicBezTo>
                      <a:pt x="124" y="1016"/>
                      <a:pt x="117" y="1019"/>
                      <a:pt x="109" y="1023"/>
                    </a:cubicBezTo>
                    <a:cubicBezTo>
                      <a:pt x="103" y="1023"/>
                      <a:pt x="98" y="1024"/>
                      <a:pt x="92" y="1025"/>
                    </a:cubicBezTo>
                    <a:cubicBezTo>
                      <a:pt x="85" y="1017"/>
                      <a:pt x="79" y="1010"/>
                      <a:pt x="71" y="1004"/>
                    </a:cubicBezTo>
                    <a:cubicBezTo>
                      <a:pt x="63" y="997"/>
                      <a:pt x="56" y="990"/>
                      <a:pt x="47" y="985"/>
                    </a:cubicBezTo>
                    <a:cubicBezTo>
                      <a:pt x="40" y="981"/>
                      <a:pt x="36" y="975"/>
                      <a:pt x="31" y="970"/>
                    </a:cubicBezTo>
                    <a:cubicBezTo>
                      <a:pt x="28" y="968"/>
                      <a:pt x="28" y="964"/>
                      <a:pt x="26" y="961"/>
                    </a:cubicBezTo>
                    <a:cubicBezTo>
                      <a:pt x="23" y="954"/>
                      <a:pt x="19" y="947"/>
                      <a:pt x="16" y="940"/>
                    </a:cubicBezTo>
                    <a:cubicBezTo>
                      <a:pt x="15" y="933"/>
                      <a:pt x="14" y="927"/>
                      <a:pt x="13" y="920"/>
                    </a:cubicBezTo>
                    <a:cubicBezTo>
                      <a:pt x="12" y="913"/>
                      <a:pt x="13" y="906"/>
                      <a:pt x="12" y="899"/>
                    </a:cubicBezTo>
                    <a:cubicBezTo>
                      <a:pt x="12" y="891"/>
                      <a:pt x="14" y="883"/>
                      <a:pt x="15" y="876"/>
                    </a:cubicBezTo>
                    <a:cubicBezTo>
                      <a:pt x="17" y="871"/>
                      <a:pt x="22" y="867"/>
                      <a:pt x="22" y="862"/>
                    </a:cubicBezTo>
                    <a:cubicBezTo>
                      <a:pt x="21" y="851"/>
                      <a:pt x="19" y="840"/>
                      <a:pt x="17" y="829"/>
                    </a:cubicBezTo>
                    <a:cubicBezTo>
                      <a:pt x="16" y="825"/>
                      <a:pt x="14" y="822"/>
                      <a:pt x="11" y="819"/>
                    </a:cubicBezTo>
                    <a:cubicBezTo>
                      <a:pt x="7" y="816"/>
                      <a:pt x="4" y="812"/>
                      <a:pt x="4" y="807"/>
                    </a:cubicBezTo>
                    <a:cubicBezTo>
                      <a:pt x="3" y="802"/>
                      <a:pt x="1" y="798"/>
                      <a:pt x="0" y="793"/>
                    </a:cubicBezTo>
                    <a:cubicBezTo>
                      <a:pt x="2" y="783"/>
                      <a:pt x="4" y="773"/>
                      <a:pt x="3" y="763"/>
                    </a:cubicBezTo>
                    <a:cubicBezTo>
                      <a:pt x="3" y="754"/>
                      <a:pt x="5" y="744"/>
                      <a:pt x="6" y="735"/>
                    </a:cubicBezTo>
                    <a:cubicBezTo>
                      <a:pt x="8" y="731"/>
                      <a:pt x="11" y="727"/>
                      <a:pt x="14" y="724"/>
                    </a:cubicBezTo>
                    <a:cubicBezTo>
                      <a:pt x="17" y="720"/>
                      <a:pt x="20" y="716"/>
                      <a:pt x="22" y="712"/>
                    </a:cubicBezTo>
                    <a:cubicBezTo>
                      <a:pt x="26" y="703"/>
                      <a:pt x="32" y="696"/>
                      <a:pt x="39" y="689"/>
                    </a:cubicBezTo>
                    <a:cubicBezTo>
                      <a:pt x="42" y="686"/>
                      <a:pt x="48" y="687"/>
                      <a:pt x="51" y="683"/>
                    </a:cubicBezTo>
                    <a:cubicBezTo>
                      <a:pt x="55" y="672"/>
                      <a:pt x="61" y="661"/>
                      <a:pt x="67" y="650"/>
                    </a:cubicBezTo>
                    <a:cubicBezTo>
                      <a:pt x="73" y="640"/>
                      <a:pt x="80" y="631"/>
                      <a:pt x="86" y="621"/>
                    </a:cubicBezTo>
                    <a:cubicBezTo>
                      <a:pt x="90" y="615"/>
                      <a:pt x="94" y="609"/>
                      <a:pt x="99" y="604"/>
                    </a:cubicBezTo>
                    <a:cubicBezTo>
                      <a:pt x="102" y="601"/>
                      <a:pt x="105" y="598"/>
                      <a:pt x="108" y="595"/>
                    </a:cubicBezTo>
                    <a:cubicBezTo>
                      <a:pt x="111" y="590"/>
                      <a:pt x="113" y="586"/>
                      <a:pt x="116" y="581"/>
                    </a:cubicBezTo>
                    <a:cubicBezTo>
                      <a:pt x="116" y="576"/>
                      <a:pt x="113" y="570"/>
                      <a:pt x="116" y="566"/>
                    </a:cubicBezTo>
                    <a:cubicBezTo>
                      <a:pt x="119" y="563"/>
                      <a:pt x="122" y="560"/>
                      <a:pt x="120" y="555"/>
                    </a:cubicBezTo>
                    <a:cubicBezTo>
                      <a:pt x="120" y="550"/>
                      <a:pt x="118" y="544"/>
                      <a:pt x="116" y="539"/>
                    </a:cubicBezTo>
                    <a:cubicBezTo>
                      <a:pt x="113" y="534"/>
                      <a:pt x="110" y="528"/>
                      <a:pt x="110" y="521"/>
                    </a:cubicBezTo>
                    <a:cubicBezTo>
                      <a:pt x="108" y="508"/>
                      <a:pt x="106" y="494"/>
                      <a:pt x="105" y="480"/>
                    </a:cubicBezTo>
                    <a:cubicBezTo>
                      <a:pt x="104" y="470"/>
                      <a:pt x="104" y="461"/>
                      <a:pt x="104" y="452"/>
                    </a:cubicBezTo>
                    <a:cubicBezTo>
                      <a:pt x="105" y="442"/>
                      <a:pt x="106" y="433"/>
                      <a:pt x="107" y="423"/>
                    </a:cubicBezTo>
                    <a:cubicBezTo>
                      <a:pt x="104" y="417"/>
                      <a:pt x="100" y="411"/>
                      <a:pt x="97" y="404"/>
                    </a:cubicBezTo>
                    <a:cubicBezTo>
                      <a:pt x="95" y="399"/>
                      <a:pt x="101" y="395"/>
                      <a:pt x="103" y="391"/>
                    </a:cubicBezTo>
                    <a:cubicBezTo>
                      <a:pt x="110" y="382"/>
                      <a:pt x="117" y="374"/>
                      <a:pt x="122" y="364"/>
                    </a:cubicBezTo>
                    <a:cubicBezTo>
                      <a:pt x="128" y="352"/>
                      <a:pt x="135" y="340"/>
                      <a:pt x="140" y="328"/>
                    </a:cubicBezTo>
                    <a:cubicBezTo>
                      <a:pt x="141" y="324"/>
                      <a:pt x="141" y="319"/>
                      <a:pt x="141" y="315"/>
                    </a:cubicBezTo>
                    <a:cubicBezTo>
                      <a:pt x="142" y="311"/>
                      <a:pt x="141" y="306"/>
                      <a:pt x="144" y="303"/>
                    </a:cubicBezTo>
                    <a:cubicBezTo>
                      <a:pt x="146" y="299"/>
                      <a:pt x="151" y="297"/>
                      <a:pt x="155" y="300"/>
                    </a:cubicBezTo>
                    <a:cubicBezTo>
                      <a:pt x="159" y="303"/>
                      <a:pt x="164" y="301"/>
                      <a:pt x="168" y="301"/>
                    </a:cubicBezTo>
                    <a:cubicBezTo>
                      <a:pt x="172" y="301"/>
                      <a:pt x="175" y="301"/>
                      <a:pt x="179" y="301"/>
                    </a:cubicBezTo>
                    <a:cubicBezTo>
                      <a:pt x="182" y="297"/>
                      <a:pt x="185" y="294"/>
                      <a:pt x="190" y="292"/>
                    </a:cubicBezTo>
                    <a:cubicBezTo>
                      <a:pt x="193" y="291"/>
                      <a:pt x="197" y="287"/>
                      <a:pt x="200" y="287"/>
                    </a:cubicBezTo>
                    <a:cubicBezTo>
                      <a:pt x="201" y="291"/>
                      <a:pt x="201" y="296"/>
                      <a:pt x="205" y="296"/>
                    </a:cubicBezTo>
                    <a:cubicBezTo>
                      <a:pt x="210" y="297"/>
                      <a:pt x="211" y="286"/>
                      <a:pt x="217" y="289"/>
                    </a:cubicBezTo>
                    <a:cubicBezTo>
                      <a:pt x="220" y="293"/>
                      <a:pt x="224" y="291"/>
                      <a:pt x="226" y="287"/>
                    </a:cubicBezTo>
                    <a:cubicBezTo>
                      <a:pt x="230" y="284"/>
                      <a:pt x="230" y="279"/>
                      <a:pt x="232" y="275"/>
                    </a:cubicBezTo>
                    <a:cubicBezTo>
                      <a:pt x="235" y="272"/>
                      <a:pt x="240" y="273"/>
                      <a:pt x="245" y="271"/>
                    </a:cubicBezTo>
                    <a:cubicBezTo>
                      <a:pt x="247" y="273"/>
                      <a:pt x="250" y="278"/>
                      <a:pt x="253" y="275"/>
                    </a:cubicBezTo>
                    <a:cubicBezTo>
                      <a:pt x="257" y="272"/>
                      <a:pt x="260" y="267"/>
                      <a:pt x="265" y="270"/>
                    </a:cubicBezTo>
                    <a:cubicBezTo>
                      <a:pt x="271" y="272"/>
                      <a:pt x="270" y="279"/>
                      <a:pt x="272" y="284"/>
                    </a:cubicBezTo>
                    <a:cubicBezTo>
                      <a:pt x="274" y="288"/>
                      <a:pt x="278" y="292"/>
                      <a:pt x="280" y="296"/>
                    </a:cubicBezTo>
                    <a:cubicBezTo>
                      <a:pt x="285" y="297"/>
                      <a:pt x="289" y="300"/>
                      <a:pt x="294" y="298"/>
                    </a:cubicBezTo>
                    <a:cubicBezTo>
                      <a:pt x="302" y="299"/>
                      <a:pt x="297" y="291"/>
                      <a:pt x="297" y="286"/>
                    </a:cubicBezTo>
                    <a:cubicBezTo>
                      <a:pt x="296" y="283"/>
                      <a:pt x="293" y="281"/>
                      <a:pt x="291" y="278"/>
                    </a:cubicBezTo>
                    <a:cubicBezTo>
                      <a:pt x="289" y="275"/>
                      <a:pt x="284" y="273"/>
                      <a:pt x="286" y="270"/>
                    </a:cubicBezTo>
                    <a:cubicBezTo>
                      <a:pt x="287" y="265"/>
                      <a:pt x="287" y="259"/>
                      <a:pt x="291" y="256"/>
                    </a:cubicBezTo>
                    <a:cubicBezTo>
                      <a:pt x="295" y="252"/>
                      <a:pt x="299" y="247"/>
                      <a:pt x="304" y="243"/>
                    </a:cubicBezTo>
                    <a:cubicBezTo>
                      <a:pt x="309" y="240"/>
                      <a:pt x="314" y="237"/>
                      <a:pt x="320" y="234"/>
                    </a:cubicBezTo>
                    <a:cubicBezTo>
                      <a:pt x="323" y="237"/>
                      <a:pt x="328" y="237"/>
                      <a:pt x="328" y="242"/>
                    </a:cubicBezTo>
                    <a:cubicBezTo>
                      <a:pt x="328" y="247"/>
                      <a:pt x="328" y="252"/>
                      <a:pt x="328" y="257"/>
                    </a:cubicBezTo>
                    <a:cubicBezTo>
                      <a:pt x="333" y="257"/>
                      <a:pt x="337" y="260"/>
                      <a:pt x="341" y="257"/>
                    </a:cubicBezTo>
                    <a:cubicBezTo>
                      <a:pt x="345" y="256"/>
                      <a:pt x="348" y="253"/>
                      <a:pt x="345" y="249"/>
                    </a:cubicBezTo>
                    <a:cubicBezTo>
                      <a:pt x="343" y="242"/>
                      <a:pt x="340" y="235"/>
                      <a:pt x="337" y="228"/>
                    </a:cubicBezTo>
                    <a:cubicBezTo>
                      <a:pt x="343" y="223"/>
                      <a:pt x="348" y="219"/>
                      <a:pt x="352" y="213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56" name="Macedonia"/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4754684" y="3214146"/>
                <a:ext cx="55464" cy="49728"/>
              </a:xfrm>
              <a:custGeom>
                <a:avLst/>
                <a:gdLst/>
                <a:ahLst/>
                <a:cxnLst>
                  <a:cxn ang="0">
                    <a:pos x="10" y="7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2" y="9"/>
                  </a:cxn>
                  <a:cxn ang="0">
                    <a:pos x="6" y="9"/>
                  </a:cxn>
                  <a:cxn ang="0">
                    <a:pos x="10" y="7"/>
                  </a:cxn>
                </a:cxnLst>
                <a:rect l="0" t="0" r="r" b="b"/>
                <a:pathLst>
                  <a:path w="10" h="9">
                    <a:moveTo>
                      <a:pt x="10" y="7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2" y="9"/>
                    </a:lnTo>
                    <a:lnTo>
                      <a:pt x="6" y="9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7" name="Luxembourg"/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4406594" y="2975071"/>
                <a:ext cx="9562" cy="1721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2" y="0"/>
                  </a:cxn>
                  <a:cxn ang="0">
                    <a:pos x="2" y="3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2" y="0"/>
                    </a:lnTo>
                    <a:lnTo>
                      <a:pt x="2" y="3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3348634" name="Lithuania"/>
              <p:cNvGrpSpPr>
                <a:grpSpLocks/>
              </p:cNvGrpSpPr>
              <p:nvPr/>
            </p:nvGrpSpPr>
            <p:grpSpPr bwMode="auto">
              <a:xfrm>
                <a:off x="4721935" y="2774248"/>
                <a:ext cx="149781" cy="66881"/>
                <a:chOff x="4721935" y="2755159"/>
                <a:chExt cx="149781" cy="66881"/>
              </a:xfrm>
            </p:grpSpPr>
            <p:sp>
              <p:nvSpPr>
                <p:cNvPr id="778" name="Lithuania"/>
                <p:cNvSpPr>
                  <a:spLocks/>
                </p:cNvSpPr>
                <p:nvPr>
                  <p:custDataLst>
                    <p:tags r:id="rId136"/>
                  </p:custDataLst>
                </p:nvPr>
              </p:nvSpPr>
              <p:spPr bwMode="auto">
                <a:xfrm>
                  <a:off x="4722169" y="2783847"/>
                  <a:ext cx="55465" cy="38252"/>
                </a:xfrm>
                <a:custGeom>
                  <a:avLst/>
                  <a:gdLst/>
                  <a:ahLst/>
                  <a:cxnLst>
                    <a:cxn ang="0">
                      <a:pos x="0" y="4"/>
                    </a:cxn>
                    <a:cxn ang="0">
                      <a:pos x="10" y="7"/>
                    </a:cxn>
                    <a:cxn ang="0">
                      <a:pos x="10" y="0"/>
                    </a:cxn>
                    <a:cxn ang="0">
                      <a:pos x="2" y="0"/>
                    </a:cxn>
                    <a:cxn ang="0">
                      <a:pos x="0" y="2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10" h="7">
                      <a:moveTo>
                        <a:pt x="0" y="4"/>
                      </a:moveTo>
                      <a:lnTo>
                        <a:pt x="10" y="7"/>
                      </a:lnTo>
                      <a:lnTo>
                        <a:pt x="10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79" name="Lithuania"/>
                <p:cNvSpPr>
                  <a:spLocks/>
                </p:cNvSpPr>
                <p:nvPr>
                  <p:custDataLst>
                    <p:tags r:id="rId137"/>
                  </p:custDataLst>
                </p:nvPr>
              </p:nvSpPr>
              <p:spPr bwMode="auto">
                <a:xfrm>
                  <a:off x="4733644" y="2755158"/>
                  <a:ext cx="137706" cy="66941"/>
                </a:xfrm>
                <a:custGeom>
                  <a:avLst/>
                  <a:gdLst/>
                  <a:ahLst/>
                  <a:cxnLst>
                    <a:cxn ang="0">
                      <a:pos x="12" y="12"/>
                    </a:cxn>
                    <a:cxn ang="0">
                      <a:pos x="8" y="12"/>
                    </a:cxn>
                    <a:cxn ang="0">
                      <a:pos x="8" y="5"/>
                    </a:cxn>
                    <a:cxn ang="0">
                      <a:pos x="0" y="5"/>
                    </a:cxn>
                    <a:cxn ang="0">
                      <a:pos x="4" y="3"/>
                    </a:cxn>
                    <a:cxn ang="0">
                      <a:pos x="6" y="0"/>
                    </a:cxn>
                    <a:cxn ang="0">
                      <a:pos x="16" y="0"/>
                    </a:cxn>
                    <a:cxn ang="0">
                      <a:pos x="25" y="3"/>
                    </a:cxn>
                    <a:cxn ang="0">
                      <a:pos x="25" y="5"/>
                    </a:cxn>
                    <a:cxn ang="0">
                      <a:pos x="21" y="9"/>
                    </a:cxn>
                    <a:cxn ang="0">
                      <a:pos x="23" y="12"/>
                    </a:cxn>
                    <a:cxn ang="0">
                      <a:pos x="16" y="12"/>
                    </a:cxn>
                    <a:cxn ang="0">
                      <a:pos x="12" y="12"/>
                    </a:cxn>
                  </a:cxnLst>
                  <a:rect l="0" t="0" r="r" b="b"/>
                  <a:pathLst>
                    <a:path w="25" h="12">
                      <a:moveTo>
                        <a:pt x="12" y="12"/>
                      </a:moveTo>
                      <a:lnTo>
                        <a:pt x="8" y="12"/>
                      </a:lnTo>
                      <a:lnTo>
                        <a:pt x="8" y="5"/>
                      </a:lnTo>
                      <a:lnTo>
                        <a:pt x="0" y="5"/>
                      </a:lnTo>
                      <a:lnTo>
                        <a:pt x="4" y="3"/>
                      </a:lnTo>
                      <a:lnTo>
                        <a:pt x="6" y="0"/>
                      </a:lnTo>
                      <a:lnTo>
                        <a:pt x="16" y="0"/>
                      </a:lnTo>
                      <a:lnTo>
                        <a:pt x="25" y="3"/>
                      </a:lnTo>
                      <a:lnTo>
                        <a:pt x="25" y="5"/>
                      </a:lnTo>
                      <a:lnTo>
                        <a:pt x="21" y="9"/>
                      </a:lnTo>
                      <a:lnTo>
                        <a:pt x="23" y="12"/>
                      </a:lnTo>
                      <a:lnTo>
                        <a:pt x="16" y="12"/>
                      </a:lnTo>
                      <a:lnTo>
                        <a:pt x="12" y="12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559" name="Lichtenstein"/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4492659" y="3040099"/>
                <a:ext cx="11475" cy="3442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4"/>
                  </a:cxn>
                  <a:cxn ang="0">
                    <a:pos x="2" y="9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lnTo>
                      <a:pt x="0" y="4"/>
                    </a:lnTo>
                    <a:lnTo>
                      <a:pt x="2" y="9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60" name="Libya"/>
              <p:cNvSpPr>
                <a:spLocks/>
              </p:cNvSpPr>
              <p:nvPr/>
            </p:nvSpPr>
            <p:spPr bwMode="auto">
              <a:xfrm>
                <a:off x="4486922" y="3508686"/>
                <a:ext cx="403554" cy="430336"/>
              </a:xfrm>
              <a:custGeom>
                <a:avLst/>
                <a:gdLst>
                  <a:gd name="T0" fmla="*/ 348 w 1110"/>
                  <a:gd name="T1" fmla="*/ 764 h 997"/>
                  <a:gd name="T2" fmla="*/ 284 w 1110"/>
                  <a:gd name="T3" fmla="*/ 728 h 997"/>
                  <a:gd name="T4" fmla="*/ 177 w 1110"/>
                  <a:gd name="T5" fmla="*/ 702 h 997"/>
                  <a:gd name="T6" fmla="*/ 113 w 1110"/>
                  <a:gd name="T7" fmla="*/ 633 h 997"/>
                  <a:gd name="T8" fmla="*/ 49 w 1110"/>
                  <a:gd name="T9" fmla="*/ 607 h 997"/>
                  <a:gd name="T10" fmla="*/ 1 w 1110"/>
                  <a:gd name="T11" fmla="*/ 507 h 997"/>
                  <a:gd name="T12" fmla="*/ 32 w 1110"/>
                  <a:gd name="T13" fmla="*/ 442 h 997"/>
                  <a:gd name="T14" fmla="*/ 37 w 1110"/>
                  <a:gd name="T15" fmla="*/ 363 h 997"/>
                  <a:gd name="T16" fmla="*/ 12 w 1110"/>
                  <a:gd name="T17" fmla="*/ 223 h 997"/>
                  <a:gd name="T18" fmla="*/ 22 w 1110"/>
                  <a:gd name="T19" fmla="*/ 204 h 997"/>
                  <a:gd name="T20" fmla="*/ 73 w 1110"/>
                  <a:gd name="T21" fmla="*/ 158 h 997"/>
                  <a:gd name="T22" fmla="*/ 95 w 1110"/>
                  <a:gd name="T23" fmla="*/ 93 h 997"/>
                  <a:gd name="T24" fmla="*/ 154 w 1110"/>
                  <a:gd name="T25" fmla="*/ 53 h 997"/>
                  <a:gd name="T26" fmla="*/ 160 w 1110"/>
                  <a:gd name="T27" fmla="*/ 0 h 997"/>
                  <a:gd name="T28" fmla="*/ 201 w 1110"/>
                  <a:gd name="T29" fmla="*/ 18 h 997"/>
                  <a:gd name="T30" fmla="*/ 249 w 1110"/>
                  <a:gd name="T31" fmla="*/ 18 h 997"/>
                  <a:gd name="T32" fmla="*/ 296 w 1110"/>
                  <a:gd name="T33" fmla="*/ 24 h 997"/>
                  <a:gd name="T34" fmla="*/ 353 w 1110"/>
                  <a:gd name="T35" fmla="*/ 44 h 997"/>
                  <a:gd name="T36" fmla="*/ 401 w 1110"/>
                  <a:gd name="T37" fmla="*/ 64 h 997"/>
                  <a:gd name="T38" fmla="*/ 411 w 1110"/>
                  <a:gd name="T39" fmla="*/ 100 h 997"/>
                  <a:gd name="T40" fmla="*/ 463 w 1110"/>
                  <a:gd name="T41" fmla="*/ 137 h 997"/>
                  <a:gd name="T42" fmla="*/ 548 w 1110"/>
                  <a:gd name="T43" fmla="*/ 151 h 997"/>
                  <a:gd name="T44" fmla="*/ 599 w 1110"/>
                  <a:gd name="T45" fmla="*/ 172 h 997"/>
                  <a:gd name="T46" fmla="*/ 647 w 1110"/>
                  <a:gd name="T47" fmla="*/ 205 h 997"/>
                  <a:gd name="T48" fmla="*/ 690 w 1110"/>
                  <a:gd name="T49" fmla="*/ 195 h 997"/>
                  <a:gd name="T50" fmla="*/ 722 w 1110"/>
                  <a:gd name="T51" fmla="*/ 157 h 997"/>
                  <a:gd name="T52" fmla="*/ 718 w 1110"/>
                  <a:gd name="T53" fmla="*/ 123 h 997"/>
                  <a:gd name="T54" fmla="*/ 712 w 1110"/>
                  <a:gd name="T55" fmla="*/ 75 h 997"/>
                  <a:gd name="T56" fmla="*/ 770 w 1110"/>
                  <a:gd name="T57" fmla="*/ 26 h 997"/>
                  <a:gd name="T58" fmla="*/ 811 w 1110"/>
                  <a:gd name="T59" fmla="*/ 14 h 997"/>
                  <a:gd name="T60" fmla="*/ 889 w 1110"/>
                  <a:gd name="T61" fmla="*/ 24 h 997"/>
                  <a:gd name="T62" fmla="*/ 916 w 1110"/>
                  <a:gd name="T63" fmla="*/ 35 h 997"/>
                  <a:gd name="T64" fmla="*/ 918 w 1110"/>
                  <a:gd name="T65" fmla="*/ 55 h 997"/>
                  <a:gd name="T66" fmla="*/ 966 w 1110"/>
                  <a:gd name="T67" fmla="*/ 66 h 997"/>
                  <a:gd name="T68" fmla="*/ 1034 w 1110"/>
                  <a:gd name="T69" fmla="*/ 77 h 997"/>
                  <a:gd name="T70" fmla="*/ 1060 w 1110"/>
                  <a:gd name="T71" fmla="*/ 100 h 997"/>
                  <a:gd name="T72" fmla="*/ 1062 w 1110"/>
                  <a:gd name="T73" fmla="*/ 105 h 997"/>
                  <a:gd name="T74" fmla="*/ 1062 w 1110"/>
                  <a:gd name="T75" fmla="*/ 157 h 997"/>
                  <a:gd name="T76" fmla="*/ 1057 w 1110"/>
                  <a:gd name="T77" fmla="*/ 237 h 997"/>
                  <a:gd name="T78" fmla="*/ 1098 w 1110"/>
                  <a:gd name="T79" fmla="*/ 708 h 997"/>
                  <a:gd name="T80" fmla="*/ 1103 w 1110"/>
                  <a:gd name="T81" fmla="*/ 810 h 997"/>
                  <a:gd name="T82" fmla="*/ 1039 w 1110"/>
                  <a:gd name="T83" fmla="*/ 960 h 997"/>
                  <a:gd name="T84" fmla="*/ 1040 w 1110"/>
                  <a:gd name="T85" fmla="*/ 997 h 997"/>
                  <a:gd name="T86" fmla="*/ 390 w 1110"/>
                  <a:gd name="T87" fmla="*/ 742 h 9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10" h="997">
                    <a:moveTo>
                      <a:pt x="390" y="742"/>
                    </a:moveTo>
                    <a:cubicBezTo>
                      <a:pt x="376" y="749"/>
                      <a:pt x="362" y="756"/>
                      <a:pt x="348" y="764"/>
                    </a:cubicBezTo>
                    <a:cubicBezTo>
                      <a:pt x="338" y="774"/>
                      <a:pt x="330" y="766"/>
                      <a:pt x="322" y="758"/>
                    </a:cubicBezTo>
                    <a:cubicBezTo>
                      <a:pt x="309" y="748"/>
                      <a:pt x="299" y="735"/>
                      <a:pt x="284" y="728"/>
                    </a:cubicBezTo>
                    <a:cubicBezTo>
                      <a:pt x="249" y="718"/>
                      <a:pt x="213" y="711"/>
                      <a:pt x="177" y="702"/>
                    </a:cubicBezTo>
                    <a:cubicBezTo>
                      <a:pt x="177" y="702"/>
                      <a:pt x="177" y="702"/>
                      <a:pt x="177" y="702"/>
                    </a:cubicBezTo>
                    <a:cubicBezTo>
                      <a:pt x="167" y="683"/>
                      <a:pt x="158" y="664"/>
                      <a:pt x="148" y="644"/>
                    </a:cubicBezTo>
                    <a:cubicBezTo>
                      <a:pt x="136" y="640"/>
                      <a:pt x="124" y="637"/>
                      <a:pt x="113" y="633"/>
                    </a:cubicBezTo>
                    <a:cubicBezTo>
                      <a:pt x="100" y="630"/>
                      <a:pt x="87" y="620"/>
                      <a:pt x="75" y="630"/>
                    </a:cubicBezTo>
                    <a:cubicBezTo>
                      <a:pt x="59" y="634"/>
                      <a:pt x="59" y="614"/>
                      <a:pt x="49" y="607"/>
                    </a:cubicBezTo>
                    <a:cubicBezTo>
                      <a:pt x="37" y="599"/>
                      <a:pt x="46" y="580"/>
                      <a:pt x="43" y="567"/>
                    </a:cubicBezTo>
                    <a:cubicBezTo>
                      <a:pt x="29" y="547"/>
                      <a:pt x="15" y="527"/>
                      <a:pt x="1" y="507"/>
                    </a:cubicBezTo>
                    <a:cubicBezTo>
                      <a:pt x="2" y="493"/>
                      <a:pt x="16" y="487"/>
                      <a:pt x="28" y="483"/>
                    </a:cubicBezTo>
                    <a:cubicBezTo>
                      <a:pt x="43" y="475"/>
                      <a:pt x="38" y="454"/>
                      <a:pt x="32" y="442"/>
                    </a:cubicBezTo>
                    <a:cubicBezTo>
                      <a:pt x="25" y="428"/>
                      <a:pt x="28" y="414"/>
                      <a:pt x="34" y="401"/>
                    </a:cubicBezTo>
                    <a:cubicBezTo>
                      <a:pt x="46" y="391"/>
                      <a:pt x="43" y="375"/>
                      <a:pt x="37" y="363"/>
                    </a:cubicBezTo>
                    <a:cubicBezTo>
                      <a:pt x="31" y="353"/>
                      <a:pt x="34" y="341"/>
                      <a:pt x="37" y="331"/>
                    </a:cubicBezTo>
                    <a:cubicBezTo>
                      <a:pt x="46" y="294"/>
                      <a:pt x="35" y="253"/>
                      <a:pt x="12" y="223"/>
                    </a:cubicBezTo>
                    <a:cubicBezTo>
                      <a:pt x="0" y="215"/>
                      <a:pt x="14" y="210"/>
                      <a:pt x="21" y="207"/>
                    </a:cubicBezTo>
                    <a:cubicBezTo>
                      <a:pt x="22" y="204"/>
                      <a:pt x="22" y="204"/>
                      <a:pt x="22" y="204"/>
                    </a:cubicBezTo>
                    <a:cubicBezTo>
                      <a:pt x="27" y="207"/>
                      <a:pt x="38" y="198"/>
                      <a:pt x="44" y="198"/>
                    </a:cubicBezTo>
                    <a:cubicBezTo>
                      <a:pt x="55" y="186"/>
                      <a:pt x="68" y="174"/>
                      <a:pt x="73" y="158"/>
                    </a:cubicBezTo>
                    <a:cubicBezTo>
                      <a:pt x="76" y="142"/>
                      <a:pt x="55" y="122"/>
                      <a:pt x="71" y="109"/>
                    </a:cubicBezTo>
                    <a:cubicBezTo>
                      <a:pt x="74" y="95"/>
                      <a:pt x="88" y="103"/>
                      <a:pt x="95" y="93"/>
                    </a:cubicBezTo>
                    <a:cubicBezTo>
                      <a:pt x="96" y="80"/>
                      <a:pt x="111" y="82"/>
                      <a:pt x="116" y="71"/>
                    </a:cubicBezTo>
                    <a:cubicBezTo>
                      <a:pt x="126" y="63"/>
                      <a:pt x="142" y="59"/>
                      <a:pt x="154" y="53"/>
                    </a:cubicBezTo>
                    <a:cubicBezTo>
                      <a:pt x="167" y="49"/>
                      <a:pt x="161" y="39"/>
                      <a:pt x="157" y="32"/>
                    </a:cubicBezTo>
                    <a:cubicBezTo>
                      <a:pt x="157" y="19"/>
                      <a:pt x="157" y="12"/>
                      <a:pt x="160" y="0"/>
                    </a:cubicBezTo>
                    <a:cubicBezTo>
                      <a:pt x="161" y="0"/>
                      <a:pt x="162" y="0"/>
                      <a:pt x="163" y="1"/>
                    </a:cubicBezTo>
                    <a:cubicBezTo>
                      <a:pt x="175" y="8"/>
                      <a:pt x="188" y="12"/>
                      <a:pt x="201" y="18"/>
                    </a:cubicBezTo>
                    <a:cubicBezTo>
                      <a:pt x="208" y="22"/>
                      <a:pt x="217" y="21"/>
                      <a:pt x="226" y="22"/>
                    </a:cubicBezTo>
                    <a:cubicBezTo>
                      <a:pt x="234" y="24"/>
                      <a:pt x="242" y="20"/>
                      <a:pt x="249" y="18"/>
                    </a:cubicBezTo>
                    <a:cubicBezTo>
                      <a:pt x="256" y="16"/>
                      <a:pt x="263" y="17"/>
                      <a:pt x="270" y="17"/>
                    </a:cubicBezTo>
                    <a:cubicBezTo>
                      <a:pt x="280" y="17"/>
                      <a:pt x="286" y="25"/>
                      <a:pt x="296" y="24"/>
                    </a:cubicBezTo>
                    <a:cubicBezTo>
                      <a:pt x="306" y="24"/>
                      <a:pt x="316" y="28"/>
                      <a:pt x="326" y="31"/>
                    </a:cubicBezTo>
                    <a:cubicBezTo>
                      <a:pt x="334" y="36"/>
                      <a:pt x="344" y="40"/>
                      <a:pt x="353" y="44"/>
                    </a:cubicBezTo>
                    <a:cubicBezTo>
                      <a:pt x="364" y="50"/>
                      <a:pt x="376" y="49"/>
                      <a:pt x="386" y="55"/>
                    </a:cubicBezTo>
                    <a:cubicBezTo>
                      <a:pt x="392" y="56"/>
                      <a:pt x="397" y="59"/>
                      <a:pt x="401" y="64"/>
                    </a:cubicBezTo>
                    <a:cubicBezTo>
                      <a:pt x="403" y="71"/>
                      <a:pt x="406" y="79"/>
                      <a:pt x="406" y="87"/>
                    </a:cubicBezTo>
                    <a:cubicBezTo>
                      <a:pt x="405" y="92"/>
                      <a:pt x="409" y="96"/>
                      <a:pt x="411" y="100"/>
                    </a:cubicBezTo>
                    <a:cubicBezTo>
                      <a:pt x="418" y="110"/>
                      <a:pt x="427" y="118"/>
                      <a:pt x="436" y="127"/>
                    </a:cubicBezTo>
                    <a:cubicBezTo>
                      <a:pt x="445" y="131"/>
                      <a:pt x="454" y="134"/>
                      <a:pt x="463" y="137"/>
                    </a:cubicBezTo>
                    <a:cubicBezTo>
                      <a:pt x="476" y="137"/>
                      <a:pt x="489" y="138"/>
                      <a:pt x="502" y="139"/>
                    </a:cubicBezTo>
                    <a:cubicBezTo>
                      <a:pt x="518" y="141"/>
                      <a:pt x="533" y="146"/>
                      <a:pt x="548" y="151"/>
                    </a:cubicBezTo>
                    <a:cubicBezTo>
                      <a:pt x="559" y="154"/>
                      <a:pt x="570" y="159"/>
                      <a:pt x="579" y="166"/>
                    </a:cubicBezTo>
                    <a:cubicBezTo>
                      <a:pt x="586" y="167"/>
                      <a:pt x="593" y="169"/>
                      <a:pt x="599" y="172"/>
                    </a:cubicBezTo>
                    <a:cubicBezTo>
                      <a:pt x="606" y="180"/>
                      <a:pt x="614" y="187"/>
                      <a:pt x="623" y="194"/>
                    </a:cubicBezTo>
                    <a:cubicBezTo>
                      <a:pt x="629" y="200"/>
                      <a:pt x="639" y="202"/>
                      <a:pt x="647" y="205"/>
                    </a:cubicBezTo>
                    <a:cubicBezTo>
                      <a:pt x="653" y="206"/>
                      <a:pt x="659" y="206"/>
                      <a:pt x="665" y="205"/>
                    </a:cubicBezTo>
                    <a:cubicBezTo>
                      <a:pt x="673" y="201"/>
                      <a:pt x="682" y="199"/>
                      <a:pt x="690" y="195"/>
                    </a:cubicBezTo>
                    <a:cubicBezTo>
                      <a:pt x="698" y="191"/>
                      <a:pt x="704" y="184"/>
                      <a:pt x="709" y="178"/>
                    </a:cubicBezTo>
                    <a:cubicBezTo>
                      <a:pt x="714" y="171"/>
                      <a:pt x="717" y="163"/>
                      <a:pt x="722" y="157"/>
                    </a:cubicBezTo>
                    <a:cubicBezTo>
                      <a:pt x="726" y="153"/>
                      <a:pt x="725" y="149"/>
                      <a:pt x="725" y="144"/>
                    </a:cubicBezTo>
                    <a:cubicBezTo>
                      <a:pt x="724" y="137"/>
                      <a:pt x="718" y="131"/>
                      <a:pt x="718" y="123"/>
                    </a:cubicBezTo>
                    <a:cubicBezTo>
                      <a:pt x="719" y="117"/>
                      <a:pt x="714" y="112"/>
                      <a:pt x="710" y="107"/>
                    </a:cubicBezTo>
                    <a:cubicBezTo>
                      <a:pt x="708" y="97"/>
                      <a:pt x="707" y="85"/>
                      <a:pt x="712" y="75"/>
                    </a:cubicBezTo>
                    <a:cubicBezTo>
                      <a:pt x="720" y="66"/>
                      <a:pt x="729" y="56"/>
                      <a:pt x="739" y="48"/>
                    </a:cubicBezTo>
                    <a:cubicBezTo>
                      <a:pt x="749" y="40"/>
                      <a:pt x="758" y="31"/>
                      <a:pt x="770" y="26"/>
                    </a:cubicBezTo>
                    <a:cubicBezTo>
                      <a:pt x="775" y="23"/>
                      <a:pt x="781" y="21"/>
                      <a:pt x="787" y="21"/>
                    </a:cubicBezTo>
                    <a:cubicBezTo>
                      <a:pt x="795" y="20"/>
                      <a:pt x="803" y="17"/>
                      <a:pt x="811" y="14"/>
                    </a:cubicBezTo>
                    <a:cubicBezTo>
                      <a:pt x="823" y="12"/>
                      <a:pt x="837" y="12"/>
                      <a:pt x="849" y="12"/>
                    </a:cubicBezTo>
                    <a:cubicBezTo>
                      <a:pt x="863" y="16"/>
                      <a:pt x="876" y="19"/>
                      <a:pt x="889" y="24"/>
                    </a:cubicBezTo>
                    <a:cubicBezTo>
                      <a:pt x="894" y="28"/>
                      <a:pt x="900" y="25"/>
                      <a:pt x="906" y="28"/>
                    </a:cubicBezTo>
                    <a:cubicBezTo>
                      <a:pt x="909" y="30"/>
                      <a:pt x="916" y="30"/>
                      <a:pt x="916" y="35"/>
                    </a:cubicBezTo>
                    <a:cubicBezTo>
                      <a:pt x="916" y="38"/>
                      <a:pt x="919" y="47"/>
                      <a:pt x="913" y="45"/>
                    </a:cubicBezTo>
                    <a:cubicBezTo>
                      <a:pt x="913" y="47"/>
                      <a:pt x="914" y="54"/>
                      <a:pt x="918" y="55"/>
                    </a:cubicBezTo>
                    <a:cubicBezTo>
                      <a:pt x="924" y="59"/>
                      <a:pt x="931" y="65"/>
                      <a:pt x="939" y="62"/>
                    </a:cubicBezTo>
                    <a:cubicBezTo>
                      <a:pt x="948" y="63"/>
                      <a:pt x="957" y="64"/>
                      <a:pt x="966" y="66"/>
                    </a:cubicBezTo>
                    <a:cubicBezTo>
                      <a:pt x="977" y="68"/>
                      <a:pt x="987" y="76"/>
                      <a:pt x="1000" y="76"/>
                    </a:cubicBezTo>
                    <a:cubicBezTo>
                      <a:pt x="1011" y="78"/>
                      <a:pt x="1023" y="76"/>
                      <a:pt x="1034" y="77"/>
                    </a:cubicBezTo>
                    <a:cubicBezTo>
                      <a:pt x="1041" y="77"/>
                      <a:pt x="1046" y="80"/>
                      <a:pt x="1052" y="83"/>
                    </a:cubicBezTo>
                    <a:cubicBezTo>
                      <a:pt x="1055" y="88"/>
                      <a:pt x="1056" y="95"/>
                      <a:pt x="1060" y="100"/>
                    </a:cubicBezTo>
                    <a:cubicBezTo>
                      <a:pt x="1061" y="102"/>
                      <a:pt x="1062" y="103"/>
                      <a:pt x="1063" y="104"/>
                    </a:cubicBezTo>
                    <a:cubicBezTo>
                      <a:pt x="1062" y="105"/>
                      <a:pt x="1062" y="105"/>
                      <a:pt x="1062" y="105"/>
                    </a:cubicBezTo>
                    <a:cubicBezTo>
                      <a:pt x="1057" y="112"/>
                      <a:pt x="1056" y="113"/>
                      <a:pt x="1051" y="120"/>
                    </a:cubicBezTo>
                    <a:cubicBezTo>
                      <a:pt x="1051" y="133"/>
                      <a:pt x="1055" y="145"/>
                      <a:pt x="1062" y="157"/>
                    </a:cubicBezTo>
                    <a:cubicBezTo>
                      <a:pt x="1064" y="169"/>
                      <a:pt x="1060" y="183"/>
                      <a:pt x="1052" y="194"/>
                    </a:cubicBezTo>
                    <a:cubicBezTo>
                      <a:pt x="1039" y="208"/>
                      <a:pt x="1058" y="222"/>
                      <a:pt x="1057" y="237"/>
                    </a:cubicBezTo>
                    <a:cubicBezTo>
                      <a:pt x="1061" y="251"/>
                      <a:pt x="1065" y="264"/>
                      <a:pt x="1071" y="277"/>
                    </a:cubicBezTo>
                    <a:cubicBezTo>
                      <a:pt x="1081" y="421"/>
                      <a:pt x="1090" y="564"/>
                      <a:pt x="1098" y="708"/>
                    </a:cubicBezTo>
                    <a:cubicBezTo>
                      <a:pt x="1098" y="708"/>
                      <a:pt x="1098" y="708"/>
                      <a:pt x="1098" y="708"/>
                    </a:cubicBezTo>
                    <a:cubicBezTo>
                      <a:pt x="1100" y="742"/>
                      <a:pt x="1101" y="776"/>
                      <a:pt x="1103" y="810"/>
                    </a:cubicBezTo>
                    <a:cubicBezTo>
                      <a:pt x="1106" y="859"/>
                      <a:pt x="1108" y="909"/>
                      <a:pt x="1110" y="959"/>
                    </a:cubicBezTo>
                    <a:cubicBezTo>
                      <a:pt x="1087" y="959"/>
                      <a:pt x="1062" y="959"/>
                      <a:pt x="1039" y="960"/>
                    </a:cubicBezTo>
                    <a:cubicBezTo>
                      <a:pt x="1039" y="969"/>
                      <a:pt x="1040" y="992"/>
                      <a:pt x="1040" y="997"/>
                    </a:cubicBezTo>
                    <a:cubicBezTo>
                      <a:pt x="1040" y="997"/>
                      <a:pt x="1040" y="997"/>
                      <a:pt x="1040" y="997"/>
                    </a:cubicBezTo>
                    <a:cubicBezTo>
                      <a:pt x="849" y="897"/>
                      <a:pt x="656" y="801"/>
                      <a:pt x="461" y="708"/>
                    </a:cubicBezTo>
                    <a:cubicBezTo>
                      <a:pt x="437" y="719"/>
                      <a:pt x="414" y="730"/>
                      <a:pt x="390" y="742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637" name="Liberia"/>
              <p:cNvSpPr>
                <a:spLocks/>
              </p:cNvSpPr>
              <p:nvPr/>
            </p:nvSpPr>
            <p:spPr bwMode="auto">
              <a:xfrm>
                <a:off x="3910034" y="4287570"/>
                <a:ext cx="110415" cy="146039"/>
              </a:xfrm>
              <a:custGeom>
                <a:avLst/>
                <a:gdLst>
                  <a:gd name="T0" fmla="*/ 29945710 w 304"/>
                  <a:gd name="T1" fmla="*/ 32109571 h 338"/>
                  <a:gd name="T2" fmla="*/ 34167266 w 304"/>
                  <a:gd name="T3" fmla="*/ 33602798 h 338"/>
                  <a:gd name="T4" fmla="*/ 35486434 w 304"/>
                  <a:gd name="T5" fmla="*/ 36962990 h 338"/>
                  <a:gd name="T6" fmla="*/ 35354590 w 304"/>
                  <a:gd name="T7" fmla="*/ 36776336 h 338"/>
                  <a:gd name="T8" fmla="*/ 35486434 w 304"/>
                  <a:gd name="T9" fmla="*/ 36962990 h 338"/>
                  <a:gd name="T10" fmla="*/ 37333342 w 304"/>
                  <a:gd name="T11" fmla="*/ 39016608 h 338"/>
                  <a:gd name="T12" fmla="*/ 39180250 w 304"/>
                  <a:gd name="T13" fmla="*/ 42003494 h 338"/>
                  <a:gd name="T14" fmla="*/ 39575782 w 304"/>
                  <a:gd name="T15" fmla="*/ 47603958 h 338"/>
                  <a:gd name="T16" fmla="*/ 38652510 w 304"/>
                  <a:gd name="T17" fmla="*/ 49657576 h 338"/>
                  <a:gd name="T18" fmla="*/ 37860719 w 304"/>
                  <a:gd name="T19" fmla="*/ 53017768 h 338"/>
                  <a:gd name="T20" fmla="*/ 37597030 w 304"/>
                  <a:gd name="T21" fmla="*/ 61792216 h 338"/>
                  <a:gd name="T22" fmla="*/ 37992926 w 304"/>
                  <a:gd name="T23" fmla="*/ 61978870 h 338"/>
                  <a:gd name="T24" fmla="*/ 38124770 w 304"/>
                  <a:gd name="T25" fmla="*/ 62912136 h 338"/>
                  <a:gd name="T26" fmla="*/ 38124770 w 304"/>
                  <a:gd name="T27" fmla="*/ 62912136 h 338"/>
                  <a:gd name="T28" fmla="*/ 37728874 w 304"/>
                  <a:gd name="T29" fmla="*/ 63098790 h 338"/>
                  <a:gd name="T30" fmla="*/ 28626541 w 304"/>
                  <a:gd name="T31" fmla="*/ 58058286 h 338"/>
                  <a:gd name="T32" fmla="*/ 24141297 w 304"/>
                  <a:gd name="T33" fmla="*/ 53764814 h 338"/>
                  <a:gd name="T34" fmla="*/ 20579319 w 304"/>
                  <a:gd name="T35" fmla="*/ 49097616 h 338"/>
                  <a:gd name="T36" fmla="*/ 13323895 w 304"/>
                  <a:gd name="T37" fmla="*/ 38829955 h 338"/>
                  <a:gd name="T38" fmla="*/ 9894127 w 304"/>
                  <a:gd name="T39" fmla="*/ 36029723 h 338"/>
                  <a:gd name="T40" fmla="*/ 7387635 w 304"/>
                  <a:gd name="T41" fmla="*/ 32856184 h 338"/>
                  <a:gd name="T42" fmla="*/ 5276674 w 304"/>
                  <a:gd name="T43" fmla="*/ 31549611 h 338"/>
                  <a:gd name="T44" fmla="*/ 3825662 w 304"/>
                  <a:gd name="T45" fmla="*/ 30242606 h 338"/>
                  <a:gd name="T46" fmla="*/ 2902389 w 304"/>
                  <a:gd name="T47" fmla="*/ 28748947 h 338"/>
                  <a:gd name="T48" fmla="*/ 2770181 w 304"/>
                  <a:gd name="T49" fmla="*/ 27255713 h 338"/>
                  <a:gd name="T50" fmla="*/ 0 w 304"/>
                  <a:gd name="T51" fmla="*/ 24082175 h 338"/>
                  <a:gd name="T52" fmla="*/ 0 w 304"/>
                  <a:gd name="T53" fmla="*/ 23895521 h 338"/>
                  <a:gd name="T54" fmla="*/ 3561973 w 304"/>
                  <a:gd name="T55" fmla="*/ 18481711 h 338"/>
                  <a:gd name="T56" fmla="*/ 7651323 w 304"/>
                  <a:gd name="T57" fmla="*/ 13254550 h 338"/>
                  <a:gd name="T58" fmla="*/ 9234543 w 304"/>
                  <a:gd name="T59" fmla="*/ 8587353 h 338"/>
                  <a:gd name="T60" fmla="*/ 12268415 w 304"/>
                  <a:gd name="T61" fmla="*/ 3920154 h 338"/>
                  <a:gd name="T62" fmla="*/ 12796155 w 304"/>
                  <a:gd name="T63" fmla="*/ 1493659 h 338"/>
                  <a:gd name="T64" fmla="*/ 12664311 w 304"/>
                  <a:gd name="T65" fmla="*/ 1306574 h 338"/>
                  <a:gd name="T66" fmla="*/ 14379374 w 304"/>
                  <a:gd name="T67" fmla="*/ 933267 h 338"/>
                  <a:gd name="T68" fmla="*/ 17017711 w 304"/>
                  <a:gd name="T69" fmla="*/ 1306574 h 338"/>
                  <a:gd name="T70" fmla="*/ 18072827 w 304"/>
                  <a:gd name="T71" fmla="*/ 2240273 h 338"/>
                  <a:gd name="T72" fmla="*/ 18600567 w 304"/>
                  <a:gd name="T73" fmla="*/ 2800233 h 338"/>
                  <a:gd name="T74" fmla="*/ 19919735 w 304"/>
                  <a:gd name="T75" fmla="*/ 5227159 h 338"/>
                  <a:gd name="T76" fmla="*/ 20315631 w 304"/>
                  <a:gd name="T77" fmla="*/ 6907471 h 338"/>
                  <a:gd name="T78" fmla="*/ 20579319 w 304"/>
                  <a:gd name="T79" fmla="*/ 9147313 h 338"/>
                  <a:gd name="T80" fmla="*/ 20183787 w 304"/>
                  <a:gd name="T81" fmla="*/ 16614745 h 338"/>
                  <a:gd name="T82" fmla="*/ 21766643 w 304"/>
                  <a:gd name="T83" fmla="*/ 17548012 h 338"/>
                  <a:gd name="T84" fmla="*/ 24669037 w 304"/>
                  <a:gd name="T85" fmla="*/ 19228324 h 338"/>
                  <a:gd name="T86" fmla="*/ 26251893 w 304"/>
                  <a:gd name="T87" fmla="*/ 17548012 h 338"/>
                  <a:gd name="T88" fmla="*/ 28626541 w 304"/>
                  <a:gd name="T89" fmla="*/ 13067897 h 338"/>
                  <a:gd name="T90" fmla="*/ 29682021 w 304"/>
                  <a:gd name="T91" fmla="*/ 14747780 h 338"/>
                  <a:gd name="T92" fmla="*/ 29682021 w 304"/>
                  <a:gd name="T93" fmla="*/ 15121519 h 338"/>
                  <a:gd name="T94" fmla="*/ 31264878 w 304"/>
                  <a:gd name="T95" fmla="*/ 21468596 h 338"/>
                  <a:gd name="T96" fmla="*/ 29682021 w 304"/>
                  <a:gd name="T97" fmla="*/ 28002327 h 338"/>
                  <a:gd name="T98" fmla="*/ 29154281 w 304"/>
                  <a:gd name="T99" fmla="*/ 31175872 h 338"/>
                  <a:gd name="T100" fmla="*/ 29945710 w 304"/>
                  <a:gd name="T101" fmla="*/ 32109571 h 338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04"/>
                  <a:gd name="T154" fmla="*/ 0 h 338"/>
                  <a:gd name="T155" fmla="*/ 304 w 304"/>
                  <a:gd name="T156" fmla="*/ 338 h 338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04" h="338">
                    <a:moveTo>
                      <a:pt x="227" y="172"/>
                    </a:moveTo>
                    <a:cubicBezTo>
                      <a:pt x="235" y="178"/>
                      <a:pt x="247" y="181"/>
                      <a:pt x="259" y="180"/>
                    </a:cubicBezTo>
                    <a:cubicBezTo>
                      <a:pt x="268" y="180"/>
                      <a:pt x="270" y="196"/>
                      <a:pt x="269" y="198"/>
                    </a:cubicBezTo>
                    <a:cubicBezTo>
                      <a:pt x="269" y="197"/>
                      <a:pt x="269" y="197"/>
                      <a:pt x="268" y="197"/>
                    </a:cubicBezTo>
                    <a:cubicBezTo>
                      <a:pt x="269" y="198"/>
                      <a:pt x="269" y="198"/>
                      <a:pt x="269" y="198"/>
                    </a:cubicBezTo>
                    <a:cubicBezTo>
                      <a:pt x="272" y="202"/>
                      <a:pt x="275" y="211"/>
                      <a:pt x="283" y="209"/>
                    </a:cubicBezTo>
                    <a:cubicBezTo>
                      <a:pt x="290" y="216"/>
                      <a:pt x="302" y="212"/>
                      <a:pt x="297" y="225"/>
                    </a:cubicBezTo>
                    <a:cubicBezTo>
                      <a:pt x="304" y="235"/>
                      <a:pt x="292" y="247"/>
                      <a:pt x="300" y="255"/>
                    </a:cubicBezTo>
                    <a:cubicBezTo>
                      <a:pt x="297" y="259"/>
                      <a:pt x="291" y="257"/>
                      <a:pt x="293" y="266"/>
                    </a:cubicBezTo>
                    <a:cubicBezTo>
                      <a:pt x="290" y="273"/>
                      <a:pt x="283" y="275"/>
                      <a:pt x="287" y="284"/>
                    </a:cubicBezTo>
                    <a:cubicBezTo>
                      <a:pt x="281" y="296"/>
                      <a:pt x="287" y="316"/>
                      <a:pt x="285" y="331"/>
                    </a:cubicBezTo>
                    <a:cubicBezTo>
                      <a:pt x="288" y="332"/>
                      <a:pt x="288" y="332"/>
                      <a:pt x="288" y="332"/>
                    </a:cubicBezTo>
                    <a:cubicBezTo>
                      <a:pt x="289" y="337"/>
                      <a:pt x="289" y="337"/>
                      <a:pt x="289" y="337"/>
                    </a:cubicBezTo>
                    <a:cubicBezTo>
                      <a:pt x="289" y="337"/>
                      <a:pt x="289" y="337"/>
                      <a:pt x="289" y="337"/>
                    </a:cubicBezTo>
                    <a:cubicBezTo>
                      <a:pt x="288" y="337"/>
                      <a:pt x="287" y="338"/>
                      <a:pt x="286" y="338"/>
                    </a:cubicBezTo>
                    <a:cubicBezTo>
                      <a:pt x="264" y="328"/>
                      <a:pt x="240" y="319"/>
                      <a:pt x="217" y="311"/>
                    </a:cubicBezTo>
                    <a:cubicBezTo>
                      <a:pt x="205" y="304"/>
                      <a:pt x="194" y="296"/>
                      <a:pt x="183" y="288"/>
                    </a:cubicBezTo>
                    <a:cubicBezTo>
                      <a:pt x="173" y="281"/>
                      <a:pt x="164" y="272"/>
                      <a:pt x="156" y="263"/>
                    </a:cubicBezTo>
                    <a:cubicBezTo>
                      <a:pt x="137" y="245"/>
                      <a:pt x="122" y="224"/>
                      <a:pt x="101" y="208"/>
                    </a:cubicBezTo>
                    <a:cubicBezTo>
                      <a:pt x="93" y="201"/>
                      <a:pt x="84" y="198"/>
                      <a:pt x="75" y="193"/>
                    </a:cubicBezTo>
                    <a:cubicBezTo>
                      <a:pt x="67" y="190"/>
                      <a:pt x="63" y="181"/>
                      <a:pt x="56" y="176"/>
                    </a:cubicBezTo>
                    <a:cubicBezTo>
                      <a:pt x="51" y="172"/>
                      <a:pt x="46" y="170"/>
                      <a:pt x="40" y="169"/>
                    </a:cubicBezTo>
                    <a:cubicBezTo>
                      <a:pt x="35" y="169"/>
                      <a:pt x="32" y="165"/>
                      <a:pt x="29" y="162"/>
                    </a:cubicBezTo>
                    <a:cubicBezTo>
                      <a:pt x="25" y="162"/>
                      <a:pt x="21" y="157"/>
                      <a:pt x="22" y="154"/>
                    </a:cubicBezTo>
                    <a:cubicBezTo>
                      <a:pt x="28" y="153"/>
                      <a:pt x="26" y="147"/>
                      <a:pt x="21" y="146"/>
                    </a:cubicBezTo>
                    <a:cubicBezTo>
                      <a:pt x="13" y="141"/>
                      <a:pt x="8" y="133"/>
                      <a:pt x="0" y="129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13" y="123"/>
                      <a:pt x="11" y="102"/>
                      <a:pt x="27" y="99"/>
                    </a:cubicBezTo>
                    <a:cubicBezTo>
                      <a:pt x="33" y="85"/>
                      <a:pt x="51" y="84"/>
                      <a:pt x="58" y="71"/>
                    </a:cubicBezTo>
                    <a:cubicBezTo>
                      <a:pt x="65" y="64"/>
                      <a:pt x="73" y="58"/>
                      <a:pt x="70" y="46"/>
                    </a:cubicBezTo>
                    <a:cubicBezTo>
                      <a:pt x="72" y="30"/>
                      <a:pt x="97" y="40"/>
                      <a:pt x="93" y="21"/>
                    </a:cubicBezTo>
                    <a:cubicBezTo>
                      <a:pt x="93" y="16"/>
                      <a:pt x="97" y="13"/>
                      <a:pt x="97" y="8"/>
                    </a:cubicBezTo>
                    <a:cubicBezTo>
                      <a:pt x="96" y="7"/>
                      <a:pt x="96" y="7"/>
                      <a:pt x="96" y="7"/>
                    </a:cubicBezTo>
                    <a:cubicBezTo>
                      <a:pt x="101" y="6"/>
                      <a:pt x="105" y="6"/>
                      <a:pt x="109" y="5"/>
                    </a:cubicBezTo>
                    <a:cubicBezTo>
                      <a:pt x="112" y="17"/>
                      <a:pt x="120" y="7"/>
                      <a:pt x="129" y="7"/>
                    </a:cubicBezTo>
                    <a:cubicBezTo>
                      <a:pt x="134" y="0"/>
                      <a:pt x="135" y="6"/>
                      <a:pt x="137" y="12"/>
                    </a:cubicBezTo>
                    <a:cubicBezTo>
                      <a:pt x="142" y="8"/>
                      <a:pt x="143" y="10"/>
                      <a:pt x="141" y="15"/>
                    </a:cubicBezTo>
                    <a:cubicBezTo>
                      <a:pt x="149" y="13"/>
                      <a:pt x="155" y="20"/>
                      <a:pt x="151" y="28"/>
                    </a:cubicBezTo>
                    <a:cubicBezTo>
                      <a:pt x="154" y="30"/>
                      <a:pt x="154" y="29"/>
                      <a:pt x="154" y="37"/>
                    </a:cubicBezTo>
                    <a:cubicBezTo>
                      <a:pt x="152" y="46"/>
                      <a:pt x="160" y="40"/>
                      <a:pt x="156" y="49"/>
                    </a:cubicBezTo>
                    <a:cubicBezTo>
                      <a:pt x="158" y="62"/>
                      <a:pt x="164" y="77"/>
                      <a:pt x="153" y="89"/>
                    </a:cubicBezTo>
                    <a:cubicBezTo>
                      <a:pt x="146" y="99"/>
                      <a:pt x="160" y="87"/>
                      <a:pt x="165" y="94"/>
                    </a:cubicBezTo>
                    <a:cubicBezTo>
                      <a:pt x="174" y="95"/>
                      <a:pt x="176" y="116"/>
                      <a:pt x="187" y="103"/>
                    </a:cubicBezTo>
                    <a:cubicBezTo>
                      <a:pt x="195" y="106"/>
                      <a:pt x="197" y="100"/>
                      <a:pt x="199" y="94"/>
                    </a:cubicBezTo>
                    <a:cubicBezTo>
                      <a:pt x="210" y="89"/>
                      <a:pt x="203" y="69"/>
                      <a:pt x="217" y="70"/>
                    </a:cubicBezTo>
                    <a:cubicBezTo>
                      <a:pt x="218" y="77"/>
                      <a:pt x="221" y="79"/>
                      <a:pt x="225" y="79"/>
                    </a:cubicBezTo>
                    <a:cubicBezTo>
                      <a:pt x="225" y="81"/>
                      <a:pt x="225" y="81"/>
                      <a:pt x="225" y="81"/>
                    </a:cubicBezTo>
                    <a:cubicBezTo>
                      <a:pt x="231" y="91"/>
                      <a:pt x="230" y="104"/>
                      <a:pt x="237" y="115"/>
                    </a:cubicBezTo>
                    <a:cubicBezTo>
                      <a:pt x="235" y="127"/>
                      <a:pt x="237" y="142"/>
                      <a:pt x="225" y="150"/>
                    </a:cubicBezTo>
                    <a:cubicBezTo>
                      <a:pt x="220" y="156"/>
                      <a:pt x="206" y="163"/>
                      <a:pt x="221" y="167"/>
                    </a:cubicBezTo>
                    <a:cubicBezTo>
                      <a:pt x="227" y="165"/>
                      <a:pt x="227" y="164"/>
                      <a:pt x="227" y="172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62" name="Lesotho"/>
              <p:cNvSpPr>
                <a:spLocks/>
              </p:cNvSpPr>
              <p:nvPr/>
            </p:nvSpPr>
            <p:spPr bwMode="auto">
              <a:xfrm>
                <a:off x="4921078" y="5503529"/>
                <a:ext cx="66941" cy="66940"/>
              </a:xfrm>
              <a:custGeom>
                <a:avLst/>
                <a:gdLst>
                  <a:gd name="T0" fmla="*/ 166 w 179"/>
                  <a:gd name="T1" fmla="*/ 38 h 156"/>
                  <a:gd name="T2" fmla="*/ 164 w 179"/>
                  <a:gd name="T3" fmla="*/ 67 h 156"/>
                  <a:gd name="T4" fmla="*/ 149 w 179"/>
                  <a:gd name="T5" fmla="*/ 85 h 156"/>
                  <a:gd name="T6" fmla="*/ 138 w 179"/>
                  <a:gd name="T7" fmla="*/ 105 h 156"/>
                  <a:gd name="T8" fmla="*/ 129 w 179"/>
                  <a:gd name="T9" fmla="*/ 109 h 156"/>
                  <a:gd name="T10" fmla="*/ 85 w 179"/>
                  <a:gd name="T11" fmla="*/ 122 h 156"/>
                  <a:gd name="T12" fmla="*/ 79 w 179"/>
                  <a:gd name="T13" fmla="*/ 137 h 156"/>
                  <a:gd name="T14" fmla="*/ 44 w 179"/>
                  <a:gd name="T15" fmla="*/ 140 h 156"/>
                  <a:gd name="T16" fmla="*/ 28 w 179"/>
                  <a:gd name="T17" fmla="*/ 116 h 156"/>
                  <a:gd name="T18" fmla="*/ 12 w 179"/>
                  <a:gd name="T19" fmla="*/ 82 h 156"/>
                  <a:gd name="T20" fmla="*/ 27 w 179"/>
                  <a:gd name="T21" fmla="*/ 65 h 156"/>
                  <a:gd name="T22" fmla="*/ 55 w 179"/>
                  <a:gd name="T23" fmla="*/ 30 h 156"/>
                  <a:gd name="T24" fmla="*/ 88 w 179"/>
                  <a:gd name="T25" fmla="*/ 9 h 156"/>
                  <a:gd name="T26" fmla="*/ 124 w 179"/>
                  <a:gd name="T27" fmla="*/ 0 h 156"/>
                  <a:gd name="T28" fmla="*/ 141 w 179"/>
                  <a:gd name="T29" fmla="*/ 18 h 156"/>
                  <a:gd name="T30" fmla="*/ 166 w 179"/>
                  <a:gd name="T31" fmla="*/ 38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9" h="156">
                    <a:moveTo>
                      <a:pt x="166" y="38"/>
                    </a:moveTo>
                    <a:cubicBezTo>
                      <a:pt x="170" y="48"/>
                      <a:pt x="179" y="62"/>
                      <a:pt x="164" y="67"/>
                    </a:cubicBezTo>
                    <a:cubicBezTo>
                      <a:pt x="162" y="76"/>
                      <a:pt x="155" y="78"/>
                      <a:pt x="149" y="85"/>
                    </a:cubicBezTo>
                    <a:cubicBezTo>
                      <a:pt x="149" y="93"/>
                      <a:pt x="149" y="103"/>
                      <a:pt x="138" y="105"/>
                    </a:cubicBezTo>
                    <a:cubicBezTo>
                      <a:pt x="135" y="106"/>
                      <a:pt x="132" y="108"/>
                      <a:pt x="129" y="109"/>
                    </a:cubicBezTo>
                    <a:cubicBezTo>
                      <a:pt x="115" y="115"/>
                      <a:pt x="98" y="110"/>
                      <a:pt x="85" y="122"/>
                    </a:cubicBezTo>
                    <a:cubicBezTo>
                      <a:pt x="86" y="116"/>
                      <a:pt x="83" y="132"/>
                      <a:pt x="79" y="137"/>
                    </a:cubicBezTo>
                    <a:cubicBezTo>
                      <a:pt x="77" y="156"/>
                      <a:pt x="53" y="150"/>
                      <a:pt x="44" y="140"/>
                    </a:cubicBezTo>
                    <a:cubicBezTo>
                      <a:pt x="42" y="128"/>
                      <a:pt x="23" y="127"/>
                      <a:pt x="28" y="116"/>
                    </a:cubicBezTo>
                    <a:cubicBezTo>
                      <a:pt x="26" y="106"/>
                      <a:pt x="14" y="95"/>
                      <a:pt x="12" y="82"/>
                    </a:cubicBezTo>
                    <a:cubicBezTo>
                      <a:pt x="0" y="71"/>
                      <a:pt x="19" y="70"/>
                      <a:pt x="27" y="65"/>
                    </a:cubicBezTo>
                    <a:cubicBezTo>
                      <a:pt x="37" y="54"/>
                      <a:pt x="47" y="43"/>
                      <a:pt x="55" y="30"/>
                    </a:cubicBezTo>
                    <a:cubicBezTo>
                      <a:pt x="63" y="16"/>
                      <a:pt x="81" y="25"/>
                      <a:pt x="88" y="9"/>
                    </a:cubicBezTo>
                    <a:cubicBezTo>
                      <a:pt x="101" y="9"/>
                      <a:pt x="111" y="0"/>
                      <a:pt x="124" y="0"/>
                    </a:cubicBezTo>
                    <a:cubicBezTo>
                      <a:pt x="128" y="6"/>
                      <a:pt x="135" y="11"/>
                      <a:pt x="141" y="18"/>
                    </a:cubicBezTo>
                    <a:cubicBezTo>
                      <a:pt x="148" y="26"/>
                      <a:pt x="156" y="35"/>
                      <a:pt x="166" y="38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639" name="Lebanon"/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5126902" y="3465354"/>
                <a:ext cx="33285" cy="39014"/>
              </a:xfrm>
              <a:custGeom>
                <a:avLst/>
                <a:gdLst>
                  <a:gd name="T0" fmla="*/ 11095 w 6"/>
                  <a:gd name="T1" fmla="*/ 0 h 7"/>
                  <a:gd name="T2" fmla="*/ 33285 w 6"/>
                  <a:gd name="T3" fmla="*/ 0 h 7"/>
                  <a:gd name="T4" fmla="*/ 11095 w 6"/>
                  <a:gd name="T5" fmla="*/ 39014 h 7"/>
                  <a:gd name="T6" fmla="*/ 0 w 6"/>
                  <a:gd name="T7" fmla="*/ 39014 h 7"/>
                  <a:gd name="T8" fmla="*/ 0 w 6"/>
                  <a:gd name="T9" fmla="*/ 27867 h 7"/>
                  <a:gd name="T10" fmla="*/ 11095 w 6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7"/>
                  <a:gd name="T20" fmla="*/ 6 w 6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7">
                    <a:moveTo>
                      <a:pt x="2" y="0"/>
                    </a:moveTo>
                    <a:lnTo>
                      <a:pt x="6" y="0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EE8B8B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64" name="Latvia"/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4754684" y="2724520"/>
                <a:ext cx="151093" cy="66942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0" y="5"/>
                  </a:cxn>
                  <a:cxn ang="0">
                    <a:pos x="0" y="3"/>
                  </a:cxn>
                  <a:cxn ang="0">
                    <a:pos x="2" y="3"/>
                  </a:cxn>
                  <a:cxn ang="0">
                    <a:pos x="8" y="5"/>
                  </a:cxn>
                  <a:cxn ang="0">
                    <a:pos x="10" y="5"/>
                  </a:cxn>
                  <a:cxn ang="0">
                    <a:pos x="10" y="0"/>
                  </a:cxn>
                  <a:cxn ang="0">
                    <a:pos x="12" y="0"/>
                  </a:cxn>
                  <a:cxn ang="0">
                    <a:pos x="21" y="3"/>
                  </a:cxn>
                  <a:cxn ang="0">
                    <a:pos x="27" y="9"/>
                  </a:cxn>
                  <a:cxn ang="0">
                    <a:pos x="21" y="12"/>
                  </a:cxn>
                  <a:cxn ang="0">
                    <a:pos x="12" y="9"/>
                  </a:cxn>
                  <a:cxn ang="0">
                    <a:pos x="2" y="9"/>
                  </a:cxn>
                  <a:cxn ang="0">
                    <a:pos x="0" y="12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0" y="5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8" y="5"/>
                    </a:lnTo>
                    <a:lnTo>
                      <a:pt x="10" y="5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21" y="3"/>
                    </a:lnTo>
                    <a:lnTo>
                      <a:pt x="27" y="9"/>
                    </a:lnTo>
                    <a:lnTo>
                      <a:pt x="21" y="12"/>
                    </a:lnTo>
                    <a:lnTo>
                      <a:pt x="12" y="9"/>
                    </a:lnTo>
                    <a:lnTo>
                      <a:pt x="2" y="9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65" name="Laos"/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6824098" y="3845304"/>
                <a:ext cx="221860" cy="271589"/>
              </a:xfrm>
              <a:custGeom>
                <a:avLst/>
                <a:gdLst/>
                <a:ahLst/>
                <a:cxnLst>
                  <a:cxn ang="0">
                    <a:pos x="40" y="45"/>
                  </a:cxn>
                  <a:cxn ang="0">
                    <a:pos x="36" y="40"/>
                  </a:cxn>
                  <a:cxn ang="0">
                    <a:pos x="30" y="34"/>
                  </a:cxn>
                  <a:cxn ang="0">
                    <a:pos x="30" y="31"/>
                  </a:cxn>
                  <a:cxn ang="0">
                    <a:pos x="19" y="18"/>
                  </a:cxn>
                  <a:cxn ang="0">
                    <a:pos x="21" y="16"/>
                  </a:cxn>
                  <a:cxn ang="0">
                    <a:pos x="19" y="13"/>
                  </a:cxn>
                  <a:cxn ang="0">
                    <a:pos x="13" y="9"/>
                  </a:cxn>
                  <a:cxn ang="0">
                    <a:pos x="9" y="0"/>
                  </a:cxn>
                  <a:cxn ang="0">
                    <a:pos x="5" y="0"/>
                  </a:cxn>
                  <a:cxn ang="0">
                    <a:pos x="5" y="7"/>
                  </a:cxn>
                  <a:cxn ang="0">
                    <a:pos x="0" y="13"/>
                  </a:cxn>
                  <a:cxn ang="0">
                    <a:pos x="2" y="16"/>
                  </a:cxn>
                  <a:cxn ang="0">
                    <a:pos x="5" y="18"/>
                  </a:cxn>
                  <a:cxn ang="0">
                    <a:pos x="5" y="27"/>
                  </a:cxn>
                  <a:cxn ang="0">
                    <a:pos x="11" y="25"/>
                  </a:cxn>
                  <a:cxn ang="0">
                    <a:pos x="13" y="27"/>
                  </a:cxn>
                  <a:cxn ang="0">
                    <a:pos x="17" y="25"/>
                  </a:cxn>
                  <a:cxn ang="0">
                    <a:pos x="21" y="31"/>
                  </a:cxn>
                  <a:cxn ang="0">
                    <a:pos x="25" y="36"/>
                  </a:cxn>
                  <a:cxn ang="0">
                    <a:pos x="28" y="43"/>
                  </a:cxn>
                  <a:cxn ang="0">
                    <a:pos x="28" y="49"/>
                  </a:cxn>
                  <a:cxn ang="0">
                    <a:pos x="30" y="49"/>
                  </a:cxn>
                  <a:cxn ang="0">
                    <a:pos x="34" y="49"/>
                  </a:cxn>
                  <a:cxn ang="0">
                    <a:pos x="36" y="47"/>
                  </a:cxn>
                  <a:cxn ang="0">
                    <a:pos x="40" y="45"/>
                  </a:cxn>
                </a:cxnLst>
                <a:rect l="0" t="0" r="r" b="b"/>
                <a:pathLst>
                  <a:path w="40" h="49">
                    <a:moveTo>
                      <a:pt x="40" y="45"/>
                    </a:moveTo>
                    <a:lnTo>
                      <a:pt x="36" y="40"/>
                    </a:lnTo>
                    <a:lnTo>
                      <a:pt x="30" y="34"/>
                    </a:lnTo>
                    <a:lnTo>
                      <a:pt x="30" y="31"/>
                    </a:lnTo>
                    <a:lnTo>
                      <a:pt x="19" y="18"/>
                    </a:lnTo>
                    <a:lnTo>
                      <a:pt x="21" y="16"/>
                    </a:lnTo>
                    <a:lnTo>
                      <a:pt x="19" y="13"/>
                    </a:lnTo>
                    <a:lnTo>
                      <a:pt x="13" y="9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5" y="7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5" y="18"/>
                    </a:lnTo>
                    <a:lnTo>
                      <a:pt x="5" y="27"/>
                    </a:lnTo>
                    <a:lnTo>
                      <a:pt x="11" y="25"/>
                    </a:lnTo>
                    <a:lnTo>
                      <a:pt x="13" y="27"/>
                    </a:lnTo>
                    <a:lnTo>
                      <a:pt x="17" y="25"/>
                    </a:lnTo>
                    <a:lnTo>
                      <a:pt x="21" y="31"/>
                    </a:lnTo>
                    <a:lnTo>
                      <a:pt x="25" y="36"/>
                    </a:lnTo>
                    <a:lnTo>
                      <a:pt x="28" y="43"/>
                    </a:lnTo>
                    <a:lnTo>
                      <a:pt x="28" y="49"/>
                    </a:lnTo>
                    <a:lnTo>
                      <a:pt x="30" y="49"/>
                    </a:lnTo>
                    <a:lnTo>
                      <a:pt x="34" y="49"/>
                    </a:lnTo>
                    <a:lnTo>
                      <a:pt x="36" y="47"/>
                    </a:lnTo>
                    <a:lnTo>
                      <a:pt x="40" y="4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66" name="Kyrgyzstan"/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5948135" y="3175894"/>
                <a:ext cx="233335" cy="139620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0" y="18"/>
                  </a:cxn>
                  <a:cxn ang="0">
                    <a:pos x="0" y="23"/>
                  </a:cxn>
                  <a:cxn ang="0">
                    <a:pos x="8" y="23"/>
                  </a:cxn>
                  <a:cxn ang="0">
                    <a:pos x="10" y="25"/>
                  </a:cxn>
                  <a:cxn ang="0">
                    <a:pos x="19" y="23"/>
                  </a:cxn>
                  <a:cxn ang="0">
                    <a:pos x="19" y="18"/>
                  </a:cxn>
                  <a:cxn ang="0">
                    <a:pos x="21" y="16"/>
                  </a:cxn>
                  <a:cxn ang="0">
                    <a:pos x="31" y="16"/>
                  </a:cxn>
                  <a:cxn ang="0">
                    <a:pos x="31" y="14"/>
                  </a:cxn>
                  <a:cxn ang="0">
                    <a:pos x="35" y="14"/>
                  </a:cxn>
                  <a:cxn ang="0">
                    <a:pos x="42" y="9"/>
                  </a:cxn>
                  <a:cxn ang="0">
                    <a:pos x="42" y="7"/>
                  </a:cxn>
                  <a:cxn ang="0">
                    <a:pos x="35" y="5"/>
                  </a:cxn>
                  <a:cxn ang="0">
                    <a:pos x="19" y="5"/>
                  </a:cxn>
                  <a:cxn ang="0">
                    <a:pos x="12" y="0"/>
                  </a:cxn>
                  <a:cxn ang="0">
                    <a:pos x="12" y="5"/>
                  </a:cxn>
                  <a:cxn ang="0">
                    <a:pos x="10" y="7"/>
                  </a:cxn>
                  <a:cxn ang="0">
                    <a:pos x="4" y="5"/>
                  </a:cxn>
                  <a:cxn ang="0">
                    <a:pos x="2" y="5"/>
                  </a:cxn>
                  <a:cxn ang="0">
                    <a:pos x="2" y="7"/>
                  </a:cxn>
                  <a:cxn ang="0">
                    <a:pos x="0" y="9"/>
                  </a:cxn>
                  <a:cxn ang="0">
                    <a:pos x="4" y="14"/>
                  </a:cxn>
                  <a:cxn ang="0">
                    <a:pos x="4" y="9"/>
                  </a:cxn>
                  <a:cxn ang="0">
                    <a:pos x="12" y="16"/>
                  </a:cxn>
                  <a:cxn ang="0">
                    <a:pos x="8" y="18"/>
                  </a:cxn>
                  <a:cxn ang="0">
                    <a:pos x="4" y="18"/>
                  </a:cxn>
                  <a:cxn ang="0">
                    <a:pos x="2" y="18"/>
                  </a:cxn>
                </a:cxnLst>
                <a:rect l="0" t="0" r="r" b="b"/>
                <a:pathLst>
                  <a:path w="42" h="25">
                    <a:moveTo>
                      <a:pt x="2" y="18"/>
                    </a:moveTo>
                    <a:lnTo>
                      <a:pt x="0" y="18"/>
                    </a:lnTo>
                    <a:lnTo>
                      <a:pt x="0" y="23"/>
                    </a:lnTo>
                    <a:lnTo>
                      <a:pt x="8" y="23"/>
                    </a:lnTo>
                    <a:lnTo>
                      <a:pt x="10" y="25"/>
                    </a:lnTo>
                    <a:lnTo>
                      <a:pt x="19" y="23"/>
                    </a:lnTo>
                    <a:lnTo>
                      <a:pt x="19" y="18"/>
                    </a:lnTo>
                    <a:lnTo>
                      <a:pt x="21" y="16"/>
                    </a:lnTo>
                    <a:lnTo>
                      <a:pt x="31" y="16"/>
                    </a:lnTo>
                    <a:lnTo>
                      <a:pt x="31" y="14"/>
                    </a:lnTo>
                    <a:lnTo>
                      <a:pt x="35" y="14"/>
                    </a:lnTo>
                    <a:lnTo>
                      <a:pt x="42" y="9"/>
                    </a:lnTo>
                    <a:lnTo>
                      <a:pt x="42" y="7"/>
                    </a:lnTo>
                    <a:lnTo>
                      <a:pt x="35" y="5"/>
                    </a:lnTo>
                    <a:lnTo>
                      <a:pt x="19" y="5"/>
                    </a:lnTo>
                    <a:lnTo>
                      <a:pt x="12" y="0"/>
                    </a:lnTo>
                    <a:lnTo>
                      <a:pt x="12" y="5"/>
                    </a:lnTo>
                    <a:lnTo>
                      <a:pt x="10" y="7"/>
                    </a:lnTo>
                    <a:lnTo>
                      <a:pt x="4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0" y="9"/>
                    </a:lnTo>
                    <a:lnTo>
                      <a:pt x="4" y="14"/>
                    </a:lnTo>
                    <a:lnTo>
                      <a:pt x="4" y="9"/>
                    </a:lnTo>
                    <a:lnTo>
                      <a:pt x="12" y="16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3348643" name="Kuwait"/>
              <p:cNvGrpSpPr>
                <a:grpSpLocks/>
              </p:cNvGrpSpPr>
              <p:nvPr/>
            </p:nvGrpSpPr>
            <p:grpSpPr bwMode="auto">
              <a:xfrm>
                <a:off x="5382087" y="3604690"/>
                <a:ext cx="88760" cy="50161"/>
                <a:chOff x="5382087" y="3585601"/>
                <a:chExt cx="88760" cy="50161"/>
              </a:xfrm>
            </p:grpSpPr>
            <p:sp>
              <p:nvSpPr>
                <p:cNvPr id="776" name="Kuwait"/>
                <p:cNvSpPr>
                  <a:spLocks/>
                </p:cNvSpPr>
                <p:nvPr>
                  <p:custDataLst>
                    <p:tags r:id="rId134"/>
                  </p:custDataLst>
                </p:nvPr>
              </p:nvSpPr>
              <p:spPr bwMode="auto">
                <a:xfrm>
                  <a:off x="5427913" y="3585228"/>
                  <a:ext cx="45902" cy="49727"/>
                </a:xfrm>
                <a:custGeom>
                  <a:avLst/>
                  <a:gdLst/>
                  <a:ahLst/>
                  <a:cxnLst>
                    <a:cxn ang="0">
                      <a:pos x="0" y="7"/>
                    </a:cxn>
                    <a:cxn ang="0">
                      <a:pos x="2" y="0"/>
                    </a:cxn>
                    <a:cxn ang="0">
                      <a:pos x="8" y="0"/>
                    </a:cxn>
                    <a:cxn ang="0">
                      <a:pos x="8" y="2"/>
                    </a:cxn>
                    <a:cxn ang="0">
                      <a:pos x="6" y="2"/>
                    </a:cxn>
                    <a:cxn ang="0">
                      <a:pos x="8" y="9"/>
                    </a:cxn>
                    <a:cxn ang="0">
                      <a:pos x="4" y="9"/>
                    </a:cxn>
                    <a:cxn ang="0">
                      <a:pos x="0" y="7"/>
                    </a:cxn>
                  </a:cxnLst>
                  <a:rect l="0" t="0" r="r" b="b"/>
                  <a:pathLst>
                    <a:path w="8" h="9">
                      <a:moveTo>
                        <a:pt x="0" y="7"/>
                      </a:moveTo>
                      <a:lnTo>
                        <a:pt x="2" y="0"/>
                      </a:lnTo>
                      <a:lnTo>
                        <a:pt x="8" y="0"/>
                      </a:lnTo>
                      <a:lnTo>
                        <a:pt x="8" y="2"/>
                      </a:lnTo>
                      <a:lnTo>
                        <a:pt x="6" y="2"/>
                      </a:lnTo>
                      <a:lnTo>
                        <a:pt x="8" y="9"/>
                      </a:lnTo>
                      <a:lnTo>
                        <a:pt x="4" y="9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77" name="Kuwait"/>
                <p:cNvSpPr>
                  <a:spLocks/>
                </p:cNvSpPr>
                <p:nvPr>
                  <p:custDataLst>
                    <p:tags r:id="rId135"/>
                  </p:custDataLst>
                </p:nvPr>
              </p:nvSpPr>
              <p:spPr bwMode="auto">
                <a:xfrm>
                  <a:off x="5382011" y="3596703"/>
                  <a:ext cx="45902" cy="26776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2" y="0"/>
                    </a:cxn>
                    <a:cxn ang="0">
                      <a:pos x="8" y="5"/>
                    </a:cxn>
                    <a:cxn ang="0">
                      <a:pos x="2" y="5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8" h="5">
                      <a:moveTo>
                        <a:pt x="0" y="5"/>
                      </a:moveTo>
                      <a:lnTo>
                        <a:pt x="2" y="0"/>
                      </a:lnTo>
                      <a:lnTo>
                        <a:pt x="8" y="5"/>
                      </a:lnTo>
                      <a:lnTo>
                        <a:pt x="2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48644" name="Kenya"/>
              <p:cNvSpPr>
                <a:spLocks/>
              </p:cNvSpPr>
              <p:nvPr/>
            </p:nvSpPr>
            <p:spPr bwMode="auto">
              <a:xfrm>
                <a:off x="5144324" y="4390098"/>
                <a:ext cx="214460" cy="343098"/>
              </a:xfrm>
              <a:custGeom>
                <a:avLst/>
                <a:gdLst>
                  <a:gd name="T0" fmla="*/ 0 w 10000"/>
                  <a:gd name="T1" fmla="*/ 0 h 10536"/>
                  <a:gd name="T2" fmla="*/ 10000 w 10000"/>
                  <a:gd name="T3" fmla="*/ 10536 h 10536"/>
                </a:gdLst>
                <a:ahLst/>
                <a:cxnLst>
                  <a:cxn ang="0">
                    <a:pos x="2526" y="930"/>
                  </a:cxn>
                  <a:cxn ang="0">
                    <a:pos x="3238" y="1116"/>
                  </a:cxn>
                  <a:cxn ang="0">
                    <a:pos x="4068" y="1289"/>
                  </a:cxn>
                  <a:cxn ang="0">
                    <a:pos x="5119" y="1833"/>
                  </a:cxn>
                  <a:cxn ang="0">
                    <a:pos x="5797" y="1926"/>
                  </a:cxn>
                  <a:cxn ang="0">
                    <a:pos x="6474" y="2032"/>
                  </a:cxn>
                  <a:cxn ang="0">
                    <a:pos x="7102" y="2124"/>
                  </a:cxn>
                  <a:cxn ang="0">
                    <a:pos x="7424" y="1753"/>
                  </a:cxn>
                  <a:cxn ang="0">
                    <a:pos x="7966" y="1475"/>
                  </a:cxn>
                  <a:cxn ang="0">
                    <a:pos x="8492" y="1289"/>
                  </a:cxn>
                  <a:cxn ang="0">
                    <a:pos x="8916" y="1461"/>
                  </a:cxn>
                  <a:cxn ang="0">
                    <a:pos x="9644" y="1541"/>
                  </a:cxn>
                  <a:cxn ang="0">
                    <a:pos x="10000" y="1541"/>
                  </a:cxn>
                  <a:cxn ang="0">
                    <a:pos x="9271" y="2416"/>
                  </a:cxn>
                  <a:cxn ang="0">
                    <a:pos x="8882" y="2855"/>
                  </a:cxn>
                  <a:cxn ang="0">
                    <a:pos x="8932" y="6503"/>
                  </a:cxn>
                  <a:cxn ang="0">
                    <a:pos x="9288" y="6941"/>
                  </a:cxn>
                  <a:cxn ang="0">
                    <a:pos x="9661" y="7365"/>
                  </a:cxn>
                  <a:cxn ang="0">
                    <a:pos x="9678" y="7458"/>
                  </a:cxn>
                  <a:cxn ang="0">
                    <a:pos x="9526" y="7578"/>
                  </a:cxn>
                  <a:cxn ang="0">
                    <a:pos x="9034" y="7670"/>
                  </a:cxn>
                  <a:cxn ang="0">
                    <a:pos x="8847" y="7870"/>
                  </a:cxn>
                  <a:cxn ang="0">
                    <a:pos x="8780" y="8108"/>
                  </a:cxn>
                  <a:cxn ang="0">
                    <a:pos x="8237" y="8321"/>
                  </a:cxn>
                  <a:cxn ang="0">
                    <a:pos x="8051" y="8573"/>
                  </a:cxn>
                  <a:cxn ang="0">
                    <a:pos x="7983" y="8904"/>
                  </a:cxn>
                  <a:cxn ang="0">
                    <a:pos x="7644" y="9448"/>
                  </a:cxn>
                  <a:cxn ang="0">
                    <a:pos x="7407" y="9819"/>
                  </a:cxn>
                  <a:cxn ang="0">
                    <a:pos x="7119" y="10297"/>
                  </a:cxn>
                  <a:cxn ang="0">
                    <a:pos x="6797" y="10416"/>
                  </a:cxn>
                  <a:cxn ang="0">
                    <a:pos x="6779" y="10536"/>
                  </a:cxn>
                  <a:cxn ang="0">
                    <a:pos x="5271" y="9634"/>
                  </a:cxn>
                  <a:cxn ang="0">
                    <a:pos x="4797" y="9262"/>
                  </a:cxn>
                  <a:cxn ang="0">
                    <a:pos x="4763" y="9050"/>
                  </a:cxn>
                  <a:cxn ang="0">
                    <a:pos x="4441" y="8625"/>
                  </a:cxn>
                  <a:cxn ang="0">
                    <a:pos x="729" y="6927"/>
                  </a:cxn>
                  <a:cxn ang="0">
                    <a:pos x="51" y="6662"/>
                  </a:cxn>
                  <a:cxn ang="0">
                    <a:pos x="0" y="6662"/>
                  </a:cxn>
                  <a:cxn ang="0">
                    <a:pos x="34" y="6224"/>
                  </a:cxn>
                  <a:cxn ang="0">
                    <a:pos x="86" y="5681"/>
                  </a:cxn>
                  <a:cxn ang="0">
                    <a:pos x="305" y="5096"/>
                  </a:cxn>
                  <a:cxn ang="0">
                    <a:pos x="696" y="4765"/>
                  </a:cxn>
                  <a:cxn ang="0">
                    <a:pos x="1034" y="4420"/>
                  </a:cxn>
                  <a:cxn ang="0">
                    <a:pos x="1153" y="4247"/>
                  </a:cxn>
                  <a:cxn ang="0">
                    <a:pos x="1407" y="3810"/>
                  </a:cxn>
                  <a:cxn ang="0">
                    <a:pos x="1254" y="3226"/>
                  </a:cxn>
                  <a:cxn ang="0">
                    <a:pos x="1136" y="2947"/>
                  </a:cxn>
                  <a:cxn ang="0">
                    <a:pos x="882" y="2669"/>
                  </a:cxn>
                  <a:cxn ang="0">
                    <a:pos x="679" y="2324"/>
                  </a:cxn>
                  <a:cxn ang="0">
                    <a:pos x="610" y="1873"/>
                  </a:cxn>
                  <a:cxn ang="0">
                    <a:pos x="356" y="1806"/>
                  </a:cxn>
                  <a:cxn ang="0">
                    <a:pos x="339" y="1700"/>
                  </a:cxn>
                  <a:cxn ang="0">
                    <a:pos x="86" y="1355"/>
                  </a:cxn>
                  <a:cxn ang="0">
                    <a:pos x="577" y="957"/>
                  </a:cxn>
                  <a:cxn ang="0">
                    <a:pos x="1592" y="60"/>
                  </a:cxn>
                  <a:cxn ang="0">
                    <a:pos x="2146" y="80"/>
                  </a:cxn>
                  <a:cxn ang="0">
                    <a:pos x="2397" y="559"/>
                  </a:cxn>
                  <a:cxn ang="0">
                    <a:pos x="2390" y="944"/>
                  </a:cxn>
                  <a:cxn ang="0">
                    <a:pos x="2441" y="930"/>
                  </a:cxn>
                  <a:cxn ang="0">
                    <a:pos x="2526" y="930"/>
                  </a:cxn>
                </a:cxnLst>
                <a:rect l="T0" t="T1" r="T2" b="T3"/>
                <a:pathLst>
                  <a:path w="10000" h="10536">
                    <a:moveTo>
                      <a:pt x="2526" y="930"/>
                    </a:moveTo>
                    <a:cubicBezTo>
                      <a:pt x="2559" y="1209"/>
                      <a:pt x="3000" y="1090"/>
                      <a:pt x="3238" y="1116"/>
                    </a:cubicBezTo>
                    <a:cubicBezTo>
                      <a:pt x="3526" y="1116"/>
                      <a:pt x="3848" y="1090"/>
                      <a:pt x="4068" y="1289"/>
                    </a:cubicBezTo>
                    <a:cubicBezTo>
                      <a:pt x="4424" y="1461"/>
                      <a:pt x="4763" y="1647"/>
                      <a:pt x="5119" y="1833"/>
                    </a:cubicBezTo>
                    <a:cubicBezTo>
                      <a:pt x="5271" y="1992"/>
                      <a:pt x="5576" y="1979"/>
                      <a:pt x="5797" y="1926"/>
                    </a:cubicBezTo>
                    <a:cubicBezTo>
                      <a:pt x="6034" y="1952"/>
                      <a:pt x="6221" y="2072"/>
                      <a:pt x="6474" y="2032"/>
                    </a:cubicBezTo>
                    <a:cubicBezTo>
                      <a:pt x="6695" y="2085"/>
                      <a:pt x="6915" y="2085"/>
                      <a:pt x="7102" y="2124"/>
                    </a:cubicBezTo>
                    <a:cubicBezTo>
                      <a:pt x="7153" y="1979"/>
                      <a:pt x="7407" y="1912"/>
                      <a:pt x="7424" y="1753"/>
                    </a:cubicBezTo>
                    <a:cubicBezTo>
                      <a:pt x="7543" y="1607"/>
                      <a:pt x="7780" y="1555"/>
                      <a:pt x="7966" y="1475"/>
                    </a:cubicBezTo>
                    <a:cubicBezTo>
                      <a:pt x="8136" y="1409"/>
                      <a:pt x="8305" y="1342"/>
                      <a:pt x="8492" y="1289"/>
                    </a:cubicBezTo>
                    <a:cubicBezTo>
                      <a:pt x="8661" y="1183"/>
                      <a:pt x="8780" y="1421"/>
                      <a:pt x="8916" y="1461"/>
                    </a:cubicBezTo>
                    <a:cubicBezTo>
                      <a:pt x="9051" y="1673"/>
                      <a:pt x="9407" y="1567"/>
                      <a:pt x="9644" y="1541"/>
                    </a:cubicBezTo>
                    <a:cubicBezTo>
                      <a:pt x="9762" y="1515"/>
                      <a:pt x="9915" y="1594"/>
                      <a:pt x="10000" y="1541"/>
                    </a:cubicBezTo>
                    <a:cubicBezTo>
                      <a:pt x="9762" y="1833"/>
                      <a:pt x="9542" y="2138"/>
                      <a:pt x="9271" y="2416"/>
                    </a:cubicBezTo>
                    <a:cubicBezTo>
                      <a:pt x="9152" y="2562"/>
                      <a:pt x="8847" y="2655"/>
                      <a:pt x="8882" y="2855"/>
                    </a:cubicBezTo>
                    <a:cubicBezTo>
                      <a:pt x="8916" y="4075"/>
                      <a:pt x="8916" y="5296"/>
                      <a:pt x="8932" y="6503"/>
                    </a:cubicBezTo>
                    <a:cubicBezTo>
                      <a:pt x="9017" y="6662"/>
                      <a:pt x="9169" y="6795"/>
                      <a:pt x="9288" y="6941"/>
                    </a:cubicBezTo>
                    <a:cubicBezTo>
                      <a:pt x="9407" y="7047"/>
                      <a:pt x="9559" y="7246"/>
                      <a:pt x="9661" y="7365"/>
                    </a:cubicBezTo>
                    <a:cubicBezTo>
                      <a:pt x="9678" y="7392"/>
                      <a:pt x="9661" y="7418"/>
                      <a:pt x="9678" y="7458"/>
                    </a:cubicBezTo>
                    <a:cubicBezTo>
                      <a:pt x="9628" y="7498"/>
                      <a:pt x="9593" y="7551"/>
                      <a:pt x="9526" y="7578"/>
                    </a:cubicBezTo>
                    <a:cubicBezTo>
                      <a:pt x="9373" y="7657"/>
                      <a:pt x="9204" y="7684"/>
                      <a:pt x="9034" y="7670"/>
                    </a:cubicBezTo>
                    <a:cubicBezTo>
                      <a:pt x="8966" y="7736"/>
                      <a:pt x="8916" y="7803"/>
                      <a:pt x="8847" y="7870"/>
                    </a:cubicBezTo>
                    <a:cubicBezTo>
                      <a:pt x="8763" y="7922"/>
                      <a:pt x="8797" y="8028"/>
                      <a:pt x="8780" y="8108"/>
                    </a:cubicBezTo>
                    <a:cubicBezTo>
                      <a:pt x="8594" y="8175"/>
                      <a:pt x="8423" y="8254"/>
                      <a:pt x="8237" y="8321"/>
                    </a:cubicBezTo>
                    <a:cubicBezTo>
                      <a:pt x="8170" y="8400"/>
                      <a:pt x="8118" y="8493"/>
                      <a:pt x="8051" y="8573"/>
                    </a:cubicBezTo>
                    <a:cubicBezTo>
                      <a:pt x="8017" y="8679"/>
                      <a:pt x="8000" y="8798"/>
                      <a:pt x="7983" y="8904"/>
                    </a:cubicBezTo>
                    <a:cubicBezTo>
                      <a:pt x="7882" y="9090"/>
                      <a:pt x="7780" y="9276"/>
                      <a:pt x="7644" y="9448"/>
                    </a:cubicBezTo>
                    <a:cubicBezTo>
                      <a:pt x="7560" y="9567"/>
                      <a:pt x="7458" y="9687"/>
                      <a:pt x="7407" y="9819"/>
                    </a:cubicBezTo>
                    <a:cubicBezTo>
                      <a:pt x="7356" y="9992"/>
                      <a:pt x="7220" y="10138"/>
                      <a:pt x="7119" y="10297"/>
                    </a:cubicBezTo>
                    <a:cubicBezTo>
                      <a:pt x="7017" y="10337"/>
                      <a:pt x="6898" y="10377"/>
                      <a:pt x="6797" y="10416"/>
                    </a:cubicBezTo>
                    <a:cubicBezTo>
                      <a:pt x="6797" y="10456"/>
                      <a:pt x="6797" y="10496"/>
                      <a:pt x="6779" y="10536"/>
                    </a:cubicBezTo>
                    <a:cubicBezTo>
                      <a:pt x="6339" y="10257"/>
                      <a:pt x="5712" y="9899"/>
                      <a:pt x="5271" y="9634"/>
                    </a:cubicBezTo>
                    <a:cubicBezTo>
                      <a:pt x="5102" y="9514"/>
                      <a:pt x="4882" y="9435"/>
                      <a:pt x="4797" y="9262"/>
                    </a:cubicBezTo>
                    <a:cubicBezTo>
                      <a:pt x="4610" y="9236"/>
                      <a:pt x="4610" y="9116"/>
                      <a:pt x="4763" y="9050"/>
                    </a:cubicBezTo>
                    <a:cubicBezTo>
                      <a:pt x="4830" y="8864"/>
                      <a:pt x="4678" y="8679"/>
                      <a:pt x="4441" y="8625"/>
                    </a:cubicBezTo>
                    <a:lnTo>
                      <a:pt x="729" y="6927"/>
                    </a:lnTo>
                    <a:cubicBezTo>
                      <a:pt x="492" y="6848"/>
                      <a:pt x="305" y="6688"/>
                      <a:pt x="51" y="6662"/>
                    </a:cubicBezTo>
                    <a:lnTo>
                      <a:pt x="0" y="6662"/>
                    </a:lnTo>
                    <a:cubicBezTo>
                      <a:pt x="102" y="6556"/>
                      <a:pt x="0" y="6356"/>
                      <a:pt x="34" y="6224"/>
                    </a:cubicBezTo>
                    <a:cubicBezTo>
                      <a:pt x="17" y="6038"/>
                      <a:pt x="153" y="5866"/>
                      <a:pt x="86" y="5681"/>
                    </a:cubicBezTo>
                    <a:cubicBezTo>
                      <a:pt x="-67" y="5455"/>
                      <a:pt x="356" y="5335"/>
                      <a:pt x="305" y="5096"/>
                    </a:cubicBezTo>
                    <a:cubicBezTo>
                      <a:pt x="441" y="4990"/>
                      <a:pt x="560" y="4884"/>
                      <a:pt x="696" y="4765"/>
                    </a:cubicBezTo>
                    <a:cubicBezTo>
                      <a:pt x="729" y="4606"/>
                      <a:pt x="831" y="4486"/>
                      <a:pt x="1034" y="4420"/>
                    </a:cubicBezTo>
                    <a:cubicBezTo>
                      <a:pt x="1187" y="4433"/>
                      <a:pt x="1204" y="4341"/>
                      <a:pt x="1153" y="4247"/>
                    </a:cubicBezTo>
                    <a:cubicBezTo>
                      <a:pt x="1237" y="4101"/>
                      <a:pt x="1424" y="3982"/>
                      <a:pt x="1407" y="3810"/>
                    </a:cubicBezTo>
                    <a:cubicBezTo>
                      <a:pt x="1407" y="3598"/>
                      <a:pt x="1339" y="3412"/>
                      <a:pt x="1254" y="3226"/>
                    </a:cubicBezTo>
                    <a:cubicBezTo>
                      <a:pt x="1356" y="3120"/>
                      <a:pt x="1237" y="3013"/>
                      <a:pt x="1136" y="2947"/>
                    </a:cubicBezTo>
                    <a:cubicBezTo>
                      <a:pt x="1153" y="2788"/>
                      <a:pt x="1001" y="2748"/>
                      <a:pt x="882" y="2669"/>
                    </a:cubicBezTo>
                    <a:cubicBezTo>
                      <a:pt x="899" y="2509"/>
                      <a:pt x="696" y="2456"/>
                      <a:pt x="679" y="2324"/>
                    </a:cubicBezTo>
                    <a:cubicBezTo>
                      <a:pt x="526" y="2178"/>
                      <a:pt x="813" y="1992"/>
                      <a:pt x="610" y="1873"/>
                    </a:cubicBezTo>
                    <a:cubicBezTo>
                      <a:pt x="492" y="1886"/>
                      <a:pt x="475" y="1806"/>
                      <a:pt x="356" y="1806"/>
                    </a:cubicBezTo>
                    <a:cubicBezTo>
                      <a:pt x="255" y="1767"/>
                      <a:pt x="424" y="1727"/>
                      <a:pt x="339" y="1700"/>
                    </a:cubicBezTo>
                    <a:cubicBezTo>
                      <a:pt x="119" y="1740"/>
                      <a:pt x="289" y="1409"/>
                      <a:pt x="86" y="1355"/>
                    </a:cubicBezTo>
                    <a:cubicBezTo>
                      <a:pt x="255" y="1223"/>
                      <a:pt x="407" y="1090"/>
                      <a:pt x="577" y="957"/>
                    </a:cubicBezTo>
                    <a:lnTo>
                      <a:pt x="1592" y="60"/>
                    </a:lnTo>
                    <a:cubicBezTo>
                      <a:pt x="1845" y="-41"/>
                      <a:pt x="2012" y="-3"/>
                      <a:pt x="2146" y="80"/>
                    </a:cubicBezTo>
                    <a:cubicBezTo>
                      <a:pt x="2280" y="163"/>
                      <a:pt x="2348" y="460"/>
                      <a:pt x="2397" y="559"/>
                    </a:cubicBezTo>
                    <a:cubicBezTo>
                      <a:pt x="2447" y="413"/>
                      <a:pt x="2271" y="997"/>
                      <a:pt x="2390" y="944"/>
                    </a:cubicBezTo>
                    <a:cubicBezTo>
                      <a:pt x="2424" y="944"/>
                      <a:pt x="2441" y="944"/>
                      <a:pt x="2441" y="930"/>
                    </a:cubicBezTo>
                    <a:lnTo>
                      <a:pt x="2526" y="930"/>
                    </a:ln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69" name="Kazakhstan"/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5343759" y="2802937"/>
                <a:ext cx="925690" cy="451374"/>
              </a:xfrm>
              <a:custGeom>
                <a:avLst/>
                <a:gdLst/>
                <a:ahLst/>
                <a:cxnLst>
                  <a:cxn ang="0">
                    <a:pos x="167" y="34"/>
                  </a:cxn>
                  <a:cxn ang="0">
                    <a:pos x="161" y="34"/>
                  </a:cxn>
                  <a:cxn ang="0">
                    <a:pos x="148" y="25"/>
                  </a:cxn>
                  <a:cxn ang="0">
                    <a:pos x="136" y="22"/>
                  </a:cxn>
                  <a:cxn ang="0">
                    <a:pos x="121" y="13"/>
                  </a:cxn>
                  <a:cxn ang="0">
                    <a:pos x="111" y="7"/>
                  </a:cxn>
                  <a:cxn ang="0">
                    <a:pos x="103" y="9"/>
                  </a:cxn>
                  <a:cxn ang="0">
                    <a:pos x="96" y="7"/>
                  </a:cxn>
                  <a:cxn ang="0">
                    <a:pos x="90" y="4"/>
                  </a:cxn>
                  <a:cxn ang="0">
                    <a:pos x="80" y="0"/>
                  </a:cxn>
                  <a:cxn ang="0">
                    <a:pos x="71" y="4"/>
                  </a:cxn>
                  <a:cxn ang="0">
                    <a:pos x="50" y="7"/>
                  </a:cxn>
                  <a:cxn ang="0">
                    <a:pos x="55" y="9"/>
                  </a:cxn>
                  <a:cxn ang="0">
                    <a:pos x="50" y="16"/>
                  </a:cxn>
                  <a:cxn ang="0">
                    <a:pos x="50" y="20"/>
                  </a:cxn>
                  <a:cxn ang="0">
                    <a:pos x="57" y="25"/>
                  </a:cxn>
                  <a:cxn ang="0">
                    <a:pos x="46" y="25"/>
                  </a:cxn>
                  <a:cxn ang="0">
                    <a:pos x="34" y="25"/>
                  </a:cxn>
                  <a:cxn ang="0">
                    <a:pos x="32" y="29"/>
                  </a:cxn>
                  <a:cxn ang="0">
                    <a:pos x="21" y="20"/>
                  </a:cxn>
                  <a:cxn ang="0">
                    <a:pos x="15" y="22"/>
                  </a:cxn>
                  <a:cxn ang="0">
                    <a:pos x="7" y="25"/>
                  </a:cxn>
                  <a:cxn ang="0">
                    <a:pos x="7" y="31"/>
                  </a:cxn>
                  <a:cxn ang="0">
                    <a:pos x="0" y="38"/>
                  </a:cxn>
                  <a:cxn ang="0">
                    <a:pos x="2" y="43"/>
                  </a:cxn>
                  <a:cxn ang="0">
                    <a:pos x="11" y="49"/>
                  </a:cxn>
                  <a:cxn ang="0">
                    <a:pos x="25" y="47"/>
                  </a:cxn>
                  <a:cxn ang="0">
                    <a:pos x="38" y="56"/>
                  </a:cxn>
                  <a:cxn ang="0">
                    <a:pos x="23" y="58"/>
                  </a:cxn>
                  <a:cxn ang="0">
                    <a:pos x="23" y="61"/>
                  </a:cxn>
                  <a:cxn ang="0">
                    <a:pos x="32" y="72"/>
                  </a:cxn>
                  <a:cxn ang="0">
                    <a:pos x="32" y="76"/>
                  </a:cxn>
                  <a:cxn ang="0">
                    <a:pos x="38" y="74"/>
                  </a:cxn>
                  <a:cxn ang="0">
                    <a:pos x="48" y="81"/>
                  </a:cxn>
                  <a:cxn ang="0">
                    <a:pos x="55" y="56"/>
                  </a:cxn>
                  <a:cxn ang="0">
                    <a:pos x="82" y="65"/>
                  </a:cxn>
                  <a:cxn ang="0">
                    <a:pos x="90" y="76"/>
                  </a:cxn>
                  <a:cxn ang="0">
                    <a:pos x="94" y="81"/>
                  </a:cxn>
                  <a:cxn ang="0">
                    <a:pos x="109" y="76"/>
                  </a:cxn>
                  <a:cxn ang="0">
                    <a:pos x="111" y="72"/>
                  </a:cxn>
                  <a:cxn ang="0">
                    <a:pos x="121" y="72"/>
                  </a:cxn>
                  <a:cxn ang="0">
                    <a:pos x="128" y="72"/>
                  </a:cxn>
                  <a:cxn ang="0">
                    <a:pos x="151" y="74"/>
                  </a:cxn>
                  <a:cxn ang="0">
                    <a:pos x="148" y="58"/>
                  </a:cxn>
                  <a:cxn ang="0">
                    <a:pos x="153" y="47"/>
                  </a:cxn>
                  <a:cxn ang="0">
                    <a:pos x="165" y="47"/>
                  </a:cxn>
                  <a:cxn ang="0">
                    <a:pos x="167" y="38"/>
                  </a:cxn>
                </a:cxnLst>
                <a:rect l="0" t="0" r="r" b="b"/>
                <a:pathLst>
                  <a:path w="167" h="81">
                    <a:moveTo>
                      <a:pt x="167" y="38"/>
                    </a:moveTo>
                    <a:lnTo>
                      <a:pt x="167" y="34"/>
                    </a:lnTo>
                    <a:lnTo>
                      <a:pt x="165" y="31"/>
                    </a:lnTo>
                    <a:lnTo>
                      <a:pt x="161" y="34"/>
                    </a:lnTo>
                    <a:lnTo>
                      <a:pt x="159" y="31"/>
                    </a:lnTo>
                    <a:lnTo>
                      <a:pt x="148" y="25"/>
                    </a:lnTo>
                    <a:lnTo>
                      <a:pt x="140" y="25"/>
                    </a:lnTo>
                    <a:lnTo>
                      <a:pt x="136" y="22"/>
                    </a:lnTo>
                    <a:lnTo>
                      <a:pt x="134" y="25"/>
                    </a:lnTo>
                    <a:lnTo>
                      <a:pt x="121" y="13"/>
                    </a:lnTo>
                    <a:lnTo>
                      <a:pt x="113" y="7"/>
                    </a:lnTo>
                    <a:lnTo>
                      <a:pt x="111" y="7"/>
                    </a:lnTo>
                    <a:lnTo>
                      <a:pt x="105" y="9"/>
                    </a:lnTo>
                    <a:lnTo>
                      <a:pt x="103" y="9"/>
                    </a:lnTo>
                    <a:lnTo>
                      <a:pt x="103" y="7"/>
                    </a:lnTo>
                    <a:lnTo>
                      <a:pt x="96" y="7"/>
                    </a:lnTo>
                    <a:lnTo>
                      <a:pt x="90" y="7"/>
                    </a:lnTo>
                    <a:lnTo>
                      <a:pt x="90" y="4"/>
                    </a:lnTo>
                    <a:lnTo>
                      <a:pt x="88" y="0"/>
                    </a:lnTo>
                    <a:lnTo>
                      <a:pt x="80" y="0"/>
                    </a:lnTo>
                    <a:lnTo>
                      <a:pt x="80" y="4"/>
                    </a:lnTo>
                    <a:lnTo>
                      <a:pt x="71" y="4"/>
                    </a:lnTo>
                    <a:lnTo>
                      <a:pt x="57" y="7"/>
                    </a:lnTo>
                    <a:lnTo>
                      <a:pt x="50" y="7"/>
                    </a:lnTo>
                    <a:lnTo>
                      <a:pt x="50" y="9"/>
                    </a:lnTo>
                    <a:lnTo>
                      <a:pt x="55" y="9"/>
                    </a:lnTo>
                    <a:lnTo>
                      <a:pt x="55" y="13"/>
                    </a:lnTo>
                    <a:lnTo>
                      <a:pt x="50" y="16"/>
                    </a:lnTo>
                    <a:lnTo>
                      <a:pt x="55" y="16"/>
                    </a:lnTo>
                    <a:lnTo>
                      <a:pt x="50" y="20"/>
                    </a:lnTo>
                    <a:lnTo>
                      <a:pt x="61" y="22"/>
                    </a:lnTo>
                    <a:lnTo>
                      <a:pt x="57" y="25"/>
                    </a:lnTo>
                    <a:lnTo>
                      <a:pt x="50" y="25"/>
                    </a:lnTo>
                    <a:lnTo>
                      <a:pt x="46" y="25"/>
                    </a:lnTo>
                    <a:lnTo>
                      <a:pt x="40" y="25"/>
                    </a:lnTo>
                    <a:lnTo>
                      <a:pt x="34" y="25"/>
                    </a:lnTo>
                    <a:lnTo>
                      <a:pt x="32" y="25"/>
                    </a:lnTo>
                    <a:lnTo>
                      <a:pt x="32" y="29"/>
                    </a:lnTo>
                    <a:lnTo>
                      <a:pt x="25" y="22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5" y="22"/>
                    </a:lnTo>
                    <a:lnTo>
                      <a:pt x="9" y="25"/>
                    </a:lnTo>
                    <a:lnTo>
                      <a:pt x="7" y="25"/>
                    </a:lnTo>
                    <a:lnTo>
                      <a:pt x="9" y="31"/>
                    </a:lnTo>
                    <a:lnTo>
                      <a:pt x="7" y="31"/>
                    </a:lnTo>
                    <a:lnTo>
                      <a:pt x="2" y="29"/>
                    </a:lnTo>
                    <a:lnTo>
                      <a:pt x="0" y="38"/>
                    </a:lnTo>
                    <a:lnTo>
                      <a:pt x="2" y="40"/>
                    </a:lnTo>
                    <a:lnTo>
                      <a:pt x="2" y="43"/>
                    </a:lnTo>
                    <a:lnTo>
                      <a:pt x="9" y="43"/>
                    </a:lnTo>
                    <a:lnTo>
                      <a:pt x="11" y="49"/>
                    </a:lnTo>
                    <a:lnTo>
                      <a:pt x="21" y="47"/>
                    </a:lnTo>
                    <a:lnTo>
                      <a:pt x="25" y="47"/>
                    </a:lnTo>
                    <a:lnTo>
                      <a:pt x="32" y="49"/>
                    </a:lnTo>
                    <a:lnTo>
                      <a:pt x="38" y="56"/>
                    </a:lnTo>
                    <a:lnTo>
                      <a:pt x="25" y="56"/>
                    </a:lnTo>
                    <a:lnTo>
                      <a:pt x="23" y="58"/>
                    </a:lnTo>
                    <a:lnTo>
                      <a:pt x="25" y="61"/>
                    </a:lnTo>
                    <a:lnTo>
                      <a:pt x="23" y="61"/>
                    </a:lnTo>
                    <a:lnTo>
                      <a:pt x="29" y="72"/>
                    </a:lnTo>
                    <a:lnTo>
                      <a:pt x="32" y="72"/>
                    </a:lnTo>
                    <a:lnTo>
                      <a:pt x="32" y="74"/>
                    </a:lnTo>
                    <a:lnTo>
                      <a:pt x="32" y="76"/>
                    </a:lnTo>
                    <a:lnTo>
                      <a:pt x="34" y="74"/>
                    </a:lnTo>
                    <a:lnTo>
                      <a:pt x="38" y="74"/>
                    </a:lnTo>
                    <a:lnTo>
                      <a:pt x="46" y="81"/>
                    </a:lnTo>
                    <a:lnTo>
                      <a:pt x="48" y="81"/>
                    </a:lnTo>
                    <a:lnTo>
                      <a:pt x="42" y="58"/>
                    </a:lnTo>
                    <a:lnTo>
                      <a:pt x="55" y="56"/>
                    </a:lnTo>
                    <a:lnTo>
                      <a:pt x="71" y="67"/>
                    </a:lnTo>
                    <a:lnTo>
                      <a:pt x="82" y="65"/>
                    </a:lnTo>
                    <a:lnTo>
                      <a:pt x="88" y="72"/>
                    </a:lnTo>
                    <a:lnTo>
                      <a:pt x="90" y="76"/>
                    </a:lnTo>
                    <a:lnTo>
                      <a:pt x="94" y="76"/>
                    </a:lnTo>
                    <a:lnTo>
                      <a:pt x="94" y="81"/>
                    </a:lnTo>
                    <a:lnTo>
                      <a:pt x="103" y="81"/>
                    </a:lnTo>
                    <a:lnTo>
                      <a:pt x="109" y="76"/>
                    </a:lnTo>
                    <a:lnTo>
                      <a:pt x="111" y="74"/>
                    </a:lnTo>
                    <a:lnTo>
                      <a:pt x="111" y="72"/>
                    </a:lnTo>
                    <a:lnTo>
                      <a:pt x="119" y="74"/>
                    </a:lnTo>
                    <a:lnTo>
                      <a:pt x="121" y="72"/>
                    </a:lnTo>
                    <a:lnTo>
                      <a:pt x="121" y="67"/>
                    </a:lnTo>
                    <a:lnTo>
                      <a:pt x="128" y="72"/>
                    </a:lnTo>
                    <a:lnTo>
                      <a:pt x="144" y="72"/>
                    </a:lnTo>
                    <a:lnTo>
                      <a:pt x="151" y="74"/>
                    </a:lnTo>
                    <a:lnTo>
                      <a:pt x="151" y="67"/>
                    </a:lnTo>
                    <a:lnTo>
                      <a:pt x="148" y="58"/>
                    </a:lnTo>
                    <a:lnTo>
                      <a:pt x="153" y="56"/>
                    </a:lnTo>
                    <a:lnTo>
                      <a:pt x="153" y="47"/>
                    </a:lnTo>
                    <a:lnTo>
                      <a:pt x="161" y="47"/>
                    </a:lnTo>
                    <a:lnTo>
                      <a:pt x="165" y="47"/>
                    </a:lnTo>
                    <a:lnTo>
                      <a:pt x="165" y="40"/>
                    </a:lnTo>
                    <a:lnTo>
                      <a:pt x="167" y="38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0" name="Jordan"/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5127636" y="3504861"/>
                <a:ext cx="110930" cy="110931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6" y="7"/>
                  </a:cxn>
                  <a:cxn ang="0">
                    <a:pos x="16" y="0"/>
                  </a:cxn>
                  <a:cxn ang="0">
                    <a:pos x="20" y="7"/>
                  </a:cxn>
                  <a:cxn ang="0">
                    <a:pos x="8" y="9"/>
                  </a:cxn>
                  <a:cxn ang="0">
                    <a:pos x="14" y="16"/>
                  </a:cxn>
                  <a:cxn ang="0">
                    <a:pos x="10" y="18"/>
                  </a:cxn>
                  <a:cxn ang="0">
                    <a:pos x="8" y="18"/>
                  </a:cxn>
                  <a:cxn ang="0">
                    <a:pos x="6" y="20"/>
                  </a:cxn>
                  <a:cxn ang="0">
                    <a:pos x="0" y="20"/>
                  </a:cxn>
                  <a:cxn ang="0">
                    <a:pos x="2" y="11"/>
                  </a:cxn>
                  <a:cxn ang="0">
                    <a:pos x="0" y="7"/>
                  </a:cxn>
                  <a:cxn ang="0">
                    <a:pos x="0" y="4"/>
                  </a:cxn>
                  <a:cxn ang="0">
                    <a:pos x="2" y="2"/>
                  </a:cxn>
                </a:cxnLst>
                <a:rect l="0" t="0" r="r" b="b"/>
                <a:pathLst>
                  <a:path w="20" h="20">
                    <a:moveTo>
                      <a:pt x="2" y="2"/>
                    </a:moveTo>
                    <a:lnTo>
                      <a:pt x="6" y="7"/>
                    </a:lnTo>
                    <a:lnTo>
                      <a:pt x="16" y="0"/>
                    </a:lnTo>
                    <a:lnTo>
                      <a:pt x="20" y="7"/>
                    </a:lnTo>
                    <a:lnTo>
                      <a:pt x="8" y="9"/>
                    </a:lnTo>
                    <a:lnTo>
                      <a:pt x="14" y="16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6" y="20"/>
                    </a:lnTo>
                    <a:lnTo>
                      <a:pt x="0" y="20"/>
                    </a:lnTo>
                    <a:lnTo>
                      <a:pt x="2" y="11"/>
                    </a:lnTo>
                    <a:lnTo>
                      <a:pt x="0" y="7"/>
                    </a:lnTo>
                    <a:lnTo>
                      <a:pt x="0" y="4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571" name="Japan"/>
              <p:cNvGrpSpPr/>
              <p:nvPr/>
            </p:nvGrpSpPr>
            <p:grpSpPr>
              <a:xfrm>
                <a:off x="7484590" y="3075214"/>
                <a:ext cx="327303" cy="490462"/>
                <a:chOff x="7484590" y="3056125"/>
                <a:chExt cx="327303" cy="490462"/>
              </a:xfrm>
              <a:solidFill>
                <a:srgbClr val="EE8B8B"/>
              </a:solidFill>
            </p:grpSpPr>
            <p:sp>
              <p:nvSpPr>
                <p:cNvPr id="768" name="Japan"/>
                <p:cNvSpPr>
                  <a:spLocks/>
                </p:cNvSpPr>
                <p:nvPr/>
              </p:nvSpPr>
              <p:spPr bwMode="auto">
                <a:xfrm>
                  <a:off x="7484590" y="3474132"/>
                  <a:ext cx="61023" cy="72455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2" y="4"/>
                    </a:cxn>
                    <a:cxn ang="0">
                      <a:pos x="2" y="2"/>
                    </a:cxn>
                    <a:cxn ang="0">
                      <a:pos x="4" y="4"/>
                    </a:cxn>
                    <a:cxn ang="0">
                      <a:pos x="4" y="13"/>
                    </a:cxn>
                    <a:cxn ang="0">
                      <a:pos x="9" y="13"/>
                    </a:cxn>
                    <a:cxn ang="0">
                      <a:pos x="11" y="11"/>
                    </a:cxn>
                    <a:cxn ang="0">
                      <a:pos x="11" y="4"/>
                    </a:cxn>
                    <a:cxn ang="0">
                      <a:pos x="9" y="0"/>
                    </a:cxn>
                    <a:cxn ang="0">
                      <a:pos x="2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11" h="13">
                      <a:moveTo>
                        <a:pt x="0" y="2"/>
                      </a:move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4" y="4"/>
                      </a:lnTo>
                      <a:lnTo>
                        <a:pt x="4" y="13"/>
                      </a:lnTo>
                      <a:lnTo>
                        <a:pt x="9" y="13"/>
                      </a:lnTo>
                      <a:lnTo>
                        <a:pt x="11" y="11"/>
                      </a:lnTo>
                      <a:lnTo>
                        <a:pt x="11" y="4"/>
                      </a:lnTo>
                      <a:lnTo>
                        <a:pt x="9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69" name="Japan"/>
                <p:cNvSpPr>
                  <a:spLocks/>
                </p:cNvSpPr>
                <p:nvPr/>
              </p:nvSpPr>
              <p:spPr bwMode="auto">
                <a:xfrm>
                  <a:off x="7545613" y="3446265"/>
                  <a:ext cx="55475" cy="50161"/>
                </a:xfrm>
                <a:custGeom>
                  <a:avLst/>
                  <a:gdLst/>
                  <a:ahLst/>
                  <a:cxnLst>
                    <a:cxn ang="0">
                      <a:pos x="0" y="7"/>
                    </a:cxn>
                    <a:cxn ang="0">
                      <a:pos x="6" y="9"/>
                    </a:cxn>
                    <a:cxn ang="0">
                      <a:pos x="6" y="7"/>
                    </a:cxn>
                    <a:cxn ang="0">
                      <a:pos x="6" y="5"/>
                    </a:cxn>
                    <a:cxn ang="0">
                      <a:pos x="8" y="7"/>
                    </a:cxn>
                    <a:cxn ang="0">
                      <a:pos x="10" y="5"/>
                    </a:cxn>
                    <a:cxn ang="0">
                      <a:pos x="8" y="0"/>
                    </a:cxn>
                    <a:cxn ang="0">
                      <a:pos x="6" y="0"/>
                    </a:cxn>
                    <a:cxn ang="0">
                      <a:pos x="6" y="5"/>
                    </a:cxn>
                    <a:cxn ang="0">
                      <a:pos x="2" y="0"/>
                    </a:cxn>
                    <a:cxn ang="0">
                      <a:pos x="0" y="5"/>
                    </a:cxn>
                    <a:cxn ang="0">
                      <a:pos x="0" y="7"/>
                    </a:cxn>
                  </a:cxnLst>
                  <a:rect l="0" t="0" r="r" b="b"/>
                  <a:pathLst>
                    <a:path w="10" h="9">
                      <a:moveTo>
                        <a:pt x="0" y="7"/>
                      </a:moveTo>
                      <a:lnTo>
                        <a:pt x="6" y="9"/>
                      </a:lnTo>
                      <a:lnTo>
                        <a:pt x="6" y="7"/>
                      </a:lnTo>
                      <a:lnTo>
                        <a:pt x="6" y="5"/>
                      </a:lnTo>
                      <a:lnTo>
                        <a:pt x="8" y="7"/>
                      </a:lnTo>
                      <a:lnTo>
                        <a:pt x="10" y="5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6" y="5"/>
                      </a:lnTo>
                      <a:lnTo>
                        <a:pt x="2" y="0"/>
                      </a:lnTo>
                      <a:lnTo>
                        <a:pt x="0" y="5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70" name="Japan"/>
                <p:cNvSpPr>
                  <a:spLocks/>
                </p:cNvSpPr>
                <p:nvPr/>
              </p:nvSpPr>
              <p:spPr bwMode="auto">
                <a:xfrm>
                  <a:off x="7495684" y="3206607"/>
                  <a:ext cx="232995" cy="278672"/>
                </a:xfrm>
                <a:custGeom>
                  <a:avLst/>
                  <a:gdLst/>
                  <a:ahLst/>
                  <a:cxnLst>
                    <a:cxn ang="0">
                      <a:pos x="0" y="43"/>
                    </a:cxn>
                    <a:cxn ang="0">
                      <a:pos x="2" y="48"/>
                    </a:cxn>
                    <a:cxn ang="0">
                      <a:pos x="7" y="48"/>
                    </a:cxn>
                    <a:cxn ang="0">
                      <a:pos x="9" y="43"/>
                    </a:cxn>
                    <a:cxn ang="0">
                      <a:pos x="17" y="41"/>
                    </a:cxn>
                    <a:cxn ang="0">
                      <a:pos x="19" y="41"/>
                    </a:cxn>
                    <a:cxn ang="0">
                      <a:pos x="19" y="48"/>
                    </a:cxn>
                    <a:cxn ang="0">
                      <a:pos x="25" y="50"/>
                    </a:cxn>
                    <a:cxn ang="0">
                      <a:pos x="28" y="43"/>
                    </a:cxn>
                    <a:cxn ang="0">
                      <a:pos x="25" y="41"/>
                    </a:cxn>
                    <a:cxn ang="0">
                      <a:pos x="28" y="41"/>
                    </a:cxn>
                    <a:cxn ang="0">
                      <a:pos x="32" y="41"/>
                    </a:cxn>
                    <a:cxn ang="0">
                      <a:pos x="34" y="39"/>
                    </a:cxn>
                    <a:cxn ang="0">
                      <a:pos x="38" y="41"/>
                    </a:cxn>
                    <a:cxn ang="0">
                      <a:pos x="38" y="39"/>
                    </a:cxn>
                    <a:cxn ang="0">
                      <a:pos x="40" y="41"/>
                    </a:cxn>
                    <a:cxn ang="0">
                      <a:pos x="42" y="39"/>
                    </a:cxn>
                    <a:cxn ang="0">
                      <a:pos x="42" y="34"/>
                    </a:cxn>
                    <a:cxn ang="0">
                      <a:pos x="38" y="23"/>
                    </a:cxn>
                    <a:cxn ang="0">
                      <a:pos x="38" y="18"/>
                    </a:cxn>
                    <a:cxn ang="0">
                      <a:pos x="40" y="18"/>
                    </a:cxn>
                    <a:cxn ang="0">
                      <a:pos x="38" y="16"/>
                    </a:cxn>
                    <a:cxn ang="0">
                      <a:pos x="28" y="5"/>
                    </a:cxn>
                    <a:cxn ang="0">
                      <a:pos x="25" y="0"/>
                    </a:cxn>
                    <a:cxn ang="0">
                      <a:pos x="28" y="5"/>
                    </a:cxn>
                    <a:cxn ang="0">
                      <a:pos x="25" y="5"/>
                    </a:cxn>
                    <a:cxn ang="0">
                      <a:pos x="28" y="16"/>
                    </a:cxn>
                    <a:cxn ang="0">
                      <a:pos x="28" y="25"/>
                    </a:cxn>
                    <a:cxn ang="0">
                      <a:pos x="23" y="27"/>
                    </a:cxn>
                    <a:cxn ang="0">
                      <a:pos x="23" y="25"/>
                    </a:cxn>
                    <a:cxn ang="0">
                      <a:pos x="19" y="25"/>
                    </a:cxn>
                    <a:cxn ang="0">
                      <a:pos x="19" y="34"/>
                    </a:cxn>
                    <a:cxn ang="0">
                      <a:pos x="19" y="39"/>
                    </a:cxn>
                    <a:cxn ang="0">
                      <a:pos x="17" y="34"/>
                    </a:cxn>
                    <a:cxn ang="0">
                      <a:pos x="7" y="39"/>
                    </a:cxn>
                    <a:cxn ang="0">
                      <a:pos x="2" y="41"/>
                    </a:cxn>
                    <a:cxn ang="0">
                      <a:pos x="0" y="43"/>
                    </a:cxn>
                  </a:cxnLst>
                  <a:rect l="0" t="0" r="r" b="b"/>
                  <a:pathLst>
                    <a:path w="42" h="50">
                      <a:moveTo>
                        <a:pt x="0" y="43"/>
                      </a:moveTo>
                      <a:lnTo>
                        <a:pt x="2" y="48"/>
                      </a:lnTo>
                      <a:lnTo>
                        <a:pt x="7" y="48"/>
                      </a:lnTo>
                      <a:lnTo>
                        <a:pt x="9" y="43"/>
                      </a:lnTo>
                      <a:lnTo>
                        <a:pt x="17" y="41"/>
                      </a:lnTo>
                      <a:lnTo>
                        <a:pt x="19" y="41"/>
                      </a:lnTo>
                      <a:lnTo>
                        <a:pt x="19" y="48"/>
                      </a:lnTo>
                      <a:lnTo>
                        <a:pt x="25" y="50"/>
                      </a:lnTo>
                      <a:lnTo>
                        <a:pt x="28" y="43"/>
                      </a:lnTo>
                      <a:lnTo>
                        <a:pt x="25" y="41"/>
                      </a:lnTo>
                      <a:lnTo>
                        <a:pt x="28" y="41"/>
                      </a:lnTo>
                      <a:lnTo>
                        <a:pt x="32" y="41"/>
                      </a:lnTo>
                      <a:lnTo>
                        <a:pt x="34" y="39"/>
                      </a:lnTo>
                      <a:lnTo>
                        <a:pt x="38" y="41"/>
                      </a:lnTo>
                      <a:lnTo>
                        <a:pt x="38" y="39"/>
                      </a:lnTo>
                      <a:lnTo>
                        <a:pt x="40" y="41"/>
                      </a:lnTo>
                      <a:lnTo>
                        <a:pt x="42" y="39"/>
                      </a:lnTo>
                      <a:lnTo>
                        <a:pt x="42" y="34"/>
                      </a:lnTo>
                      <a:lnTo>
                        <a:pt x="38" y="23"/>
                      </a:lnTo>
                      <a:lnTo>
                        <a:pt x="38" y="18"/>
                      </a:lnTo>
                      <a:lnTo>
                        <a:pt x="40" y="18"/>
                      </a:lnTo>
                      <a:lnTo>
                        <a:pt x="38" y="16"/>
                      </a:lnTo>
                      <a:lnTo>
                        <a:pt x="28" y="5"/>
                      </a:lnTo>
                      <a:lnTo>
                        <a:pt x="25" y="0"/>
                      </a:lnTo>
                      <a:lnTo>
                        <a:pt x="28" y="5"/>
                      </a:lnTo>
                      <a:lnTo>
                        <a:pt x="25" y="5"/>
                      </a:lnTo>
                      <a:lnTo>
                        <a:pt x="28" y="16"/>
                      </a:lnTo>
                      <a:lnTo>
                        <a:pt x="28" y="25"/>
                      </a:lnTo>
                      <a:lnTo>
                        <a:pt x="23" y="27"/>
                      </a:lnTo>
                      <a:lnTo>
                        <a:pt x="23" y="25"/>
                      </a:lnTo>
                      <a:lnTo>
                        <a:pt x="19" y="25"/>
                      </a:lnTo>
                      <a:lnTo>
                        <a:pt x="19" y="34"/>
                      </a:lnTo>
                      <a:lnTo>
                        <a:pt x="19" y="39"/>
                      </a:lnTo>
                      <a:lnTo>
                        <a:pt x="17" y="34"/>
                      </a:lnTo>
                      <a:lnTo>
                        <a:pt x="7" y="39"/>
                      </a:lnTo>
                      <a:lnTo>
                        <a:pt x="2" y="41"/>
                      </a:lnTo>
                      <a:lnTo>
                        <a:pt x="0" y="4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71" name="Japan"/>
                <p:cNvSpPr>
                  <a:spLocks/>
                </p:cNvSpPr>
                <p:nvPr/>
              </p:nvSpPr>
              <p:spPr bwMode="auto">
                <a:xfrm>
                  <a:off x="7589992" y="3095138"/>
                  <a:ext cx="138687" cy="139336"/>
                </a:xfrm>
                <a:custGeom>
                  <a:avLst/>
                  <a:gdLst/>
                  <a:ahLst/>
                  <a:cxnLst>
                    <a:cxn ang="0">
                      <a:pos x="2" y="16"/>
                    </a:cxn>
                    <a:cxn ang="0">
                      <a:pos x="6" y="25"/>
                    </a:cxn>
                    <a:cxn ang="0">
                      <a:pos x="8" y="20"/>
                    </a:cxn>
                    <a:cxn ang="0">
                      <a:pos x="6" y="16"/>
                    </a:cxn>
                    <a:cxn ang="0">
                      <a:pos x="8" y="18"/>
                    </a:cxn>
                    <a:cxn ang="0">
                      <a:pos x="11" y="16"/>
                    </a:cxn>
                    <a:cxn ang="0">
                      <a:pos x="17" y="18"/>
                    </a:cxn>
                    <a:cxn ang="0">
                      <a:pos x="21" y="16"/>
                    </a:cxn>
                    <a:cxn ang="0">
                      <a:pos x="23" y="16"/>
                    </a:cxn>
                    <a:cxn ang="0">
                      <a:pos x="25" y="11"/>
                    </a:cxn>
                    <a:cxn ang="0">
                      <a:pos x="23" y="11"/>
                    </a:cxn>
                    <a:cxn ang="0">
                      <a:pos x="21" y="9"/>
                    </a:cxn>
                    <a:cxn ang="0">
                      <a:pos x="21" y="5"/>
                    </a:cxn>
                    <a:cxn ang="0">
                      <a:pos x="17" y="9"/>
                    </a:cxn>
                    <a:cxn ang="0">
                      <a:pos x="15" y="5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6" y="11"/>
                    </a:cxn>
                    <a:cxn ang="0">
                      <a:pos x="2" y="11"/>
                    </a:cxn>
                    <a:cxn ang="0">
                      <a:pos x="2" y="14"/>
                    </a:cxn>
                    <a:cxn ang="0">
                      <a:pos x="2" y="16"/>
                    </a:cxn>
                  </a:cxnLst>
                  <a:rect l="0" t="0" r="r" b="b"/>
                  <a:pathLst>
                    <a:path w="25" h="25">
                      <a:moveTo>
                        <a:pt x="2" y="16"/>
                      </a:moveTo>
                      <a:lnTo>
                        <a:pt x="6" y="25"/>
                      </a:lnTo>
                      <a:lnTo>
                        <a:pt x="8" y="20"/>
                      </a:lnTo>
                      <a:lnTo>
                        <a:pt x="6" y="16"/>
                      </a:lnTo>
                      <a:lnTo>
                        <a:pt x="8" y="18"/>
                      </a:lnTo>
                      <a:lnTo>
                        <a:pt x="11" y="16"/>
                      </a:lnTo>
                      <a:lnTo>
                        <a:pt x="17" y="18"/>
                      </a:lnTo>
                      <a:lnTo>
                        <a:pt x="21" y="16"/>
                      </a:lnTo>
                      <a:lnTo>
                        <a:pt x="23" y="16"/>
                      </a:lnTo>
                      <a:lnTo>
                        <a:pt x="25" y="11"/>
                      </a:lnTo>
                      <a:lnTo>
                        <a:pt x="23" y="11"/>
                      </a:lnTo>
                      <a:lnTo>
                        <a:pt x="21" y="9"/>
                      </a:lnTo>
                      <a:lnTo>
                        <a:pt x="21" y="5"/>
                      </a:lnTo>
                      <a:lnTo>
                        <a:pt x="17" y="9"/>
                      </a:lnTo>
                      <a:lnTo>
                        <a:pt x="15" y="5"/>
                      </a:ln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6" y="11"/>
                      </a:lnTo>
                      <a:lnTo>
                        <a:pt x="2" y="11"/>
                      </a:lnTo>
                      <a:lnTo>
                        <a:pt x="2" y="14"/>
                      </a:lnTo>
                      <a:lnTo>
                        <a:pt x="2" y="1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72" name="Japan"/>
                <p:cNvSpPr>
                  <a:spLocks noChangeShapeType="1"/>
                </p:cNvSpPr>
                <p:nvPr/>
              </p:nvSpPr>
              <p:spPr bwMode="auto">
                <a:xfrm flipV="1">
                  <a:off x="7717584" y="3134153"/>
                  <a:ext cx="5548" cy="22294"/>
                </a:xfrm>
                <a:prstGeom prst="line">
                  <a:avLst/>
                </a:pr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73" name="Japan"/>
                <p:cNvSpPr>
                  <a:spLocks/>
                </p:cNvSpPr>
                <p:nvPr/>
              </p:nvSpPr>
              <p:spPr bwMode="auto">
                <a:xfrm>
                  <a:off x="7728680" y="3095138"/>
                  <a:ext cx="33285" cy="27867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2" y="2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6" h="5">
                      <a:moveTo>
                        <a:pt x="0" y="5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74" name="Japan"/>
                <p:cNvSpPr>
                  <a:spLocks noChangeShapeType="1"/>
                </p:cNvSpPr>
                <p:nvPr/>
              </p:nvSpPr>
              <p:spPr bwMode="auto">
                <a:xfrm flipV="1">
                  <a:off x="7773059" y="3072845"/>
                  <a:ext cx="5548" cy="33441"/>
                </a:xfrm>
                <a:prstGeom prst="line">
                  <a:avLst/>
                </a:pr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75" name="Japan"/>
                <p:cNvSpPr>
                  <a:spLocks noChangeShapeType="1"/>
                </p:cNvSpPr>
                <p:nvPr/>
              </p:nvSpPr>
              <p:spPr bwMode="auto">
                <a:xfrm>
                  <a:off x="7800798" y="3056125"/>
                  <a:ext cx="11095" cy="5574"/>
                </a:xfrm>
                <a:prstGeom prst="line">
                  <a:avLst/>
                </a:pr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572" name="Jamaica"/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2220511" y="3983011"/>
                <a:ext cx="43990" cy="1147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2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649" name="Ivory Coast"/>
              <p:cNvSpPr>
                <a:spLocks/>
              </p:cNvSpPr>
              <p:nvPr/>
            </p:nvSpPr>
            <p:spPr bwMode="auto">
              <a:xfrm>
                <a:off x="3985284" y="4217471"/>
                <a:ext cx="170193" cy="215303"/>
              </a:xfrm>
              <a:custGeom>
                <a:avLst/>
                <a:gdLst>
                  <a:gd name="T0" fmla="*/ 4872455 w 469"/>
                  <a:gd name="T1" fmla="*/ 45428074 h 500"/>
                  <a:gd name="T2" fmla="*/ 7374547 w 469"/>
                  <a:gd name="T3" fmla="*/ 38011318 h 500"/>
                  <a:gd name="T4" fmla="*/ 8164547 w 469"/>
                  <a:gd name="T5" fmla="*/ 32448751 h 500"/>
                  <a:gd name="T6" fmla="*/ 10534911 w 469"/>
                  <a:gd name="T7" fmla="*/ 30780153 h 500"/>
                  <a:gd name="T8" fmla="*/ 10008002 w 469"/>
                  <a:gd name="T9" fmla="*/ 23177800 h 500"/>
                  <a:gd name="T10" fmla="*/ 6584184 w 469"/>
                  <a:gd name="T11" fmla="*/ 17615233 h 500"/>
                  <a:gd name="T12" fmla="*/ 6847638 w 469"/>
                  <a:gd name="T13" fmla="*/ 10569225 h 500"/>
                  <a:gd name="T14" fmla="*/ 8822820 w 469"/>
                  <a:gd name="T15" fmla="*/ 8158693 h 500"/>
                  <a:gd name="T16" fmla="*/ 12773549 w 469"/>
                  <a:gd name="T17" fmla="*/ 4635474 h 500"/>
                  <a:gd name="T18" fmla="*/ 17909095 w 469"/>
                  <a:gd name="T19" fmla="*/ 8714605 h 500"/>
                  <a:gd name="T20" fmla="*/ 21201185 w 469"/>
                  <a:gd name="T21" fmla="*/ 3893971 h 500"/>
                  <a:gd name="T22" fmla="*/ 23835009 w 469"/>
                  <a:gd name="T23" fmla="*/ 1483438 h 500"/>
                  <a:gd name="T24" fmla="*/ 25547099 w 469"/>
                  <a:gd name="T25" fmla="*/ 7231599 h 500"/>
                  <a:gd name="T26" fmla="*/ 32394734 w 469"/>
                  <a:gd name="T27" fmla="*/ 5006226 h 500"/>
                  <a:gd name="T28" fmla="*/ 34369916 w 469"/>
                  <a:gd name="T29" fmla="*/ 6860415 h 500"/>
                  <a:gd name="T30" fmla="*/ 37530280 w 469"/>
                  <a:gd name="T31" fmla="*/ 11310728 h 500"/>
                  <a:gd name="T32" fmla="*/ 39110643 w 469"/>
                  <a:gd name="T33" fmla="*/ 15019110 h 500"/>
                  <a:gd name="T34" fmla="*/ 39374097 w 469"/>
                  <a:gd name="T35" fmla="*/ 14833519 h 500"/>
                  <a:gd name="T36" fmla="*/ 42271006 w 469"/>
                  <a:gd name="T37" fmla="*/ 16316956 h 500"/>
                  <a:gd name="T38" fmla="*/ 46748279 w 469"/>
                  <a:gd name="T39" fmla="*/ 14092012 h 500"/>
                  <a:gd name="T40" fmla="*/ 54385926 w 469"/>
                  <a:gd name="T41" fmla="*/ 13164917 h 500"/>
                  <a:gd name="T42" fmla="*/ 59258379 w 469"/>
                  <a:gd name="T43" fmla="*/ 19098239 h 500"/>
                  <a:gd name="T44" fmla="*/ 59126652 w 469"/>
                  <a:gd name="T45" fmla="*/ 21323611 h 500"/>
                  <a:gd name="T46" fmla="*/ 60311834 w 469"/>
                  <a:gd name="T47" fmla="*/ 31336066 h 500"/>
                  <a:gd name="T48" fmla="*/ 57809743 w 469"/>
                  <a:gd name="T49" fmla="*/ 42090878 h 500"/>
                  <a:gd name="T50" fmla="*/ 54649380 w 469"/>
                  <a:gd name="T51" fmla="*/ 53401604 h 500"/>
                  <a:gd name="T52" fmla="*/ 55176289 w 469"/>
                  <a:gd name="T53" fmla="*/ 70460069 h 500"/>
                  <a:gd name="T54" fmla="*/ 57678379 w 469"/>
                  <a:gd name="T55" fmla="*/ 76022636 h 500"/>
                  <a:gd name="T56" fmla="*/ 53595925 w 469"/>
                  <a:gd name="T57" fmla="*/ 82512728 h 500"/>
                  <a:gd name="T58" fmla="*/ 49513835 w 469"/>
                  <a:gd name="T59" fmla="*/ 81214452 h 500"/>
                  <a:gd name="T60" fmla="*/ 39637189 w 469"/>
                  <a:gd name="T61" fmla="*/ 80843700 h 500"/>
                  <a:gd name="T62" fmla="*/ 28444008 w 469"/>
                  <a:gd name="T63" fmla="*/ 83068641 h 500"/>
                  <a:gd name="T64" fmla="*/ 17909095 w 469"/>
                  <a:gd name="T65" fmla="*/ 88631638 h 500"/>
                  <a:gd name="T66" fmla="*/ 10929729 w 469"/>
                  <a:gd name="T67" fmla="*/ 92710768 h 500"/>
                  <a:gd name="T68" fmla="*/ 10798365 w 469"/>
                  <a:gd name="T69" fmla="*/ 91783673 h 500"/>
                  <a:gd name="T70" fmla="*/ 10666638 w 469"/>
                  <a:gd name="T71" fmla="*/ 82883480 h 500"/>
                  <a:gd name="T72" fmla="*/ 12378368 w 469"/>
                  <a:gd name="T73" fmla="*/ 77506074 h 500"/>
                  <a:gd name="T74" fmla="*/ 10139729 w 469"/>
                  <a:gd name="T75" fmla="*/ 68976632 h 500"/>
                  <a:gd name="T76" fmla="*/ 6979366 w 469"/>
                  <a:gd name="T77" fmla="*/ 63599656 h 500"/>
                  <a:gd name="T78" fmla="*/ 1975182 w 469"/>
                  <a:gd name="T79" fmla="*/ 61189125 h 500"/>
                  <a:gd name="T80" fmla="*/ 4082092 w 469"/>
                  <a:gd name="T81" fmla="*/ 51546984 h 500"/>
                  <a:gd name="T82" fmla="*/ 2502091 w 469"/>
                  <a:gd name="T83" fmla="*/ 44872162 h 50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69"/>
                  <a:gd name="T127" fmla="*/ 0 h 500"/>
                  <a:gd name="T128" fmla="*/ 469 w 469"/>
                  <a:gd name="T129" fmla="*/ 500 h 50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69" h="500">
                    <a:moveTo>
                      <a:pt x="19" y="242"/>
                    </a:moveTo>
                    <a:cubicBezTo>
                      <a:pt x="25" y="242"/>
                      <a:pt x="32" y="240"/>
                      <a:pt x="37" y="245"/>
                    </a:cubicBezTo>
                    <a:cubicBezTo>
                      <a:pt x="46" y="237"/>
                      <a:pt x="46" y="226"/>
                      <a:pt x="49" y="216"/>
                    </a:cubicBezTo>
                    <a:cubicBezTo>
                      <a:pt x="46" y="207"/>
                      <a:pt x="63" y="211"/>
                      <a:pt x="56" y="205"/>
                    </a:cubicBezTo>
                    <a:cubicBezTo>
                      <a:pt x="61" y="191"/>
                      <a:pt x="33" y="202"/>
                      <a:pt x="40" y="187"/>
                    </a:cubicBezTo>
                    <a:cubicBezTo>
                      <a:pt x="35" y="172"/>
                      <a:pt x="52" y="169"/>
                      <a:pt x="62" y="175"/>
                    </a:cubicBezTo>
                    <a:cubicBezTo>
                      <a:pt x="65" y="185"/>
                      <a:pt x="71" y="170"/>
                      <a:pt x="72" y="178"/>
                    </a:cubicBezTo>
                    <a:cubicBezTo>
                      <a:pt x="81" y="191"/>
                      <a:pt x="83" y="173"/>
                      <a:pt x="80" y="166"/>
                    </a:cubicBezTo>
                    <a:cubicBezTo>
                      <a:pt x="81" y="151"/>
                      <a:pt x="58" y="156"/>
                      <a:pt x="62" y="144"/>
                    </a:cubicBezTo>
                    <a:cubicBezTo>
                      <a:pt x="58" y="132"/>
                      <a:pt x="78" y="131"/>
                      <a:pt x="76" y="125"/>
                    </a:cubicBezTo>
                    <a:cubicBezTo>
                      <a:pt x="63" y="122"/>
                      <a:pt x="66" y="113"/>
                      <a:pt x="70" y="103"/>
                    </a:cubicBezTo>
                    <a:cubicBezTo>
                      <a:pt x="73" y="100"/>
                      <a:pt x="56" y="110"/>
                      <a:pt x="50" y="95"/>
                    </a:cubicBezTo>
                    <a:cubicBezTo>
                      <a:pt x="51" y="82"/>
                      <a:pt x="53" y="69"/>
                      <a:pt x="52" y="57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52"/>
                      <a:pt x="63" y="51"/>
                      <a:pt x="65" y="45"/>
                    </a:cubicBezTo>
                    <a:cubicBezTo>
                      <a:pt x="67" y="44"/>
                      <a:pt x="67" y="44"/>
                      <a:pt x="67" y="44"/>
                    </a:cubicBezTo>
                    <a:cubicBezTo>
                      <a:pt x="68" y="45"/>
                      <a:pt x="70" y="46"/>
                      <a:pt x="75" y="42"/>
                    </a:cubicBezTo>
                    <a:cubicBezTo>
                      <a:pt x="82" y="37"/>
                      <a:pt x="84" y="20"/>
                      <a:pt x="97" y="25"/>
                    </a:cubicBezTo>
                    <a:cubicBezTo>
                      <a:pt x="106" y="16"/>
                      <a:pt x="109" y="49"/>
                      <a:pt x="110" y="34"/>
                    </a:cubicBezTo>
                    <a:cubicBezTo>
                      <a:pt x="115" y="44"/>
                      <a:pt x="130" y="37"/>
                      <a:pt x="136" y="47"/>
                    </a:cubicBezTo>
                    <a:cubicBezTo>
                      <a:pt x="143" y="43"/>
                      <a:pt x="134" y="29"/>
                      <a:pt x="148" y="31"/>
                    </a:cubicBezTo>
                    <a:cubicBezTo>
                      <a:pt x="156" y="33"/>
                      <a:pt x="168" y="32"/>
                      <a:pt x="161" y="21"/>
                    </a:cubicBezTo>
                    <a:cubicBezTo>
                      <a:pt x="160" y="15"/>
                      <a:pt x="165" y="3"/>
                      <a:pt x="170" y="14"/>
                    </a:cubicBezTo>
                    <a:cubicBezTo>
                      <a:pt x="177" y="20"/>
                      <a:pt x="185" y="15"/>
                      <a:pt x="181" y="8"/>
                    </a:cubicBezTo>
                    <a:cubicBezTo>
                      <a:pt x="190" y="0"/>
                      <a:pt x="202" y="8"/>
                      <a:pt x="194" y="18"/>
                    </a:cubicBezTo>
                    <a:cubicBezTo>
                      <a:pt x="199" y="23"/>
                      <a:pt x="199" y="32"/>
                      <a:pt x="194" y="39"/>
                    </a:cubicBezTo>
                    <a:cubicBezTo>
                      <a:pt x="202" y="53"/>
                      <a:pt x="218" y="41"/>
                      <a:pt x="220" y="31"/>
                    </a:cubicBezTo>
                    <a:cubicBezTo>
                      <a:pt x="227" y="28"/>
                      <a:pt x="238" y="24"/>
                      <a:pt x="246" y="27"/>
                    </a:cubicBezTo>
                    <a:cubicBezTo>
                      <a:pt x="247" y="27"/>
                      <a:pt x="247" y="27"/>
                      <a:pt x="247" y="27"/>
                    </a:cubicBezTo>
                    <a:cubicBezTo>
                      <a:pt x="248" y="34"/>
                      <a:pt x="251" y="39"/>
                      <a:pt x="261" y="37"/>
                    </a:cubicBezTo>
                    <a:cubicBezTo>
                      <a:pt x="271" y="33"/>
                      <a:pt x="276" y="43"/>
                      <a:pt x="277" y="48"/>
                    </a:cubicBezTo>
                    <a:cubicBezTo>
                      <a:pt x="282" y="58"/>
                      <a:pt x="279" y="49"/>
                      <a:pt x="285" y="61"/>
                    </a:cubicBezTo>
                    <a:cubicBezTo>
                      <a:pt x="280" y="73"/>
                      <a:pt x="298" y="69"/>
                      <a:pt x="298" y="79"/>
                    </a:cubicBezTo>
                    <a:cubicBezTo>
                      <a:pt x="294" y="76"/>
                      <a:pt x="292" y="76"/>
                      <a:pt x="297" y="81"/>
                    </a:cubicBezTo>
                    <a:cubicBezTo>
                      <a:pt x="297" y="80"/>
                      <a:pt x="298" y="79"/>
                      <a:pt x="298" y="79"/>
                    </a:cubicBezTo>
                    <a:cubicBezTo>
                      <a:pt x="298" y="79"/>
                      <a:pt x="299" y="80"/>
                      <a:pt x="299" y="80"/>
                    </a:cubicBezTo>
                    <a:cubicBezTo>
                      <a:pt x="306" y="88"/>
                      <a:pt x="304" y="85"/>
                      <a:pt x="312" y="84"/>
                    </a:cubicBezTo>
                    <a:cubicBezTo>
                      <a:pt x="319" y="77"/>
                      <a:pt x="315" y="88"/>
                      <a:pt x="321" y="88"/>
                    </a:cubicBezTo>
                    <a:cubicBezTo>
                      <a:pt x="328" y="92"/>
                      <a:pt x="325" y="93"/>
                      <a:pt x="331" y="91"/>
                    </a:cubicBezTo>
                    <a:cubicBezTo>
                      <a:pt x="334" y="81"/>
                      <a:pt x="345" y="75"/>
                      <a:pt x="355" y="76"/>
                    </a:cubicBezTo>
                    <a:cubicBezTo>
                      <a:pt x="365" y="70"/>
                      <a:pt x="377" y="65"/>
                      <a:pt x="388" y="68"/>
                    </a:cubicBezTo>
                    <a:cubicBezTo>
                      <a:pt x="398" y="64"/>
                      <a:pt x="406" y="77"/>
                      <a:pt x="413" y="71"/>
                    </a:cubicBezTo>
                    <a:cubicBezTo>
                      <a:pt x="415" y="74"/>
                      <a:pt x="425" y="85"/>
                      <a:pt x="431" y="87"/>
                    </a:cubicBezTo>
                    <a:cubicBezTo>
                      <a:pt x="434" y="95"/>
                      <a:pt x="442" y="118"/>
                      <a:pt x="450" y="103"/>
                    </a:cubicBezTo>
                    <a:cubicBezTo>
                      <a:pt x="451" y="104"/>
                      <a:pt x="451" y="104"/>
                      <a:pt x="452" y="104"/>
                    </a:cubicBezTo>
                    <a:cubicBezTo>
                      <a:pt x="453" y="108"/>
                      <a:pt x="452" y="112"/>
                      <a:pt x="449" y="115"/>
                    </a:cubicBezTo>
                    <a:cubicBezTo>
                      <a:pt x="456" y="123"/>
                      <a:pt x="435" y="135"/>
                      <a:pt x="450" y="139"/>
                    </a:cubicBezTo>
                    <a:cubicBezTo>
                      <a:pt x="456" y="149"/>
                      <a:pt x="456" y="158"/>
                      <a:pt x="458" y="169"/>
                    </a:cubicBezTo>
                    <a:cubicBezTo>
                      <a:pt x="457" y="180"/>
                      <a:pt x="469" y="199"/>
                      <a:pt x="456" y="203"/>
                    </a:cubicBezTo>
                    <a:cubicBezTo>
                      <a:pt x="457" y="216"/>
                      <a:pt x="440" y="215"/>
                      <a:pt x="439" y="227"/>
                    </a:cubicBezTo>
                    <a:cubicBezTo>
                      <a:pt x="433" y="236"/>
                      <a:pt x="428" y="247"/>
                      <a:pt x="427" y="257"/>
                    </a:cubicBezTo>
                    <a:cubicBezTo>
                      <a:pt x="423" y="268"/>
                      <a:pt x="427" y="282"/>
                      <a:pt x="415" y="288"/>
                    </a:cubicBezTo>
                    <a:cubicBezTo>
                      <a:pt x="405" y="301"/>
                      <a:pt x="403" y="316"/>
                      <a:pt x="404" y="332"/>
                    </a:cubicBezTo>
                    <a:cubicBezTo>
                      <a:pt x="408" y="349"/>
                      <a:pt x="414" y="364"/>
                      <a:pt x="419" y="380"/>
                    </a:cubicBezTo>
                    <a:cubicBezTo>
                      <a:pt x="415" y="388"/>
                      <a:pt x="422" y="390"/>
                      <a:pt x="422" y="396"/>
                    </a:cubicBezTo>
                    <a:cubicBezTo>
                      <a:pt x="431" y="396"/>
                      <a:pt x="439" y="399"/>
                      <a:pt x="438" y="410"/>
                    </a:cubicBezTo>
                    <a:cubicBezTo>
                      <a:pt x="444" y="418"/>
                      <a:pt x="432" y="418"/>
                      <a:pt x="436" y="427"/>
                    </a:cubicBezTo>
                    <a:cubicBezTo>
                      <a:pt x="443" y="454"/>
                      <a:pt x="413" y="433"/>
                      <a:pt x="407" y="445"/>
                    </a:cubicBezTo>
                    <a:cubicBezTo>
                      <a:pt x="407" y="445"/>
                      <a:pt x="407" y="445"/>
                      <a:pt x="407" y="445"/>
                    </a:cubicBezTo>
                    <a:cubicBezTo>
                      <a:pt x="397" y="442"/>
                      <a:pt x="387" y="439"/>
                      <a:pt x="376" y="438"/>
                    </a:cubicBezTo>
                    <a:cubicBezTo>
                      <a:pt x="367" y="437"/>
                      <a:pt x="360" y="430"/>
                      <a:pt x="351" y="431"/>
                    </a:cubicBezTo>
                    <a:cubicBezTo>
                      <a:pt x="334" y="432"/>
                      <a:pt x="317" y="433"/>
                      <a:pt x="301" y="436"/>
                    </a:cubicBezTo>
                    <a:cubicBezTo>
                      <a:pt x="282" y="438"/>
                      <a:pt x="262" y="439"/>
                      <a:pt x="243" y="444"/>
                    </a:cubicBezTo>
                    <a:cubicBezTo>
                      <a:pt x="234" y="442"/>
                      <a:pt x="225" y="446"/>
                      <a:pt x="216" y="448"/>
                    </a:cubicBezTo>
                    <a:cubicBezTo>
                      <a:pt x="206" y="449"/>
                      <a:pt x="198" y="455"/>
                      <a:pt x="189" y="459"/>
                    </a:cubicBezTo>
                    <a:cubicBezTo>
                      <a:pt x="171" y="464"/>
                      <a:pt x="154" y="471"/>
                      <a:pt x="136" y="478"/>
                    </a:cubicBezTo>
                    <a:cubicBezTo>
                      <a:pt x="126" y="485"/>
                      <a:pt x="113" y="488"/>
                      <a:pt x="103" y="496"/>
                    </a:cubicBezTo>
                    <a:cubicBezTo>
                      <a:pt x="97" y="500"/>
                      <a:pt x="90" y="499"/>
                      <a:pt x="83" y="500"/>
                    </a:cubicBezTo>
                    <a:cubicBezTo>
                      <a:pt x="83" y="500"/>
                      <a:pt x="83" y="500"/>
                      <a:pt x="83" y="500"/>
                    </a:cubicBezTo>
                    <a:cubicBezTo>
                      <a:pt x="82" y="495"/>
                      <a:pt x="82" y="495"/>
                      <a:pt x="82" y="495"/>
                    </a:cubicBezTo>
                    <a:cubicBezTo>
                      <a:pt x="79" y="494"/>
                      <a:pt x="79" y="494"/>
                      <a:pt x="79" y="494"/>
                    </a:cubicBezTo>
                    <a:cubicBezTo>
                      <a:pt x="81" y="479"/>
                      <a:pt x="75" y="459"/>
                      <a:pt x="81" y="447"/>
                    </a:cubicBezTo>
                    <a:cubicBezTo>
                      <a:pt x="77" y="438"/>
                      <a:pt x="84" y="436"/>
                      <a:pt x="87" y="429"/>
                    </a:cubicBezTo>
                    <a:cubicBezTo>
                      <a:pt x="85" y="420"/>
                      <a:pt x="91" y="422"/>
                      <a:pt x="94" y="418"/>
                    </a:cubicBezTo>
                    <a:cubicBezTo>
                      <a:pt x="86" y="410"/>
                      <a:pt x="98" y="398"/>
                      <a:pt x="91" y="388"/>
                    </a:cubicBezTo>
                    <a:cubicBezTo>
                      <a:pt x="96" y="375"/>
                      <a:pt x="84" y="379"/>
                      <a:pt x="77" y="372"/>
                    </a:cubicBezTo>
                    <a:cubicBezTo>
                      <a:pt x="69" y="374"/>
                      <a:pt x="66" y="365"/>
                      <a:pt x="63" y="361"/>
                    </a:cubicBezTo>
                    <a:cubicBezTo>
                      <a:pt x="64" y="359"/>
                      <a:pt x="62" y="343"/>
                      <a:pt x="53" y="343"/>
                    </a:cubicBezTo>
                    <a:cubicBezTo>
                      <a:pt x="41" y="344"/>
                      <a:pt x="29" y="341"/>
                      <a:pt x="21" y="335"/>
                    </a:cubicBezTo>
                    <a:cubicBezTo>
                      <a:pt x="21" y="327"/>
                      <a:pt x="21" y="328"/>
                      <a:pt x="15" y="330"/>
                    </a:cubicBezTo>
                    <a:cubicBezTo>
                      <a:pt x="0" y="326"/>
                      <a:pt x="14" y="319"/>
                      <a:pt x="19" y="313"/>
                    </a:cubicBezTo>
                    <a:cubicBezTo>
                      <a:pt x="31" y="305"/>
                      <a:pt x="29" y="290"/>
                      <a:pt x="31" y="278"/>
                    </a:cubicBezTo>
                    <a:cubicBezTo>
                      <a:pt x="24" y="267"/>
                      <a:pt x="25" y="254"/>
                      <a:pt x="19" y="244"/>
                    </a:cubicBezTo>
                    <a:lnTo>
                      <a:pt x="19" y="242"/>
                    </a:ln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574" name="Italy"/>
              <p:cNvGrpSpPr/>
              <p:nvPr/>
            </p:nvGrpSpPr>
            <p:grpSpPr>
              <a:xfrm>
                <a:off x="4416821" y="3064067"/>
                <a:ext cx="277375" cy="289819"/>
                <a:chOff x="4416821" y="3044978"/>
                <a:chExt cx="277375" cy="289819"/>
              </a:xfrm>
              <a:solidFill>
                <a:srgbClr val="D992FF"/>
              </a:solidFill>
            </p:grpSpPr>
            <p:sp>
              <p:nvSpPr>
                <p:cNvPr id="766" name="Italy"/>
                <p:cNvSpPr>
                  <a:spLocks/>
                </p:cNvSpPr>
                <p:nvPr/>
              </p:nvSpPr>
              <p:spPr bwMode="auto">
                <a:xfrm>
                  <a:off x="4567485" y="3259554"/>
                  <a:ext cx="83212" cy="50161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0" y="7"/>
                    </a:cxn>
                    <a:cxn ang="0">
                      <a:pos x="13" y="9"/>
                    </a:cxn>
                    <a:cxn ang="0">
                      <a:pos x="15" y="0"/>
                    </a:cxn>
                    <a:cxn ang="0">
                      <a:pos x="9" y="5"/>
                    </a:cxn>
                    <a:cxn ang="0">
                      <a:pos x="5" y="5"/>
                    </a:cxn>
                    <a:cxn ang="0">
                      <a:pos x="2" y="5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15" h="9">
                      <a:moveTo>
                        <a:pt x="0" y="5"/>
                      </a:moveTo>
                      <a:lnTo>
                        <a:pt x="0" y="7"/>
                      </a:lnTo>
                      <a:lnTo>
                        <a:pt x="13" y="9"/>
                      </a:lnTo>
                      <a:lnTo>
                        <a:pt x="15" y="0"/>
                      </a:lnTo>
                      <a:lnTo>
                        <a:pt x="9" y="5"/>
                      </a:lnTo>
                      <a:lnTo>
                        <a:pt x="5" y="5"/>
                      </a:lnTo>
                      <a:lnTo>
                        <a:pt x="2" y="5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67" name="Italy"/>
                <p:cNvSpPr>
                  <a:spLocks/>
                </p:cNvSpPr>
                <p:nvPr/>
              </p:nvSpPr>
              <p:spPr bwMode="auto">
                <a:xfrm>
                  <a:off x="4416821" y="3044978"/>
                  <a:ext cx="277375" cy="289819"/>
                </a:xfrm>
                <a:custGeom>
                  <a:avLst/>
                  <a:gdLst/>
                  <a:ahLst/>
                  <a:cxnLst>
                    <a:cxn ang="0">
                      <a:pos x="0" y="11"/>
                    </a:cxn>
                    <a:cxn ang="0">
                      <a:pos x="2" y="5"/>
                    </a:cxn>
                    <a:cxn ang="0">
                      <a:pos x="9" y="2"/>
                    </a:cxn>
                    <a:cxn ang="0">
                      <a:pos x="11" y="5"/>
                    </a:cxn>
                    <a:cxn ang="0">
                      <a:pos x="11" y="2"/>
                    </a:cxn>
                    <a:cxn ang="0">
                      <a:pos x="15" y="2"/>
                    </a:cxn>
                    <a:cxn ang="0">
                      <a:pos x="17" y="0"/>
                    </a:cxn>
                    <a:cxn ang="0">
                      <a:pos x="23" y="0"/>
                    </a:cxn>
                    <a:cxn ang="0">
                      <a:pos x="25" y="0"/>
                    </a:cxn>
                    <a:cxn ang="0">
                      <a:pos x="32" y="2"/>
                    </a:cxn>
                    <a:cxn ang="0">
                      <a:pos x="32" y="5"/>
                    </a:cxn>
                    <a:cxn ang="0">
                      <a:pos x="32" y="9"/>
                    </a:cxn>
                    <a:cxn ang="0">
                      <a:pos x="30" y="5"/>
                    </a:cxn>
                    <a:cxn ang="0">
                      <a:pos x="25" y="9"/>
                    </a:cxn>
                    <a:cxn ang="0">
                      <a:pos x="25" y="14"/>
                    </a:cxn>
                    <a:cxn ang="0">
                      <a:pos x="32" y="20"/>
                    </a:cxn>
                    <a:cxn ang="0">
                      <a:pos x="34" y="27"/>
                    </a:cxn>
                    <a:cxn ang="0">
                      <a:pos x="38" y="29"/>
                    </a:cxn>
                    <a:cxn ang="0">
                      <a:pos x="42" y="29"/>
                    </a:cxn>
                    <a:cxn ang="0">
                      <a:pos x="40" y="29"/>
                    </a:cxn>
                    <a:cxn ang="0">
                      <a:pos x="50" y="38"/>
                    </a:cxn>
                    <a:cxn ang="0">
                      <a:pos x="46" y="36"/>
                    </a:cxn>
                    <a:cxn ang="0">
                      <a:pos x="42" y="43"/>
                    </a:cxn>
                    <a:cxn ang="0">
                      <a:pos x="46" y="43"/>
                    </a:cxn>
                    <a:cxn ang="0">
                      <a:pos x="46" y="45"/>
                    </a:cxn>
                    <a:cxn ang="0">
                      <a:pos x="42" y="45"/>
                    </a:cxn>
                    <a:cxn ang="0">
                      <a:pos x="42" y="52"/>
                    </a:cxn>
                    <a:cxn ang="0">
                      <a:pos x="40" y="52"/>
                    </a:cxn>
                    <a:cxn ang="0">
                      <a:pos x="42" y="45"/>
                    </a:cxn>
                    <a:cxn ang="0">
                      <a:pos x="40" y="38"/>
                    </a:cxn>
                    <a:cxn ang="0">
                      <a:pos x="32" y="34"/>
                    </a:cxn>
                    <a:cxn ang="0">
                      <a:pos x="25" y="29"/>
                    </a:cxn>
                    <a:cxn ang="0">
                      <a:pos x="23" y="27"/>
                    </a:cxn>
                    <a:cxn ang="0">
                      <a:pos x="21" y="27"/>
                    </a:cxn>
                    <a:cxn ang="0">
                      <a:pos x="15" y="18"/>
                    </a:cxn>
                    <a:cxn ang="0">
                      <a:pos x="9" y="14"/>
                    </a:cxn>
                    <a:cxn ang="0">
                      <a:pos x="7" y="18"/>
                    </a:cxn>
                    <a:cxn ang="0">
                      <a:pos x="2" y="16"/>
                    </a:cxn>
                    <a:cxn ang="0">
                      <a:pos x="0" y="11"/>
                    </a:cxn>
                  </a:cxnLst>
                  <a:rect l="0" t="0" r="r" b="b"/>
                  <a:pathLst>
                    <a:path w="50" h="52">
                      <a:moveTo>
                        <a:pt x="0" y="11"/>
                      </a:moveTo>
                      <a:lnTo>
                        <a:pt x="2" y="5"/>
                      </a:lnTo>
                      <a:lnTo>
                        <a:pt x="9" y="2"/>
                      </a:lnTo>
                      <a:lnTo>
                        <a:pt x="11" y="5"/>
                      </a:lnTo>
                      <a:lnTo>
                        <a:pt x="11" y="2"/>
                      </a:lnTo>
                      <a:lnTo>
                        <a:pt x="15" y="2"/>
                      </a:lnTo>
                      <a:lnTo>
                        <a:pt x="17" y="0"/>
                      </a:lnTo>
                      <a:lnTo>
                        <a:pt x="23" y="0"/>
                      </a:lnTo>
                      <a:lnTo>
                        <a:pt x="25" y="0"/>
                      </a:lnTo>
                      <a:lnTo>
                        <a:pt x="32" y="2"/>
                      </a:lnTo>
                      <a:lnTo>
                        <a:pt x="32" y="5"/>
                      </a:lnTo>
                      <a:lnTo>
                        <a:pt x="32" y="9"/>
                      </a:lnTo>
                      <a:lnTo>
                        <a:pt x="30" y="5"/>
                      </a:lnTo>
                      <a:lnTo>
                        <a:pt x="25" y="9"/>
                      </a:lnTo>
                      <a:lnTo>
                        <a:pt x="25" y="14"/>
                      </a:lnTo>
                      <a:lnTo>
                        <a:pt x="32" y="20"/>
                      </a:lnTo>
                      <a:lnTo>
                        <a:pt x="34" y="27"/>
                      </a:lnTo>
                      <a:lnTo>
                        <a:pt x="38" y="29"/>
                      </a:lnTo>
                      <a:lnTo>
                        <a:pt x="42" y="29"/>
                      </a:lnTo>
                      <a:lnTo>
                        <a:pt x="40" y="29"/>
                      </a:lnTo>
                      <a:lnTo>
                        <a:pt x="50" y="38"/>
                      </a:lnTo>
                      <a:lnTo>
                        <a:pt x="46" y="36"/>
                      </a:lnTo>
                      <a:lnTo>
                        <a:pt x="42" y="43"/>
                      </a:lnTo>
                      <a:lnTo>
                        <a:pt x="46" y="43"/>
                      </a:lnTo>
                      <a:lnTo>
                        <a:pt x="46" y="45"/>
                      </a:lnTo>
                      <a:lnTo>
                        <a:pt x="42" y="45"/>
                      </a:lnTo>
                      <a:lnTo>
                        <a:pt x="42" y="52"/>
                      </a:lnTo>
                      <a:lnTo>
                        <a:pt x="40" y="52"/>
                      </a:lnTo>
                      <a:lnTo>
                        <a:pt x="42" y="45"/>
                      </a:lnTo>
                      <a:lnTo>
                        <a:pt x="40" y="38"/>
                      </a:lnTo>
                      <a:lnTo>
                        <a:pt x="32" y="34"/>
                      </a:lnTo>
                      <a:lnTo>
                        <a:pt x="25" y="29"/>
                      </a:lnTo>
                      <a:lnTo>
                        <a:pt x="23" y="27"/>
                      </a:lnTo>
                      <a:lnTo>
                        <a:pt x="21" y="27"/>
                      </a:lnTo>
                      <a:lnTo>
                        <a:pt x="15" y="18"/>
                      </a:lnTo>
                      <a:lnTo>
                        <a:pt x="9" y="14"/>
                      </a:lnTo>
                      <a:lnTo>
                        <a:pt x="7" y="18"/>
                      </a:lnTo>
                      <a:lnTo>
                        <a:pt x="2" y="16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575" name="Israel"/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5116161" y="3504861"/>
                <a:ext cx="22951" cy="110931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2" y="7"/>
                  </a:cxn>
                  <a:cxn ang="0">
                    <a:pos x="4" y="11"/>
                  </a:cxn>
                  <a:cxn ang="0">
                    <a:pos x="2" y="20"/>
                  </a:cxn>
                  <a:cxn ang="0">
                    <a:pos x="0" y="11"/>
                  </a:cxn>
                  <a:cxn ang="0">
                    <a:pos x="0" y="9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4" y="2"/>
                  </a:cxn>
                </a:cxnLst>
                <a:rect l="0" t="0" r="r" b="b"/>
                <a:pathLst>
                  <a:path w="4" h="20">
                    <a:moveTo>
                      <a:pt x="4" y="2"/>
                    </a:moveTo>
                    <a:lnTo>
                      <a:pt x="2" y="7"/>
                    </a:lnTo>
                    <a:lnTo>
                      <a:pt x="4" y="11"/>
                    </a:lnTo>
                    <a:lnTo>
                      <a:pt x="2" y="20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652" name="Ireland"/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4034045" y="2802115"/>
                <a:ext cx="116498" cy="122616"/>
              </a:xfrm>
              <a:custGeom>
                <a:avLst/>
                <a:gdLst>
                  <a:gd name="T0" fmla="*/ 72118 w 21"/>
                  <a:gd name="T1" fmla="*/ 22294 h 22"/>
                  <a:gd name="T2" fmla="*/ 83213 w 21"/>
                  <a:gd name="T3" fmla="*/ 39014 h 22"/>
                  <a:gd name="T4" fmla="*/ 116498 w 21"/>
                  <a:gd name="T5" fmla="*/ 39014 h 22"/>
                  <a:gd name="T6" fmla="*/ 116498 w 21"/>
                  <a:gd name="T7" fmla="*/ 72455 h 22"/>
                  <a:gd name="T8" fmla="*/ 105403 w 21"/>
                  <a:gd name="T9" fmla="*/ 111469 h 22"/>
                  <a:gd name="T10" fmla="*/ 27738 w 21"/>
                  <a:gd name="T11" fmla="*/ 122616 h 22"/>
                  <a:gd name="T12" fmla="*/ 0 w 21"/>
                  <a:gd name="T13" fmla="*/ 111469 h 22"/>
                  <a:gd name="T14" fmla="*/ 27738 w 21"/>
                  <a:gd name="T15" fmla="*/ 111469 h 22"/>
                  <a:gd name="T16" fmla="*/ 61023 w 21"/>
                  <a:gd name="T17" fmla="*/ 72455 h 22"/>
                  <a:gd name="T18" fmla="*/ 27738 w 21"/>
                  <a:gd name="T19" fmla="*/ 50161 h 22"/>
                  <a:gd name="T20" fmla="*/ 38833 w 21"/>
                  <a:gd name="T21" fmla="*/ 50161 h 22"/>
                  <a:gd name="T22" fmla="*/ 27738 w 21"/>
                  <a:gd name="T23" fmla="*/ 39014 h 22"/>
                  <a:gd name="T24" fmla="*/ 38833 w 21"/>
                  <a:gd name="T25" fmla="*/ 39014 h 22"/>
                  <a:gd name="T26" fmla="*/ 61023 w 21"/>
                  <a:gd name="T27" fmla="*/ 39014 h 22"/>
                  <a:gd name="T28" fmla="*/ 72118 w 21"/>
                  <a:gd name="T29" fmla="*/ 22294 h 22"/>
                  <a:gd name="T30" fmla="*/ 61023 w 21"/>
                  <a:gd name="T31" fmla="*/ 22294 h 22"/>
                  <a:gd name="T32" fmla="*/ 72118 w 21"/>
                  <a:gd name="T33" fmla="*/ 0 h 22"/>
                  <a:gd name="T34" fmla="*/ 83213 w 21"/>
                  <a:gd name="T35" fmla="*/ 0 h 22"/>
                  <a:gd name="T36" fmla="*/ 72118 w 21"/>
                  <a:gd name="T37" fmla="*/ 11147 h 22"/>
                  <a:gd name="T38" fmla="*/ 72118 w 21"/>
                  <a:gd name="T39" fmla="*/ 22294 h 2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1"/>
                  <a:gd name="T61" fmla="*/ 0 h 22"/>
                  <a:gd name="T62" fmla="*/ 21 w 21"/>
                  <a:gd name="T63" fmla="*/ 22 h 2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1" h="22">
                    <a:moveTo>
                      <a:pt x="13" y="4"/>
                    </a:moveTo>
                    <a:lnTo>
                      <a:pt x="15" y="7"/>
                    </a:lnTo>
                    <a:lnTo>
                      <a:pt x="21" y="7"/>
                    </a:lnTo>
                    <a:lnTo>
                      <a:pt x="21" y="13"/>
                    </a:lnTo>
                    <a:lnTo>
                      <a:pt x="19" y="20"/>
                    </a:lnTo>
                    <a:lnTo>
                      <a:pt x="5" y="22"/>
                    </a:lnTo>
                    <a:lnTo>
                      <a:pt x="0" y="20"/>
                    </a:lnTo>
                    <a:lnTo>
                      <a:pt x="5" y="20"/>
                    </a:lnTo>
                    <a:lnTo>
                      <a:pt x="11" y="13"/>
                    </a:lnTo>
                    <a:lnTo>
                      <a:pt x="5" y="9"/>
                    </a:lnTo>
                    <a:lnTo>
                      <a:pt x="7" y="9"/>
                    </a:lnTo>
                    <a:lnTo>
                      <a:pt x="5" y="7"/>
                    </a:lnTo>
                    <a:lnTo>
                      <a:pt x="7" y="7"/>
                    </a:lnTo>
                    <a:lnTo>
                      <a:pt x="11" y="7"/>
                    </a:lnTo>
                    <a:lnTo>
                      <a:pt x="13" y="4"/>
                    </a:lnTo>
                    <a:lnTo>
                      <a:pt x="11" y="4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3" y="2"/>
                    </a:lnTo>
                    <a:lnTo>
                      <a:pt x="13" y="4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77" name="Iraq"/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5215615" y="3365242"/>
                <a:ext cx="256286" cy="279240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32" y="14"/>
                  </a:cxn>
                  <a:cxn ang="0">
                    <a:pos x="30" y="18"/>
                  </a:cxn>
                  <a:cxn ang="0">
                    <a:pos x="32" y="25"/>
                  </a:cxn>
                  <a:cxn ang="0">
                    <a:pos x="40" y="27"/>
                  </a:cxn>
                  <a:cxn ang="0">
                    <a:pos x="40" y="36"/>
                  </a:cxn>
                  <a:cxn ang="0">
                    <a:pos x="46" y="43"/>
                  </a:cxn>
                  <a:cxn ang="0">
                    <a:pos x="40" y="43"/>
                  </a:cxn>
                  <a:cxn ang="0">
                    <a:pos x="38" y="50"/>
                  </a:cxn>
                  <a:cxn ang="0">
                    <a:pos x="32" y="45"/>
                  </a:cxn>
                  <a:cxn ang="0">
                    <a:pos x="30" y="50"/>
                  </a:cxn>
                  <a:cxn ang="0">
                    <a:pos x="23" y="45"/>
                  </a:cxn>
                  <a:cxn ang="0">
                    <a:pos x="23" y="41"/>
                  </a:cxn>
                  <a:cxn ang="0">
                    <a:pos x="21" y="41"/>
                  </a:cxn>
                  <a:cxn ang="0">
                    <a:pos x="9" y="34"/>
                  </a:cxn>
                  <a:cxn ang="0">
                    <a:pos x="4" y="32"/>
                  </a:cxn>
                  <a:cxn ang="0">
                    <a:pos x="0" y="25"/>
                  </a:cxn>
                  <a:cxn ang="0">
                    <a:pos x="9" y="18"/>
                  </a:cxn>
                  <a:cxn ang="0">
                    <a:pos x="9" y="7"/>
                  </a:cxn>
                  <a:cxn ang="0">
                    <a:pos x="15" y="0"/>
                  </a:cxn>
                  <a:cxn ang="0">
                    <a:pos x="17" y="0"/>
                  </a:cxn>
                  <a:cxn ang="0">
                    <a:pos x="21" y="0"/>
                  </a:cxn>
                  <a:cxn ang="0">
                    <a:pos x="25" y="0"/>
                  </a:cxn>
                </a:cxnLst>
                <a:rect l="0" t="0" r="r" b="b"/>
                <a:pathLst>
                  <a:path w="46" h="50">
                    <a:moveTo>
                      <a:pt x="25" y="0"/>
                    </a:moveTo>
                    <a:lnTo>
                      <a:pt x="32" y="14"/>
                    </a:lnTo>
                    <a:lnTo>
                      <a:pt x="30" y="18"/>
                    </a:lnTo>
                    <a:lnTo>
                      <a:pt x="32" y="25"/>
                    </a:lnTo>
                    <a:lnTo>
                      <a:pt x="40" y="27"/>
                    </a:lnTo>
                    <a:lnTo>
                      <a:pt x="40" y="36"/>
                    </a:lnTo>
                    <a:lnTo>
                      <a:pt x="46" y="43"/>
                    </a:lnTo>
                    <a:lnTo>
                      <a:pt x="40" y="43"/>
                    </a:lnTo>
                    <a:lnTo>
                      <a:pt x="38" y="50"/>
                    </a:lnTo>
                    <a:lnTo>
                      <a:pt x="32" y="45"/>
                    </a:lnTo>
                    <a:lnTo>
                      <a:pt x="30" y="50"/>
                    </a:lnTo>
                    <a:lnTo>
                      <a:pt x="23" y="45"/>
                    </a:lnTo>
                    <a:lnTo>
                      <a:pt x="23" y="41"/>
                    </a:lnTo>
                    <a:lnTo>
                      <a:pt x="21" y="41"/>
                    </a:lnTo>
                    <a:lnTo>
                      <a:pt x="9" y="34"/>
                    </a:lnTo>
                    <a:lnTo>
                      <a:pt x="4" y="32"/>
                    </a:lnTo>
                    <a:lnTo>
                      <a:pt x="0" y="25"/>
                    </a:lnTo>
                    <a:lnTo>
                      <a:pt x="9" y="18"/>
                    </a:lnTo>
                    <a:lnTo>
                      <a:pt x="9" y="7"/>
                    </a:lnTo>
                    <a:lnTo>
                      <a:pt x="15" y="0"/>
                    </a:lnTo>
                    <a:lnTo>
                      <a:pt x="17" y="0"/>
                    </a:lnTo>
                    <a:lnTo>
                      <a:pt x="21" y="0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8" name="Iran"/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5332283" y="3275349"/>
                <a:ext cx="510659" cy="480063"/>
              </a:xfrm>
              <a:custGeom>
                <a:avLst/>
                <a:gdLst/>
                <a:ahLst/>
                <a:cxnLst>
                  <a:cxn ang="0">
                    <a:pos x="67" y="84"/>
                  </a:cxn>
                  <a:cxn ang="0">
                    <a:pos x="65" y="77"/>
                  </a:cxn>
                  <a:cxn ang="0">
                    <a:pos x="57" y="82"/>
                  </a:cxn>
                  <a:cxn ang="0">
                    <a:pos x="50" y="82"/>
                  </a:cxn>
                  <a:cxn ang="0">
                    <a:pos x="40" y="73"/>
                  </a:cxn>
                  <a:cxn ang="0">
                    <a:pos x="34" y="59"/>
                  </a:cxn>
                  <a:cxn ang="0">
                    <a:pos x="27" y="57"/>
                  </a:cxn>
                  <a:cxn ang="0">
                    <a:pos x="25" y="59"/>
                  </a:cxn>
                  <a:cxn ang="0">
                    <a:pos x="19" y="52"/>
                  </a:cxn>
                  <a:cxn ang="0">
                    <a:pos x="19" y="43"/>
                  </a:cxn>
                  <a:cxn ang="0">
                    <a:pos x="11" y="41"/>
                  </a:cxn>
                  <a:cxn ang="0">
                    <a:pos x="9" y="34"/>
                  </a:cxn>
                  <a:cxn ang="0">
                    <a:pos x="11" y="30"/>
                  </a:cxn>
                  <a:cxn ang="0">
                    <a:pos x="4" y="16"/>
                  </a:cxn>
                  <a:cxn ang="0">
                    <a:pos x="0" y="5"/>
                  </a:cxn>
                  <a:cxn ang="0">
                    <a:pos x="2" y="0"/>
                  </a:cxn>
                  <a:cxn ang="0">
                    <a:pos x="4" y="7"/>
                  </a:cxn>
                  <a:cxn ang="0">
                    <a:pos x="9" y="7"/>
                  </a:cxn>
                  <a:cxn ang="0">
                    <a:pos x="11" y="7"/>
                  </a:cxn>
                  <a:cxn ang="0">
                    <a:pos x="17" y="5"/>
                  </a:cxn>
                  <a:cxn ang="0">
                    <a:pos x="17" y="7"/>
                  </a:cxn>
                  <a:cxn ang="0">
                    <a:pos x="23" y="9"/>
                  </a:cxn>
                  <a:cxn ang="0">
                    <a:pos x="23" y="16"/>
                  </a:cxn>
                  <a:cxn ang="0">
                    <a:pos x="34" y="23"/>
                  </a:cxn>
                  <a:cxn ang="0">
                    <a:pos x="44" y="18"/>
                  </a:cxn>
                  <a:cxn ang="0">
                    <a:pos x="44" y="16"/>
                  </a:cxn>
                  <a:cxn ang="0">
                    <a:pos x="50" y="14"/>
                  </a:cxn>
                  <a:cxn ang="0">
                    <a:pos x="57" y="9"/>
                  </a:cxn>
                  <a:cxn ang="0">
                    <a:pos x="79" y="23"/>
                  </a:cxn>
                  <a:cxn ang="0">
                    <a:pos x="79" y="25"/>
                  </a:cxn>
                  <a:cxn ang="0">
                    <a:pos x="79" y="32"/>
                  </a:cxn>
                  <a:cxn ang="0">
                    <a:pos x="75" y="34"/>
                  </a:cxn>
                  <a:cxn ang="0">
                    <a:pos x="75" y="39"/>
                  </a:cxn>
                  <a:cxn ang="0">
                    <a:pos x="79" y="50"/>
                  </a:cxn>
                  <a:cxn ang="0">
                    <a:pos x="84" y="50"/>
                  </a:cxn>
                  <a:cxn ang="0">
                    <a:pos x="84" y="52"/>
                  </a:cxn>
                  <a:cxn ang="0">
                    <a:pos x="82" y="59"/>
                  </a:cxn>
                  <a:cxn ang="0">
                    <a:pos x="88" y="68"/>
                  </a:cxn>
                  <a:cxn ang="0">
                    <a:pos x="90" y="68"/>
                  </a:cxn>
                  <a:cxn ang="0">
                    <a:pos x="92" y="75"/>
                  </a:cxn>
                  <a:cxn ang="0">
                    <a:pos x="92" y="77"/>
                  </a:cxn>
                  <a:cxn ang="0">
                    <a:pos x="88" y="82"/>
                  </a:cxn>
                  <a:cxn ang="0">
                    <a:pos x="88" y="86"/>
                  </a:cxn>
                  <a:cxn ang="0">
                    <a:pos x="77" y="86"/>
                  </a:cxn>
                  <a:cxn ang="0">
                    <a:pos x="69" y="84"/>
                  </a:cxn>
                  <a:cxn ang="0">
                    <a:pos x="67" y="84"/>
                  </a:cxn>
                </a:cxnLst>
                <a:rect l="0" t="0" r="r" b="b"/>
                <a:pathLst>
                  <a:path w="92" h="86">
                    <a:moveTo>
                      <a:pt x="67" y="84"/>
                    </a:moveTo>
                    <a:lnTo>
                      <a:pt x="65" y="77"/>
                    </a:lnTo>
                    <a:lnTo>
                      <a:pt x="57" y="82"/>
                    </a:lnTo>
                    <a:lnTo>
                      <a:pt x="50" y="82"/>
                    </a:lnTo>
                    <a:lnTo>
                      <a:pt x="40" y="73"/>
                    </a:lnTo>
                    <a:lnTo>
                      <a:pt x="34" y="59"/>
                    </a:lnTo>
                    <a:lnTo>
                      <a:pt x="27" y="57"/>
                    </a:lnTo>
                    <a:lnTo>
                      <a:pt x="25" y="59"/>
                    </a:lnTo>
                    <a:lnTo>
                      <a:pt x="19" y="52"/>
                    </a:lnTo>
                    <a:lnTo>
                      <a:pt x="19" y="43"/>
                    </a:lnTo>
                    <a:lnTo>
                      <a:pt x="11" y="41"/>
                    </a:lnTo>
                    <a:lnTo>
                      <a:pt x="9" y="34"/>
                    </a:lnTo>
                    <a:lnTo>
                      <a:pt x="11" y="30"/>
                    </a:lnTo>
                    <a:lnTo>
                      <a:pt x="4" y="16"/>
                    </a:lnTo>
                    <a:lnTo>
                      <a:pt x="0" y="5"/>
                    </a:lnTo>
                    <a:lnTo>
                      <a:pt x="2" y="0"/>
                    </a:lnTo>
                    <a:lnTo>
                      <a:pt x="4" y="7"/>
                    </a:lnTo>
                    <a:lnTo>
                      <a:pt x="9" y="7"/>
                    </a:lnTo>
                    <a:lnTo>
                      <a:pt x="11" y="7"/>
                    </a:lnTo>
                    <a:lnTo>
                      <a:pt x="17" y="5"/>
                    </a:lnTo>
                    <a:lnTo>
                      <a:pt x="17" y="7"/>
                    </a:lnTo>
                    <a:lnTo>
                      <a:pt x="23" y="9"/>
                    </a:lnTo>
                    <a:lnTo>
                      <a:pt x="23" y="16"/>
                    </a:lnTo>
                    <a:lnTo>
                      <a:pt x="34" y="23"/>
                    </a:lnTo>
                    <a:lnTo>
                      <a:pt x="44" y="18"/>
                    </a:lnTo>
                    <a:lnTo>
                      <a:pt x="44" y="16"/>
                    </a:lnTo>
                    <a:lnTo>
                      <a:pt x="50" y="14"/>
                    </a:lnTo>
                    <a:lnTo>
                      <a:pt x="57" y="9"/>
                    </a:lnTo>
                    <a:lnTo>
                      <a:pt x="79" y="23"/>
                    </a:lnTo>
                    <a:lnTo>
                      <a:pt x="79" y="25"/>
                    </a:lnTo>
                    <a:lnTo>
                      <a:pt x="79" y="32"/>
                    </a:lnTo>
                    <a:lnTo>
                      <a:pt x="75" y="34"/>
                    </a:lnTo>
                    <a:lnTo>
                      <a:pt x="75" y="39"/>
                    </a:lnTo>
                    <a:lnTo>
                      <a:pt x="79" y="50"/>
                    </a:lnTo>
                    <a:lnTo>
                      <a:pt x="84" y="50"/>
                    </a:lnTo>
                    <a:lnTo>
                      <a:pt x="84" y="52"/>
                    </a:lnTo>
                    <a:lnTo>
                      <a:pt x="82" y="59"/>
                    </a:lnTo>
                    <a:lnTo>
                      <a:pt x="88" y="68"/>
                    </a:lnTo>
                    <a:lnTo>
                      <a:pt x="90" y="68"/>
                    </a:lnTo>
                    <a:lnTo>
                      <a:pt x="92" y="75"/>
                    </a:lnTo>
                    <a:lnTo>
                      <a:pt x="92" y="77"/>
                    </a:lnTo>
                    <a:lnTo>
                      <a:pt x="88" y="82"/>
                    </a:lnTo>
                    <a:lnTo>
                      <a:pt x="88" y="86"/>
                    </a:lnTo>
                    <a:lnTo>
                      <a:pt x="77" y="86"/>
                    </a:lnTo>
                    <a:lnTo>
                      <a:pt x="69" y="84"/>
                    </a:lnTo>
                    <a:lnTo>
                      <a:pt x="67" y="84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9" name="Indonesia"/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7057433" y="4658160"/>
                <a:ext cx="11475" cy="28688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2" y="5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2" y="5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80" name="Indonesia"/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7673284" y="4797779"/>
                <a:ext cx="11475" cy="38252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7"/>
                  </a:cxn>
                </a:cxnLst>
                <a:rect l="0" t="0" r="r" b="b"/>
                <a:pathLst>
                  <a:path w="2" h="7">
                    <a:moveTo>
                      <a:pt x="0" y="7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81" name="Indonesia"/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7751699" y="4748051"/>
                <a:ext cx="11475" cy="49728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9"/>
                  </a:cxn>
                </a:cxnLst>
                <a:rect l="0" t="0" r="r" b="b"/>
                <a:pathLst>
                  <a:path w="2" h="9">
                    <a:moveTo>
                      <a:pt x="0" y="9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82" name="Indonesia"/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7801426" y="4596956"/>
                <a:ext cx="11475" cy="1147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83" name="Indonesia"/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6990492" y="4619908"/>
                <a:ext cx="55465" cy="6694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5"/>
                  </a:cxn>
                  <a:cxn ang="0">
                    <a:pos x="4" y="7"/>
                  </a:cxn>
                  <a:cxn ang="0">
                    <a:pos x="10" y="12"/>
                  </a:cxn>
                  <a:cxn ang="0">
                    <a:pos x="10" y="7"/>
                  </a:cxn>
                  <a:cxn ang="0">
                    <a:pos x="6" y="5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10" h="12">
                    <a:moveTo>
                      <a:pt x="0" y="0"/>
                    </a:moveTo>
                    <a:lnTo>
                      <a:pt x="4" y="5"/>
                    </a:lnTo>
                    <a:lnTo>
                      <a:pt x="4" y="7"/>
                    </a:lnTo>
                    <a:lnTo>
                      <a:pt x="10" y="12"/>
                    </a:lnTo>
                    <a:lnTo>
                      <a:pt x="10" y="7"/>
                    </a:lnTo>
                    <a:lnTo>
                      <a:pt x="6" y="5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84" name="Indonesia"/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7673284" y="4568267"/>
                <a:ext cx="265848" cy="290715"/>
              </a:xfrm>
              <a:custGeom>
                <a:avLst/>
                <a:gdLst/>
                <a:ahLst/>
                <a:cxnLst>
                  <a:cxn ang="0">
                    <a:pos x="48" y="52"/>
                  </a:cxn>
                  <a:cxn ang="0">
                    <a:pos x="41" y="48"/>
                  </a:cxn>
                  <a:cxn ang="0">
                    <a:pos x="31" y="50"/>
                  </a:cxn>
                  <a:cxn ang="0">
                    <a:pos x="33" y="43"/>
                  </a:cxn>
                  <a:cxn ang="0">
                    <a:pos x="35" y="43"/>
                  </a:cxn>
                  <a:cxn ang="0">
                    <a:pos x="33" y="32"/>
                  </a:cxn>
                  <a:cxn ang="0">
                    <a:pos x="31" y="30"/>
                  </a:cxn>
                  <a:cxn ang="0">
                    <a:pos x="18" y="25"/>
                  </a:cxn>
                  <a:cxn ang="0">
                    <a:pos x="14" y="21"/>
                  </a:cxn>
                  <a:cxn ang="0">
                    <a:pos x="10" y="23"/>
                  </a:cxn>
                  <a:cxn ang="0">
                    <a:pos x="8" y="23"/>
                  </a:cxn>
                  <a:cxn ang="0">
                    <a:pos x="8" y="21"/>
                  </a:cxn>
                  <a:cxn ang="0">
                    <a:pos x="6" y="16"/>
                  </a:cxn>
                  <a:cxn ang="0">
                    <a:pos x="14" y="16"/>
                  </a:cxn>
                  <a:cxn ang="0">
                    <a:pos x="14" y="14"/>
                  </a:cxn>
                  <a:cxn ang="0">
                    <a:pos x="6" y="14"/>
                  </a:cxn>
                  <a:cxn ang="0">
                    <a:pos x="6" y="9"/>
                  </a:cxn>
                  <a:cxn ang="0">
                    <a:pos x="0" y="7"/>
                  </a:cxn>
                  <a:cxn ang="0">
                    <a:pos x="6" y="0"/>
                  </a:cxn>
                  <a:cxn ang="0">
                    <a:pos x="10" y="0"/>
                  </a:cxn>
                  <a:cxn ang="0">
                    <a:pos x="10" y="5"/>
                  </a:cxn>
                  <a:cxn ang="0">
                    <a:pos x="14" y="5"/>
                  </a:cxn>
                  <a:cxn ang="0">
                    <a:pos x="16" y="14"/>
                  </a:cxn>
                  <a:cxn ang="0">
                    <a:pos x="18" y="21"/>
                  </a:cxn>
                  <a:cxn ang="0">
                    <a:pos x="23" y="21"/>
                  </a:cxn>
                  <a:cxn ang="0">
                    <a:pos x="27" y="14"/>
                  </a:cxn>
                  <a:cxn ang="0">
                    <a:pos x="33" y="9"/>
                  </a:cxn>
                  <a:cxn ang="0">
                    <a:pos x="48" y="16"/>
                  </a:cxn>
                  <a:cxn ang="0">
                    <a:pos x="48" y="34"/>
                  </a:cxn>
                  <a:cxn ang="0">
                    <a:pos x="48" y="52"/>
                  </a:cxn>
                </a:cxnLst>
                <a:rect l="0" t="0" r="r" b="b"/>
                <a:pathLst>
                  <a:path w="48" h="52">
                    <a:moveTo>
                      <a:pt x="48" y="52"/>
                    </a:moveTo>
                    <a:lnTo>
                      <a:pt x="41" y="48"/>
                    </a:lnTo>
                    <a:lnTo>
                      <a:pt x="31" y="50"/>
                    </a:lnTo>
                    <a:lnTo>
                      <a:pt x="33" y="43"/>
                    </a:lnTo>
                    <a:lnTo>
                      <a:pt x="35" y="43"/>
                    </a:lnTo>
                    <a:lnTo>
                      <a:pt x="33" y="32"/>
                    </a:lnTo>
                    <a:lnTo>
                      <a:pt x="31" y="30"/>
                    </a:lnTo>
                    <a:lnTo>
                      <a:pt x="18" y="25"/>
                    </a:lnTo>
                    <a:lnTo>
                      <a:pt x="14" y="21"/>
                    </a:lnTo>
                    <a:lnTo>
                      <a:pt x="10" y="23"/>
                    </a:lnTo>
                    <a:lnTo>
                      <a:pt x="8" y="23"/>
                    </a:lnTo>
                    <a:lnTo>
                      <a:pt x="8" y="21"/>
                    </a:lnTo>
                    <a:lnTo>
                      <a:pt x="6" y="16"/>
                    </a:lnTo>
                    <a:lnTo>
                      <a:pt x="14" y="16"/>
                    </a:lnTo>
                    <a:lnTo>
                      <a:pt x="14" y="14"/>
                    </a:lnTo>
                    <a:lnTo>
                      <a:pt x="6" y="14"/>
                    </a:lnTo>
                    <a:lnTo>
                      <a:pt x="6" y="9"/>
                    </a:lnTo>
                    <a:lnTo>
                      <a:pt x="0" y="7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5"/>
                    </a:lnTo>
                    <a:lnTo>
                      <a:pt x="14" y="5"/>
                    </a:lnTo>
                    <a:lnTo>
                      <a:pt x="16" y="14"/>
                    </a:lnTo>
                    <a:lnTo>
                      <a:pt x="18" y="21"/>
                    </a:lnTo>
                    <a:lnTo>
                      <a:pt x="23" y="21"/>
                    </a:lnTo>
                    <a:lnTo>
                      <a:pt x="27" y="14"/>
                    </a:lnTo>
                    <a:lnTo>
                      <a:pt x="33" y="9"/>
                    </a:lnTo>
                    <a:lnTo>
                      <a:pt x="48" y="16"/>
                    </a:lnTo>
                    <a:lnTo>
                      <a:pt x="48" y="34"/>
                    </a:lnTo>
                    <a:lnTo>
                      <a:pt x="48" y="5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85" name="Indonesia"/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7101421" y="4445860"/>
                <a:ext cx="256286" cy="262027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32" y="0"/>
                  </a:cxn>
                  <a:cxn ang="0">
                    <a:pos x="26" y="13"/>
                  </a:cxn>
                  <a:cxn ang="0">
                    <a:pos x="19" y="18"/>
                  </a:cxn>
                  <a:cxn ang="0">
                    <a:pos x="15" y="13"/>
                  </a:cxn>
                  <a:cxn ang="0">
                    <a:pos x="11" y="18"/>
                  </a:cxn>
                  <a:cxn ang="0">
                    <a:pos x="7" y="18"/>
                  </a:cxn>
                  <a:cxn ang="0">
                    <a:pos x="3" y="11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3" y="29"/>
                  </a:cxn>
                  <a:cxn ang="0">
                    <a:pos x="7" y="38"/>
                  </a:cxn>
                  <a:cxn ang="0">
                    <a:pos x="11" y="38"/>
                  </a:cxn>
                  <a:cxn ang="0">
                    <a:pos x="11" y="43"/>
                  </a:cxn>
                  <a:cxn ang="0">
                    <a:pos x="19" y="43"/>
                  </a:cxn>
                  <a:cxn ang="0">
                    <a:pos x="23" y="43"/>
                  </a:cxn>
                  <a:cxn ang="0">
                    <a:pos x="26" y="47"/>
                  </a:cxn>
                  <a:cxn ang="0">
                    <a:pos x="30" y="45"/>
                  </a:cxn>
                  <a:cxn ang="0">
                    <a:pos x="34" y="43"/>
                  </a:cxn>
                  <a:cxn ang="0">
                    <a:pos x="34" y="36"/>
                  </a:cxn>
                  <a:cxn ang="0">
                    <a:pos x="34" y="31"/>
                  </a:cxn>
                  <a:cxn ang="0">
                    <a:pos x="38" y="29"/>
                  </a:cxn>
                  <a:cxn ang="0">
                    <a:pos x="42" y="18"/>
                  </a:cxn>
                  <a:cxn ang="0">
                    <a:pos x="46" y="18"/>
                  </a:cxn>
                  <a:cxn ang="0">
                    <a:pos x="40" y="11"/>
                  </a:cxn>
                  <a:cxn ang="0">
                    <a:pos x="42" y="9"/>
                  </a:cxn>
                  <a:cxn ang="0">
                    <a:pos x="40" y="4"/>
                  </a:cxn>
                  <a:cxn ang="0">
                    <a:pos x="40" y="0"/>
                  </a:cxn>
                  <a:cxn ang="0">
                    <a:pos x="36" y="0"/>
                  </a:cxn>
                  <a:cxn ang="0">
                    <a:pos x="34" y="0"/>
                  </a:cxn>
                </a:cxnLst>
                <a:rect l="0" t="0" r="r" b="b"/>
                <a:pathLst>
                  <a:path w="46" h="47">
                    <a:moveTo>
                      <a:pt x="34" y="0"/>
                    </a:moveTo>
                    <a:lnTo>
                      <a:pt x="32" y="0"/>
                    </a:lnTo>
                    <a:lnTo>
                      <a:pt x="26" y="13"/>
                    </a:lnTo>
                    <a:lnTo>
                      <a:pt x="19" y="18"/>
                    </a:lnTo>
                    <a:lnTo>
                      <a:pt x="15" y="13"/>
                    </a:lnTo>
                    <a:lnTo>
                      <a:pt x="11" y="18"/>
                    </a:lnTo>
                    <a:lnTo>
                      <a:pt x="7" y="18"/>
                    </a:lnTo>
                    <a:lnTo>
                      <a:pt x="3" y="11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3" y="29"/>
                    </a:lnTo>
                    <a:lnTo>
                      <a:pt x="7" y="38"/>
                    </a:lnTo>
                    <a:lnTo>
                      <a:pt x="11" y="38"/>
                    </a:lnTo>
                    <a:lnTo>
                      <a:pt x="11" y="43"/>
                    </a:lnTo>
                    <a:lnTo>
                      <a:pt x="19" y="43"/>
                    </a:lnTo>
                    <a:lnTo>
                      <a:pt x="23" y="43"/>
                    </a:lnTo>
                    <a:lnTo>
                      <a:pt x="26" y="47"/>
                    </a:lnTo>
                    <a:lnTo>
                      <a:pt x="30" y="45"/>
                    </a:lnTo>
                    <a:lnTo>
                      <a:pt x="34" y="43"/>
                    </a:lnTo>
                    <a:lnTo>
                      <a:pt x="34" y="36"/>
                    </a:lnTo>
                    <a:lnTo>
                      <a:pt x="34" y="31"/>
                    </a:lnTo>
                    <a:lnTo>
                      <a:pt x="38" y="29"/>
                    </a:lnTo>
                    <a:lnTo>
                      <a:pt x="42" y="18"/>
                    </a:lnTo>
                    <a:lnTo>
                      <a:pt x="46" y="18"/>
                    </a:lnTo>
                    <a:lnTo>
                      <a:pt x="40" y="11"/>
                    </a:lnTo>
                    <a:lnTo>
                      <a:pt x="42" y="9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4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86" name="Indonesia"/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6747594" y="4384657"/>
                <a:ext cx="277324" cy="37295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6"/>
                  </a:cxn>
                  <a:cxn ang="0">
                    <a:pos x="4" y="13"/>
                  </a:cxn>
                  <a:cxn ang="0">
                    <a:pos x="10" y="20"/>
                  </a:cxn>
                  <a:cxn ang="0">
                    <a:pos x="16" y="22"/>
                  </a:cxn>
                  <a:cxn ang="0">
                    <a:pos x="16" y="31"/>
                  </a:cxn>
                  <a:cxn ang="0">
                    <a:pos x="23" y="38"/>
                  </a:cxn>
                  <a:cxn ang="0">
                    <a:pos x="25" y="47"/>
                  </a:cxn>
                  <a:cxn ang="0">
                    <a:pos x="27" y="54"/>
                  </a:cxn>
                  <a:cxn ang="0">
                    <a:pos x="42" y="65"/>
                  </a:cxn>
                  <a:cxn ang="0">
                    <a:pos x="42" y="67"/>
                  </a:cxn>
                  <a:cxn ang="0">
                    <a:pos x="44" y="65"/>
                  </a:cxn>
                  <a:cxn ang="0">
                    <a:pos x="48" y="67"/>
                  </a:cxn>
                  <a:cxn ang="0">
                    <a:pos x="50" y="54"/>
                  </a:cxn>
                  <a:cxn ang="0">
                    <a:pos x="48" y="47"/>
                  </a:cxn>
                  <a:cxn ang="0">
                    <a:pos x="44" y="47"/>
                  </a:cxn>
                  <a:cxn ang="0">
                    <a:pos x="42" y="40"/>
                  </a:cxn>
                  <a:cxn ang="0">
                    <a:pos x="39" y="40"/>
                  </a:cxn>
                  <a:cxn ang="0">
                    <a:pos x="35" y="38"/>
                  </a:cxn>
                  <a:cxn ang="0">
                    <a:pos x="39" y="33"/>
                  </a:cxn>
                  <a:cxn ang="0">
                    <a:pos x="35" y="31"/>
                  </a:cxn>
                  <a:cxn ang="0">
                    <a:pos x="35" y="29"/>
                  </a:cxn>
                  <a:cxn ang="0">
                    <a:pos x="27" y="22"/>
                  </a:cxn>
                  <a:cxn ang="0">
                    <a:pos x="25" y="22"/>
                  </a:cxn>
                  <a:cxn ang="0">
                    <a:pos x="8" y="4"/>
                  </a:cxn>
                  <a:cxn ang="0">
                    <a:pos x="4" y="2"/>
                  </a:cxn>
                  <a:cxn ang="0">
                    <a:pos x="0" y="0"/>
                  </a:cxn>
                </a:cxnLst>
                <a:rect l="0" t="0" r="r" b="b"/>
                <a:pathLst>
                  <a:path w="50" h="67">
                    <a:moveTo>
                      <a:pt x="0" y="0"/>
                    </a:moveTo>
                    <a:lnTo>
                      <a:pt x="0" y="6"/>
                    </a:lnTo>
                    <a:lnTo>
                      <a:pt x="4" y="13"/>
                    </a:lnTo>
                    <a:lnTo>
                      <a:pt x="10" y="20"/>
                    </a:lnTo>
                    <a:lnTo>
                      <a:pt x="16" y="22"/>
                    </a:lnTo>
                    <a:lnTo>
                      <a:pt x="16" y="31"/>
                    </a:lnTo>
                    <a:lnTo>
                      <a:pt x="23" y="38"/>
                    </a:lnTo>
                    <a:lnTo>
                      <a:pt x="25" y="47"/>
                    </a:lnTo>
                    <a:lnTo>
                      <a:pt x="27" y="54"/>
                    </a:lnTo>
                    <a:lnTo>
                      <a:pt x="42" y="65"/>
                    </a:lnTo>
                    <a:lnTo>
                      <a:pt x="42" y="67"/>
                    </a:lnTo>
                    <a:lnTo>
                      <a:pt x="44" y="65"/>
                    </a:lnTo>
                    <a:lnTo>
                      <a:pt x="48" y="67"/>
                    </a:lnTo>
                    <a:lnTo>
                      <a:pt x="50" y="54"/>
                    </a:lnTo>
                    <a:lnTo>
                      <a:pt x="48" y="47"/>
                    </a:lnTo>
                    <a:lnTo>
                      <a:pt x="44" y="47"/>
                    </a:lnTo>
                    <a:lnTo>
                      <a:pt x="42" y="40"/>
                    </a:lnTo>
                    <a:lnTo>
                      <a:pt x="39" y="40"/>
                    </a:lnTo>
                    <a:lnTo>
                      <a:pt x="35" y="38"/>
                    </a:lnTo>
                    <a:lnTo>
                      <a:pt x="39" y="33"/>
                    </a:lnTo>
                    <a:lnTo>
                      <a:pt x="35" y="31"/>
                    </a:lnTo>
                    <a:lnTo>
                      <a:pt x="35" y="29"/>
                    </a:lnTo>
                    <a:lnTo>
                      <a:pt x="27" y="22"/>
                    </a:lnTo>
                    <a:lnTo>
                      <a:pt x="25" y="22"/>
                    </a:lnTo>
                    <a:lnTo>
                      <a:pt x="8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87" name="Indonesia"/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6990492" y="4757615"/>
                <a:ext cx="239073" cy="89892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14" y="9"/>
                  </a:cxn>
                  <a:cxn ang="0">
                    <a:pos x="20" y="9"/>
                  </a:cxn>
                  <a:cxn ang="0">
                    <a:pos x="35" y="16"/>
                  </a:cxn>
                  <a:cxn ang="0">
                    <a:pos x="37" y="14"/>
                  </a:cxn>
                  <a:cxn ang="0">
                    <a:pos x="43" y="16"/>
                  </a:cxn>
                  <a:cxn ang="0">
                    <a:pos x="43" y="9"/>
                  </a:cxn>
                  <a:cxn ang="0">
                    <a:pos x="37" y="9"/>
                  </a:cxn>
                  <a:cxn ang="0">
                    <a:pos x="35" y="7"/>
                  </a:cxn>
                  <a:cxn ang="0">
                    <a:pos x="27" y="5"/>
                  </a:cxn>
                  <a:cxn ang="0">
                    <a:pos x="27" y="7"/>
                  </a:cxn>
                  <a:cxn ang="0">
                    <a:pos x="18" y="7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5"/>
                  </a:cxn>
                </a:cxnLst>
                <a:rect l="0" t="0" r="r" b="b"/>
                <a:pathLst>
                  <a:path w="43" h="16">
                    <a:moveTo>
                      <a:pt x="0" y="5"/>
                    </a:moveTo>
                    <a:lnTo>
                      <a:pt x="14" y="9"/>
                    </a:lnTo>
                    <a:lnTo>
                      <a:pt x="20" y="9"/>
                    </a:lnTo>
                    <a:lnTo>
                      <a:pt x="35" y="16"/>
                    </a:lnTo>
                    <a:lnTo>
                      <a:pt x="37" y="14"/>
                    </a:lnTo>
                    <a:lnTo>
                      <a:pt x="43" y="16"/>
                    </a:lnTo>
                    <a:lnTo>
                      <a:pt x="43" y="9"/>
                    </a:lnTo>
                    <a:lnTo>
                      <a:pt x="37" y="9"/>
                    </a:lnTo>
                    <a:lnTo>
                      <a:pt x="35" y="7"/>
                    </a:lnTo>
                    <a:lnTo>
                      <a:pt x="27" y="5"/>
                    </a:lnTo>
                    <a:lnTo>
                      <a:pt x="27" y="7"/>
                    </a:lnTo>
                    <a:lnTo>
                      <a:pt x="18" y="7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88" name="Indonesia"/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7229565" y="4836031"/>
                <a:ext cx="38252" cy="1147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2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0" y="0"/>
                  </a:cxn>
                </a:cxnLst>
                <a:rect l="0" t="0" r="r" b="b"/>
                <a:pathLst>
                  <a:path w="7" h="2">
                    <a:moveTo>
                      <a:pt x="0" y="0"/>
                    </a:moveTo>
                    <a:lnTo>
                      <a:pt x="3" y="2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89" name="Indonesia"/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7279292" y="4836031"/>
                <a:ext cx="206559" cy="22951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6" y="4"/>
                  </a:cxn>
                  <a:cxn ang="0">
                    <a:pos x="16" y="2"/>
                  </a:cxn>
                  <a:cxn ang="0">
                    <a:pos x="27" y="4"/>
                  </a:cxn>
                  <a:cxn ang="0">
                    <a:pos x="37" y="2"/>
                  </a:cxn>
                  <a:cxn ang="0">
                    <a:pos x="31" y="0"/>
                  </a:cxn>
                  <a:cxn ang="0">
                    <a:pos x="27" y="2"/>
                  </a:cxn>
                  <a:cxn ang="0">
                    <a:pos x="19" y="0"/>
                  </a:cxn>
                  <a:cxn ang="0">
                    <a:pos x="16" y="2"/>
                  </a:cxn>
                  <a:cxn ang="0">
                    <a:pos x="8" y="0"/>
                  </a:cxn>
                  <a:cxn ang="0">
                    <a:pos x="8" y="2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4"/>
                  </a:cxn>
                </a:cxnLst>
                <a:rect l="0" t="0" r="r" b="b"/>
                <a:pathLst>
                  <a:path w="37" h="4">
                    <a:moveTo>
                      <a:pt x="0" y="4"/>
                    </a:moveTo>
                    <a:lnTo>
                      <a:pt x="6" y="4"/>
                    </a:lnTo>
                    <a:lnTo>
                      <a:pt x="16" y="2"/>
                    </a:lnTo>
                    <a:lnTo>
                      <a:pt x="27" y="4"/>
                    </a:lnTo>
                    <a:lnTo>
                      <a:pt x="37" y="2"/>
                    </a:lnTo>
                    <a:lnTo>
                      <a:pt x="31" y="0"/>
                    </a:lnTo>
                    <a:lnTo>
                      <a:pt x="27" y="2"/>
                    </a:lnTo>
                    <a:lnTo>
                      <a:pt x="19" y="0"/>
                    </a:lnTo>
                    <a:lnTo>
                      <a:pt x="16" y="2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0" name="Indonesia"/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7495413" y="4836031"/>
                <a:ext cx="11475" cy="11476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667" name="Indonesia"/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7534517" y="4808553"/>
                <a:ext cx="22190" cy="27867"/>
              </a:xfrm>
              <a:custGeom>
                <a:avLst/>
                <a:gdLst>
                  <a:gd name="T0" fmla="*/ 0 w 4"/>
                  <a:gd name="T1" fmla="*/ 27867 h 5"/>
                  <a:gd name="T2" fmla="*/ 11095 w 4"/>
                  <a:gd name="T3" fmla="*/ 27867 h 5"/>
                  <a:gd name="T4" fmla="*/ 22190 w 4"/>
                  <a:gd name="T5" fmla="*/ 0 h 5"/>
                  <a:gd name="T6" fmla="*/ 11095 w 4"/>
                  <a:gd name="T7" fmla="*/ 0 h 5"/>
                  <a:gd name="T8" fmla="*/ 0 w 4"/>
                  <a:gd name="T9" fmla="*/ 11147 h 5"/>
                  <a:gd name="T10" fmla="*/ 0 w 4"/>
                  <a:gd name="T11" fmla="*/ 27867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5"/>
                  <a:gd name="T20" fmla="*/ 4 w 4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5">
                    <a:moveTo>
                      <a:pt x="0" y="5"/>
                    </a:moveTo>
                    <a:lnTo>
                      <a:pt x="2" y="5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EE8B8B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92" name="Indonesia"/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7357707" y="4885758"/>
                <a:ext cx="49727" cy="1147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" y="2"/>
                  </a:cxn>
                  <a:cxn ang="0">
                    <a:pos x="9" y="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9" h="2">
                    <a:moveTo>
                      <a:pt x="0" y="0"/>
                    </a:moveTo>
                    <a:lnTo>
                      <a:pt x="5" y="2"/>
                    </a:lnTo>
                    <a:lnTo>
                      <a:pt x="9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3" name="Indonesia"/>
              <p:cNvSpPr>
                <a:spLocks noChangeShapeType="1"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7197050" y="4809254"/>
                <a:ext cx="32515" cy="5738"/>
              </a:xfrm>
              <a:prstGeom prst="line">
                <a:avLst/>
              </a:pr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4" name="Indonesia"/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7357707" y="4518539"/>
                <a:ext cx="177871" cy="239076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0" y="30"/>
                  </a:cxn>
                  <a:cxn ang="0">
                    <a:pos x="2" y="30"/>
                  </a:cxn>
                  <a:cxn ang="0">
                    <a:pos x="2" y="32"/>
                  </a:cxn>
                  <a:cxn ang="0">
                    <a:pos x="2" y="41"/>
                  </a:cxn>
                  <a:cxn ang="0">
                    <a:pos x="5" y="41"/>
                  </a:cxn>
                  <a:cxn ang="0">
                    <a:pos x="5" y="30"/>
                  </a:cxn>
                  <a:cxn ang="0">
                    <a:pos x="9" y="25"/>
                  </a:cxn>
                  <a:cxn ang="0">
                    <a:pos x="11" y="25"/>
                  </a:cxn>
                  <a:cxn ang="0">
                    <a:pos x="9" y="30"/>
                  </a:cxn>
                  <a:cxn ang="0">
                    <a:pos x="13" y="34"/>
                  </a:cxn>
                  <a:cxn ang="0">
                    <a:pos x="13" y="39"/>
                  </a:cxn>
                  <a:cxn ang="0">
                    <a:pos x="17" y="39"/>
                  </a:cxn>
                  <a:cxn ang="0">
                    <a:pos x="17" y="41"/>
                  </a:cxn>
                  <a:cxn ang="0">
                    <a:pos x="17" y="43"/>
                  </a:cxn>
                  <a:cxn ang="0">
                    <a:pos x="19" y="41"/>
                  </a:cxn>
                  <a:cxn ang="0">
                    <a:pos x="19" y="39"/>
                  </a:cxn>
                  <a:cxn ang="0">
                    <a:pos x="13" y="30"/>
                  </a:cxn>
                  <a:cxn ang="0">
                    <a:pos x="17" y="30"/>
                  </a:cxn>
                  <a:cxn ang="0">
                    <a:pos x="13" y="18"/>
                  </a:cxn>
                  <a:cxn ang="0">
                    <a:pos x="19" y="16"/>
                  </a:cxn>
                  <a:cxn ang="0">
                    <a:pos x="23" y="16"/>
                  </a:cxn>
                  <a:cxn ang="0">
                    <a:pos x="19" y="14"/>
                  </a:cxn>
                  <a:cxn ang="0">
                    <a:pos x="9" y="16"/>
                  </a:cxn>
                  <a:cxn ang="0">
                    <a:pos x="5" y="14"/>
                  </a:cxn>
                  <a:cxn ang="0">
                    <a:pos x="5" y="9"/>
                  </a:cxn>
                  <a:cxn ang="0">
                    <a:pos x="9" y="7"/>
                  </a:cxn>
                  <a:cxn ang="0">
                    <a:pos x="23" y="7"/>
                  </a:cxn>
                  <a:cxn ang="0">
                    <a:pos x="27" y="7"/>
                  </a:cxn>
                  <a:cxn ang="0">
                    <a:pos x="32" y="0"/>
                  </a:cxn>
                  <a:cxn ang="0">
                    <a:pos x="27" y="0"/>
                  </a:cxn>
                  <a:cxn ang="0">
                    <a:pos x="25" y="5"/>
                  </a:cxn>
                  <a:cxn ang="0">
                    <a:pos x="19" y="5"/>
                  </a:cxn>
                  <a:cxn ang="0">
                    <a:pos x="11" y="0"/>
                  </a:cxn>
                  <a:cxn ang="0">
                    <a:pos x="9" y="5"/>
                  </a:cxn>
                  <a:cxn ang="0">
                    <a:pos x="5" y="5"/>
                  </a:cxn>
                  <a:cxn ang="0">
                    <a:pos x="5" y="14"/>
                  </a:cxn>
                  <a:cxn ang="0">
                    <a:pos x="2" y="21"/>
                  </a:cxn>
                  <a:cxn ang="0">
                    <a:pos x="0" y="25"/>
                  </a:cxn>
                </a:cxnLst>
                <a:rect l="0" t="0" r="r" b="b"/>
                <a:pathLst>
                  <a:path w="32" h="43">
                    <a:moveTo>
                      <a:pt x="0" y="25"/>
                    </a:moveTo>
                    <a:lnTo>
                      <a:pt x="0" y="30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2" y="41"/>
                    </a:lnTo>
                    <a:lnTo>
                      <a:pt x="5" y="41"/>
                    </a:lnTo>
                    <a:lnTo>
                      <a:pt x="5" y="30"/>
                    </a:lnTo>
                    <a:lnTo>
                      <a:pt x="9" y="25"/>
                    </a:lnTo>
                    <a:lnTo>
                      <a:pt x="11" y="25"/>
                    </a:lnTo>
                    <a:lnTo>
                      <a:pt x="9" y="30"/>
                    </a:lnTo>
                    <a:lnTo>
                      <a:pt x="13" y="34"/>
                    </a:lnTo>
                    <a:lnTo>
                      <a:pt x="13" y="39"/>
                    </a:lnTo>
                    <a:lnTo>
                      <a:pt x="17" y="39"/>
                    </a:lnTo>
                    <a:lnTo>
                      <a:pt x="17" y="41"/>
                    </a:lnTo>
                    <a:lnTo>
                      <a:pt x="17" y="43"/>
                    </a:lnTo>
                    <a:lnTo>
                      <a:pt x="19" y="41"/>
                    </a:lnTo>
                    <a:lnTo>
                      <a:pt x="19" y="39"/>
                    </a:lnTo>
                    <a:lnTo>
                      <a:pt x="13" y="30"/>
                    </a:lnTo>
                    <a:lnTo>
                      <a:pt x="17" y="30"/>
                    </a:lnTo>
                    <a:lnTo>
                      <a:pt x="13" y="18"/>
                    </a:lnTo>
                    <a:lnTo>
                      <a:pt x="19" y="16"/>
                    </a:lnTo>
                    <a:lnTo>
                      <a:pt x="23" y="16"/>
                    </a:lnTo>
                    <a:lnTo>
                      <a:pt x="19" y="14"/>
                    </a:lnTo>
                    <a:lnTo>
                      <a:pt x="9" y="16"/>
                    </a:lnTo>
                    <a:lnTo>
                      <a:pt x="5" y="14"/>
                    </a:lnTo>
                    <a:lnTo>
                      <a:pt x="5" y="9"/>
                    </a:lnTo>
                    <a:lnTo>
                      <a:pt x="9" y="7"/>
                    </a:lnTo>
                    <a:lnTo>
                      <a:pt x="23" y="7"/>
                    </a:lnTo>
                    <a:lnTo>
                      <a:pt x="27" y="7"/>
                    </a:lnTo>
                    <a:lnTo>
                      <a:pt x="32" y="0"/>
                    </a:lnTo>
                    <a:lnTo>
                      <a:pt x="27" y="0"/>
                    </a:lnTo>
                    <a:lnTo>
                      <a:pt x="25" y="5"/>
                    </a:lnTo>
                    <a:lnTo>
                      <a:pt x="19" y="5"/>
                    </a:lnTo>
                    <a:lnTo>
                      <a:pt x="11" y="0"/>
                    </a:lnTo>
                    <a:lnTo>
                      <a:pt x="9" y="5"/>
                    </a:lnTo>
                    <a:lnTo>
                      <a:pt x="5" y="5"/>
                    </a:lnTo>
                    <a:lnTo>
                      <a:pt x="5" y="14"/>
                    </a:lnTo>
                    <a:lnTo>
                      <a:pt x="2" y="21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5" name="Indonesia"/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7579567" y="4507063"/>
                <a:ext cx="43990" cy="101368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2" y="11"/>
                  </a:cxn>
                  <a:cxn ang="0">
                    <a:pos x="4" y="18"/>
                  </a:cxn>
                  <a:cxn ang="0">
                    <a:pos x="2" y="11"/>
                  </a:cxn>
                  <a:cxn ang="0">
                    <a:pos x="2" y="9"/>
                  </a:cxn>
                  <a:cxn ang="0">
                    <a:pos x="4" y="9"/>
                  </a:cxn>
                  <a:cxn ang="0">
                    <a:pos x="4" y="7"/>
                  </a:cxn>
                  <a:cxn ang="0">
                    <a:pos x="8" y="7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5"/>
                  </a:cxn>
                  <a:cxn ang="0">
                    <a:pos x="0" y="7"/>
                  </a:cxn>
                </a:cxnLst>
                <a:rect l="0" t="0" r="r" b="b"/>
                <a:pathLst>
                  <a:path w="8" h="18">
                    <a:moveTo>
                      <a:pt x="0" y="7"/>
                    </a:moveTo>
                    <a:lnTo>
                      <a:pt x="2" y="11"/>
                    </a:lnTo>
                    <a:lnTo>
                      <a:pt x="4" y="18"/>
                    </a:lnTo>
                    <a:lnTo>
                      <a:pt x="2" y="11"/>
                    </a:lnTo>
                    <a:lnTo>
                      <a:pt x="2" y="9"/>
                    </a:lnTo>
                    <a:lnTo>
                      <a:pt x="4" y="9"/>
                    </a:lnTo>
                    <a:lnTo>
                      <a:pt x="4" y="7"/>
                    </a:lnTo>
                    <a:lnTo>
                      <a:pt x="8" y="7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6" name="Indonesia"/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7547054" y="4686848"/>
                <a:ext cx="32513" cy="956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6" y="2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6" h="2">
                    <a:moveTo>
                      <a:pt x="0" y="0"/>
                    </a:moveTo>
                    <a:lnTo>
                      <a:pt x="2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7" name="Indonesia"/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7591042" y="4658160"/>
                <a:ext cx="82242" cy="38252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15" y="7"/>
                  </a:cxn>
                  <a:cxn ang="0">
                    <a:pos x="11" y="5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5"/>
                  </a:cxn>
                </a:cxnLst>
                <a:rect l="0" t="0" r="r" b="b"/>
                <a:pathLst>
                  <a:path w="15" h="7">
                    <a:moveTo>
                      <a:pt x="0" y="5"/>
                    </a:moveTo>
                    <a:lnTo>
                      <a:pt x="15" y="7"/>
                    </a:lnTo>
                    <a:lnTo>
                      <a:pt x="11" y="5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8" name="Indonesia"/>
              <p:cNvSpPr>
                <a:spLocks noChangeShapeType="1"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7506889" y="4635208"/>
                <a:ext cx="28689" cy="5737"/>
              </a:xfrm>
              <a:prstGeom prst="line">
                <a:avLst/>
              </a:pr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9" name="Indonesia"/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7579567" y="4608432"/>
                <a:ext cx="22951" cy="11476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00" name="Indonesia"/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7652245" y="4568267"/>
                <a:ext cx="32515" cy="2869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5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6" h="5">
                    <a:moveTo>
                      <a:pt x="0" y="0"/>
                    </a:moveTo>
                    <a:lnTo>
                      <a:pt x="4" y="5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01" name="Indonesia"/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7462900" y="4847506"/>
                <a:ext cx="116667" cy="49728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6" y="9"/>
                  </a:cxn>
                  <a:cxn ang="0">
                    <a:pos x="8" y="2"/>
                  </a:cxn>
                  <a:cxn ang="0">
                    <a:pos x="21" y="0"/>
                  </a:cxn>
                  <a:cxn ang="0">
                    <a:pos x="8" y="0"/>
                  </a:cxn>
                  <a:cxn ang="0">
                    <a:pos x="4" y="7"/>
                  </a:cxn>
                  <a:cxn ang="0">
                    <a:pos x="2" y="9"/>
                  </a:cxn>
                  <a:cxn ang="0">
                    <a:pos x="0" y="9"/>
                  </a:cxn>
                </a:cxnLst>
                <a:rect l="0" t="0" r="r" b="b"/>
                <a:pathLst>
                  <a:path w="21" h="9">
                    <a:moveTo>
                      <a:pt x="0" y="9"/>
                    </a:moveTo>
                    <a:lnTo>
                      <a:pt x="6" y="9"/>
                    </a:lnTo>
                    <a:lnTo>
                      <a:pt x="8" y="2"/>
                    </a:lnTo>
                    <a:lnTo>
                      <a:pt x="21" y="0"/>
                    </a:lnTo>
                    <a:lnTo>
                      <a:pt x="8" y="0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02" name="India"/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5992124" y="3414969"/>
                <a:ext cx="721044" cy="902747"/>
              </a:xfrm>
              <a:custGeom>
                <a:avLst/>
                <a:gdLst/>
                <a:ahLst/>
                <a:cxnLst>
                  <a:cxn ang="0">
                    <a:pos x="92" y="50"/>
                  </a:cxn>
                  <a:cxn ang="0">
                    <a:pos x="96" y="52"/>
                  </a:cxn>
                  <a:cxn ang="0">
                    <a:pos x="107" y="50"/>
                  </a:cxn>
                  <a:cxn ang="0">
                    <a:pos x="111" y="43"/>
                  </a:cxn>
                  <a:cxn ang="0">
                    <a:pos x="121" y="36"/>
                  </a:cxn>
                  <a:cxn ang="0">
                    <a:pos x="130" y="50"/>
                  </a:cxn>
                  <a:cxn ang="0">
                    <a:pos x="121" y="57"/>
                  </a:cxn>
                  <a:cxn ang="0">
                    <a:pos x="115" y="70"/>
                  </a:cxn>
                  <a:cxn ang="0">
                    <a:pos x="113" y="79"/>
                  </a:cxn>
                  <a:cxn ang="0">
                    <a:pos x="111" y="75"/>
                  </a:cxn>
                  <a:cxn ang="0">
                    <a:pos x="104" y="68"/>
                  </a:cxn>
                  <a:cxn ang="0">
                    <a:pos x="98" y="61"/>
                  </a:cxn>
                  <a:cxn ang="0">
                    <a:pos x="92" y="57"/>
                  </a:cxn>
                  <a:cxn ang="0">
                    <a:pos x="90" y="59"/>
                  </a:cxn>
                  <a:cxn ang="0">
                    <a:pos x="90" y="66"/>
                  </a:cxn>
                  <a:cxn ang="0">
                    <a:pos x="96" y="84"/>
                  </a:cxn>
                  <a:cxn ang="0">
                    <a:pos x="92" y="84"/>
                  </a:cxn>
                  <a:cxn ang="0">
                    <a:pos x="88" y="93"/>
                  </a:cxn>
                  <a:cxn ang="0">
                    <a:pos x="79" y="102"/>
                  </a:cxn>
                  <a:cxn ang="0">
                    <a:pos x="67" y="113"/>
                  </a:cxn>
                  <a:cxn ang="0">
                    <a:pos x="65" y="117"/>
                  </a:cxn>
                  <a:cxn ang="0">
                    <a:pos x="59" y="120"/>
                  </a:cxn>
                  <a:cxn ang="0">
                    <a:pos x="59" y="142"/>
                  </a:cxn>
                  <a:cxn ang="0">
                    <a:pos x="56" y="153"/>
                  </a:cxn>
                  <a:cxn ang="0">
                    <a:pos x="50" y="162"/>
                  </a:cxn>
                  <a:cxn ang="0">
                    <a:pos x="34" y="122"/>
                  </a:cxn>
                  <a:cxn ang="0">
                    <a:pos x="23" y="79"/>
                  </a:cxn>
                  <a:cxn ang="0">
                    <a:pos x="19" y="86"/>
                  </a:cxn>
                  <a:cxn ang="0">
                    <a:pos x="13" y="90"/>
                  </a:cxn>
                  <a:cxn ang="0">
                    <a:pos x="11" y="77"/>
                  </a:cxn>
                  <a:cxn ang="0">
                    <a:pos x="4" y="77"/>
                  </a:cxn>
                  <a:cxn ang="0">
                    <a:pos x="2" y="68"/>
                  </a:cxn>
                  <a:cxn ang="0">
                    <a:pos x="11" y="66"/>
                  </a:cxn>
                  <a:cxn ang="0">
                    <a:pos x="8" y="59"/>
                  </a:cxn>
                  <a:cxn ang="0">
                    <a:pos x="4" y="52"/>
                  </a:cxn>
                  <a:cxn ang="0">
                    <a:pos x="8" y="48"/>
                  </a:cxn>
                  <a:cxn ang="0">
                    <a:pos x="13" y="48"/>
                  </a:cxn>
                  <a:cxn ang="0">
                    <a:pos x="23" y="23"/>
                  </a:cxn>
                  <a:cxn ang="0">
                    <a:pos x="19" y="16"/>
                  </a:cxn>
                  <a:cxn ang="0">
                    <a:pos x="17" y="7"/>
                  </a:cxn>
                  <a:cxn ang="0">
                    <a:pos x="31" y="7"/>
                  </a:cxn>
                  <a:cxn ang="0">
                    <a:pos x="40" y="0"/>
                  </a:cxn>
                  <a:cxn ang="0">
                    <a:pos x="44" y="7"/>
                  </a:cxn>
                  <a:cxn ang="0">
                    <a:pos x="44" y="18"/>
                  </a:cxn>
                  <a:cxn ang="0">
                    <a:pos x="40" y="23"/>
                  </a:cxn>
                  <a:cxn ang="0">
                    <a:pos x="52" y="34"/>
                  </a:cxn>
                  <a:cxn ang="0">
                    <a:pos x="65" y="50"/>
                  </a:cxn>
                  <a:cxn ang="0">
                    <a:pos x="75" y="52"/>
                  </a:cxn>
                  <a:cxn ang="0">
                    <a:pos x="90" y="57"/>
                  </a:cxn>
                  <a:cxn ang="0">
                    <a:pos x="88" y="48"/>
                  </a:cxn>
                </a:cxnLst>
                <a:rect l="0" t="0" r="r" b="b"/>
                <a:pathLst>
                  <a:path w="130" h="162">
                    <a:moveTo>
                      <a:pt x="90" y="48"/>
                    </a:moveTo>
                    <a:lnTo>
                      <a:pt x="92" y="50"/>
                    </a:lnTo>
                    <a:lnTo>
                      <a:pt x="92" y="52"/>
                    </a:lnTo>
                    <a:lnTo>
                      <a:pt x="96" y="52"/>
                    </a:lnTo>
                    <a:lnTo>
                      <a:pt x="107" y="52"/>
                    </a:lnTo>
                    <a:lnTo>
                      <a:pt x="107" y="50"/>
                    </a:lnTo>
                    <a:lnTo>
                      <a:pt x="104" y="48"/>
                    </a:lnTo>
                    <a:lnTo>
                      <a:pt x="111" y="43"/>
                    </a:lnTo>
                    <a:lnTo>
                      <a:pt x="115" y="36"/>
                    </a:lnTo>
                    <a:lnTo>
                      <a:pt x="121" y="36"/>
                    </a:lnTo>
                    <a:lnTo>
                      <a:pt x="130" y="48"/>
                    </a:lnTo>
                    <a:lnTo>
                      <a:pt x="130" y="50"/>
                    </a:lnTo>
                    <a:lnTo>
                      <a:pt x="127" y="50"/>
                    </a:lnTo>
                    <a:lnTo>
                      <a:pt x="121" y="57"/>
                    </a:lnTo>
                    <a:lnTo>
                      <a:pt x="119" y="70"/>
                    </a:lnTo>
                    <a:lnTo>
                      <a:pt x="115" y="70"/>
                    </a:lnTo>
                    <a:lnTo>
                      <a:pt x="115" y="79"/>
                    </a:lnTo>
                    <a:lnTo>
                      <a:pt x="113" y="79"/>
                    </a:lnTo>
                    <a:lnTo>
                      <a:pt x="111" y="70"/>
                    </a:lnTo>
                    <a:lnTo>
                      <a:pt x="111" y="75"/>
                    </a:lnTo>
                    <a:lnTo>
                      <a:pt x="104" y="70"/>
                    </a:lnTo>
                    <a:lnTo>
                      <a:pt x="104" y="68"/>
                    </a:lnTo>
                    <a:lnTo>
                      <a:pt x="111" y="61"/>
                    </a:lnTo>
                    <a:lnTo>
                      <a:pt x="98" y="61"/>
                    </a:lnTo>
                    <a:lnTo>
                      <a:pt x="96" y="57"/>
                    </a:lnTo>
                    <a:lnTo>
                      <a:pt x="92" y="57"/>
                    </a:lnTo>
                    <a:lnTo>
                      <a:pt x="90" y="57"/>
                    </a:lnTo>
                    <a:lnTo>
                      <a:pt x="90" y="59"/>
                    </a:lnTo>
                    <a:lnTo>
                      <a:pt x="92" y="61"/>
                    </a:lnTo>
                    <a:lnTo>
                      <a:pt x="90" y="66"/>
                    </a:lnTo>
                    <a:lnTo>
                      <a:pt x="92" y="68"/>
                    </a:lnTo>
                    <a:lnTo>
                      <a:pt x="96" y="84"/>
                    </a:lnTo>
                    <a:lnTo>
                      <a:pt x="92" y="79"/>
                    </a:lnTo>
                    <a:lnTo>
                      <a:pt x="92" y="84"/>
                    </a:lnTo>
                    <a:lnTo>
                      <a:pt x="88" y="84"/>
                    </a:lnTo>
                    <a:lnTo>
                      <a:pt x="88" y="93"/>
                    </a:lnTo>
                    <a:lnTo>
                      <a:pt x="82" y="95"/>
                    </a:lnTo>
                    <a:lnTo>
                      <a:pt x="79" y="102"/>
                    </a:lnTo>
                    <a:lnTo>
                      <a:pt x="71" y="111"/>
                    </a:lnTo>
                    <a:lnTo>
                      <a:pt x="67" y="113"/>
                    </a:lnTo>
                    <a:lnTo>
                      <a:pt x="65" y="113"/>
                    </a:lnTo>
                    <a:lnTo>
                      <a:pt x="65" y="117"/>
                    </a:lnTo>
                    <a:lnTo>
                      <a:pt x="63" y="117"/>
                    </a:lnTo>
                    <a:lnTo>
                      <a:pt x="59" y="120"/>
                    </a:lnTo>
                    <a:lnTo>
                      <a:pt x="63" y="133"/>
                    </a:lnTo>
                    <a:lnTo>
                      <a:pt x="59" y="142"/>
                    </a:lnTo>
                    <a:lnTo>
                      <a:pt x="59" y="147"/>
                    </a:lnTo>
                    <a:lnTo>
                      <a:pt x="56" y="153"/>
                    </a:lnTo>
                    <a:lnTo>
                      <a:pt x="52" y="156"/>
                    </a:lnTo>
                    <a:lnTo>
                      <a:pt x="50" y="162"/>
                    </a:lnTo>
                    <a:lnTo>
                      <a:pt x="44" y="156"/>
                    </a:lnTo>
                    <a:lnTo>
                      <a:pt x="34" y="122"/>
                    </a:lnTo>
                    <a:lnTo>
                      <a:pt x="27" y="113"/>
                    </a:lnTo>
                    <a:lnTo>
                      <a:pt x="23" y="79"/>
                    </a:lnTo>
                    <a:lnTo>
                      <a:pt x="19" y="79"/>
                    </a:lnTo>
                    <a:lnTo>
                      <a:pt x="19" y="86"/>
                    </a:lnTo>
                    <a:lnTo>
                      <a:pt x="17" y="86"/>
                    </a:lnTo>
                    <a:lnTo>
                      <a:pt x="13" y="90"/>
                    </a:lnTo>
                    <a:lnTo>
                      <a:pt x="4" y="79"/>
                    </a:lnTo>
                    <a:lnTo>
                      <a:pt x="11" y="77"/>
                    </a:lnTo>
                    <a:lnTo>
                      <a:pt x="11" y="75"/>
                    </a:lnTo>
                    <a:lnTo>
                      <a:pt x="4" y="77"/>
                    </a:lnTo>
                    <a:lnTo>
                      <a:pt x="0" y="70"/>
                    </a:lnTo>
                    <a:lnTo>
                      <a:pt x="2" y="68"/>
                    </a:lnTo>
                    <a:lnTo>
                      <a:pt x="11" y="68"/>
                    </a:lnTo>
                    <a:lnTo>
                      <a:pt x="11" y="66"/>
                    </a:lnTo>
                    <a:lnTo>
                      <a:pt x="11" y="59"/>
                    </a:lnTo>
                    <a:lnTo>
                      <a:pt x="8" y="59"/>
                    </a:lnTo>
                    <a:lnTo>
                      <a:pt x="8" y="57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8" y="48"/>
                    </a:lnTo>
                    <a:lnTo>
                      <a:pt x="11" y="48"/>
                    </a:lnTo>
                    <a:lnTo>
                      <a:pt x="13" y="48"/>
                    </a:lnTo>
                    <a:lnTo>
                      <a:pt x="25" y="27"/>
                    </a:lnTo>
                    <a:lnTo>
                      <a:pt x="23" y="23"/>
                    </a:lnTo>
                    <a:lnTo>
                      <a:pt x="25" y="23"/>
                    </a:lnTo>
                    <a:lnTo>
                      <a:pt x="19" y="16"/>
                    </a:lnTo>
                    <a:lnTo>
                      <a:pt x="19" y="9"/>
                    </a:lnTo>
                    <a:lnTo>
                      <a:pt x="17" y="7"/>
                    </a:lnTo>
                    <a:lnTo>
                      <a:pt x="25" y="7"/>
                    </a:lnTo>
                    <a:lnTo>
                      <a:pt x="31" y="7"/>
                    </a:lnTo>
                    <a:lnTo>
                      <a:pt x="34" y="5"/>
                    </a:lnTo>
                    <a:lnTo>
                      <a:pt x="40" y="0"/>
                    </a:lnTo>
                    <a:lnTo>
                      <a:pt x="44" y="5"/>
                    </a:lnTo>
                    <a:lnTo>
                      <a:pt x="44" y="7"/>
                    </a:lnTo>
                    <a:lnTo>
                      <a:pt x="42" y="14"/>
                    </a:lnTo>
                    <a:lnTo>
                      <a:pt x="44" y="18"/>
                    </a:lnTo>
                    <a:lnTo>
                      <a:pt x="40" y="18"/>
                    </a:lnTo>
                    <a:lnTo>
                      <a:pt x="40" y="23"/>
                    </a:lnTo>
                    <a:lnTo>
                      <a:pt x="44" y="27"/>
                    </a:lnTo>
                    <a:lnTo>
                      <a:pt x="52" y="34"/>
                    </a:lnTo>
                    <a:lnTo>
                      <a:pt x="50" y="41"/>
                    </a:lnTo>
                    <a:lnTo>
                      <a:pt x="65" y="50"/>
                    </a:lnTo>
                    <a:lnTo>
                      <a:pt x="71" y="50"/>
                    </a:lnTo>
                    <a:lnTo>
                      <a:pt x="75" y="52"/>
                    </a:lnTo>
                    <a:lnTo>
                      <a:pt x="84" y="57"/>
                    </a:lnTo>
                    <a:lnTo>
                      <a:pt x="90" y="57"/>
                    </a:lnTo>
                    <a:lnTo>
                      <a:pt x="88" y="52"/>
                    </a:lnTo>
                    <a:lnTo>
                      <a:pt x="88" y="48"/>
                    </a:lnTo>
                    <a:lnTo>
                      <a:pt x="90" y="48"/>
                    </a:lnTo>
                    <a:close/>
                  </a:path>
                </a:pathLst>
              </a:custGeom>
              <a:solidFill>
                <a:schemeClr val="bg2">
                  <a:lumMod val="40000"/>
                  <a:lumOff val="60000"/>
                </a:schemeClr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03" name="Iceland"/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3817518" y="2489271"/>
                <a:ext cx="216121" cy="72679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0" y="4"/>
                  </a:cxn>
                  <a:cxn ang="0">
                    <a:pos x="0" y="9"/>
                  </a:cxn>
                  <a:cxn ang="0">
                    <a:pos x="10" y="9"/>
                  </a:cxn>
                  <a:cxn ang="0">
                    <a:pos x="4" y="11"/>
                  </a:cxn>
                  <a:cxn ang="0">
                    <a:pos x="19" y="13"/>
                  </a:cxn>
                  <a:cxn ang="0">
                    <a:pos x="35" y="9"/>
                  </a:cxn>
                  <a:cxn ang="0">
                    <a:pos x="37" y="4"/>
                  </a:cxn>
                  <a:cxn ang="0">
                    <a:pos x="39" y="2"/>
                  </a:cxn>
                  <a:cxn ang="0">
                    <a:pos x="37" y="2"/>
                  </a:cxn>
                  <a:cxn ang="0">
                    <a:pos x="37" y="0"/>
                  </a:cxn>
                  <a:cxn ang="0">
                    <a:pos x="31" y="0"/>
                  </a:cxn>
                  <a:cxn ang="0">
                    <a:pos x="27" y="2"/>
                  </a:cxn>
                  <a:cxn ang="0">
                    <a:pos x="19" y="2"/>
                  </a:cxn>
                  <a:cxn ang="0">
                    <a:pos x="19" y="0"/>
                  </a:cxn>
                  <a:cxn ang="0">
                    <a:pos x="12" y="4"/>
                  </a:cxn>
                  <a:cxn ang="0">
                    <a:pos x="12" y="2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39" h="13">
                    <a:moveTo>
                      <a:pt x="0" y="2"/>
                    </a:moveTo>
                    <a:lnTo>
                      <a:pt x="10" y="4"/>
                    </a:lnTo>
                    <a:lnTo>
                      <a:pt x="0" y="9"/>
                    </a:lnTo>
                    <a:lnTo>
                      <a:pt x="10" y="9"/>
                    </a:lnTo>
                    <a:lnTo>
                      <a:pt x="4" y="11"/>
                    </a:lnTo>
                    <a:lnTo>
                      <a:pt x="19" y="13"/>
                    </a:lnTo>
                    <a:lnTo>
                      <a:pt x="35" y="9"/>
                    </a:lnTo>
                    <a:lnTo>
                      <a:pt x="37" y="4"/>
                    </a:lnTo>
                    <a:lnTo>
                      <a:pt x="39" y="2"/>
                    </a:lnTo>
                    <a:lnTo>
                      <a:pt x="37" y="2"/>
                    </a:lnTo>
                    <a:lnTo>
                      <a:pt x="37" y="0"/>
                    </a:lnTo>
                    <a:lnTo>
                      <a:pt x="31" y="0"/>
                    </a:lnTo>
                    <a:lnTo>
                      <a:pt x="27" y="2"/>
                    </a:lnTo>
                    <a:lnTo>
                      <a:pt x="19" y="2"/>
                    </a:lnTo>
                    <a:lnTo>
                      <a:pt x="19" y="0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680" name="Hungary"/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auto">
              <a:xfrm>
                <a:off x="4638721" y="3013905"/>
                <a:ext cx="160877" cy="78028"/>
              </a:xfrm>
              <a:custGeom>
                <a:avLst/>
                <a:gdLst>
                  <a:gd name="T0" fmla="*/ 11095 w 29"/>
                  <a:gd name="T1" fmla="*/ 61308 h 14"/>
                  <a:gd name="T2" fmla="*/ 44380 w 29"/>
                  <a:gd name="T3" fmla="*/ 78028 h 14"/>
                  <a:gd name="T4" fmla="*/ 116497 w 29"/>
                  <a:gd name="T5" fmla="*/ 78028 h 14"/>
                  <a:gd name="T6" fmla="*/ 127592 w 29"/>
                  <a:gd name="T7" fmla="*/ 61308 h 14"/>
                  <a:gd name="T8" fmla="*/ 138687 w 29"/>
                  <a:gd name="T9" fmla="*/ 27867 h 14"/>
                  <a:gd name="T10" fmla="*/ 160877 w 29"/>
                  <a:gd name="T11" fmla="*/ 11147 h 14"/>
                  <a:gd name="T12" fmla="*/ 138687 w 29"/>
                  <a:gd name="T13" fmla="*/ 11147 h 14"/>
                  <a:gd name="T14" fmla="*/ 138687 w 29"/>
                  <a:gd name="T15" fmla="*/ 0 h 14"/>
                  <a:gd name="T16" fmla="*/ 116497 w 29"/>
                  <a:gd name="T17" fmla="*/ 0 h 14"/>
                  <a:gd name="T18" fmla="*/ 55475 w 29"/>
                  <a:gd name="T19" fmla="*/ 27867 h 14"/>
                  <a:gd name="T20" fmla="*/ 33285 w 29"/>
                  <a:gd name="T21" fmla="*/ 11147 h 14"/>
                  <a:gd name="T22" fmla="*/ 0 w 29"/>
                  <a:gd name="T23" fmla="*/ 50161 h 14"/>
                  <a:gd name="T24" fmla="*/ 0 w 29"/>
                  <a:gd name="T25" fmla="*/ 61308 h 14"/>
                  <a:gd name="T26" fmla="*/ 11095 w 29"/>
                  <a:gd name="T27" fmla="*/ 61308 h 1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9"/>
                  <a:gd name="T43" fmla="*/ 0 h 14"/>
                  <a:gd name="T44" fmla="*/ 29 w 29"/>
                  <a:gd name="T45" fmla="*/ 14 h 1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9" h="14">
                    <a:moveTo>
                      <a:pt x="2" y="11"/>
                    </a:moveTo>
                    <a:lnTo>
                      <a:pt x="8" y="14"/>
                    </a:lnTo>
                    <a:lnTo>
                      <a:pt x="21" y="14"/>
                    </a:lnTo>
                    <a:lnTo>
                      <a:pt x="23" y="11"/>
                    </a:lnTo>
                    <a:lnTo>
                      <a:pt x="25" y="5"/>
                    </a:lnTo>
                    <a:lnTo>
                      <a:pt x="29" y="2"/>
                    </a:lnTo>
                    <a:lnTo>
                      <a:pt x="25" y="2"/>
                    </a:lnTo>
                    <a:lnTo>
                      <a:pt x="25" y="0"/>
                    </a:lnTo>
                    <a:lnTo>
                      <a:pt x="21" y="0"/>
                    </a:lnTo>
                    <a:lnTo>
                      <a:pt x="10" y="5"/>
                    </a:lnTo>
                    <a:lnTo>
                      <a:pt x="6" y="2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2" y="11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48681" name="Honduras"/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1903804" y="4067286"/>
                <a:ext cx="177520" cy="89175"/>
              </a:xfrm>
              <a:custGeom>
                <a:avLst/>
                <a:gdLst>
                  <a:gd name="T0" fmla="*/ 49927 w 32"/>
                  <a:gd name="T1" fmla="*/ 0 h 16"/>
                  <a:gd name="T2" fmla="*/ 127592 w 32"/>
                  <a:gd name="T3" fmla="*/ 0 h 16"/>
                  <a:gd name="T4" fmla="*/ 177520 w 32"/>
                  <a:gd name="T5" fmla="*/ 16720 h 16"/>
                  <a:gd name="T6" fmla="*/ 127592 w 32"/>
                  <a:gd name="T7" fmla="*/ 27867 h 16"/>
                  <a:gd name="T8" fmla="*/ 61022 w 32"/>
                  <a:gd name="T9" fmla="*/ 89175 h 16"/>
                  <a:gd name="T10" fmla="*/ 49927 w 32"/>
                  <a:gd name="T11" fmla="*/ 66881 h 16"/>
                  <a:gd name="T12" fmla="*/ 0 w 32"/>
                  <a:gd name="T13" fmla="*/ 27867 h 16"/>
                  <a:gd name="T14" fmla="*/ 27737 w 32"/>
                  <a:gd name="T15" fmla="*/ 16720 h 16"/>
                  <a:gd name="T16" fmla="*/ 49927 w 32"/>
                  <a:gd name="T17" fmla="*/ 0 h 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2"/>
                  <a:gd name="T28" fmla="*/ 0 h 16"/>
                  <a:gd name="T29" fmla="*/ 32 w 32"/>
                  <a:gd name="T30" fmla="*/ 16 h 1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2" h="16">
                    <a:moveTo>
                      <a:pt x="9" y="0"/>
                    </a:moveTo>
                    <a:lnTo>
                      <a:pt x="23" y="0"/>
                    </a:lnTo>
                    <a:lnTo>
                      <a:pt x="32" y="3"/>
                    </a:lnTo>
                    <a:lnTo>
                      <a:pt x="23" y="5"/>
                    </a:lnTo>
                    <a:lnTo>
                      <a:pt x="11" y="16"/>
                    </a:lnTo>
                    <a:lnTo>
                      <a:pt x="9" y="12"/>
                    </a:lnTo>
                    <a:lnTo>
                      <a:pt x="0" y="5"/>
                    </a:lnTo>
                    <a:lnTo>
                      <a:pt x="5" y="3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EF7A04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48682" name="Haiti"/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2314320" y="3933523"/>
                <a:ext cx="77665" cy="61307"/>
              </a:xfrm>
              <a:custGeom>
                <a:avLst/>
                <a:gdLst>
                  <a:gd name="T0" fmla="*/ 77665 w 14"/>
                  <a:gd name="T1" fmla="*/ 0 h 11"/>
                  <a:gd name="T2" fmla="*/ 44380 w 14"/>
                  <a:gd name="T3" fmla="*/ 0 h 11"/>
                  <a:gd name="T4" fmla="*/ 33285 w 14"/>
                  <a:gd name="T5" fmla="*/ 11147 h 11"/>
                  <a:gd name="T6" fmla="*/ 44380 w 14"/>
                  <a:gd name="T7" fmla="*/ 11147 h 11"/>
                  <a:gd name="T8" fmla="*/ 66570 w 14"/>
                  <a:gd name="T9" fmla="*/ 50160 h 11"/>
                  <a:gd name="T10" fmla="*/ 33285 w 14"/>
                  <a:gd name="T11" fmla="*/ 50160 h 11"/>
                  <a:gd name="T12" fmla="*/ 22190 w 14"/>
                  <a:gd name="T13" fmla="*/ 50160 h 11"/>
                  <a:gd name="T14" fmla="*/ 0 w 14"/>
                  <a:gd name="T15" fmla="*/ 50160 h 11"/>
                  <a:gd name="T16" fmla="*/ 22190 w 14"/>
                  <a:gd name="T17" fmla="*/ 61307 h 11"/>
                  <a:gd name="T18" fmla="*/ 66570 w 14"/>
                  <a:gd name="T19" fmla="*/ 61307 h 11"/>
                  <a:gd name="T20" fmla="*/ 66570 w 14"/>
                  <a:gd name="T21" fmla="*/ 33440 h 11"/>
                  <a:gd name="T22" fmla="*/ 77665 w 14"/>
                  <a:gd name="T23" fmla="*/ 0 h 1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4"/>
                  <a:gd name="T37" fmla="*/ 0 h 11"/>
                  <a:gd name="T38" fmla="*/ 14 w 14"/>
                  <a:gd name="T39" fmla="*/ 11 h 1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4" h="11">
                    <a:moveTo>
                      <a:pt x="14" y="0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12" y="9"/>
                    </a:lnTo>
                    <a:lnTo>
                      <a:pt x="6" y="9"/>
                    </a:lnTo>
                    <a:lnTo>
                      <a:pt x="4" y="9"/>
                    </a:lnTo>
                    <a:lnTo>
                      <a:pt x="0" y="9"/>
                    </a:lnTo>
                    <a:lnTo>
                      <a:pt x="4" y="11"/>
                    </a:lnTo>
                    <a:lnTo>
                      <a:pt x="12" y="11"/>
                    </a:lnTo>
                    <a:lnTo>
                      <a:pt x="12" y="6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EF7A04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07" name="Guyana"/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auto">
              <a:xfrm>
                <a:off x="2625979" y="4306241"/>
                <a:ext cx="126230" cy="21229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4" y="2"/>
                  </a:cxn>
                  <a:cxn ang="0">
                    <a:pos x="4" y="5"/>
                  </a:cxn>
                  <a:cxn ang="0">
                    <a:pos x="6" y="9"/>
                  </a:cxn>
                  <a:cxn ang="0">
                    <a:pos x="4" y="9"/>
                  </a:cxn>
                  <a:cxn ang="0">
                    <a:pos x="0" y="14"/>
                  </a:cxn>
                  <a:cxn ang="0">
                    <a:pos x="4" y="18"/>
                  </a:cxn>
                  <a:cxn ang="0">
                    <a:pos x="6" y="18"/>
                  </a:cxn>
                  <a:cxn ang="0">
                    <a:pos x="8" y="25"/>
                  </a:cxn>
                  <a:cxn ang="0">
                    <a:pos x="6" y="34"/>
                  </a:cxn>
                  <a:cxn ang="0">
                    <a:pos x="8" y="38"/>
                  </a:cxn>
                  <a:cxn ang="0">
                    <a:pos x="12" y="38"/>
                  </a:cxn>
                  <a:cxn ang="0">
                    <a:pos x="21" y="36"/>
                  </a:cxn>
                  <a:cxn ang="0">
                    <a:pos x="23" y="36"/>
                  </a:cxn>
                  <a:cxn ang="0">
                    <a:pos x="19" y="25"/>
                  </a:cxn>
                  <a:cxn ang="0">
                    <a:pos x="21" y="14"/>
                  </a:cxn>
                  <a:cxn ang="0">
                    <a:pos x="14" y="9"/>
                  </a:cxn>
                  <a:cxn ang="0">
                    <a:pos x="14" y="2"/>
                  </a:cxn>
                  <a:cxn ang="0">
                    <a:pos x="10" y="2"/>
                  </a:cxn>
                  <a:cxn ang="0">
                    <a:pos x="8" y="0"/>
                  </a:cxn>
                </a:cxnLst>
                <a:rect l="0" t="0" r="r" b="b"/>
                <a:pathLst>
                  <a:path w="23" h="38">
                    <a:moveTo>
                      <a:pt x="8" y="0"/>
                    </a:moveTo>
                    <a:lnTo>
                      <a:pt x="4" y="2"/>
                    </a:lnTo>
                    <a:lnTo>
                      <a:pt x="4" y="5"/>
                    </a:lnTo>
                    <a:lnTo>
                      <a:pt x="6" y="9"/>
                    </a:lnTo>
                    <a:lnTo>
                      <a:pt x="4" y="9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8" y="25"/>
                    </a:lnTo>
                    <a:lnTo>
                      <a:pt x="6" y="34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21" y="36"/>
                    </a:lnTo>
                    <a:lnTo>
                      <a:pt x="23" y="36"/>
                    </a:lnTo>
                    <a:lnTo>
                      <a:pt x="19" y="25"/>
                    </a:lnTo>
                    <a:lnTo>
                      <a:pt x="21" y="14"/>
                    </a:lnTo>
                    <a:lnTo>
                      <a:pt x="14" y="9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608" name="Guinea-Bissau"/>
              <p:cNvGrpSpPr/>
              <p:nvPr/>
            </p:nvGrpSpPr>
            <p:grpSpPr>
              <a:xfrm>
                <a:off x="3784147" y="4146538"/>
                <a:ext cx="80174" cy="60085"/>
                <a:chOff x="571500" y="3703638"/>
                <a:chExt cx="180975" cy="114300"/>
              </a:xfrm>
              <a:solidFill>
                <a:schemeClr val="accent3"/>
              </a:solidFill>
            </p:grpSpPr>
            <p:sp>
              <p:nvSpPr>
                <p:cNvPr id="764" name="Guinea-Bissau"/>
                <p:cNvSpPr>
                  <a:spLocks/>
                </p:cNvSpPr>
                <p:nvPr/>
              </p:nvSpPr>
              <p:spPr bwMode="auto">
                <a:xfrm>
                  <a:off x="595313" y="3803650"/>
                  <a:ext cx="15875" cy="11112"/>
                </a:xfrm>
                <a:custGeom>
                  <a:avLst/>
                  <a:gdLst>
                    <a:gd name="T0" fmla="*/ 10 w 10"/>
                    <a:gd name="T1" fmla="*/ 1 h 7"/>
                    <a:gd name="T2" fmla="*/ 7 w 10"/>
                    <a:gd name="T3" fmla="*/ 3 h 7"/>
                    <a:gd name="T4" fmla="*/ 2 w 10"/>
                    <a:gd name="T5" fmla="*/ 7 h 7"/>
                    <a:gd name="T6" fmla="*/ 0 w 10"/>
                    <a:gd name="T7" fmla="*/ 2 h 7"/>
                    <a:gd name="T8" fmla="*/ 5 w 10"/>
                    <a:gd name="T9" fmla="*/ 0 h 7"/>
                    <a:gd name="T10" fmla="*/ 10 w 10"/>
                    <a:gd name="T11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7">
                      <a:moveTo>
                        <a:pt x="10" y="1"/>
                      </a:moveTo>
                      <a:lnTo>
                        <a:pt x="7" y="3"/>
                      </a:lnTo>
                      <a:lnTo>
                        <a:pt x="2" y="7"/>
                      </a:lnTo>
                      <a:lnTo>
                        <a:pt x="0" y="2"/>
                      </a:lnTo>
                      <a:lnTo>
                        <a:pt x="5" y="0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65" name="Guinea-Bissau"/>
                <p:cNvSpPr>
                  <a:spLocks/>
                </p:cNvSpPr>
                <p:nvPr/>
              </p:nvSpPr>
              <p:spPr bwMode="auto">
                <a:xfrm>
                  <a:off x="571500" y="3703638"/>
                  <a:ext cx="180975" cy="114300"/>
                </a:xfrm>
                <a:custGeom>
                  <a:avLst/>
                  <a:gdLst>
                    <a:gd name="T0" fmla="*/ 28 w 221"/>
                    <a:gd name="T1" fmla="*/ 40 h 139"/>
                    <a:gd name="T2" fmla="*/ 6 w 221"/>
                    <a:gd name="T3" fmla="*/ 32 h 139"/>
                    <a:gd name="T4" fmla="*/ 0 w 221"/>
                    <a:gd name="T5" fmla="*/ 29 h 139"/>
                    <a:gd name="T6" fmla="*/ 0 w 221"/>
                    <a:gd name="T7" fmla="*/ 29 h 139"/>
                    <a:gd name="T8" fmla="*/ 25 w 221"/>
                    <a:gd name="T9" fmla="*/ 19 h 139"/>
                    <a:gd name="T10" fmla="*/ 70 w 221"/>
                    <a:gd name="T11" fmla="*/ 18 h 139"/>
                    <a:gd name="T12" fmla="*/ 107 w 221"/>
                    <a:gd name="T13" fmla="*/ 0 h 139"/>
                    <a:gd name="T14" fmla="*/ 211 w 221"/>
                    <a:gd name="T15" fmla="*/ 4 h 139"/>
                    <a:gd name="T16" fmla="*/ 215 w 221"/>
                    <a:gd name="T17" fmla="*/ 4 h 139"/>
                    <a:gd name="T18" fmla="*/ 216 w 221"/>
                    <a:gd name="T19" fmla="*/ 29 h 139"/>
                    <a:gd name="T20" fmla="*/ 200 w 221"/>
                    <a:gd name="T21" fmla="*/ 36 h 139"/>
                    <a:gd name="T22" fmla="*/ 208 w 221"/>
                    <a:gd name="T23" fmla="*/ 53 h 139"/>
                    <a:gd name="T24" fmla="*/ 199 w 221"/>
                    <a:gd name="T25" fmla="*/ 76 h 139"/>
                    <a:gd name="T26" fmla="*/ 167 w 221"/>
                    <a:gd name="T27" fmla="*/ 82 h 139"/>
                    <a:gd name="T28" fmla="*/ 130 w 221"/>
                    <a:gd name="T29" fmla="*/ 102 h 139"/>
                    <a:gd name="T30" fmla="*/ 105 w 221"/>
                    <a:gd name="T31" fmla="*/ 139 h 139"/>
                    <a:gd name="T32" fmla="*/ 110 w 221"/>
                    <a:gd name="T33" fmla="*/ 124 h 139"/>
                    <a:gd name="T34" fmla="*/ 92 w 221"/>
                    <a:gd name="T35" fmla="*/ 124 h 139"/>
                    <a:gd name="T36" fmla="*/ 86 w 221"/>
                    <a:gd name="T37" fmla="*/ 111 h 139"/>
                    <a:gd name="T38" fmla="*/ 90 w 221"/>
                    <a:gd name="T39" fmla="*/ 92 h 139"/>
                    <a:gd name="T40" fmla="*/ 85 w 221"/>
                    <a:gd name="T41" fmla="*/ 78 h 139"/>
                    <a:gd name="T42" fmla="*/ 94 w 221"/>
                    <a:gd name="T43" fmla="*/ 69 h 139"/>
                    <a:gd name="T44" fmla="*/ 127 w 221"/>
                    <a:gd name="T45" fmla="*/ 66 h 139"/>
                    <a:gd name="T46" fmla="*/ 123 w 221"/>
                    <a:gd name="T47" fmla="*/ 59 h 139"/>
                    <a:gd name="T48" fmla="*/ 92 w 221"/>
                    <a:gd name="T49" fmla="*/ 63 h 139"/>
                    <a:gd name="T50" fmla="*/ 59 w 221"/>
                    <a:gd name="T51" fmla="*/ 74 h 139"/>
                    <a:gd name="T52" fmla="*/ 53 w 221"/>
                    <a:gd name="T53" fmla="*/ 65 h 139"/>
                    <a:gd name="T54" fmla="*/ 43 w 221"/>
                    <a:gd name="T55" fmla="*/ 62 h 139"/>
                    <a:gd name="T56" fmla="*/ 30 w 221"/>
                    <a:gd name="T57" fmla="*/ 58 h 139"/>
                    <a:gd name="T58" fmla="*/ 28 w 221"/>
                    <a:gd name="T59" fmla="*/ 40 h 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221" h="139">
                      <a:moveTo>
                        <a:pt x="28" y="40"/>
                      </a:moveTo>
                      <a:cubicBezTo>
                        <a:pt x="20" y="37"/>
                        <a:pt x="13" y="35"/>
                        <a:pt x="6" y="32"/>
                      </a:cubicBezTo>
                      <a:cubicBezTo>
                        <a:pt x="4" y="32"/>
                        <a:pt x="2" y="31"/>
                        <a:pt x="0" y="29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7" y="22"/>
                        <a:pt x="18" y="27"/>
                        <a:pt x="25" y="19"/>
                      </a:cubicBezTo>
                      <a:cubicBezTo>
                        <a:pt x="39" y="10"/>
                        <a:pt x="55" y="18"/>
                        <a:pt x="70" y="18"/>
                      </a:cubicBezTo>
                      <a:cubicBezTo>
                        <a:pt x="84" y="15"/>
                        <a:pt x="96" y="7"/>
                        <a:pt x="107" y="0"/>
                      </a:cubicBezTo>
                      <a:cubicBezTo>
                        <a:pt x="142" y="1"/>
                        <a:pt x="176" y="3"/>
                        <a:pt x="211" y="4"/>
                      </a:cubicBezTo>
                      <a:cubicBezTo>
                        <a:pt x="212" y="4"/>
                        <a:pt x="213" y="4"/>
                        <a:pt x="215" y="4"/>
                      </a:cubicBezTo>
                      <a:cubicBezTo>
                        <a:pt x="211" y="12"/>
                        <a:pt x="221" y="20"/>
                        <a:pt x="216" y="29"/>
                      </a:cubicBezTo>
                      <a:cubicBezTo>
                        <a:pt x="214" y="40"/>
                        <a:pt x="205" y="32"/>
                        <a:pt x="200" y="36"/>
                      </a:cubicBezTo>
                      <a:cubicBezTo>
                        <a:pt x="186" y="41"/>
                        <a:pt x="202" y="48"/>
                        <a:pt x="208" y="53"/>
                      </a:cubicBezTo>
                      <a:cubicBezTo>
                        <a:pt x="208" y="57"/>
                        <a:pt x="210" y="87"/>
                        <a:pt x="199" y="76"/>
                      </a:cubicBezTo>
                      <a:cubicBezTo>
                        <a:pt x="195" y="90"/>
                        <a:pt x="176" y="79"/>
                        <a:pt x="167" y="82"/>
                      </a:cubicBezTo>
                      <a:cubicBezTo>
                        <a:pt x="157" y="96"/>
                        <a:pt x="136" y="86"/>
                        <a:pt x="130" y="102"/>
                      </a:cubicBezTo>
                      <a:cubicBezTo>
                        <a:pt x="123" y="114"/>
                        <a:pt x="117" y="131"/>
                        <a:pt x="105" y="139"/>
                      </a:cubicBezTo>
                      <a:cubicBezTo>
                        <a:pt x="106" y="134"/>
                        <a:pt x="106" y="128"/>
                        <a:pt x="110" y="124"/>
                      </a:cubicBezTo>
                      <a:cubicBezTo>
                        <a:pt x="104" y="125"/>
                        <a:pt x="98" y="127"/>
                        <a:pt x="92" y="124"/>
                      </a:cubicBezTo>
                      <a:cubicBezTo>
                        <a:pt x="90" y="120"/>
                        <a:pt x="86" y="116"/>
                        <a:pt x="86" y="111"/>
                      </a:cubicBezTo>
                      <a:cubicBezTo>
                        <a:pt x="84" y="104"/>
                        <a:pt x="89" y="99"/>
                        <a:pt x="90" y="92"/>
                      </a:cubicBezTo>
                      <a:cubicBezTo>
                        <a:pt x="89" y="87"/>
                        <a:pt x="86" y="83"/>
                        <a:pt x="85" y="78"/>
                      </a:cubicBezTo>
                      <a:cubicBezTo>
                        <a:pt x="85" y="74"/>
                        <a:pt x="92" y="72"/>
                        <a:pt x="94" y="69"/>
                      </a:cubicBezTo>
                      <a:cubicBezTo>
                        <a:pt x="104" y="65"/>
                        <a:pt x="116" y="67"/>
                        <a:pt x="127" y="66"/>
                      </a:cubicBezTo>
                      <a:cubicBezTo>
                        <a:pt x="129" y="60"/>
                        <a:pt x="129" y="57"/>
                        <a:pt x="123" y="59"/>
                      </a:cubicBezTo>
                      <a:cubicBezTo>
                        <a:pt x="112" y="61"/>
                        <a:pt x="102" y="60"/>
                        <a:pt x="92" y="63"/>
                      </a:cubicBezTo>
                      <a:cubicBezTo>
                        <a:pt x="80" y="66"/>
                        <a:pt x="71" y="74"/>
                        <a:pt x="59" y="74"/>
                      </a:cubicBezTo>
                      <a:cubicBezTo>
                        <a:pt x="53" y="75"/>
                        <a:pt x="52" y="70"/>
                        <a:pt x="53" y="65"/>
                      </a:cubicBezTo>
                      <a:cubicBezTo>
                        <a:pt x="54" y="59"/>
                        <a:pt x="46" y="64"/>
                        <a:pt x="43" y="62"/>
                      </a:cubicBezTo>
                      <a:cubicBezTo>
                        <a:pt x="39" y="60"/>
                        <a:pt x="33" y="61"/>
                        <a:pt x="30" y="58"/>
                      </a:cubicBezTo>
                      <a:cubicBezTo>
                        <a:pt x="26" y="53"/>
                        <a:pt x="27" y="46"/>
                        <a:pt x="28" y="4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609" name="Guinea"/>
              <p:cNvSpPr>
                <a:spLocks noEditPoints="1"/>
              </p:cNvSpPr>
              <p:nvPr/>
            </p:nvSpPr>
            <p:spPr bwMode="auto">
              <a:xfrm>
                <a:off x="3821343" y="4147495"/>
                <a:ext cx="195083" cy="189348"/>
              </a:xfrm>
              <a:custGeom>
                <a:avLst/>
                <a:gdLst>
                  <a:gd name="T0" fmla="*/ 269 w 532"/>
                  <a:gd name="T1" fmla="*/ 48 h 438"/>
                  <a:gd name="T2" fmla="*/ 127 w 532"/>
                  <a:gd name="T3" fmla="*/ 281 h 438"/>
                  <a:gd name="T4" fmla="*/ 126 w 532"/>
                  <a:gd name="T5" fmla="*/ 279 h 438"/>
                  <a:gd name="T6" fmla="*/ 105 w 532"/>
                  <a:gd name="T7" fmla="*/ 243 h 438"/>
                  <a:gd name="T8" fmla="*/ 80 w 532"/>
                  <a:gd name="T9" fmla="*/ 212 h 438"/>
                  <a:gd name="T10" fmla="*/ 49 w 532"/>
                  <a:gd name="T11" fmla="*/ 192 h 438"/>
                  <a:gd name="T12" fmla="*/ 38 w 532"/>
                  <a:gd name="T13" fmla="*/ 155 h 438"/>
                  <a:gd name="T14" fmla="*/ 29 w 532"/>
                  <a:gd name="T15" fmla="*/ 131 h 438"/>
                  <a:gd name="T16" fmla="*/ 8 w 532"/>
                  <a:gd name="T17" fmla="*/ 148 h 438"/>
                  <a:gd name="T18" fmla="*/ 1 w 532"/>
                  <a:gd name="T19" fmla="*/ 135 h 438"/>
                  <a:gd name="T20" fmla="*/ 63 w 532"/>
                  <a:gd name="T21" fmla="*/ 78 h 438"/>
                  <a:gd name="T22" fmla="*/ 104 w 532"/>
                  <a:gd name="T23" fmla="*/ 49 h 438"/>
                  <a:gd name="T24" fmla="*/ 104 w 532"/>
                  <a:gd name="T25" fmla="*/ 49 h 438"/>
                  <a:gd name="T26" fmla="*/ 112 w 532"/>
                  <a:gd name="T27" fmla="*/ 25 h 438"/>
                  <a:gd name="T28" fmla="*/ 157 w 532"/>
                  <a:gd name="T29" fmla="*/ 6 h 438"/>
                  <a:gd name="T30" fmla="*/ 191 w 532"/>
                  <a:gd name="T31" fmla="*/ 25 h 438"/>
                  <a:gd name="T32" fmla="*/ 253 w 532"/>
                  <a:gd name="T33" fmla="*/ 26 h 438"/>
                  <a:gd name="T34" fmla="*/ 275 w 532"/>
                  <a:gd name="T35" fmla="*/ 27 h 438"/>
                  <a:gd name="T36" fmla="*/ 269 w 532"/>
                  <a:gd name="T37" fmla="*/ 45 h 438"/>
                  <a:gd name="T38" fmla="*/ 269 w 532"/>
                  <a:gd name="T39" fmla="*/ 45 h 438"/>
                  <a:gd name="T40" fmla="*/ 319 w 532"/>
                  <a:gd name="T41" fmla="*/ 58 h 438"/>
                  <a:gd name="T42" fmla="*/ 384 w 532"/>
                  <a:gd name="T43" fmla="*/ 54 h 438"/>
                  <a:gd name="T44" fmla="*/ 423 w 532"/>
                  <a:gd name="T45" fmla="*/ 28 h 438"/>
                  <a:gd name="T46" fmla="*/ 456 w 532"/>
                  <a:gd name="T47" fmla="*/ 49 h 438"/>
                  <a:gd name="T48" fmla="*/ 467 w 532"/>
                  <a:gd name="T49" fmla="*/ 90 h 438"/>
                  <a:gd name="T50" fmla="*/ 487 w 532"/>
                  <a:gd name="T51" fmla="*/ 117 h 438"/>
                  <a:gd name="T52" fmla="*/ 494 w 532"/>
                  <a:gd name="T53" fmla="*/ 140 h 438"/>
                  <a:gd name="T54" fmla="*/ 514 w 532"/>
                  <a:gd name="T55" fmla="*/ 192 h 438"/>
                  <a:gd name="T56" fmla="*/ 514 w 532"/>
                  <a:gd name="T57" fmla="*/ 204 h 438"/>
                  <a:gd name="T58" fmla="*/ 501 w 532"/>
                  <a:gd name="T59" fmla="*/ 216 h 438"/>
                  <a:gd name="T60" fmla="*/ 519 w 532"/>
                  <a:gd name="T61" fmla="*/ 262 h 438"/>
                  <a:gd name="T62" fmla="*/ 511 w 532"/>
                  <a:gd name="T63" fmla="*/ 303 h 438"/>
                  <a:gd name="T64" fmla="*/ 521 w 532"/>
                  <a:gd name="T65" fmla="*/ 337 h 438"/>
                  <a:gd name="T66" fmla="*/ 489 w 532"/>
                  <a:gd name="T67" fmla="*/ 346 h 438"/>
                  <a:gd name="T68" fmla="*/ 498 w 532"/>
                  <a:gd name="T69" fmla="*/ 375 h 438"/>
                  <a:gd name="T70" fmla="*/ 468 w 532"/>
                  <a:gd name="T71" fmla="*/ 401 h 438"/>
                  <a:gd name="T72" fmla="*/ 442 w 532"/>
                  <a:gd name="T73" fmla="*/ 416 h 438"/>
                  <a:gd name="T74" fmla="*/ 408 w 532"/>
                  <a:gd name="T75" fmla="*/ 416 h 438"/>
                  <a:gd name="T76" fmla="*/ 399 w 532"/>
                  <a:gd name="T77" fmla="*/ 371 h 438"/>
                  <a:gd name="T78" fmla="*/ 394 w 532"/>
                  <a:gd name="T79" fmla="*/ 350 h 438"/>
                  <a:gd name="T80" fmla="*/ 380 w 532"/>
                  <a:gd name="T81" fmla="*/ 334 h 438"/>
                  <a:gd name="T82" fmla="*/ 352 w 532"/>
                  <a:gd name="T83" fmla="*/ 327 h 438"/>
                  <a:gd name="T84" fmla="*/ 324 w 532"/>
                  <a:gd name="T85" fmla="*/ 339 h 438"/>
                  <a:gd name="T86" fmla="*/ 325 w 532"/>
                  <a:gd name="T87" fmla="*/ 315 h 438"/>
                  <a:gd name="T88" fmla="*/ 312 w 532"/>
                  <a:gd name="T89" fmla="*/ 273 h 438"/>
                  <a:gd name="T90" fmla="*/ 275 w 532"/>
                  <a:gd name="T91" fmla="*/ 212 h 438"/>
                  <a:gd name="T92" fmla="*/ 185 w 532"/>
                  <a:gd name="T93" fmla="*/ 219 h 438"/>
                  <a:gd name="T94" fmla="*/ 145 w 532"/>
                  <a:gd name="T95" fmla="*/ 275 h 4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32" h="438">
                    <a:moveTo>
                      <a:pt x="269" y="48"/>
                    </a:moveTo>
                    <a:cubicBezTo>
                      <a:pt x="269" y="51"/>
                      <a:pt x="269" y="52"/>
                      <a:pt x="269" y="48"/>
                    </a:cubicBezTo>
                    <a:close/>
                    <a:moveTo>
                      <a:pt x="145" y="275"/>
                    </a:moveTo>
                    <a:cubicBezTo>
                      <a:pt x="140" y="288"/>
                      <a:pt x="131" y="277"/>
                      <a:pt x="127" y="281"/>
                    </a:cubicBezTo>
                    <a:cubicBezTo>
                      <a:pt x="127" y="281"/>
                      <a:pt x="127" y="281"/>
                      <a:pt x="127" y="281"/>
                    </a:cubicBezTo>
                    <a:cubicBezTo>
                      <a:pt x="127" y="280"/>
                      <a:pt x="127" y="280"/>
                      <a:pt x="126" y="279"/>
                    </a:cubicBezTo>
                    <a:cubicBezTo>
                      <a:pt x="126" y="272"/>
                      <a:pt x="119" y="267"/>
                      <a:pt x="116" y="261"/>
                    </a:cubicBezTo>
                    <a:cubicBezTo>
                      <a:pt x="114" y="254"/>
                      <a:pt x="105" y="251"/>
                      <a:pt x="105" y="243"/>
                    </a:cubicBezTo>
                    <a:cubicBezTo>
                      <a:pt x="106" y="238"/>
                      <a:pt x="101" y="236"/>
                      <a:pt x="98" y="233"/>
                    </a:cubicBezTo>
                    <a:cubicBezTo>
                      <a:pt x="93" y="225"/>
                      <a:pt x="86" y="219"/>
                      <a:pt x="80" y="212"/>
                    </a:cubicBezTo>
                    <a:cubicBezTo>
                      <a:pt x="72" y="211"/>
                      <a:pt x="67" y="206"/>
                      <a:pt x="61" y="201"/>
                    </a:cubicBezTo>
                    <a:cubicBezTo>
                      <a:pt x="57" y="198"/>
                      <a:pt x="51" y="196"/>
                      <a:pt x="49" y="192"/>
                    </a:cubicBezTo>
                    <a:cubicBezTo>
                      <a:pt x="44" y="183"/>
                      <a:pt x="40" y="174"/>
                      <a:pt x="41" y="164"/>
                    </a:cubicBezTo>
                    <a:cubicBezTo>
                      <a:pt x="40" y="160"/>
                      <a:pt x="45" y="154"/>
                      <a:pt x="38" y="155"/>
                    </a:cubicBezTo>
                    <a:cubicBezTo>
                      <a:pt x="34" y="155"/>
                      <a:pt x="28" y="153"/>
                      <a:pt x="30" y="148"/>
                    </a:cubicBezTo>
                    <a:cubicBezTo>
                      <a:pt x="28" y="143"/>
                      <a:pt x="28" y="137"/>
                      <a:pt x="29" y="131"/>
                    </a:cubicBezTo>
                    <a:cubicBezTo>
                      <a:pt x="24" y="131"/>
                      <a:pt x="22" y="137"/>
                      <a:pt x="18" y="141"/>
                    </a:cubicBezTo>
                    <a:cubicBezTo>
                      <a:pt x="17" y="145"/>
                      <a:pt x="13" y="147"/>
                      <a:pt x="8" y="148"/>
                    </a:cubicBezTo>
                    <a:cubicBezTo>
                      <a:pt x="5" y="144"/>
                      <a:pt x="2" y="141"/>
                      <a:pt x="0" y="137"/>
                    </a:cubicBezTo>
                    <a:cubicBezTo>
                      <a:pt x="1" y="137"/>
                      <a:pt x="1" y="136"/>
                      <a:pt x="1" y="135"/>
                    </a:cubicBezTo>
                    <a:cubicBezTo>
                      <a:pt x="13" y="127"/>
                      <a:pt x="19" y="110"/>
                      <a:pt x="26" y="98"/>
                    </a:cubicBezTo>
                    <a:cubicBezTo>
                      <a:pt x="32" y="82"/>
                      <a:pt x="53" y="92"/>
                      <a:pt x="63" y="78"/>
                    </a:cubicBezTo>
                    <a:cubicBezTo>
                      <a:pt x="72" y="75"/>
                      <a:pt x="91" y="86"/>
                      <a:pt x="95" y="72"/>
                    </a:cubicBezTo>
                    <a:cubicBezTo>
                      <a:pt x="106" y="83"/>
                      <a:pt x="104" y="53"/>
                      <a:pt x="104" y="49"/>
                    </a:cubicBezTo>
                    <a:cubicBezTo>
                      <a:pt x="105" y="50"/>
                      <a:pt x="105" y="50"/>
                      <a:pt x="105" y="50"/>
                    </a:cubicBezTo>
                    <a:cubicBezTo>
                      <a:pt x="105" y="49"/>
                      <a:pt x="104" y="49"/>
                      <a:pt x="104" y="49"/>
                    </a:cubicBezTo>
                    <a:cubicBezTo>
                      <a:pt x="98" y="44"/>
                      <a:pt x="82" y="37"/>
                      <a:pt x="96" y="32"/>
                    </a:cubicBezTo>
                    <a:cubicBezTo>
                      <a:pt x="101" y="28"/>
                      <a:pt x="110" y="36"/>
                      <a:pt x="112" y="25"/>
                    </a:cubicBezTo>
                    <a:cubicBezTo>
                      <a:pt x="117" y="16"/>
                      <a:pt x="107" y="8"/>
                      <a:pt x="111" y="0"/>
                    </a:cubicBezTo>
                    <a:cubicBezTo>
                      <a:pt x="126" y="1"/>
                      <a:pt x="144" y="1"/>
                      <a:pt x="157" y="6"/>
                    </a:cubicBezTo>
                    <a:cubicBezTo>
                      <a:pt x="154" y="14"/>
                      <a:pt x="161" y="22"/>
                      <a:pt x="167" y="12"/>
                    </a:cubicBezTo>
                    <a:cubicBezTo>
                      <a:pt x="173" y="18"/>
                      <a:pt x="184" y="20"/>
                      <a:pt x="191" y="25"/>
                    </a:cubicBezTo>
                    <a:cubicBezTo>
                      <a:pt x="202" y="20"/>
                      <a:pt x="205" y="34"/>
                      <a:pt x="215" y="29"/>
                    </a:cubicBezTo>
                    <a:cubicBezTo>
                      <a:pt x="227" y="21"/>
                      <a:pt x="240" y="26"/>
                      <a:pt x="253" y="26"/>
                    </a:cubicBezTo>
                    <a:cubicBezTo>
                      <a:pt x="258" y="21"/>
                      <a:pt x="266" y="24"/>
                      <a:pt x="272" y="24"/>
                    </a:cubicBezTo>
                    <a:cubicBezTo>
                      <a:pt x="275" y="27"/>
                      <a:pt x="275" y="27"/>
                      <a:pt x="275" y="27"/>
                    </a:cubicBezTo>
                    <a:cubicBezTo>
                      <a:pt x="272" y="30"/>
                      <a:pt x="270" y="40"/>
                      <a:pt x="269" y="45"/>
                    </a:cubicBezTo>
                    <a:cubicBezTo>
                      <a:pt x="269" y="45"/>
                      <a:pt x="269" y="45"/>
                      <a:pt x="269" y="45"/>
                    </a:cubicBezTo>
                    <a:cubicBezTo>
                      <a:pt x="269" y="46"/>
                      <a:pt x="269" y="47"/>
                      <a:pt x="269" y="47"/>
                    </a:cubicBezTo>
                    <a:cubicBezTo>
                      <a:pt x="269" y="47"/>
                      <a:pt x="269" y="46"/>
                      <a:pt x="269" y="45"/>
                    </a:cubicBezTo>
                    <a:cubicBezTo>
                      <a:pt x="277" y="52"/>
                      <a:pt x="288" y="64"/>
                      <a:pt x="295" y="49"/>
                    </a:cubicBezTo>
                    <a:cubicBezTo>
                      <a:pt x="302" y="33"/>
                      <a:pt x="320" y="45"/>
                      <a:pt x="319" y="58"/>
                    </a:cubicBezTo>
                    <a:cubicBezTo>
                      <a:pt x="328" y="78"/>
                      <a:pt x="336" y="46"/>
                      <a:pt x="349" y="46"/>
                    </a:cubicBezTo>
                    <a:cubicBezTo>
                      <a:pt x="360" y="38"/>
                      <a:pt x="373" y="50"/>
                      <a:pt x="384" y="54"/>
                    </a:cubicBezTo>
                    <a:cubicBezTo>
                      <a:pt x="398" y="65"/>
                      <a:pt x="399" y="45"/>
                      <a:pt x="410" y="44"/>
                    </a:cubicBezTo>
                    <a:cubicBezTo>
                      <a:pt x="418" y="41"/>
                      <a:pt x="435" y="39"/>
                      <a:pt x="423" y="28"/>
                    </a:cubicBezTo>
                    <a:cubicBezTo>
                      <a:pt x="423" y="17"/>
                      <a:pt x="446" y="25"/>
                      <a:pt x="451" y="32"/>
                    </a:cubicBezTo>
                    <a:cubicBezTo>
                      <a:pt x="453" y="39"/>
                      <a:pt x="448" y="45"/>
                      <a:pt x="456" y="49"/>
                    </a:cubicBezTo>
                    <a:cubicBezTo>
                      <a:pt x="450" y="60"/>
                      <a:pt x="469" y="61"/>
                      <a:pt x="462" y="73"/>
                    </a:cubicBezTo>
                    <a:cubicBezTo>
                      <a:pt x="459" y="80"/>
                      <a:pt x="456" y="90"/>
                      <a:pt x="467" y="90"/>
                    </a:cubicBezTo>
                    <a:cubicBezTo>
                      <a:pt x="469" y="102"/>
                      <a:pt x="483" y="103"/>
                      <a:pt x="489" y="111"/>
                    </a:cubicBezTo>
                    <a:cubicBezTo>
                      <a:pt x="486" y="113"/>
                      <a:pt x="494" y="117"/>
                      <a:pt x="487" y="117"/>
                    </a:cubicBezTo>
                    <a:cubicBezTo>
                      <a:pt x="478" y="118"/>
                      <a:pt x="469" y="132"/>
                      <a:pt x="466" y="141"/>
                    </a:cubicBezTo>
                    <a:cubicBezTo>
                      <a:pt x="476" y="145"/>
                      <a:pt x="487" y="125"/>
                      <a:pt x="494" y="140"/>
                    </a:cubicBezTo>
                    <a:cubicBezTo>
                      <a:pt x="494" y="154"/>
                      <a:pt x="486" y="176"/>
                      <a:pt x="502" y="184"/>
                    </a:cubicBezTo>
                    <a:cubicBezTo>
                      <a:pt x="513" y="191"/>
                      <a:pt x="498" y="187"/>
                      <a:pt x="514" y="192"/>
                    </a:cubicBezTo>
                    <a:cubicBezTo>
                      <a:pt x="516" y="195"/>
                      <a:pt x="515" y="200"/>
                      <a:pt x="516" y="203"/>
                    </a:cubicBezTo>
                    <a:cubicBezTo>
                      <a:pt x="514" y="204"/>
                      <a:pt x="514" y="204"/>
                      <a:pt x="514" y="204"/>
                    </a:cubicBezTo>
                    <a:cubicBezTo>
                      <a:pt x="512" y="210"/>
                      <a:pt x="504" y="211"/>
                      <a:pt x="501" y="216"/>
                    </a:cubicBezTo>
                    <a:cubicBezTo>
                      <a:pt x="501" y="216"/>
                      <a:pt x="501" y="216"/>
                      <a:pt x="501" y="216"/>
                    </a:cubicBezTo>
                    <a:cubicBezTo>
                      <a:pt x="502" y="228"/>
                      <a:pt x="500" y="241"/>
                      <a:pt x="499" y="254"/>
                    </a:cubicBezTo>
                    <a:cubicBezTo>
                      <a:pt x="505" y="269"/>
                      <a:pt x="522" y="259"/>
                      <a:pt x="519" y="262"/>
                    </a:cubicBezTo>
                    <a:cubicBezTo>
                      <a:pt x="515" y="272"/>
                      <a:pt x="512" y="281"/>
                      <a:pt x="525" y="284"/>
                    </a:cubicBezTo>
                    <a:cubicBezTo>
                      <a:pt x="527" y="290"/>
                      <a:pt x="507" y="291"/>
                      <a:pt x="511" y="303"/>
                    </a:cubicBezTo>
                    <a:cubicBezTo>
                      <a:pt x="507" y="315"/>
                      <a:pt x="530" y="310"/>
                      <a:pt x="529" y="325"/>
                    </a:cubicBezTo>
                    <a:cubicBezTo>
                      <a:pt x="532" y="332"/>
                      <a:pt x="530" y="350"/>
                      <a:pt x="521" y="337"/>
                    </a:cubicBezTo>
                    <a:cubicBezTo>
                      <a:pt x="520" y="329"/>
                      <a:pt x="514" y="344"/>
                      <a:pt x="511" y="334"/>
                    </a:cubicBezTo>
                    <a:cubicBezTo>
                      <a:pt x="501" y="328"/>
                      <a:pt x="484" y="331"/>
                      <a:pt x="489" y="346"/>
                    </a:cubicBezTo>
                    <a:cubicBezTo>
                      <a:pt x="482" y="361"/>
                      <a:pt x="510" y="350"/>
                      <a:pt x="505" y="364"/>
                    </a:cubicBezTo>
                    <a:cubicBezTo>
                      <a:pt x="512" y="370"/>
                      <a:pt x="495" y="366"/>
                      <a:pt x="498" y="375"/>
                    </a:cubicBezTo>
                    <a:cubicBezTo>
                      <a:pt x="495" y="385"/>
                      <a:pt x="495" y="396"/>
                      <a:pt x="486" y="404"/>
                    </a:cubicBezTo>
                    <a:cubicBezTo>
                      <a:pt x="481" y="399"/>
                      <a:pt x="474" y="401"/>
                      <a:pt x="468" y="401"/>
                    </a:cubicBezTo>
                    <a:cubicBezTo>
                      <a:pt x="464" y="401"/>
                      <a:pt x="461" y="399"/>
                      <a:pt x="460" y="392"/>
                    </a:cubicBezTo>
                    <a:cubicBezTo>
                      <a:pt x="446" y="391"/>
                      <a:pt x="453" y="411"/>
                      <a:pt x="442" y="416"/>
                    </a:cubicBezTo>
                    <a:cubicBezTo>
                      <a:pt x="440" y="422"/>
                      <a:pt x="438" y="428"/>
                      <a:pt x="430" y="425"/>
                    </a:cubicBezTo>
                    <a:cubicBezTo>
                      <a:pt x="419" y="438"/>
                      <a:pt x="417" y="417"/>
                      <a:pt x="408" y="416"/>
                    </a:cubicBezTo>
                    <a:cubicBezTo>
                      <a:pt x="403" y="409"/>
                      <a:pt x="389" y="421"/>
                      <a:pt x="396" y="411"/>
                    </a:cubicBezTo>
                    <a:cubicBezTo>
                      <a:pt x="407" y="399"/>
                      <a:pt x="401" y="384"/>
                      <a:pt x="399" y="371"/>
                    </a:cubicBezTo>
                    <a:cubicBezTo>
                      <a:pt x="403" y="362"/>
                      <a:pt x="395" y="368"/>
                      <a:pt x="397" y="359"/>
                    </a:cubicBezTo>
                    <a:cubicBezTo>
                      <a:pt x="397" y="351"/>
                      <a:pt x="397" y="352"/>
                      <a:pt x="394" y="350"/>
                    </a:cubicBezTo>
                    <a:cubicBezTo>
                      <a:pt x="398" y="342"/>
                      <a:pt x="392" y="335"/>
                      <a:pt x="384" y="337"/>
                    </a:cubicBezTo>
                    <a:cubicBezTo>
                      <a:pt x="386" y="332"/>
                      <a:pt x="385" y="330"/>
                      <a:pt x="380" y="334"/>
                    </a:cubicBezTo>
                    <a:cubicBezTo>
                      <a:pt x="378" y="328"/>
                      <a:pt x="377" y="322"/>
                      <a:pt x="372" y="329"/>
                    </a:cubicBezTo>
                    <a:cubicBezTo>
                      <a:pt x="363" y="329"/>
                      <a:pt x="355" y="339"/>
                      <a:pt x="352" y="327"/>
                    </a:cubicBezTo>
                    <a:cubicBezTo>
                      <a:pt x="348" y="328"/>
                      <a:pt x="344" y="328"/>
                      <a:pt x="339" y="329"/>
                    </a:cubicBezTo>
                    <a:cubicBezTo>
                      <a:pt x="333" y="330"/>
                      <a:pt x="327" y="331"/>
                      <a:pt x="324" y="339"/>
                    </a:cubicBezTo>
                    <a:cubicBezTo>
                      <a:pt x="321" y="343"/>
                      <a:pt x="312" y="342"/>
                      <a:pt x="307" y="341"/>
                    </a:cubicBezTo>
                    <a:cubicBezTo>
                      <a:pt x="312" y="332"/>
                      <a:pt x="316" y="321"/>
                      <a:pt x="325" y="315"/>
                    </a:cubicBezTo>
                    <a:cubicBezTo>
                      <a:pt x="318" y="307"/>
                      <a:pt x="315" y="296"/>
                      <a:pt x="318" y="286"/>
                    </a:cubicBezTo>
                    <a:cubicBezTo>
                      <a:pt x="311" y="284"/>
                      <a:pt x="302" y="280"/>
                      <a:pt x="312" y="273"/>
                    </a:cubicBezTo>
                    <a:cubicBezTo>
                      <a:pt x="317" y="261"/>
                      <a:pt x="298" y="258"/>
                      <a:pt x="299" y="245"/>
                    </a:cubicBezTo>
                    <a:cubicBezTo>
                      <a:pt x="292" y="232"/>
                      <a:pt x="284" y="221"/>
                      <a:pt x="275" y="212"/>
                    </a:cubicBezTo>
                    <a:cubicBezTo>
                      <a:pt x="259" y="211"/>
                      <a:pt x="243" y="211"/>
                      <a:pt x="227" y="211"/>
                    </a:cubicBezTo>
                    <a:cubicBezTo>
                      <a:pt x="220" y="229"/>
                      <a:pt x="198" y="209"/>
                      <a:pt x="185" y="219"/>
                    </a:cubicBezTo>
                    <a:cubicBezTo>
                      <a:pt x="179" y="233"/>
                      <a:pt x="171" y="247"/>
                      <a:pt x="162" y="259"/>
                    </a:cubicBezTo>
                    <a:cubicBezTo>
                      <a:pt x="156" y="267"/>
                      <a:pt x="144" y="262"/>
                      <a:pt x="145" y="275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686" name="Guatemala"/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1848329" y="3994831"/>
                <a:ext cx="105402" cy="139336"/>
              </a:xfrm>
              <a:custGeom>
                <a:avLst/>
                <a:gdLst>
                  <a:gd name="T0" fmla="*/ 55475 w 19"/>
                  <a:gd name="T1" fmla="*/ 100322 h 25"/>
                  <a:gd name="T2" fmla="*/ 44380 w 19"/>
                  <a:gd name="T3" fmla="*/ 139336 h 25"/>
                  <a:gd name="T4" fmla="*/ 0 w 19"/>
                  <a:gd name="T5" fmla="*/ 122616 h 25"/>
                  <a:gd name="T6" fmla="*/ 0 w 19"/>
                  <a:gd name="T7" fmla="*/ 100322 h 25"/>
                  <a:gd name="T8" fmla="*/ 22190 w 19"/>
                  <a:gd name="T9" fmla="*/ 50161 h 25"/>
                  <a:gd name="T10" fmla="*/ 44380 w 19"/>
                  <a:gd name="T11" fmla="*/ 50161 h 25"/>
                  <a:gd name="T12" fmla="*/ 22190 w 19"/>
                  <a:gd name="T13" fmla="*/ 22294 h 25"/>
                  <a:gd name="T14" fmla="*/ 44380 w 19"/>
                  <a:gd name="T15" fmla="*/ 0 h 25"/>
                  <a:gd name="T16" fmla="*/ 94307 w 19"/>
                  <a:gd name="T17" fmla="*/ 0 h 25"/>
                  <a:gd name="T18" fmla="*/ 72117 w 19"/>
                  <a:gd name="T19" fmla="*/ 50161 h 25"/>
                  <a:gd name="T20" fmla="*/ 94307 w 19"/>
                  <a:gd name="T21" fmla="*/ 72455 h 25"/>
                  <a:gd name="T22" fmla="*/ 105402 w 19"/>
                  <a:gd name="T23" fmla="*/ 72455 h 25"/>
                  <a:gd name="T24" fmla="*/ 83212 w 19"/>
                  <a:gd name="T25" fmla="*/ 89175 h 25"/>
                  <a:gd name="T26" fmla="*/ 55475 w 19"/>
                  <a:gd name="T27" fmla="*/ 89175 h 25"/>
                  <a:gd name="T28" fmla="*/ 55475 w 19"/>
                  <a:gd name="T29" fmla="*/ 100322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9"/>
                  <a:gd name="T46" fmla="*/ 0 h 25"/>
                  <a:gd name="T47" fmla="*/ 19 w 19"/>
                  <a:gd name="T48" fmla="*/ 25 h 2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9" h="25">
                    <a:moveTo>
                      <a:pt x="10" y="18"/>
                    </a:moveTo>
                    <a:lnTo>
                      <a:pt x="8" y="25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9"/>
                    </a:lnTo>
                    <a:lnTo>
                      <a:pt x="8" y="9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17" y="0"/>
                    </a:lnTo>
                    <a:lnTo>
                      <a:pt x="13" y="9"/>
                    </a:lnTo>
                    <a:lnTo>
                      <a:pt x="17" y="13"/>
                    </a:lnTo>
                    <a:lnTo>
                      <a:pt x="19" y="13"/>
                    </a:lnTo>
                    <a:lnTo>
                      <a:pt x="15" y="16"/>
                    </a:lnTo>
                    <a:lnTo>
                      <a:pt x="10" y="16"/>
                    </a:lnTo>
                    <a:lnTo>
                      <a:pt x="10" y="18"/>
                    </a:lnTo>
                    <a:close/>
                  </a:path>
                </a:pathLst>
              </a:custGeom>
              <a:solidFill>
                <a:srgbClr val="EF7A04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11" name="Grenada"/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 rot="5400000">
                <a:off x="3223662" y="4617038"/>
                <a:ext cx="43989" cy="11475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4" y="2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lnTo>
                      <a:pt x="4" y="2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12" name="Greenland"/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3113688" y="2060848"/>
                <a:ext cx="1048095" cy="613944"/>
              </a:xfrm>
              <a:custGeom>
                <a:avLst/>
                <a:gdLst/>
                <a:ahLst/>
                <a:cxnLst>
                  <a:cxn ang="0">
                    <a:pos x="6" y="20"/>
                  </a:cxn>
                  <a:cxn ang="0">
                    <a:pos x="0" y="27"/>
                  </a:cxn>
                  <a:cxn ang="0">
                    <a:pos x="27" y="29"/>
                  </a:cxn>
                  <a:cxn ang="0">
                    <a:pos x="35" y="34"/>
                  </a:cxn>
                  <a:cxn ang="0">
                    <a:pos x="37" y="43"/>
                  </a:cxn>
                  <a:cxn ang="0">
                    <a:pos x="35" y="47"/>
                  </a:cxn>
                  <a:cxn ang="0">
                    <a:pos x="37" y="52"/>
                  </a:cxn>
                  <a:cxn ang="0">
                    <a:pos x="39" y="52"/>
                  </a:cxn>
                  <a:cxn ang="0">
                    <a:pos x="35" y="54"/>
                  </a:cxn>
                  <a:cxn ang="0">
                    <a:pos x="35" y="61"/>
                  </a:cxn>
                  <a:cxn ang="0">
                    <a:pos x="43" y="61"/>
                  </a:cxn>
                  <a:cxn ang="0">
                    <a:pos x="35" y="63"/>
                  </a:cxn>
                  <a:cxn ang="0">
                    <a:pos x="27" y="79"/>
                  </a:cxn>
                  <a:cxn ang="0">
                    <a:pos x="27" y="86"/>
                  </a:cxn>
                  <a:cxn ang="0">
                    <a:pos x="29" y="90"/>
                  </a:cxn>
                  <a:cxn ang="0">
                    <a:pos x="35" y="104"/>
                  </a:cxn>
                  <a:cxn ang="0">
                    <a:pos x="48" y="110"/>
                  </a:cxn>
                  <a:cxn ang="0">
                    <a:pos x="58" y="95"/>
                  </a:cxn>
                  <a:cxn ang="0">
                    <a:pos x="68" y="86"/>
                  </a:cxn>
                  <a:cxn ang="0">
                    <a:pos x="70" y="81"/>
                  </a:cxn>
                  <a:cxn ang="0">
                    <a:pos x="87" y="79"/>
                  </a:cxn>
                  <a:cxn ang="0">
                    <a:pos x="125" y="63"/>
                  </a:cxn>
                  <a:cxn ang="0">
                    <a:pos x="141" y="56"/>
                  </a:cxn>
                  <a:cxn ang="0">
                    <a:pos x="133" y="52"/>
                  </a:cxn>
                  <a:cxn ang="0">
                    <a:pos x="146" y="54"/>
                  </a:cxn>
                  <a:cxn ang="0">
                    <a:pos x="146" y="47"/>
                  </a:cxn>
                  <a:cxn ang="0">
                    <a:pos x="146" y="43"/>
                  </a:cxn>
                  <a:cxn ang="0">
                    <a:pos x="156" y="38"/>
                  </a:cxn>
                  <a:cxn ang="0">
                    <a:pos x="156" y="36"/>
                  </a:cxn>
                  <a:cxn ang="0">
                    <a:pos x="154" y="29"/>
                  </a:cxn>
                  <a:cxn ang="0">
                    <a:pos x="164" y="27"/>
                  </a:cxn>
                  <a:cxn ang="0">
                    <a:pos x="162" y="20"/>
                  </a:cxn>
                  <a:cxn ang="0">
                    <a:pos x="164" y="18"/>
                  </a:cxn>
                  <a:cxn ang="0">
                    <a:pos x="189" y="9"/>
                  </a:cxn>
                  <a:cxn ang="0">
                    <a:pos x="162" y="5"/>
                  </a:cxn>
                  <a:cxn ang="0">
                    <a:pos x="148" y="0"/>
                  </a:cxn>
                  <a:cxn ang="0">
                    <a:pos x="77" y="5"/>
                  </a:cxn>
                  <a:cxn ang="0">
                    <a:pos x="48" y="9"/>
                  </a:cxn>
                  <a:cxn ang="0">
                    <a:pos x="22" y="11"/>
                  </a:cxn>
                  <a:cxn ang="0">
                    <a:pos x="31" y="14"/>
                  </a:cxn>
                  <a:cxn ang="0">
                    <a:pos x="4" y="18"/>
                  </a:cxn>
                  <a:cxn ang="0">
                    <a:pos x="0" y="20"/>
                  </a:cxn>
                </a:cxnLst>
                <a:rect l="0" t="0" r="r" b="b"/>
                <a:pathLst>
                  <a:path w="189" h="110">
                    <a:moveTo>
                      <a:pt x="0" y="20"/>
                    </a:moveTo>
                    <a:lnTo>
                      <a:pt x="6" y="20"/>
                    </a:lnTo>
                    <a:lnTo>
                      <a:pt x="6" y="25"/>
                    </a:lnTo>
                    <a:lnTo>
                      <a:pt x="0" y="27"/>
                    </a:lnTo>
                    <a:lnTo>
                      <a:pt x="6" y="29"/>
                    </a:lnTo>
                    <a:lnTo>
                      <a:pt x="27" y="29"/>
                    </a:lnTo>
                    <a:lnTo>
                      <a:pt x="37" y="29"/>
                    </a:lnTo>
                    <a:lnTo>
                      <a:pt x="35" y="34"/>
                    </a:lnTo>
                    <a:lnTo>
                      <a:pt x="37" y="36"/>
                    </a:lnTo>
                    <a:lnTo>
                      <a:pt x="37" y="43"/>
                    </a:lnTo>
                    <a:lnTo>
                      <a:pt x="35" y="45"/>
                    </a:lnTo>
                    <a:lnTo>
                      <a:pt x="35" y="47"/>
                    </a:lnTo>
                    <a:lnTo>
                      <a:pt x="31" y="47"/>
                    </a:lnTo>
                    <a:lnTo>
                      <a:pt x="37" y="52"/>
                    </a:lnTo>
                    <a:lnTo>
                      <a:pt x="39" y="47"/>
                    </a:lnTo>
                    <a:lnTo>
                      <a:pt x="39" y="52"/>
                    </a:lnTo>
                    <a:lnTo>
                      <a:pt x="45" y="54"/>
                    </a:lnTo>
                    <a:lnTo>
                      <a:pt x="35" y="54"/>
                    </a:lnTo>
                    <a:lnTo>
                      <a:pt x="29" y="61"/>
                    </a:lnTo>
                    <a:lnTo>
                      <a:pt x="35" y="61"/>
                    </a:lnTo>
                    <a:lnTo>
                      <a:pt x="43" y="56"/>
                    </a:lnTo>
                    <a:lnTo>
                      <a:pt x="43" y="61"/>
                    </a:lnTo>
                    <a:lnTo>
                      <a:pt x="39" y="63"/>
                    </a:lnTo>
                    <a:lnTo>
                      <a:pt x="35" y="63"/>
                    </a:lnTo>
                    <a:lnTo>
                      <a:pt x="31" y="68"/>
                    </a:lnTo>
                    <a:lnTo>
                      <a:pt x="27" y="79"/>
                    </a:lnTo>
                    <a:lnTo>
                      <a:pt x="29" y="79"/>
                    </a:lnTo>
                    <a:lnTo>
                      <a:pt x="27" y="86"/>
                    </a:lnTo>
                    <a:lnTo>
                      <a:pt x="29" y="88"/>
                    </a:lnTo>
                    <a:lnTo>
                      <a:pt x="29" y="90"/>
                    </a:lnTo>
                    <a:lnTo>
                      <a:pt x="31" y="99"/>
                    </a:lnTo>
                    <a:lnTo>
                      <a:pt x="35" y="104"/>
                    </a:lnTo>
                    <a:lnTo>
                      <a:pt x="45" y="110"/>
                    </a:lnTo>
                    <a:lnTo>
                      <a:pt x="48" y="110"/>
                    </a:lnTo>
                    <a:lnTo>
                      <a:pt x="58" y="97"/>
                    </a:lnTo>
                    <a:lnTo>
                      <a:pt x="58" y="95"/>
                    </a:lnTo>
                    <a:lnTo>
                      <a:pt x="66" y="90"/>
                    </a:lnTo>
                    <a:lnTo>
                      <a:pt x="68" y="86"/>
                    </a:lnTo>
                    <a:lnTo>
                      <a:pt x="68" y="81"/>
                    </a:lnTo>
                    <a:lnTo>
                      <a:pt x="70" y="81"/>
                    </a:lnTo>
                    <a:lnTo>
                      <a:pt x="75" y="79"/>
                    </a:lnTo>
                    <a:lnTo>
                      <a:pt x="87" y="79"/>
                    </a:lnTo>
                    <a:lnTo>
                      <a:pt x="106" y="68"/>
                    </a:lnTo>
                    <a:lnTo>
                      <a:pt x="125" y="63"/>
                    </a:lnTo>
                    <a:lnTo>
                      <a:pt x="139" y="56"/>
                    </a:lnTo>
                    <a:lnTo>
                      <a:pt x="141" y="56"/>
                    </a:lnTo>
                    <a:lnTo>
                      <a:pt x="133" y="54"/>
                    </a:lnTo>
                    <a:lnTo>
                      <a:pt x="133" y="52"/>
                    </a:lnTo>
                    <a:lnTo>
                      <a:pt x="137" y="52"/>
                    </a:lnTo>
                    <a:lnTo>
                      <a:pt x="146" y="54"/>
                    </a:lnTo>
                    <a:lnTo>
                      <a:pt x="146" y="52"/>
                    </a:lnTo>
                    <a:lnTo>
                      <a:pt x="146" y="47"/>
                    </a:lnTo>
                    <a:lnTo>
                      <a:pt x="148" y="45"/>
                    </a:lnTo>
                    <a:lnTo>
                      <a:pt x="146" y="43"/>
                    </a:lnTo>
                    <a:lnTo>
                      <a:pt x="154" y="43"/>
                    </a:lnTo>
                    <a:lnTo>
                      <a:pt x="156" y="38"/>
                    </a:lnTo>
                    <a:lnTo>
                      <a:pt x="158" y="36"/>
                    </a:lnTo>
                    <a:lnTo>
                      <a:pt x="156" y="36"/>
                    </a:lnTo>
                    <a:lnTo>
                      <a:pt x="158" y="29"/>
                    </a:lnTo>
                    <a:lnTo>
                      <a:pt x="154" y="29"/>
                    </a:lnTo>
                    <a:lnTo>
                      <a:pt x="154" y="27"/>
                    </a:lnTo>
                    <a:lnTo>
                      <a:pt x="164" y="27"/>
                    </a:lnTo>
                    <a:lnTo>
                      <a:pt x="164" y="25"/>
                    </a:lnTo>
                    <a:lnTo>
                      <a:pt x="162" y="20"/>
                    </a:lnTo>
                    <a:lnTo>
                      <a:pt x="164" y="20"/>
                    </a:lnTo>
                    <a:lnTo>
                      <a:pt x="164" y="18"/>
                    </a:lnTo>
                    <a:lnTo>
                      <a:pt x="177" y="11"/>
                    </a:lnTo>
                    <a:lnTo>
                      <a:pt x="189" y="9"/>
                    </a:lnTo>
                    <a:lnTo>
                      <a:pt x="177" y="5"/>
                    </a:lnTo>
                    <a:lnTo>
                      <a:pt x="162" y="5"/>
                    </a:lnTo>
                    <a:lnTo>
                      <a:pt x="166" y="2"/>
                    </a:lnTo>
                    <a:lnTo>
                      <a:pt x="148" y="0"/>
                    </a:lnTo>
                    <a:lnTo>
                      <a:pt x="102" y="2"/>
                    </a:lnTo>
                    <a:lnTo>
                      <a:pt x="77" y="5"/>
                    </a:lnTo>
                    <a:lnTo>
                      <a:pt x="45" y="5"/>
                    </a:lnTo>
                    <a:lnTo>
                      <a:pt x="48" y="9"/>
                    </a:lnTo>
                    <a:lnTo>
                      <a:pt x="39" y="9"/>
                    </a:lnTo>
                    <a:lnTo>
                      <a:pt x="22" y="11"/>
                    </a:lnTo>
                    <a:lnTo>
                      <a:pt x="31" y="11"/>
                    </a:lnTo>
                    <a:lnTo>
                      <a:pt x="31" y="14"/>
                    </a:lnTo>
                    <a:lnTo>
                      <a:pt x="27" y="18"/>
                    </a:lnTo>
                    <a:lnTo>
                      <a:pt x="4" y="18"/>
                    </a:lnTo>
                    <a:lnTo>
                      <a:pt x="2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13" name="Georgia"/>
              <p:cNvSpPr>
                <a:spLocks/>
              </p:cNvSpPr>
              <p:nvPr>
                <p:custDataLst>
                  <p:tags r:id="rId95"/>
                </p:custDataLst>
              </p:nvPr>
            </p:nvSpPr>
            <p:spPr bwMode="auto">
              <a:xfrm>
                <a:off x="5215615" y="3175894"/>
                <a:ext cx="166395" cy="78417"/>
              </a:xfrm>
              <a:custGeom>
                <a:avLst/>
                <a:gdLst/>
                <a:ahLst/>
                <a:cxnLst>
                  <a:cxn ang="0">
                    <a:pos x="23" y="14"/>
                  </a:cxn>
                  <a:cxn ang="0">
                    <a:pos x="23" y="9"/>
                  </a:cxn>
                  <a:cxn ang="0">
                    <a:pos x="30" y="9"/>
                  </a:cxn>
                  <a:cxn ang="0">
                    <a:pos x="23" y="5"/>
                  </a:cxn>
                  <a:cxn ang="0">
                    <a:pos x="17" y="5"/>
                  </a:cxn>
                  <a:cxn ang="0">
                    <a:pos x="13" y="0"/>
                  </a:cxn>
                  <a:cxn ang="0">
                    <a:pos x="0" y="0"/>
                  </a:cxn>
                  <a:cxn ang="0">
                    <a:pos x="4" y="5"/>
                  </a:cxn>
                  <a:cxn ang="0">
                    <a:pos x="9" y="7"/>
                  </a:cxn>
                  <a:cxn ang="0">
                    <a:pos x="9" y="9"/>
                  </a:cxn>
                  <a:cxn ang="0">
                    <a:pos x="15" y="9"/>
                  </a:cxn>
                  <a:cxn ang="0">
                    <a:pos x="15" y="14"/>
                  </a:cxn>
                  <a:cxn ang="0">
                    <a:pos x="19" y="14"/>
                  </a:cxn>
                  <a:cxn ang="0">
                    <a:pos x="23" y="14"/>
                  </a:cxn>
                </a:cxnLst>
                <a:rect l="0" t="0" r="r" b="b"/>
                <a:pathLst>
                  <a:path w="30" h="14">
                    <a:moveTo>
                      <a:pt x="23" y="14"/>
                    </a:moveTo>
                    <a:lnTo>
                      <a:pt x="23" y="9"/>
                    </a:lnTo>
                    <a:lnTo>
                      <a:pt x="30" y="9"/>
                    </a:lnTo>
                    <a:lnTo>
                      <a:pt x="23" y="5"/>
                    </a:lnTo>
                    <a:lnTo>
                      <a:pt x="17" y="5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4" y="5"/>
                    </a:lnTo>
                    <a:lnTo>
                      <a:pt x="9" y="7"/>
                    </a:lnTo>
                    <a:lnTo>
                      <a:pt x="9" y="9"/>
                    </a:lnTo>
                    <a:lnTo>
                      <a:pt x="15" y="9"/>
                    </a:lnTo>
                    <a:lnTo>
                      <a:pt x="15" y="14"/>
                    </a:lnTo>
                    <a:lnTo>
                      <a:pt x="19" y="14"/>
                    </a:lnTo>
                    <a:lnTo>
                      <a:pt x="23" y="14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614" name="Greece"/>
              <p:cNvGrpSpPr/>
              <p:nvPr/>
            </p:nvGrpSpPr>
            <p:grpSpPr>
              <a:xfrm>
                <a:off x="4755219" y="3225696"/>
                <a:ext cx="194163" cy="228511"/>
                <a:chOff x="4755219" y="3206607"/>
                <a:chExt cx="194163" cy="228511"/>
              </a:xfrm>
              <a:solidFill>
                <a:srgbClr val="D992FF"/>
              </a:solidFill>
            </p:grpSpPr>
            <p:sp>
              <p:nvSpPr>
                <p:cNvPr id="760" name="Greece"/>
                <p:cNvSpPr>
                  <a:spLocks/>
                </p:cNvSpPr>
                <p:nvPr/>
              </p:nvSpPr>
              <p:spPr bwMode="auto">
                <a:xfrm>
                  <a:off x="4755219" y="3206607"/>
                  <a:ext cx="138687" cy="139336"/>
                </a:xfrm>
                <a:custGeom>
                  <a:avLst/>
                  <a:gdLst/>
                  <a:ahLst/>
                  <a:cxnLst>
                    <a:cxn ang="0">
                      <a:pos x="25" y="0"/>
                    </a:cxn>
                    <a:cxn ang="0">
                      <a:pos x="21" y="5"/>
                    </a:cxn>
                    <a:cxn ang="0">
                      <a:pos x="17" y="0"/>
                    </a:cxn>
                    <a:cxn ang="0">
                      <a:pos x="10" y="5"/>
                    </a:cxn>
                    <a:cxn ang="0">
                      <a:pos x="2" y="7"/>
                    </a:cxn>
                    <a:cxn ang="0">
                      <a:pos x="0" y="14"/>
                    </a:cxn>
                    <a:cxn ang="0">
                      <a:pos x="4" y="18"/>
                    </a:cxn>
                    <a:cxn ang="0">
                      <a:pos x="10" y="18"/>
                    </a:cxn>
                    <a:cxn ang="0">
                      <a:pos x="17" y="25"/>
                    </a:cxn>
                    <a:cxn ang="0">
                      <a:pos x="17" y="23"/>
                    </a:cxn>
                    <a:cxn ang="0">
                      <a:pos x="19" y="23"/>
                    </a:cxn>
                    <a:cxn ang="0">
                      <a:pos x="12" y="16"/>
                    </a:cxn>
                    <a:cxn ang="0">
                      <a:pos x="10" y="9"/>
                    </a:cxn>
                    <a:cxn ang="0">
                      <a:pos x="10" y="7"/>
                    </a:cxn>
                    <a:cxn ang="0">
                      <a:pos x="12" y="9"/>
                    </a:cxn>
                    <a:cxn ang="0">
                      <a:pos x="12" y="7"/>
                    </a:cxn>
                    <a:cxn ang="0">
                      <a:pos x="17" y="5"/>
                    </a:cxn>
                    <a:cxn ang="0">
                      <a:pos x="21" y="7"/>
                    </a:cxn>
                    <a:cxn ang="0">
                      <a:pos x="25" y="7"/>
                    </a:cxn>
                    <a:cxn ang="0">
                      <a:pos x="25" y="5"/>
                    </a:cxn>
                    <a:cxn ang="0">
                      <a:pos x="25" y="0"/>
                    </a:cxn>
                  </a:cxnLst>
                  <a:rect l="0" t="0" r="r" b="b"/>
                  <a:pathLst>
                    <a:path w="25" h="25">
                      <a:moveTo>
                        <a:pt x="25" y="0"/>
                      </a:moveTo>
                      <a:lnTo>
                        <a:pt x="21" y="5"/>
                      </a:lnTo>
                      <a:lnTo>
                        <a:pt x="17" y="0"/>
                      </a:lnTo>
                      <a:lnTo>
                        <a:pt x="10" y="5"/>
                      </a:lnTo>
                      <a:lnTo>
                        <a:pt x="2" y="7"/>
                      </a:lnTo>
                      <a:lnTo>
                        <a:pt x="0" y="14"/>
                      </a:lnTo>
                      <a:lnTo>
                        <a:pt x="4" y="18"/>
                      </a:lnTo>
                      <a:lnTo>
                        <a:pt x="10" y="18"/>
                      </a:lnTo>
                      <a:lnTo>
                        <a:pt x="17" y="25"/>
                      </a:lnTo>
                      <a:lnTo>
                        <a:pt x="17" y="23"/>
                      </a:lnTo>
                      <a:lnTo>
                        <a:pt x="19" y="23"/>
                      </a:lnTo>
                      <a:lnTo>
                        <a:pt x="12" y="16"/>
                      </a:lnTo>
                      <a:lnTo>
                        <a:pt x="10" y="9"/>
                      </a:lnTo>
                      <a:lnTo>
                        <a:pt x="10" y="7"/>
                      </a:lnTo>
                      <a:lnTo>
                        <a:pt x="12" y="9"/>
                      </a:lnTo>
                      <a:lnTo>
                        <a:pt x="12" y="7"/>
                      </a:lnTo>
                      <a:lnTo>
                        <a:pt x="17" y="5"/>
                      </a:lnTo>
                      <a:lnTo>
                        <a:pt x="21" y="7"/>
                      </a:lnTo>
                      <a:lnTo>
                        <a:pt x="25" y="7"/>
                      </a:lnTo>
                      <a:lnTo>
                        <a:pt x="25" y="5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61" name="Greece"/>
                <p:cNvSpPr>
                  <a:spLocks/>
                </p:cNvSpPr>
                <p:nvPr/>
              </p:nvSpPr>
              <p:spPr bwMode="auto">
                <a:xfrm>
                  <a:off x="4777410" y="3306929"/>
                  <a:ext cx="44380" cy="78028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0" y="7"/>
                    </a:cxn>
                    <a:cxn ang="0">
                      <a:pos x="4" y="9"/>
                    </a:cxn>
                    <a:cxn ang="0">
                      <a:pos x="6" y="14"/>
                    </a:cxn>
                    <a:cxn ang="0">
                      <a:pos x="6" y="9"/>
                    </a:cxn>
                    <a:cxn ang="0">
                      <a:pos x="8" y="14"/>
                    </a:cxn>
                    <a:cxn ang="0">
                      <a:pos x="6" y="7"/>
                    </a:cxn>
                    <a:cxn ang="0">
                      <a:pos x="8" y="7"/>
                    </a:cxn>
                    <a:cxn ang="0">
                      <a:pos x="6" y="5"/>
                    </a:cxn>
                    <a:cxn ang="0">
                      <a:pos x="4" y="0"/>
                    </a:cxn>
                    <a:cxn ang="0">
                      <a:pos x="2" y="3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8" h="14">
                      <a:moveTo>
                        <a:pt x="0" y="5"/>
                      </a:moveTo>
                      <a:lnTo>
                        <a:pt x="0" y="7"/>
                      </a:lnTo>
                      <a:lnTo>
                        <a:pt x="4" y="9"/>
                      </a:lnTo>
                      <a:lnTo>
                        <a:pt x="6" y="14"/>
                      </a:lnTo>
                      <a:lnTo>
                        <a:pt x="6" y="9"/>
                      </a:lnTo>
                      <a:lnTo>
                        <a:pt x="8" y="14"/>
                      </a:lnTo>
                      <a:lnTo>
                        <a:pt x="6" y="7"/>
                      </a:lnTo>
                      <a:lnTo>
                        <a:pt x="8" y="7"/>
                      </a:lnTo>
                      <a:lnTo>
                        <a:pt x="6" y="5"/>
                      </a:lnTo>
                      <a:lnTo>
                        <a:pt x="4" y="0"/>
                      </a:lnTo>
                      <a:lnTo>
                        <a:pt x="2" y="3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62" name="Greece"/>
                <p:cNvSpPr>
                  <a:spLocks/>
                </p:cNvSpPr>
                <p:nvPr/>
              </p:nvSpPr>
              <p:spPr bwMode="auto">
                <a:xfrm>
                  <a:off x="4849527" y="3396104"/>
                  <a:ext cx="55475" cy="39014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4" y="7"/>
                    </a:cxn>
                    <a:cxn ang="0">
                      <a:pos x="10" y="7"/>
                    </a:cxn>
                    <a:cxn ang="0">
                      <a:pos x="10" y="5"/>
                    </a:cxn>
                    <a:cxn ang="0">
                      <a:pos x="8" y="5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10" h="7">
                      <a:moveTo>
                        <a:pt x="0" y="5"/>
                      </a:moveTo>
                      <a:lnTo>
                        <a:pt x="4" y="7"/>
                      </a:lnTo>
                      <a:lnTo>
                        <a:pt x="10" y="7"/>
                      </a:lnTo>
                      <a:lnTo>
                        <a:pt x="10" y="5"/>
                      </a:lnTo>
                      <a:lnTo>
                        <a:pt x="8" y="5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63" name="Greece"/>
                <p:cNvSpPr>
                  <a:spLocks/>
                </p:cNvSpPr>
                <p:nvPr/>
              </p:nvSpPr>
              <p:spPr bwMode="auto">
                <a:xfrm>
                  <a:off x="4938287" y="3384958"/>
                  <a:ext cx="11095" cy="1114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grpSp>
            <p:nvGrpSpPr>
              <p:cNvPr id="615" name="Great Britain"/>
              <p:cNvGrpSpPr/>
              <p:nvPr/>
            </p:nvGrpSpPr>
            <p:grpSpPr>
              <a:xfrm>
                <a:off x="4106161" y="2701794"/>
                <a:ext cx="221901" cy="261952"/>
                <a:chOff x="4106161" y="2682705"/>
                <a:chExt cx="221901" cy="261952"/>
              </a:xfrm>
              <a:solidFill>
                <a:srgbClr val="D992FF"/>
              </a:solidFill>
            </p:grpSpPr>
            <p:sp>
              <p:nvSpPr>
                <p:cNvPr id="757" name="Freeform 1444"/>
                <p:cNvSpPr>
                  <a:spLocks/>
                </p:cNvSpPr>
                <p:nvPr/>
              </p:nvSpPr>
              <p:spPr bwMode="auto">
                <a:xfrm>
                  <a:off x="4139447" y="2682705"/>
                  <a:ext cx="22190" cy="39014"/>
                </a:xfrm>
                <a:custGeom>
                  <a:avLst/>
                  <a:gdLst/>
                  <a:ahLst/>
                  <a:cxnLst>
                    <a:cxn ang="0">
                      <a:pos x="0" y="7"/>
                    </a:cxn>
                    <a:cxn ang="0">
                      <a:pos x="2" y="7"/>
                    </a:cxn>
                    <a:cxn ang="0">
                      <a:pos x="4" y="0"/>
                    </a:cxn>
                    <a:cxn ang="0">
                      <a:pos x="0" y="4"/>
                    </a:cxn>
                    <a:cxn ang="0">
                      <a:pos x="0" y="7"/>
                    </a:cxn>
                  </a:cxnLst>
                  <a:rect l="0" t="0" r="r" b="b"/>
                  <a:pathLst>
                    <a:path w="4" h="7">
                      <a:moveTo>
                        <a:pt x="0" y="7"/>
                      </a:moveTo>
                      <a:lnTo>
                        <a:pt x="2" y="7"/>
                      </a:lnTo>
                      <a:lnTo>
                        <a:pt x="4" y="0"/>
                      </a:lnTo>
                      <a:lnTo>
                        <a:pt x="0" y="4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58" name="North Ireland"/>
                <p:cNvSpPr>
                  <a:spLocks/>
                </p:cNvSpPr>
                <p:nvPr/>
              </p:nvSpPr>
              <p:spPr bwMode="auto">
                <a:xfrm>
                  <a:off x="4106161" y="2783026"/>
                  <a:ext cx="44380" cy="3901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4"/>
                    </a:cxn>
                    <a:cxn ang="0">
                      <a:pos x="2" y="7"/>
                    </a:cxn>
                    <a:cxn ang="0">
                      <a:pos x="8" y="7"/>
                    </a:cxn>
                    <a:cxn ang="0">
                      <a:pos x="8" y="0"/>
                    </a:cxn>
                    <a:cxn ang="0">
                      <a:pos x="4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7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2" y="7"/>
                      </a:lnTo>
                      <a:lnTo>
                        <a:pt x="8" y="7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59" name="UK"/>
                <p:cNvSpPr>
                  <a:spLocks/>
                </p:cNvSpPr>
                <p:nvPr/>
              </p:nvSpPr>
              <p:spPr bwMode="auto">
                <a:xfrm>
                  <a:off x="4150542" y="2682705"/>
                  <a:ext cx="177520" cy="261952"/>
                </a:xfrm>
                <a:custGeom>
                  <a:avLst/>
                  <a:gdLst/>
                  <a:ahLst/>
                  <a:cxnLst>
                    <a:cxn ang="0">
                      <a:pos x="0" y="47"/>
                    </a:cxn>
                    <a:cxn ang="0">
                      <a:pos x="2" y="47"/>
                    </a:cxn>
                    <a:cxn ang="0">
                      <a:pos x="9" y="47"/>
                    </a:cxn>
                    <a:cxn ang="0">
                      <a:pos x="11" y="43"/>
                    </a:cxn>
                    <a:cxn ang="0">
                      <a:pos x="15" y="47"/>
                    </a:cxn>
                    <a:cxn ang="0">
                      <a:pos x="25" y="43"/>
                    </a:cxn>
                    <a:cxn ang="0">
                      <a:pos x="30" y="40"/>
                    </a:cxn>
                    <a:cxn ang="0">
                      <a:pos x="25" y="40"/>
                    </a:cxn>
                    <a:cxn ang="0">
                      <a:pos x="32" y="34"/>
                    </a:cxn>
                    <a:cxn ang="0">
                      <a:pos x="30" y="31"/>
                    </a:cxn>
                    <a:cxn ang="0">
                      <a:pos x="23" y="31"/>
                    </a:cxn>
                    <a:cxn ang="0">
                      <a:pos x="25" y="31"/>
                    </a:cxn>
                    <a:cxn ang="0">
                      <a:pos x="23" y="25"/>
                    </a:cxn>
                    <a:cxn ang="0">
                      <a:pos x="19" y="22"/>
                    </a:cxn>
                    <a:cxn ang="0">
                      <a:pos x="17" y="16"/>
                    </a:cxn>
                    <a:cxn ang="0">
                      <a:pos x="11" y="16"/>
                    </a:cxn>
                    <a:cxn ang="0">
                      <a:pos x="17" y="7"/>
                    </a:cxn>
                    <a:cxn ang="0">
                      <a:pos x="9" y="7"/>
                    </a:cxn>
                    <a:cxn ang="0">
                      <a:pos x="15" y="4"/>
                    </a:cxn>
                    <a:cxn ang="0">
                      <a:pos x="15" y="0"/>
                    </a:cxn>
                    <a:cxn ang="0">
                      <a:pos x="7" y="0"/>
                    </a:cxn>
                    <a:cxn ang="0">
                      <a:pos x="2" y="7"/>
                    </a:cxn>
                    <a:cxn ang="0">
                      <a:pos x="2" y="9"/>
                    </a:cxn>
                    <a:cxn ang="0">
                      <a:pos x="0" y="13"/>
                    </a:cxn>
                    <a:cxn ang="0">
                      <a:pos x="2" y="13"/>
                    </a:cxn>
                    <a:cxn ang="0">
                      <a:pos x="2" y="16"/>
                    </a:cxn>
                    <a:cxn ang="0">
                      <a:pos x="0" y="16"/>
                    </a:cxn>
                    <a:cxn ang="0">
                      <a:pos x="2" y="16"/>
                    </a:cxn>
                    <a:cxn ang="0">
                      <a:pos x="2" y="18"/>
                    </a:cxn>
                    <a:cxn ang="0">
                      <a:pos x="7" y="16"/>
                    </a:cxn>
                    <a:cxn ang="0">
                      <a:pos x="7" y="18"/>
                    </a:cxn>
                    <a:cxn ang="0">
                      <a:pos x="2" y="22"/>
                    </a:cxn>
                    <a:cxn ang="0">
                      <a:pos x="7" y="22"/>
                    </a:cxn>
                    <a:cxn ang="0">
                      <a:pos x="11" y="22"/>
                    </a:cxn>
                    <a:cxn ang="0">
                      <a:pos x="9" y="22"/>
                    </a:cxn>
                    <a:cxn ang="0">
                      <a:pos x="15" y="25"/>
                    </a:cxn>
                    <a:cxn ang="0">
                      <a:pos x="11" y="31"/>
                    </a:cxn>
                    <a:cxn ang="0">
                      <a:pos x="7" y="31"/>
                    </a:cxn>
                    <a:cxn ang="0">
                      <a:pos x="7" y="34"/>
                    </a:cxn>
                    <a:cxn ang="0">
                      <a:pos x="2" y="38"/>
                    </a:cxn>
                    <a:cxn ang="0">
                      <a:pos x="2" y="40"/>
                    </a:cxn>
                    <a:cxn ang="0">
                      <a:pos x="9" y="40"/>
                    </a:cxn>
                    <a:cxn ang="0">
                      <a:pos x="11" y="40"/>
                    </a:cxn>
                    <a:cxn ang="0">
                      <a:pos x="7" y="40"/>
                    </a:cxn>
                    <a:cxn ang="0">
                      <a:pos x="2" y="45"/>
                    </a:cxn>
                    <a:cxn ang="0">
                      <a:pos x="0" y="47"/>
                    </a:cxn>
                  </a:cxnLst>
                  <a:rect l="0" t="0" r="r" b="b"/>
                  <a:pathLst>
                    <a:path w="32" h="47">
                      <a:moveTo>
                        <a:pt x="0" y="47"/>
                      </a:moveTo>
                      <a:lnTo>
                        <a:pt x="2" y="47"/>
                      </a:lnTo>
                      <a:lnTo>
                        <a:pt x="9" y="47"/>
                      </a:lnTo>
                      <a:lnTo>
                        <a:pt x="11" y="43"/>
                      </a:lnTo>
                      <a:lnTo>
                        <a:pt x="15" y="47"/>
                      </a:lnTo>
                      <a:lnTo>
                        <a:pt x="25" y="43"/>
                      </a:lnTo>
                      <a:lnTo>
                        <a:pt x="30" y="40"/>
                      </a:lnTo>
                      <a:lnTo>
                        <a:pt x="25" y="40"/>
                      </a:lnTo>
                      <a:lnTo>
                        <a:pt x="32" y="34"/>
                      </a:lnTo>
                      <a:lnTo>
                        <a:pt x="30" y="31"/>
                      </a:lnTo>
                      <a:lnTo>
                        <a:pt x="23" y="31"/>
                      </a:lnTo>
                      <a:lnTo>
                        <a:pt x="25" y="31"/>
                      </a:lnTo>
                      <a:lnTo>
                        <a:pt x="23" y="25"/>
                      </a:lnTo>
                      <a:lnTo>
                        <a:pt x="19" y="22"/>
                      </a:lnTo>
                      <a:lnTo>
                        <a:pt x="17" y="16"/>
                      </a:lnTo>
                      <a:lnTo>
                        <a:pt x="11" y="16"/>
                      </a:lnTo>
                      <a:lnTo>
                        <a:pt x="17" y="7"/>
                      </a:lnTo>
                      <a:lnTo>
                        <a:pt x="9" y="7"/>
                      </a:lnTo>
                      <a:lnTo>
                        <a:pt x="15" y="4"/>
                      </a:lnTo>
                      <a:lnTo>
                        <a:pt x="15" y="0"/>
                      </a:lnTo>
                      <a:lnTo>
                        <a:pt x="7" y="0"/>
                      </a:lnTo>
                      <a:lnTo>
                        <a:pt x="2" y="7"/>
                      </a:lnTo>
                      <a:lnTo>
                        <a:pt x="2" y="9"/>
                      </a:lnTo>
                      <a:lnTo>
                        <a:pt x="0" y="13"/>
                      </a:lnTo>
                      <a:lnTo>
                        <a:pt x="2" y="13"/>
                      </a:lnTo>
                      <a:lnTo>
                        <a:pt x="2" y="16"/>
                      </a:lnTo>
                      <a:lnTo>
                        <a:pt x="0" y="16"/>
                      </a:lnTo>
                      <a:lnTo>
                        <a:pt x="2" y="16"/>
                      </a:lnTo>
                      <a:lnTo>
                        <a:pt x="2" y="18"/>
                      </a:lnTo>
                      <a:lnTo>
                        <a:pt x="7" y="16"/>
                      </a:lnTo>
                      <a:lnTo>
                        <a:pt x="7" y="18"/>
                      </a:lnTo>
                      <a:lnTo>
                        <a:pt x="2" y="22"/>
                      </a:lnTo>
                      <a:lnTo>
                        <a:pt x="7" y="22"/>
                      </a:lnTo>
                      <a:lnTo>
                        <a:pt x="11" y="22"/>
                      </a:lnTo>
                      <a:lnTo>
                        <a:pt x="9" y="22"/>
                      </a:lnTo>
                      <a:lnTo>
                        <a:pt x="15" y="25"/>
                      </a:lnTo>
                      <a:lnTo>
                        <a:pt x="11" y="31"/>
                      </a:lnTo>
                      <a:lnTo>
                        <a:pt x="7" y="31"/>
                      </a:lnTo>
                      <a:lnTo>
                        <a:pt x="7" y="34"/>
                      </a:lnTo>
                      <a:lnTo>
                        <a:pt x="2" y="38"/>
                      </a:lnTo>
                      <a:lnTo>
                        <a:pt x="2" y="40"/>
                      </a:lnTo>
                      <a:lnTo>
                        <a:pt x="9" y="40"/>
                      </a:lnTo>
                      <a:lnTo>
                        <a:pt x="11" y="40"/>
                      </a:lnTo>
                      <a:lnTo>
                        <a:pt x="7" y="40"/>
                      </a:lnTo>
                      <a:lnTo>
                        <a:pt x="2" y="45"/>
                      </a:lnTo>
                      <a:lnTo>
                        <a:pt x="0" y="4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48692" name="Ghana"/>
              <p:cNvSpPr>
                <a:spLocks/>
              </p:cNvSpPr>
              <p:nvPr/>
            </p:nvSpPr>
            <p:spPr bwMode="auto">
              <a:xfrm>
                <a:off x="4131566" y="4206622"/>
                <a:ext cx="120964" cy="213634"/>
              </a:xfrm>
              <a:custGeom>
                <a:avLst/>
                <a:gdLst>
                  <a:gd name="T0" fmla="*/ 530857 w 332"/>
                  <a:gd name="T1" fmla="*/ 87712331 h 494"/>
                  <a:gd name="T2" fmla="*/ 4380937 w 332"/>
                  <a:gd name="T3" fmla="*/ 84345650 h 494"/>
                  <a:gd name="T4" fmla="*/ 2522391 w 332"/>
                  <a:gd name="T5" fmla="*/ 78548126 h 494"/>
                  <a:gd name="T6" fmla="*/ 132623 w 332"/>
                  <a:gd name="T7" fmla="*/ 66579003 h 494"/>
                  <a:gd name="T8" fmla="*/ 3185871 w 332"/>
                  <a:gd name="T9" fmla="*/ 52552667 h 494"/>
                  <a:gd name="T10" fmla="*/ 7035951 w 332"/>
                  <a:gd name="T11" fmla="*/ 42453490 h 494"/>
                  <a:gd name="T12" fmla="*/ 6239120 w 332"/>
                  <a:gd name="T13" fmla="*/ 30484367 h 494"/>
                  <a:gd name="T14" fmla="*/ 6504730 w 332"/>
                  <a:gd name="T15" fmla="*/ 23938685 h 494"/>
                  <a:gd name="T16" fmla="*/ 5575638 w 332"/>
                  <a:gd name="T17" fmla="*/ 14400405 h 494"/>
                  <a:gd name="T18" fmla="*/ 4779171 w 332"/>
                  <a:gd name="T19" fmla="*/ 5797525 h 494"/>
                  <a:gd name="T20" fmla="*/ 14204162 w 332"/>
                  <a:gd name="T21" fmla="*/ 2244022 h 494"/>
                  <a:gd name="T22" fmla="*/ 25222454 w 332"/>
                  <a:gd name="T23" fmla="*/ 2618098 h 494"/>
                  <a:gd name="T24" fmla="*/ 30267233 w 332"/>
                  <a:gd name="T25" fmla="*/ 1309049 h 494"/>
                  <a:gd name="T26" fmla="*/ 31860168 w 332"/>
                  <a:gd name="T27" fmla="*/ 748151 h 494"/>
                  <a:gd name="T28" fmla="*/ 32922246 w 332"/>
                  <a:gd name="T29" fmla="*/ 5423450 h 494"/>
                  <a:gd name="T30" fmla="*/ 36506350 w 332"/>
                  <a:gd name="T31" fmla="*/ 14026326 h 494"/>
                  <a:gd name="T32" fmla="*/ 35444272 w 332"/>
                  <a:gd name="T33" fmla="*/ 22255129 h 494"/>
                  <a:gd name="T34" fmla="*/ 35444272 w 332"/>
                  <a:gd name="T35" fmla="*/ 22255129 h 494"/>
                  <a:gd name="T36" fmla="*/ 35046038 w 332"/>
                  <a:gd name="T37" fmla="*/ 24499582 h 494"/>
                  <a:gd name="T38" fmla="*/ 37170195 w 332"/>
                  <a:gd name="T39" fmla="*/ 30297113 h 494"/>
                  <a:gd name="T40" fmla="*/ 39426974 w 332"/>
                  <a:gd name="T41" fmla="*/ 41331263 h 494"/>
                  <a:gd name="T42" fmla="*/ 37568428 w 332"/>
                  <a:gd name="T43" fmla="*/ 53674462 h 494"/>
                  <a:gd name="T44" fmla="*/ 37435805 w 332"/>
                  <a:gd name="T45" fmla="*/ 61903274 h 494"/>
                  <a:gd name="T46" fmla="*/ 41816376 w 332"/>
                  <a:gd name="T47" fmla="*/ 69758430 h 494"/>
                  <a:gd name="T48" fmla="*/ 44073156 w 332"/>
                  <a:gd name="T49" fmla="*/ 73311500 h 494"/>
                  <a:gd name="T50" fmla="*/ 42612844 w 332"/>
                  <a:gd name="T51" fmla="*/ 75742775 h 494"/>
                  <a:gd name="T52" fmla="*/ 39825208 w 332"/>
                  <a:gd name="T53" fmla="*/ 77613154 h 494"/>
                  <a:gd name="T54" fmla="*/ 38232273 w 332"/>
                  <a:gd name="T55" fmla="*/ 76116851 h 494"/>
                  <a:gd name="T56" fmla="*/ 35842506 w 332"/>
                  <a:gd name="T57" fmla="*/ 72750603 h 494"/>
                  <a:gd name="T58" fmla="*/ 33851337 w 332"/>
                  <a:gd name="T59" fmla="*/ 72563781 h 494"/>
                  <a:gd name="T60" fmla="*/ 36108116 w 332"/>
                  <a:gd name="T61" fmla="*/ 72937424 h 494"/>
                  <a:gd name="T62" fmla="*/ 37966662 w 332"/>
                  <a:gd name="T63" fmla="*/ 74994624 h 494"/>
                  <a:gd name="T64" fmla="*/ 37966662 w 332"/>
                  <a:gd name="T65" fmla="*/ 77425900 h 494"/>
                  <a:gd name="T66" fmla="*/ 25222454 w 332"/>
                  <a:gd name="T67" fmla="*/ 85093801 h 494"/>
                  <a:gd name="T68" fmla="*/ 17124785 w 332"/>
                  <a:gd name="T69" fmla="*/ 88460050 h 494"/>
                  <a:gd name="T70" fmla="*/ 6372107 w 332"/>
                  <a:gd name="T71" fmla="*/ 89021379 h 49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32"/>
                  <a:gd name="T109" fmla="*/ 0 h 494"/>
                  <a:gd name="T110" fmla="*/ 332 w 332"/>
                  <a:gd name="T111" fmla="*/ 494 h 49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32" h="494">
                    <a:moveTo>
                      <a:pt x="15" y="472"/>
                    </a:moveTo>
                    <a:cubicBezTo>
                      <a:pt x="11" y="471"/>
                      <a:pt x="8" y="470"/>
                      <a:pt x="4" y="469"/>
                    </a:cubicBezTo>
                    <a:cubicBezTo>
                      <a:pt x="4" y="469"/>
                      <a:pt x="4" y="469"/>
                      <a:pt x="4" y="469"/>
                    </a:cubicBezTo>
                    <a:cubicBezTo>
                      <a:pt x="10" y="457"/>
                      <a:pt x="40" y="478"/>
                      <a:pt x="33" y="451"/>
                    </a:cubicBezTo>
                    <a:cubicBezTo>
                      <a:pt x="29" y="442"/>
                      <a:pt x="41" y="442"/>
                      <a:pt x="35" y="434"/>
                    </a:cubicBezTo>
                    <a:cubicBezTo>
                      <a:pt x="36" y="423"/>
                      <a:pt x="28" y="420"/>
                      <a:pt x="19" y="420"/>
                    </a:cubicBezTo>
                    <a:cubicBezTo>
                      <a:pt x="19" y="414"/>
                      <a:pt x="12" y="412"/>
                      <a:pt x="16" y="404"/>
                    </a:cubicBezTo>
                    <a:cubicBezTo>
                      <a:pt x="11" y="388"/>
                      <a:pt x="5" y="373"/>
                      <a:pt x="1" y="356"/>
                    </a:cubicBezTo>
                    <a:cubicBezTo>
                      <a:pt x="0" y="340"/>
                      <a:pt x="2" y="325"/>
                      <a:pt x="12" y="312"/>
                    </a:cubicBezTo>
                    <a:cubicBezTo>
                      <a:pt x="24" y="306"/>
                      <a:pt x="20" y="292"/>
                      <a:pt x="24" y="281"/>
                    </a:cubicBezTo>
                    <a:cubicBezTo>
                      <a:pt x="25" y="271"/>
                      <a:pt x="30" y="260"/>
                      <a:pt x="36" y="251"/>
                    </a:cubicBezTo>
                    <a:cubicBezTo>
                      <a:pt x="37" y="239"/>
                      <a:pt x="54" y="240"/>
                      <a:pt x="53" y="227"/>
                    </a:cubicBezTo>
                    <a:cubicBezTo>
                      <a:pt x="66" y="223"/>
                      <a:pt x="54" y="204"/>
                      <a:pt x="55" y="193"/>
                    </a:cubicBezTo>
                    <a:cubicBezTo>
                      <a:pt x="53" y="182"/>
                      <a:pt x="53" y="173"/>
                      <a:pt x="47" y="163"/>
                    </a:cubicBezTo>
                    <a:cubicBezTo>
                      <a:pt x="32" y="159"/>
                      <a:pt x="53" y="147"/>
                      <a:pt x="46" y="139"/>
                    </a:cubicBezTo>
                    <a:cubicBezTo>
                      <a:pt x="49" y="136"/>
                      <a:pt x="50" y="132"/>
                      <a:pt x="49" y="128"/>
                    </a:cubicBezTo>
                    <a:cubicBezTo>
                      <a:pt x="50" y="128"/>
                      <a:pt x="44" y="114"/>
                      <a:pt x="41" y="109"/>
                    </a:cubicBezTo>
                    <a:cubicBezTo>
                      <a:pt x="47" y="99"/>
                      <a:pt x="43" y="88"/>
                      <a:pt x="42" y="77"/>
                    </a:cubicBezTo>
                    <a:cubicBezTo>
                      <a:pt x="50" y="69"/>
                      <a:pt x="33" y="63"/>
                      <a:pt x="44" y="57"/>
                    </a:cubicBezTo>
                    <a:cubicBezTo>
                      <a:pt x="37" y="51"/>
                      <a:pt x="31" y="40"/>
                      <a:pt x="36" y="31"/>
                    </a:cubicBezTo>
                    <a:cubicBezTo>
                      <a:pt x="42" y="24"/>
                      <a:pt x="39" y="8"/>
                      <a:pt x="51" y="12"/>
                    </a:cubicBezTo>
                    <a:cubicBezTo>
                      <a:pt x="70" y="11"/>
                      <a:pt x="89" y="12"/>
                      <a:pt x="107" y="12"/>
                    </a:cubicBezTo>
                    <a:cubicBezTo>
                      <a:pt x="124" y="14"/>
                      <a:pt x="139" y="8"/>
                      <a:pt x="155" y="13"/>
                    </a:cubicBezTo>
                    <a:cubicBezTo>
                      <a:pt x="167" y="13"/>
                      <a:pt x="179" y="11"/>
                      <a:pt x="190" y="14"/>
                    </a:cubicBezTo>
                    <a:cubicBezTo>
                      <a:pt x="199" y="7"/>
                      <a:pt x="203" y="24"/>
                      <a:pt x="207" y="17"/>
                    </a:cubicBezTo>
                    <a:cubicBezTo>
                      <a:pt x="216" y="16"/>
                      <a:pt x="219" y="4"/>
                      <a:pt x="228" y="7"/>
                    </a:cubicBezTo>
                    <a:cubicBezTo>
                      <a:pt x="230" y="0"/>
                      <a:pt x="235" y="2"/>
                      <a:pt x="240" y="3"/>
                    </a:cubicBezTo>
                    <a:cubicBezTo>
                      <a:pt x="240" y="4"/>
                      <a:pt x="240" y="4"/>
                      <a:pt x="240" y="4"/>
                    </a:cubicBezTo>
                    <a:cubicBezTo>
                      <a:pt x="241" y="5"/>
                      <a:pt x="242" y="7"/>
                      <a:pt x="244" y="7"/>
                    </a:cubicBezTo>
                    <a:cubicBezTo>
                      <a:pt x="260" y="3"/>
                      <a:pt x="250" y="21"/>
                      <a:pt x="248" y="29"/>
                    </a:cubicBezTo>
                    <a:cubicBezTo>
                      <a:pt x="235" y="43"/>
                      <a:pt x="258" y="45"/>
                      <a:pt x="262" y="56"/>
                    </a:cubicBezTo>
                    <a:cubicBezTo>
                      <a:pt x="267" y="60"/>
                      <a:pt x="282" y="65"/>
                      <a:pt x="275" y="75"/>
                    </a:cubicBezTo>
                    <a:cubicBezTo>
                      <a:pt x="279" y="87"/>
                      <a:pt x="273" y="96"/>
                      <a:pt x="272" y="109"/>
                    </a:cubicBezTo>
                    <a:cubicBezTo>
                      <a:pt x="278" y="119"/>
                      <a:pt x="264" y="113"/>
                      <a:pt x="267" y="119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9" y="120"/>
                      <a:pt x="275" y="123"/>
                      <a:pt x="269" y="123"/>
                    </a:cubicBezTo>
                    <a:cubicBezTo>
                      <a:pt x="256" y="123"/>
                      <a:pt x="275" y="130"/>
                      <a:pt x="264" y="131"/>
                    </a:cubicBezTo>
                    <a:cubicBezTo>
                      <a:pt x="265" y="139"/>
                      <a:pt x="273" y="129"/>
                      <a:pt x="277" y="129"/>
                    </a:cubicBezTo>
                    <a:cubicBezTo>
                      <a:pt x="294" y="131"/>
                      <a:pt x="284" y="152"/>
                      <a:pt x="280" y="162"/>
                    </a:cubicBezTo>
                    <a:cubicBezTo>
                      <a:pt x="281" y="170"/>
                      <a:pt x="288" y="182"/>
                      <a:pt x="275" y="184"/>
                    </a:cubicBezTo>
                    <a:cubicBezTo>
                      <a:pt x="273" y="201"/>
                      <a:pt x="300" y="203"/>
                      <a:pt x="297" y="221"/>
                    </a:cubicBezTo>
                    <a:cubicBezTo>
                      <a:pt x="284" y="226"/>
                      <a:pt x="289" y="241"/>
                      <a:pt x="289" y="252"/>
                    </a:cubicBezTo>
                    <a:cubicBezTo>
                      <a:pt x="294" y="266"/>
                      <a:pt x="275" y="275"/>
                      <a:pt x="283" y="287"/>
                    </a:cubicBezTo>
                    <a:cubicBezTo>
                      <a:pt x="299" y="288"/>
                      <a:pt x="285" y="307"/>
                      <a:pt x="287" y="317"/>
                    </a:cubicBezTo>
                    <a:cubicBezTo>
                      <a:pt x="277" y="319"/>
                      <a:pt x="285" y="324"/>
                      <a:pt x="282" y="331"/>
                    </a:cubicBezTo>
                    <a:cubicBezTo>
                      <a:pt x="289" y="336"/>
                      <a:pt x="287" y="346"/>
                      <a:pt x="294" y="350"/>
                    </a:cubicBezTo>
                    <a:cubicBezTo>
                      <a:pt x="294" y="361"/>
                      <a:pt x="305" y="368"/>
                      <a:pt x="315" y="373"/>
                    </a:cubicBezTo>
                    <a:cubicBezTo>
                      <a:pt x="316" y="382"/>
                      <a:pt x="331" y="381"/>
                      <a:pt x="332" y="392"/>
                    </a:cubicBezTo>
                    <a:cubicBezTo>
                      <a:pt x="332" y="392"/>
                      <a:pt x="332" y="392"/>
                      <a:pt x="332" y="392"/>
                    </a:cubicBezTo>
                    <a:cubicBezTo>
                      <a:pt x="332" y="392"/>
                      <a:pt x="332" y="393"/>
                      <a:pt x="331" y="393"/>
                    </a:cubicBezTo>
                    <a:cubicBezTo>
                      <a:pt x="328" y="396"/>
                      <a:pt x="325" y="401"/>
                      <a:pt x="321" y="405"/>
                    </a:cubicBezTo>
                    <a:cubicBezTo>
                      <a:pt x="318" y="408"/>
                      <a:pt x="317" y="415"/>
                      <a:pt x="312" y="415"/>
                    </a:cubicBezTo>
                    <a:cubicBezTo>
                      <a:pt x="308" y="415"/>
                      <a:pt x="303" y="419"/>
                      <a:pt x="300" y="415"/>
                    </a:cubicBezTo>
                    <a:cubicBezTo>
                      <a:pt x="299" y="410"/>
                      <a:pt x="290" y="414"/>
                      <a:pt x="291" y="413"/>
                    </a:cubicBezTo>
                    <a:cubicBezTo>
                      <a:pt x="291" y="412"/>
                      <a:pt x="287" y="409"/>
                      <a:pt x="288" y="407"/>
                    </a:cubicBezTo>
                    <a:cubicBezTo>
                      <a:pt x="290" y="401"/>
                      <a:pt x="285" y="396"/>
                      <a:pt x="280" y="393"/>
                    </a:cubicBezTo>
                    <a:cubicBezTo>
                      <a:pt x="277" y="390"/>
                      <a:pt x="273" y="388"/>
                      <a:pt x="270" y="389"/>
                    </a:cubicBezTo>
                    <a:cubicBezTo>
                      <a:pt x="269" y="392"/>
                      <a:pt x="266" y="391"/>
                      <a:pt x="263" y="391"/>
                    </a:cubicBezTo>
                    <a:cubicBezTo>
                      <a:pt x="261" y="389"/>
                      <a:pt x="258" y="385"/>
                      <a:pt x="255" y="388"/>
                    </a:cubicBezTo>
                    <a:cubicBezTo>
                      <a:pt x="259" y="387"/>
                      <a:pt x="261" y="392"/>
                      <a:pt x="264" y="393"/>
                    </a:cubicBezTo>
                    <a:cubicBezTo>
                      <a:pt x="268" y="396"/>
                      <a:pt x="269" y="390"/>
                      <a:pt x="272" y="390"/>
                    </a:cubicBezTo>
                    <a:cubicBezTo>
                      <a:pt x="274" y="392"/>
                      <a:pt x="277" y="392"/>
                      <a:pt x="279" y="394"/>
                    </a:cubicBezTo>
                    <a:cubicBezTo>
                      <a:pt x="282" y="395"/>
                      <a:pt x="285" y="398"/>
                      <a:pt x="286" y="401"/>
                    </a:cubicBezTo>
                    <a:cubicBezTo>
                      <a:pt x="289" y="404"/>
                      <a:pt x="286" y="407"/>
                      <a:pt x="287" y="410"/>
                    </a:cubicBezTo>
                    <a:cubicBezTo>
                      <a:pt x="288" y="413"/>
                      <a:pt x="290" y="414"/>
                      <a:pt x="286" y="414"/>
                    </a:cubicBezTo>
                    <a:cubicBezTo>
                      <a:pt x="275" y="415"/>
                      <a:pt x="265" y="417"/>
                      <a:pt x="255" y="420"/>
                    </a:cubicBezTo>
                    <a:cubicBezTo>
                      <a:pt x="232" y="430"/>
                      <a:pt x="211" y="442"/>
                      <a:pt x="190" y="455"/>
                    </a:cubicBezTo>
                    <a:cubicBezTo>
                      <a:pt x="176" y="459"/>
                      <a:pt x="161" y="461"/>
                      <a:pt x="147" y="465"/>
                    </a:cubicBezTo>
                    <a:cubicBezTo>
                      <a:pt x="141" y="467"/>
                      <a:pt x="134" y="468"/>
                      <a:pt x="129" y="473"/>
                    </a:cubicBezTo>
                    <a:cubicBezTo>
                      <a:pt x="119" y="483"/>
                      <a:pt x="106" y="488"/>
                      <a:pt x="93" y="494"/>
                    </a:cubicBezTo>
                    <a:cubicBezTo>
                      <a:pt x="78" y="489"/>
                      <a:pt x="64" y="481"/>
                      <a:pt x="48" y="476"/>
                    </a:cubicBezTo>
                    <a:cubicBezTo>
                      <a:pt x="37" y="474"/>
                      <a:pt x="26" y="473"/>
                      <a:pt x="15" y="472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48693" name="Germany"/>
              <p:cNvSpPr>
                <a:spLocks/>
              </p:cNvSpPr>
              <p:nvPr>
                <p:custDataLst>
                  <p:tags r:id="rId96"/>
                </p:custDataLst>
              </p:nvPr>
            </p:nvSpPr>
            <p:spPr bwMode="auto">
              <a:xfrm>
                <a:off x="4416821" y="2824410"/>
                <a:ext cx="188615" cy="217364"/>
              </a:xfrm>
              <a:custGeom>
                <a:avLst/>
                <a:gdLst>
                  <a:gd name="T0" fmla="*/ 116497 w 34"/>
                  <a:gd name="T1" fmla="*/ 16720 h 39"/>
                  <a:gd name="T2" fmla="*/ 83212 w 34"/>
                  <a:gd name="T3" fmla="*/ 0 h 39"/>
                  <a:gd name="T4" fmla="*/ 61022 w 34"/>
                  <a:gd name="T5" fmla="*/ 0 h 39"/>
                  <a:gd name="T6" fmla="*/ 49927 w 34"/>
                  <a:gd name="T7" fmla="*/ 27867 h 39"/>
                  <a:gd name="T8" fmla="*/ 38832 w 34"/>
                  <a:gd name="T9" fmla="*/ 27867 h 39"/>
                  <a:gd name="T10" fmla="*/ 11095 w 34"/>
                  <a:gd name="T11" fmla="*/ 66881 h 39"/>
                  <a:gd name="T12" fmla="*/ 0 w 34"/>
                  <a:gd name="T13" fmla="*/ 89175 h 39"/>
                  <a:gd name="T14" fmla="*/ 0 w 34"/>
                  <a:gd name="T15" fmla="*/ 117042 h 39"/>
                  <a:gd name="T16" fmla="*/ 0 w 34"/>
                  <a:gd name="T17" fmla="*/ 139336 h 39"/>
                  <a:gd name="T18" fmla="*/ 0 w 34"/>
                  <a:gd name="T19" fmla="*/ 150483 h 39"/>
                  <a:gd name="T20" fmla="*/ 38832 w 34"/>
                  <a:gd name="T21" fmla="*/ 189497 h 39"/>
                  <a:gd name="T22" fmla="*/ 38832 w 34"/>
                  <a:gd name="T23" fmla="*/ 217364 h 39"/>
                  <a:gd name="T24" fmla="*/ 83212 w 34"/>
                  <a:gd name="T25" fmla="*/ 217364 h 39"/>
                  <a:gd name="T26" fmla="*/ 166425 w 34"/>
                  <a:gd name="T27" fmla="*/ 217364 h 39"/>
                  <a:gd name="T28" fmla="*/ 138687 w 34"/>
                  <a:gd name="T29" fmla="*/ 200644 h 39"/>
                  <a:gd name="T30" fmla="*/ 177520 w 34"/>
                  <a:gd name="T31" fmla="*/ 189497 h 39"/>
                  <a:gd name="T32" fmla="*/ 138687 w 34"/>
                  <a:gd name="T33" fmla="*/ 150483 h 39"/>
                  <a:gd name="T34" fmla="*/ 127592 w 34"/>
                  <a:gd name="T35" fmla="*/ 139336 h 39"/>
                  <a:gd name="T36" fmla="*/ 188615 w 34"/>
                  <a:gd name="T37" fmla="*/ 100322 h 39"/>
                  <a:gd name="T38" fmla="*/ 188615 w 34"/>
                  <a:gd name="T39" fmla="*/ 117042 h 39"/>
                  <a:gd name="T40" fmla="*/ 177520 w 34"/>
                  <a:gd name="T41" fmla="*/ 27867 h 39"/>
                  <a:gd name="T42" fmla="*/ 166425 w 34"/>
                  <a:gd name="T43" fmla="*/ 16720 h 39"/>
                  <a:gd name="T44" fmla="*/ 177520 w 34"/>
                  <a:gd name="T45" fmla="*/ 16720 h 39"/>
                  <a:gd name="T46" fmla="*/ 166425 w 34"/>
                  <a:gd name="T47" fmla="*/ 0 h 39"/>
                  <a:gd name="T48" fmla="*/ 116497 w 34"/>
                  <a:gd name="T49" fmla="*/ 27867 h 39"/>
                  <a:gd name="T50" fmla="*/ 116497 w 34"/>
                  <a:gd name="T51" fmla="*/ 16720 h 3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34"/>
                  <a:gd name="T79" fmla="*/ 0 h 39"/>
                  <a:gd name="T80" fmla="*/ 34 w 34"/>
                  <a:gd name="T81" fmla="*/ 39 h 39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34" h="39">
                    <a:moveTo>
                      <a:pt x="21" y="3"/>
                    </a:moveTo>
                    <a:lnTo>
                      <a:pt x="15" y="0"/>
                    </a:lnTo>
                    <a:lnTo>
                      <a:pt x="11" y="0"/>
                    </a:lnTo>
                    <a:lnTo>
                      <a:pt x="9" y="5"/>
                    </a:lnTo>
                    <a:lnTo>
                      <a:pt x="7" y="5"/>
                    </a:lnTo>
                    <a:lnTo>
                      <a:pt x="2" y="12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0" y="25"/>
                    </a:lnTo>
                    <a:lnTo>
                      <a:pt x="0" y="27"/>
                    </a:lnTo>
                    <a:lnTo>
                      <a:pt x="7" y="34"/>
                    </a:lnTo>
                    <a:lnTo>
                      <a:pt x="7" y="39"/>
                    </a:lnTo>
                    <a:lnTo>
                      <a:pt x="15" y="39"/>
                    </a:lnTo>
                    <a:lnTo>
                      <a:pt x="30" y="39"/>
                    </a:lnTo>
                    <a:lnTo>
                      <a:pt x="25" y="36"/>
                    </a:lnTo>
                    <a:lnTo>
                      <a:pt x="32" y="34"/>
                    </a:lnTo>
                    <a:lnTo>
                      <a:pt x="25" y="27"/>
                    </a:lnTo>
                    <a:lnTo>
                      <a:pt x="23" y="25"/>
                    </a:lnTo>
                    <a:lnTo>
                      <a:pt x="34" y="18"/>
                    </a:lnTo>
                    <a:lnTo>
                      <a:pt x="34" y="21"/>
                    </a:lnTo>
                    <a:lnTo>
                      <a:pt x="32" y="5"/>
                    </a:lnTo>
                    <a:lnTo>
                      <a:pt x="30" y="3"/>
                    </a:lnTo>
                    <a:lnTo>
                      <a:pt x="32" y="3"/>
                    </a:lnTo>
                    <a:lnTo>
                      <a:pt x="30" y="0"/>
                    </a:lnTo>
                    <a:lnTo>
                      <a:pt x="21" y="5"/>
                    </a:lnTo>
                    <a:lnTo>
                      <a:pt x="21" y="3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18" name="Gambia"/>
              <p:cNvSpPr>
                <a:spLocks/>
              </p:cNvSpPr>
              <p:nvPr/>
            </p:nvSpPr>
            <p:spPr bwMode="auto">
              <a:xfrm>
                <a:off x="3792654" y="4107331"/>
                <a:ext cx="70766" cy="22951"/>
              </a:xfrm>
              <a:custGeom>
                <a:avLst/>
                <a:gdLst>
                  <a:gd name="T0" fmla="*/ 16 w 196"/>
                  <a:gd name="T1" fmla="*/ 34 h 56"/>
                  <a:gd name="T2" fmla="*/ 6 w 196"/>
                  <a:gd name="T3" fmla="*/ 41 h 56"/>
                  <a:gd name="T4" fmla="*/ 3 w 196"/>
                  <a:gd name="T5" fmla="*/ 30 h 56"/>
                  <a:gd name="T6" fmla="*/ 0 w 196"/>
                  <a:gd name="T7" fmla="*/ 19 h 56"/>
                  <a:gd name="T8" fmla="*/ 0 w 196"/>
                  <a:gd name="T9" fmla="*/ 19 h 56"/>
                  <a:gd name="T10" fmla="*/ 70 w 196"/>
                  <a:gd name="T11" fmla="*/ 22 h 56"/>
                  <a:gd name="T12" fmla="*/ 91 w 196"/>
                  <a:gd name="T13" fmla="*/ 9 h 56"/>
                  <a:gd name="T14" fmla="*/ 123 w 196"/>
                  <a:gd name="T15" fmla="*/ 21 h 56"/>
                  <a:gd name="T16" fmla="*/ 144 w 196"/>
                  <a:gd name="T17" fmla="*/ 30 h 56"/>
                  <a:gd name="T18" fmla="*/ 187 w 196"/>
                  <a:gd name="T19" fmla="*/ 33 h 56"/>
                  <a:gd name="T20" fmla="*/ 162 w 196"/>
                  <a:gd name="T21" fmla="*/ 52 h 56"/>
                  <a:gd name="T22" fmla="*/ 131 w 196"/>
                  <a:gd name="T23" fmla="*/ 43 h 56"/>
                  <a:gd name="T24" fmla="*/ 94 w 196"/>
                  <a:gd name="T25" fmla="*/ 23 h 56"/>
                  <a:gd name="T26" fmla="*/ 73 w 196"/>
                  <a:gd name="T27" fmla="*/ 38 h 56"/>
                  <a:gd name="T28" fmla="*/ 75 w 196"/>
                  <a:gd name="T29" fmla="*/ 34 h 56"/>
                  <a:gd name="T30" fmla="*/ 78 w 196"/>
                  <a:gd name="T31" fmla="*/ 34 h 56"/>
                  <a:gd name="T32" fmla="*/ 82 w 196"/>
                  <a:gd name="T33" fmla="*/ 31 h 56"/>
                  <a:gd name="T34" fmla="*/ 72 w 196"/>
                  <a:gd name="T35" fmla="*/ 30 h 56"/>
                  <a:gd name="T36" fmla="*/ 66 w 196"/>
                  <a:gd name="T37" fmla="*/ 28 h 56"/>
                  <a:gd name="T38" fmla="*/ 58 w 196"/>
                  <a:gd name="T39" fmla="*/ 30 h 56"/>
                  <a:gd name="T40" fmla="*/ 48 w 196"/>
                  <a:gd name="T41" fmla="*/ 32 h 56"/>
                  <a:gd name="T42" fmla="*/ 31 w 196"/>
                  <a:gd name="T43" fmla="*/ 33 h 56"/>
                  <a:gd name="T44" fmla="*/ 23 w 196"/>
                  <a:gd name="T45" fmla="*/ 32 h 56"/>
                  <a:gd name="T46" fmla="*/ 16 w 196"/>
                  <a:gd name="T47" fmla="*/ 3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96" h="56">
                    <a:moveTo>
                      <a:pt x="16" y="34"/>
                    </a:moveTo>
                    <a:cubicBezTo>
                      <a:pt x="14" y="37"/>
                      <a:pt x="10" y="40"/>
                      <a:pt x="6" y="41"/>
                    </a:cubicBezTo>
                    <a:cubicBezTo>
                      <a:pt x="3" y="38"/>
                      <a:pt x="4" y="34"/>
                      <a:pt x="3" y="30"/>
                    </a:cubicBezTo>
                    <a:cubicBezTo>
                      <a:pt x="3" y="26"/>
                      <a:pt x="1" y="23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26" y="20"/>
                      <a:pt x="44" y="21"/>
                      <a:pt x="70" y="22"/>
                    </a:cubicBezTo>
                    <a:cubicBezTo>
                      <a:pt x="70" y="11"/>
                      <a:pt x="82" y="4"/>
                      <a:pt x="91" y="9"/>
                    </a:cubicBezTo>
                    <a:cubicBezTo>
                      <a:pt x="103" y="0"/>
                      <a:pt x="120" y="7"/>
                      <a:pt x="123" y="21"/>
                    </a:cubicBezTo>
                    <a:cubicBezTo>
                      <a:pt x="133" y="17"/>
                      <a:pt x="142" y="17"/>
                      <a:pt x="144" y="30"/>
                    </a:cubicBezTo>
                    <a:cubicBezTo>
                      <a:pt x="155" y="45"/>
                      <a:pt x="176" y="14"/>
                      <a:pt x="187" y="33"/>
                    </a:cubicBezTo>
                    <a:cubicBezTo>
                      <a:pt x="196" y="50"/>
                      <a:pt x="170" y="46"/>
                      <a:pt x="162" y="52"/>
                    </a:cubicBezTo>
                    <a:cubicBezTo>
                      <a:pt x="150" y="56"/>
                      <a:pt x="141" y="45"/>
                      <a:pt x="131" y="43"/>
                    </a:cubicBezTo>
                    <a:cubicBezTo>
                      <a:pt x="118" y="40"/>
                      <a:pt x="106" y="29"/>
                      <a:pt x="94" y="23"/>
                    </a:cubicBezTo>
                    <a:cubicBezTo>
                      <a:pt x="89" y="31"/>
                      <a:pt x="85" y="45"/>
                      <a:pt x="73" y="38"/>
                    </a:cubicBezTo>
                    <a:cubicBezTo>
                      <a:pt x="75" y="34"/>
                      <a:pt x="75" y="34"/>
                      <a:pt x="75" y="34"/>
                    </a:cubicBezTo>
                    <a:cubicBezTo>
                      <a:pt x="76" y="34"/>
                      <a:pt x="77" y="35"/>
                      <a:pt x="78" y="34"/>
                    </a:cubicBezTo>
                    <a:cubicBezTo>
                      <a:pt x="80" y="36"/>
                      <a:pt x="83" y="31"/>
                      <a:pt x="82" y="31"/>
                    </a:cubicBezTo>
                    <a:cubicBezTo>
                      <a:pt x="80" y="36"/>
                      <a:pt x="74" y="33"/>
                      <a:pt x="72" y="30"/>
                    </a:cubicBezTo>
                    <a:cubicBezTo>
                      <a:pt x="71" y="28"/>
                      <a:pt x="67" y="31"/>
                      <a:pt x="66" y="28"/>
                    </a:cubicBezTo>
                    <a:cubicBezTo>
                      <a:pt x="63" y="24"/>
                      <a:pt x="61" y="31"/>
                      <a:pt x="58" y="30"/>
                    </a:cubicBezTo>
                    <a:cubicBezTo>
                      <a:pt x="55" y="26"/>
                      <a:pt x="51" y="32"/>
                      <a:pt x="48" y="32"/>
                    </a:cubicBezTo>
                    <a:cubicBezTo>
                      <a:pt x="42" y="31"/>
                      <a:pt x="37" y="32"/>
                      <a:pt x="31" y="33"/>
                    </a:cubicBezTo>
                    <a:cubicBezTo>
                      <a:pt x="28" y="31"/>
                      <a:pt x="25" y="35"/>
                      <a:pt x="23" y="32"/>
                    </a:cubicBezTo>
                    <a:cubicBezTo>
                      <a:pt x="20" y="31"/>
                      <a:pt x="18" y="33"/>
                      <a:pt x="16" y="34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19" name="Gabon"/>
              <p:cNvSpPr>
                <a:spLocks/>
              </p:cNvSpPr>
              <p:nvPr/>
            </p:nvSpPr>
            <p:spPr bwMode="auto">
              <a:xfrm>
                <a:off x="4454408" y="4495588"/>
                <a:ext cx="160657" cy="208474"/>
              </a:xfrm>
              <a:custGeom>
                <a:avLst/>
                <a:gdLst>
                  <a:gd name="T0" fmla="*/ 54 w 441"/>
                  <a:gd name="T1" fmla="*/ 169 h 482"/>
                  <a:gd name="T2" fmla="*/ 86 w 441"/>
                  <a:gd name="T3" fmla="*/ 171 h 482"/>
                  <a:gd name="T4" fmla="*/ 47 w 441"/>
                  <a:gd name="T5" fmla="*/ 145 h 482"/>
                  <a:gd name="T6" fmla="*/ 62 w 441"/>
                  <a:gd name="T7" fmla="*/ 129 h 482"/>
                  <a:gd name="T8" fmla="*/ 65 w 441"/>
                  <a:gd name="T9" fmla="*/ 104 h 482"/>
                  <a:gd name="T10" fmla="*/ 200 w 441"/>
                  <a:gd name="T11" fmla="*/ 105 h 482"/>
                  <a:gd name="T12" fmla="*/ 197 w 441"/>
                  <a:gd name="T13" fmla="*/ 16 h 482"/>
                  <a:gd name="T14" fmla="*/ 265 w 441"/>
                  <a:gd name="T15" fmla="*/ 8 h 482"/>
                  <a:gd name="T16" fmla="*/ 347 w 441"/>
                  <a:gd name="T17" fmla="*/ 17 h 482"/>
                  <a:gd name="T18" fmla="*/ 343 w 441"/>
                  <a:gd name="T19" fmla="*/ 78 h 482"/>
                  <a:gd name="T20" fmla="*/ 378 w 441"/>
                  <a:gd name="T21" fmla="*/ 77 h 482"/>
                  <a:gd name="T22" fmla="*/ 435 w 441"/>
                  <a:gd name="T23" fmla="*/ 113 h 482"/>
                  <a:gd name="T24" fmla="*/ 404 w 441"/>
                  <a:gd name="T25" fmla="*/ 149 h 482"/>
                  <a:gd name="T26" fmla="*/ 401 w 441"/>
                  <a:gd name="T27" fmla="*/ 199 h 482"/>
                  <a:gd name="T28" fmla="*/ 435 w 441"/>
                  <a:gd name="T29" fmla="*/ 240 h 482"/>
                  <a:gd name="T30" fmla="*/ 431 w 441"/>
                  <a:gd name="T31" fmla="*/ 301 h 482"/>
                  <a:gd name="T32" fmla="*/ 420 w 441"/>
                  <a:gd name="T33" fmla="*/ 331 h 482"/>
                  <a:gd name="T34" fmla="*/ 396 w 441"/>
                  <a:gd name="T35" fmla="*/ 368 h 482"/>
                  <a:gd name="T36" fmla="*/ 378 w 441"/>
                  <a:gd name="T37" fmla="*/ 347 h 482"/>
                  <a:gd name="T38" fmla="*/ 325 w 441"/>
                  <a:gd name="T39" fmla="*/ 357 h 482"/>
                  <a:gd name="T40" fmla="*/ 286 w 441"/>
                  <a:gd name="T41" fmla="*/ 325 h 482"/>
                  <a:gd name="T42" fmla="*/ 265 w 441"/>
                  <a:gd name="T43" fmla="*/ 361 h 482"/>
                  <a:gd name="T44" fmla="*/ 219 w 441"/>
                  <a:gd name="T45" fmla="*/ 365 h 482"/>
                  <a:gd name="T46" fmla="*/ 226 w 441"/>
                  <a:gd name="T47" fmla="*/ 400 h 482"/>
                  <a:gd name="T48" fmla="*/ 241 w 441"/>
                  <a:gd name="T49" fmla="*/ 439 h 482"/>
                  <a:gd name="T50" fmla="*/ 213 w 441"/>
                  <a:gd name="T51" fmla="*/ 446 h 482"/>
                  <a:gd name="T52" fmla="*/ 181 w 441"/>
                  <a:gd name="T53" fmla="*/ 482 h 482"/>
                  <a:gd name="T54" fmla="*/ 166 w 441"/>
                  <a:gd name="T55" fmla="*/ 459 h 482"/>
                  <a:gd name="T56" fmla="*/ 90 w 441"/>
                  <a:gd name="T57" fmla="*/ 388 h 482"/>
                  <a:gd name="T58" fmla="*/ 41 w 441"/>
                  <a:gd name="T59" fmla="*/ 327 h 482"/>
                  <a:gd name="T60" fmla="*/ 8 w 441"/>
                  <a:gd name="T61" fmla="*/ 246 h 482"/>
                  <a:gd name="T62" fmla="*/ 22 w 441"/>
                  <a:gd name="T63" fmla="*/ 230 h 482"/>
                  <a:gd name="T64" fmla="*/ 41 w 441"/>
                  <a:gd name="T65" fmla="*/ 175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41" h="482">
                    <a:moveTo>
                      <a:pt x="42" y="162"/>
                    </a:moveTo>
                    <a:cubicBezTo>
                      <a:pt x="48" y="162"/>
                      <a:pt x="50" y="166"/>
                      <a:pt x="54" y="169"/>
                    </a:cubicBezTo>
                    <a:cubicBezTo>
                      <a:pt x="60" y="173"/>
                      <a:pt x="67" y="175"/>
                      <a:pt x="74" y="175"/>
                    </a:cubicBezTo>
                    <a:cubicBezTo>
                      <a:pt x="79" y="175"/>
                      <a:pt x="84" y="176"/>
                      <a:pt x="86" y="171"/>
                    </a:cubicBezTo>
                    <a:cubicBezTo>
                      <a:pt x="82" y="166"/>
                      <a:pt x="75" y="167"/>
                      <a:pt x="69" y="165"/>
                    </a:cubicBezTo>
                    <a:cubicBezTo>
                      <a:pt x="61" y="159"/>
                      <a:pt x="52" y="154"/>
                      <a:pt x="47" y="145"/>
                    </a:cubicBezTo>
                    <a:cubicBezTo>
                      <a:pt x="45" y="142"/>
                      <a:pt x="47" y="134"/>
                      <a:pt x="52" y="135"/>
                    </a:cubicBezTo>
                    <a:cubicBezTo>
                      <a:pt x="57" y="136"/>
                      <a:pt x="60" y="134"/>
                      <a:pt x="62" y="129"/>
                    </a:cubicBezTo>
                    <a:cubicBezTo>
                      <a:pt x="63" y="122"/>
                      <a:pt x="61" y="115"/>
                      <a:pt x="62" y="109"/>
                    </a:cubicBezTo>
                    <a:cubicBezTo>
                      <a:pt x="61" y="109"/>
                      <a:pt x="64" y="107"/>
                      <a:pt x="65" y="104"/>
                    </a:cubicBezTo>
                    <a:cubicBezTo>
                      <a:pt x="76" y="89"/>
                      <a:pt x="92" y="119"/>
                      <a:pt x="98" y="105"/>
                    </a:cubicBezTo>
                    <a:cubicBezTo>
                      <a:pt x="132" y="105"/>
                      <a:pt x="166" y="105"/>
                      <a:pt x="200" y="105"/>
                    </a:cubicBezTo>
                    <a:cubicBezTo>
                      <a:pt x="199" y="75"/>
                      <a:pt x="200" y="46"/>
                      <a:pt x="199" y="17"/>
                    </a:cubicBezTo>
                    <a:cubicBezTo>
                      <a:pt x="197" y="16"/>
                      <a:pt x="197" y="16"/>
                      <a:pt x="197" y="16"/>
                    </a:cubicBezTo>
                    <a:cubicBezTo>
                      <a:pt x="201" y="3"/>
                      <a:pt x="217" y="5"/>
                      <a:pt x="227" y="7"/>
                    </a:cubicBezTo>
                    <a:cubicBezTo>
                      <a:pt x="240" y="9"/>
                      <a:pt x="253" y="7"/>
                      <a:pt x="265" y="8"/>
                    </a:cubicBezTo>
                    <a:cubicBezTo>
                      <a:pt x="281" y="3"/>
                      <a:pt x="296" y="13"/>
                      <a:pt x="311" y="11"/>
                    </a:cubicBezTo>
                    <a:cubicBezTo>
                      <a:pt x="323" y="14"/>
                      <a:pt x="344" y="0"/>
                      <a:pt x="347" y="17"/>
                    </a:cubicBezTo>
                    <a:cubicBezTo>
                      <a:pt x="346" y="28"/>
                      <a:pt x="336" y="35"/>
                      <a:pt x="337" y="48"/>
                    </a:cubicBezTo>
                    <a:cubicBezTo>
                      <a:pt x="330" y="59"/>
                      <a:pt x="342" y="67"/>
                      <a:pt x="343" y="78"/>
                    </a:cubicBezTo>
                    <a:cubicBezTo>
                      <a:pt x="340" y="84"/>
                      <a:pt x="334" y="90"/>
                      <a:pt x="345" y="88"/>
                    </a:cubicBezTo>
                    <a:cubicBezTo>
                      <a:pt x="356" y="80"/>
                      <a:pt x="368" y="85"/>
                      <a:pt x="378" y="77"/>
                    </a:cubicBezTo>
                    <a:cubicBezTo>
                      <a:pt x="390" y="68"/>
                      <a:pt x="407" y="75"/>
                      <a:pt x="419" y="79"/>
                    </a:cubicBezTo>
                    <a:cubicBezTo>
                      <a:pt x="421" y="92"/>
                      <a:pt x="429" y="102"/>
                      <a:pt x="435" y="113"/>
                    </a:cubicBezTo>
                    <a:cubicBezTo>
                      <a:pt x="435" y="123"/>
                      <a:pt x="425" y="129"/>
                      <a:pt x="421" y="138"/>
                    </a:cubicBezTo>
                    <a:cubicBezTo>
                      <a:pt x="414" y="140"/>
                      <a:pt x="403" y="137"/>
                      <a:pt x="404" y="149"/>
                    </a:cubicBezTo>
                    <a:cubicBezTo>
                      <a:pt x="390" y="155"/>
                      <a:pt x="390" y="171"/>
                      <a:pt x="395" y="182"/>
                    </a:cubicBezTo>
                    <a:cubicBezTo>
                      <a:pt x="387" y="190"/>
                      <a:pt x="387" y="204"/>
                      <a:pt x="401" y="199"/>
                    </a:cubicBezTo>
                    <a:cubicBezTo>
                      <a:pt x="414" y="197"/>
                      <a:pt x="409" y="219"/>
                      <a:pt x="423" y="214"/>
                    </a:cubicBezTo>
                    <a:cubicBezTo>
                      <a:pt x="436" y="215"/>
                      <a:pt x="441" y="229"/>
                      <a:pt x="435" y="240"/>
                    </a:cubicBezTo>
                    <a:cubicBezTo>
                      <a:pt x="431" y="252"/>
                      <a:pt x="432" y="264"/>
                      <a:pt x="436" y="276"/>
                    </a:cubicBezTo>
                    <a:cubicBezTo>
                      <a:pt x="434" y="285"/>
                      <a:pt x="440" y="295"/>
                      <a:pt x="431" y="301"/>
                    </a:cubicBezTo>
                    <a:cubicBezTo>
                      <a:pt x="429" y="307"/>
                      <a:pt x="438" y="308"/>
                      <a:pt x="432" y="312"/>
                    </a:cubicBezTo>
                    <a:cubicBezTo>
                      <a:pt x="435" y="324"/>
                      <a:pt x="427" y="326"/>
                      <a:pt x="420" y="331"/>
                    </a:cubicBezTo>
                    <a:cubicBezTo>
                      <a:pt x="424" y="342"/>
                      <a:pt x="406" y="349"/>
                      <a:pt x="418" y="357"/>
                    </a:cubicBezTo>
                    <a:cubicBezTo>
                      <a:pt x="412" y="361"/>
                      <a:pt x="407" y="374"/>
                      <a:pt x="396" y="368"/>
                    </a:cubicBezTo>
                    <a:cubicBezTo>
                      <a:pt x="382" y="371"/>
                      <a:pt x="399" y="357"/>
                      <a:pt x="390" y="354"/>
                    </a:cubicBezTo>
                    <a:cubicBezTo>
                      <a:pt x="387" y="347"/>
                      <a:pt x="381" y="332"/>
                      <a:pt x="378" y="347"/>
                    </a:cubicBezTo>
                    <a:cubicBezTo>
                      <a:pt x="370" y="355"/>
                      <a:pt x="361" y="369"/>
                      <a:pt x="348" y="362"/>
                    </a:cubicBezTo>
                    <a:cubicBezTo>
                      <a:pt x="341" y="360"/>
                      <a:pt x="327" y="357"/>
                      <a:pt x="325" y="357"/>
                    </a:cubicBezTo>
                    <a:cubicBezTo>
                      <a:pt x="327" y="346"/>
                      <a:pt x="313" y="342"/>
                      <a:pt x="313" y="330"/>
                    </a:cubicBezTo>
                    <a:cubicBezTo>
                      <a:pt x="308" y="319"/>
                      <a:pt x="292" y="315"/>
                      <a:pt x="286" y="325"/>
                    </a:cubicBezTo>
                    <a:cubicBezTo>
                      <a:pt x="275" y="326"/>
                      <a:pt x="291" y="345"/>
                      <a:pt x="287" y="342"/>
                    </a:cubicBezTo>
                    <a:cubicBezTo>
                      <a:pt x="289" y="357"/>
                      <a:pt x="276" y="360"/>
                      <a:pt x="265" y="361"/>
                    </a:cubicBezTo>
                    <a:cubicBezTo>
                      <a:pt x="253" y="368"/>
                      <a:pt x="244" y="351"/>
                      <a:pt x="233" y="361"/>
                    </a:cubicBezTo>
                    <a:cubicBezTo>
                      <a:pt x="228" y="364"/>
                      <a:pt x="214" y="351"/>
                      <a:pt x="219" y="365"/>
                    </a:cubicBezTo>
                    <a:cubicBezTo>
                      <a:pt x="221" y="375"/>
                      <a:pt x="224" y="385"/>
                      <a:pt x="215" y="393"/>
                    </a:cubicBezTo>
                    <a:cubicBezTo>
                      <a:pt x="214" y="400"/>
                      <a:pt x="225" y="390"/>
                      <a:pt x="226" y="400"/>
                    </a:cubicBezTo>
                    <a:cubicBezTo>
                      <a:pt x="233" y="405"/>
                      <a:pt x="235" y="410"/>
                      <a:pt x="227" y="414"/>
                    </a:cubicBezTo>
                    <a:cubicBezTo>
                      <a:pt x="223" y="428"/>
                      <a:pt x="257" y="426"/>
                      <a:pt x="241" y="439"/>
                    </a:cubicBezTo>
                    <a:cubicBezTo>
                      <a:pt x="236" y="445"/>
                      <a:pt x="240" y="456"/>
                      <a:pt x="241" y="459"/>
                    </a:cubicBezTo>
                    <a:cubicBezTo>
                      <a:pt x="229" y="468"/>
                      <a:pt x="222" y="451"/>
                      <a:pt x="213" y="446"/>
                    </a:cubicBezTo>
                    <a:cubicBezTo>
                      <a:pt x="201" y="453"/>
                      <a:pt x="187" y="459"/>
                      <a:pt x="185" y="476"/>
                    </a:cubicBezTo>
                    <a:cubicBezTo>
                      <a:pt x="181" y="482"/>
                      <a:pt x="181" y="482"/>
                      <a:pt x="181" y="482"/>
                    </a:cubicBezTo>
                    <a:cubicBezTo>
                      <a:pt x="181" y="482"/>
                      <a:pt x="181" y="482"/>
                      <a:pt x="180" y="482"/>
                    </a:cubicBezTo>
                    <a:cubicBezTo>
                      <a:pt x="174" y="475"/>
                      <a:pt x="174" y="464"/>
                      <a:pt x="166" y="459"/>
                    </a:cubicBezTo>
                    <a:cubicBezTo>
                      <a:pt x="154" y="448"/>
                      <a:pt x="145" y="435"/>
                      <a:pt x="133" y="424"/>
                    </a:cubicBezTo>
                    <a:cubicBezTo>
                      <a:pt x="120" y="411"/>
                      <a:pt x="104" y="401"/>
                      <a:pt x="90" y="388"/>
                    </a:cubicBezTo>
                    <a:cubicBezTo>
                      <a:pt x="83" y="380"/>
                      <a:pt x="79" y="370"/>
                      <a:pt x="72" y="363"/>
                    </a:cubicBezTo>
                    <a:cubicBezTo>
                      <a:pt x="62" y="351"/>
                      <a:pt x="53" y="337"/>
                      <a:pt x="41" y="327"/>
                    </a:cubicBezTo>
                    <a:cubicBezTo>
                      <a:pt x="34" y="311"/>
                      <a:pt x="27" y="295"/>
                      <a:pt x="22" y="278"/>
                    </a:cubicBezTo>
                    <a:cubicBezTo>
                      <a:pt x="18" y="267"/>
                      <a:pt x="13" y="257"/>
                      <a:pt x="8" y="246"/>
                    </a:cubicBezTo>
                    <a:cubicBezTo>
                      <a:pt x="6" y="243"/>
                      <a:pt x="0" y="237"/>
                      <a:pt x="8" y="238"/>
                    </a:cubicBezTo>
                    <a:cubicBezTo>
                      <a:pt x="13" y="236"/>
                      <a:pt x="19" y="235"/>
                      <a:pt x="22" y="230"/>
                    </a:cubicBezTo>
                    <a:cubicBezTo>
                      <a:pt x="25" y="224"/>
                      <a:pt x="31" y="218"/>
                      <a:pt x="37" y="214"/>
                    </a:cubicBezTo>
                    <a:cubicBezTo>
                      <a:pt x="40" y="201"/>
                      <a:pt x="41" y="188"/>
                      <a:pt x="41" y="175"/>
                    </a:cubicBezTo>
                    <a:cubicBezTo>
                      <a:pt x="42" y="171"/>
                      <a:pt x="40" y="165"/>
                      <a:pt x="42" y="162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20" name="French Guiana"/>
              <p:cNvSpPr>
                <a:spLocks/>
              </p:cNvSpPr>
              <p:nvPr>
                <p:custDataLst>
                  <p:tags r:id="rId97"/>
                </p:custDataLst>
              </p:nvPr>
            </p:nvSpPr>
            <p:spPr bwMode="auto">
              <a:xfrm>
                <a:off x="2819150" y="4384657"/>
                <a:ext cx="61203" cy="122406"/>
              </a:xfrm>
              <a:custGeom>
                <a:avLst/>
                <a:gdLst/>
                <a:ahLst/>
                <a:cxnLst>
                  <a:cxn ang="0">
                    <a:pos x="11" y="11"/>
                  </a:cxn>
                  <a:cxn ang="0">
                    <a:pos x="5" y="22"/>
                  </a:cxn>
                  <a:cxn ang="0">
                    <a:pos x="0" y="22"/>
                  </a:cxn>
                  <a:cxn ang="0">
                    <a:pos x="0" y="13"/>
                  </a:cxn>
                  <a:cxn ang="0">
                    <a:pos x="0" y="6"/>
                  </a:cxn>
                  <a:cxn ang="0">
                    <a:pos x="0" y="0"/>
                  </a:cxn>
                  <a:cxn ang="0">
                    <a:pos x="5" y="6"/>
                  </a:cxn>
                  <a:cxn ang="0">
                    <a:pos x="11" y="11"/>
                  </a:cxn>
                </a:cxnLst>
                <a:rect l="0" t="0" r="r" b="b"/>
                <a:pathLst>
                  <a:path w="11" h="22">
                    <a:moveTo>
                      <a:pt x="11" y="11"/>
                    </a:moveTo>
                    <a:lnTo>
                      <a:pt x="5" y="22"/>
                    </a:lnTo>
                    <a:lnTo>
                      <a:pt x="0" y="22"/>
                    </a:lnTo>
                    <a:lnTo>
                      <a:pt x="0" y="13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5" y="6"/>
                    </a:lnTo>
                    <a:lnTo>
                      <a:pt x="11" y="11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697" name="France"/>
              <p:cNvSpPr>
                <a:spLocks/>
              </p:cNvSpPr>
              <p:nvPr>
                <p:custDataLst>
                  <p:tags r:id="rId98"/>
                </p:custDataLst>
              </p:nvPr>
            </p:nvSpPr>
            <p:spPr bwMode="auto">
              <a:xfrm>
                <a:off x="4161636" y="2924731"/>
                <a:ext cx="294018" cy="278672"/>
              </a:xfrm>
              <a:custGeom>
                <a:avLst/>
                <a:gdLst>
                  <a:gd name="T0" fmla="*/ 294018 w 53"/>
                  <a:gd name="T1" fmla="*/ 117042 h 50"/>
                  <a:gd name="T2" fmla="*/ 294018 w 53"/>
                  <a:gd name="T3" fmla="*/ 89175 h 50"/>
                  <a:gd name="T4" fmla="*/ 255185 w 53"/>
                  <a:gd name="T5" fmla="*/ 50161 h 50"/>
                  <a:gd name="T6" fmla="*/ 244090 w 53"/>
                  <a:gd name="T7" fmla="*/ 50161 h 50"/>
                  <a:gd name="T8" fmla="*/ 221900 w 53"/>
                  <a:gd name="T9" fmla="*/ 50161 h 50"/>
                  <a:gd name="T10" fmla="*/ 221900 w 53"/>
                  <a:gd name="T11" fmla="*/ 39014 h 50"/>
                  <a:gd name="T12" fmla="*/ 210805 w 53"/>
                  <a:gd name="T13" fmla="*/ 50161 h 50"/>
                  <a:gd name="T14" fmla="*/ 177520 w 53"/>
                  <a:gd name="T15" fmla="*/ 16720 h 50"/>
                  <a:gd name="T16" fmla="*/ 177520 w 53"/>
                  <a:gd name="T17" fmla="*/ 0 h 50"/>
                  <a:gd name="T18" fmla="*/ 166425 w 53"/>
                  <a:gd name="T19" fmla="*/ 16720 h 50"/>
                  <a:gd name="T20" fmla="*/ 155330 w 53"/>
                  <a:gd name="T21" fmla="*/ 39014 h 50"/>
                  <a:gd name="T22" fmla="*/ 116498 w 53"/>
                  <a:gd name="T23" fmla="*/ 50161 h 50"/>
                  <a:gd name="T24" fmla="*/ 116498 w 53"/>
                  <a:gd name="T25" fmla="*/ 66881 h 50"/>
                  <a:gd name="T26" fmla="*/ 83213 w 53"/>
                  <a:gd name="T27" fmla="*/ 66881 h 50"/>
                  <a:gd name="T28" fmla="*/ 83213 w 53"/>
                  <a:gd name="T29" fmla="*/ 50161 h 50"/>
                  <a:gd name="T30" fmla="*/ 72118 w 53"/>
                  <a:gd name="T31" fmla="*/ 50161 h 50"/>
                  <a:gd name="T32" fmla="*/ 83213 w 53"/>
                  <a:gd name="T33" fmla="*/ 89175 h 50"/>
                  <a:gd name="T34" fmla="*/ 49928 w 53"/>
                  <a:gd name="T35" fmla="*/ 89175 h 50"/>
                  <a:gd name="T36" fmla="*/ 38833 w 53"/>
                  <a:gd name="T37" fmla="*/ 89175 h 50"/>
                  <a:gd name="T38" fmla="*/ 0 w 53"/>
                  <a:gd name="T39" fmla="*/ 89175 h 50"/>
                  <a:gd name="T40" fmla="*/ 0 w 53"/>
                  <a:gd name="T41" fmla="*/ 100322 h 50"/>
                  <a:gd name="T42" fmla="*/ 49928 w 53"/>
                  <a:gd name="T43" fmla="*/ 117042 h 50"/>
                  <a:gd name="T44" fmla="*/ 83213 w 53"/>
                  <a:gd name="T45" fmla="*/ 150483 h 50"/>
                  <a:gd name="T46" fmla="*/ 83213 w 53"/>
                  <a:gd name="T47" fmla="*/ 167203 h 50"/>
                  <a:gd name="T48" fmla="*/ 72118 w 53"/>
                  <a:gd name="T49" fmla="*/ 239658 h 50"/>
                  <a:gd name="T50" fmla="*/ 72118 w 53"/>
                  <a:gd name="T51" fmla="*/ 250805 h 50"/>
                  <a:gd name="T52" fmla="*/ 94308 w 53"/>
                  <a:gd name="T53" fmla="*/ 278672 h 50"/>
                  <a:gd name="T54" fmla="*/ 177520 w 53"/>
                  <a:gd name="T55" fmla="*/ 278672 h 50"/>
                  <a:gd name="T56" fmla="*/ 199710 w 53"/>
                  <a:gd name="T57" fmla="*/ 250805 h 50"/>
                  <a:gd name="T58" fmla="*/ 255185 w 53"/>
                  <a:gd name="T59" fmla="*/ 250805 h 50"/>
                  <a:gd name="T60" fmla="*/ 294018 w 53"/>
                  <a:gd name="T61" fmla="*/ 239658 h 50"/>
                  <a:gd name="T62" fmla="*/ 255185 w 53"/>
                  <a:gd name="T63" fmla="*/ 200644 h 50"/>
                  <a:gd name="T64" fmla="*/ 266280 w 53"/>
                  <a:gd name="T65" fmla="*/ 167203 h 50"/>
                  <a:gd name="T66" fmla="*/ 255185 w 53"/>
                  <a:gd name="T67" fmla="*/ 150483 h 50"/>
                  <a:gd name="T68" fmla="*/ 255185 w 53"/>
                  <a:gd name="T69" fmla="*/ 167203 h 50"/>
                  <a:gd name="T70" fmla="*/ 244090 w 53"/>
                  <a:gd name="T71" fmla="*/ 150483 h 50"/>
                  <a:gd name="T72" fmla="*/ 266280 w 53"/>
                  <a:gd name="T73" fmla="*/ 117042 h 50"/>
                  <a:gd name="T74" fmla="*/ 282923 w 53"/>
                  <a:gd name="T75" fmla="*/ 117042 h 50"/>
                  <a:gd name="T76" fmla="*/ 294018 w 53"/>
                  <a:gd name="T77" fmla="*/ 117042 h 50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53"/>
                  <a:gd name="T118" fmla="*/ 0 h 50"/>
                  <a:gd name="T119" fmla="*/ 53 w 53"/>
                  <a:gd name="T120" fmla="*/ 50 h 50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53" h="50">
                    <a:moveTo>
                      <a:pt x="53" y="21"/>
                    </a:moveTo>
                    <a:lnTo>
                      <a:pt x="53" y="16"/>
                    </a:lnTo>
                    <a:lnTo>
                      <a:pt x="46" y="9"/>
                    </a:lnTo>
                    <a:lnTo>
                      <a:pt x="44" y="9"/>
                    </a:lnTo>
                    <a:lnTo>
                      <a:pt x="40" y="9"/>
                    </a:lnTo>
                    <a:lnTo>
                      <a:pt x="40" y="7"/>
                    </a:lnTo>
                    <a:lnTo>
                      <a:pt x="38" y="9"/>
                    </a:lnTo>
                    <a:lnTo>
                      <a:pt x="32" y="3"/>
                    </a:lnTo>
                    <a:lnTo>
                      <a:pt x="32" y="0"/>
                    </a:lnTo>
                    <a:lnTo>
                      <a:pt x="30" y="3"/>
                    </a:lnTo>
                    <a:lnTo>
                      <a:pt x="28" y="7"/>
                    </a:lnTo>
                    <a:lnTo>
                      <a:pt x="21" y="9"/>
                    </a:lnTo>
                    <a:lnTo>
                      <a:pt x="21" y="12"/>
                    </a:lnTo>
                    <a:lnTo>
                      <a:pt x="15" y="12"/>
                    </a:lnTo>
                    <a:lnTo>
                      <a:pt x="15" y="9"/>
                    </a:lnTo>
                    <a:lnTo>
                      <a:pt x="13" y="9"/>
                    </a:lnTo>
                    <a:lnTo>
                      <a:pt x="15" y="16"/>
                    </a:lnTo>
                    <a:lnTo>
                      <a:pt x="9" y="16"/>
                    </a:lnTo>
                    <a:lnTo>
                      <a:pt x="7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9" y="21"/>
                    </a:lnTo>
                    <a:lnTo>
                      <a:pt x="15" y="27"/>
                    </a:lnTo>
                    <a:lnTo>
                      <a:pt x="15" y="30"/>
                    </a:lnTo>
                    <a:lnTo>
                      <a:pt x="13" y="43"/>
                    </a:lnTo>
                    <a:lnTo>
                      <a:pt x="13" y="45"/>
                    </a:lnTo>
                    <a:lnTo>
                      <a:pt x="17" y="50"/>
                    </a:lnTo>
                    <a:lnTo>
                      <a:pt x="32" y="50"/>
                    </a:lnTo>
                    <a:lnTo>
                      <a:pt x="36" y="45"/>
                    </a:lnTo>
                    <a:lnTo>
                      <a:pt x="46" y="45"/>
                    </a:lnTo>
                    <a:lnTo>
                      <a:pt x="53" y="43"/>
                    </a:lnTo>
                    <a:lnTo>
                      <a:pt x="46" y="36"/>
                    </a:lnTo>
                    <a:lnTo>
                      <a:pt x="48" y="30"/>
                    </a:lnTo>
                    <a:lnTo>
                      <a:pt x="46" y="27"/>
                    </a:lnTo>
                    <a:lnTo>
                      <a:pt x="46" y="30"/>
                    </a:lnTo>
                    <a:lnTo>
                      <a:pt x="44" y="27"/>
                    </a:lnTo>
                    <a:lnTo>
                      <a:pt x="48" y="21"/>
                    </a:lnTo>
                    <a:lnTo>
                      <a:pt x="51" y="21"/>
                    </a:lnTo>
                    <a:lnTo>
                      <a:pt x="53" y="21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22" name="Finland"/>
              <p:cNvSpPr>
                <a:spLocks/>
              </p:cNvSpPr>
              <p:nvPr>
                <p:custDataLst>
                  <p:tags r:id="rId99"/>
                </p:custDataLst>
              </p:nvPr>
            </p:nvSpPr>
            <p:spPr bwMode="auto">
              <a:xfrm>
                <a:off x="4695393" y="2372601"/>
                <a:ext cx="242899" cy="302191"/>
              </a:xfrm>
              <a:custGeom>
                <a:avLst/>
                <a:gdLst/>
                <a:ahLst/>
                <a:cxnLst>
                  <a:cxn ang="0">
                    <a:pos x="32" y="7"/>
                  </a:cxn>
                  <a:cxn ang="0">
                    <a:pos x="30" y="7"/>
                  </a:cxn>
                  <a:cxn ang="0">
                    <a:pos x="30" y="12"/>
                  </a:cxn>
                  <a:cxn ang="0">
                    <a:pos x="36" y="14"/>
                  </a:cxn>
                  <a:cxn ang="0">
                    <a:pos x="36" y="16"/>
                  </a:cxn>
                  <a:cxn ang="0">
                    <a:pos x="38" y="23"/>
                  </a:cxn>
                  <a:cxn ang="0">
                    <a:pos x="38" y="25"/>
                  </a:cxn>
                  <a:cxn ang="0">
                    <a:pos x="40" y="30"/>
                  </a:cxn>
                  <a:cxn ang="0">
                    <a:pos x="40" y="32"/>
                  </a:cxn>
                  <a:cxn ang="0">
                    <a:pos x="44" y="39"/>
                  </a:cxn>
                  <a:cxn ang="0">
                    <a:pos x="32" y="50"/>
                  </a:cxn>
                  <a:cxn ang="0">
                    <a:pos x="19" y="54"/>
                  </a:cxn>
                  <a:cxn ang="0">
                    <a:pos x="11" y="50"/>
                  </a:cxn>
                  <a:cxn ang="0">
                    <a:pos x="11" y="43"/>
                  </a:cxn>
                  <a:cxn ang="0">
                    <a:pos x="7" y="39"/>
                  </a:cxn>
                  <a:cxn ang="0">
                    <a:pos x="11" y="39"/>
                  </a:cxn>
                  <a:cxn ang="0">
                    <a:pos x="21" y="25"/>
                  </a:cxn>
                  <a:cxn ang="0">
                    <a:pos x="21" y="23"/>
                  </a:cxn>
                  <a:cxn ang="0">
                    <a:pos x="19" y="23"/>
                  </a:cxn>
                  <a:cxn ang="0">
                    <a:pos x="15" y="23"/>
                  </a:cxn>
                  <a:cxn ang="0">
                    <a:pos x="13" y="12"/>
                  </a:cxn>
                  <a:cxn ang="0">
                    <a:pos x="0" y="7"/>
                  </a:cxn>
                  <a:cxn ang="0">
                    <a:pos x="5" y="5"/>
                  </a:cxn>
                  <a:cxn ang="0">
                    <a:pos x="11" y="7"/>
                  </a:cxn>
                  <a:cxn ang="0">
                    <a:pos x="19" y="7"/>
                  </a:cxn>
                  <a:cxn ang="0">
                    <a:pos x="21" y="7"/>
                  </a:cxn>
                  <a:cxn ang="0">
                    <a:pos x="21" y="0"/>
                  </a:cxn>
                  <a:cxn ang="0">
                    <a:pos x="28" y="0"/>
                  </a:cxn>
                  <a:cxn ang="0">
                    <a:pos x="32" y="5"/>
                  </a:cxn>
                  <a:cxn ang="0">
                    <a:pos x="32" y="7"/>
                  </a:cxn>
                </a:cxnLst>
                <a:rect l="0" t="0" r="r" b="b"/>
                <a:pathLst>
                  <a:path w="44" h="54">
                    <a:moveTo>
                      <a:pt x="32" y="7"/>
                    </a:moveTo>
                    <a:lnTo>
                      <a:pt x="30" y="7"/>
                    </a:lnTo>
                    <a:lnTo>
                      <a:pt x="30" y="12"/>
                    </a:lnTo>
                    <a:lnTo>
                      <a:pt x="36" y="14"/>
                    </a:lnTo>
                    <a:lnTo>
                      <a:pt x="36" y="16"/>
                    </a:lnTo>
                    <a:lnTo>
                      <a:pt x="38" y="23"/>
                    </a:lnTo>
                    <a:lnTo>
                      <a:pt x="38" y="25"/>
                    </a:lnTo>
                    <a:lnTo>
                      <a:pt x="40" y="30"/>
                    </a:lnTo>
                    <a:lnTo>
                      <a:pt x="40" y="32"/>
                    </a:lnTo>
                    <a:lnTo>
                      <a:pt x="44" y="39"/>
                    </a:lnTo>
                    <a:lnTo>
                      <a:pt x="32" y="50"/>
                    </a:lnTo>
                    <a:lnTo>
                      <a:pt x="19" y="54"/>
                    </a:lnTo>
                    <a:lnTo>
                      <a:pt x="11" y="50"/>
                    </a:lnTo>
                    <a:lnTo>
                      <a:pt x="11" y="43"/>
                    </a:lnTo>
                    <a:lnTo>
                      <a:pt x="7" y="39"/>
                    </a:lnTo>
                    <a:lnTo>
                      <a:pt x="11" y="39"/>
                    </a:lnTo>
                    <a:lnTo>
                      <a:pt x="21" y="25"/>
                    </a:lnTo>
                    <a:lnTo>
                      <a:pt x="21" y="23"/>
                    </a:lnTo>
                    <a:lnTo>
                      <a:pt x="19" y="23"/>
                    </a:lnTo>
                    <a:lnTo>
                      <a:pt x="15" y="23"/>
                    </a:lnTo>
                    <a:lnTo>
                      <a:pt x="13" y="12"/>
                    </a:lnTo>
                    <a:lnTo>
                      <a:pt x="0" y="7"/>
                    </a:lnTo>
                    <a:lnTo>
                      <a:pt x="5" y="5"/>
                    </a:lnTo>
                    <a:lnTo>
                      <a:pt x="11" y="7"/>
                    </a:lnTo>
                    <a:lnTo>
                      <a:pt x="19" y="7"/>
                    </a:lnTo>
                    <a:lnTo>
                      <a:pt x="21" y="7"/>
                    </a:lnTo>
                    <a:lnTo>
                      <a:pt x="21" y="0"/>
                    </a:lnTo>
                    <a:lnTo>
                      <a:pt x="28" y="0"/>
                    </a:lnTo>
                    <a:lnTo>
                      <a:pt x="32" y="5"/>
                    </a:lnTo>
                    <a:lnTo>
                      <a:pt x="32" y="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23" name="Ethiopia"/>
              <p:cNvSpPr>
                <a:spLocks/>
              </p:cNvSpPr>
              <p:nvPr/>
            </p:nvSpPr>
            <p:spPr bwMode="auto">
              <a:xfrm>
                <a:off x="5114249" y="4080554"/>
                <a:ext cx="401642" cy="378695"/>
              </a:xfrm>
              <a:custGeom>
                <a:avLst/>
                <a:gdLst>
                  <a:gd name="T0" fmla="*/ 676 w 1102"/>
                  <a:gd name="T1" fmla="*/ 174 h 879"/>
                  <a:gd name="T2" fmla="*/ 658 w 1102"/>
                  <a:gd name="T3" fmla="*/ 209 h 879"/>
                  <a:gd name="T4" fmla="*/ 640 w 1102"/>
                  <a:gd name="T5" fmla="*/ 268 h 879"/>
                  <a:gd name="T6" fmla="*/ 688 w 1102"/>
                  <a:gd name="T7" fmla="*/ 287 h 879"/>
                  <a:gd name="T8" fmla="*/ 722 w 1102"/>
                  <a:gd name="T9" fmla="*/ 288 h 879"/>
                  <a:gd name="T10" fmla="*/ 717 w 1102"/>
                  <a:gd name="T11" fmla="*/ 300 h 879"/>
                  <a:gd name="T12" fmla="*/ 732 w 1102"/>
                  <a:gd name="T13" fmla="*/ 359 h 879"/>
                  <a:gd name="T14" fmla="*/ 775 w 1102"/>
                  <a:gd name="T15" fmla="*/ 416 h 879"/>
                  <a:gd name="T16" fmla="*/ 1032 w 1102"/>
                  <a:gd name="T17" fmla="*/ 516 h 879"/>
                  <a:gd name="T18" fmla="*/ 1006 w 1102"/>
                  <a:gd name="T19" fmla="*/ 624 h 879"/>
                  <a:gd name="T20" fmla="*/ 848 w 1102"/>
                  <a:gd name="T21" fmla="*/ 759 h 879"/>
                  <a:gd name="T22" fmla="*/ 764 w 1102"/>
                  <a:gd name="T23" fmla="*/ 781 h 879"/>
                  <a:gd name="T24" fmla="*/ 705 w 1102"/>
                  <a:gd name="T25" fmla="*/ 818 h 879"/>
                  <a:gd name="T26" fmla="*/ 673 w 1102"/>
                  <a:gd name="T27" fmla="*/ 835 h 879"/>
                  <a:gd name="T28" fmla="*/ 609 w 1102"/>
                  <a:gd name="T29" fmla="*/ 829 h 879"/>
                  <a:gd name="T30" fmla="*/ 553 w 1102"/>
                  <a:gd name="T31" fmla="*/ 830 h 879"/>
                  <a:gd name="T32" fmla="*/ 502 w 1102"/>
                  <a:gd name="T33" fmla="*/ 879 h 879"/>
                  <a:gd name="T34" fmla="*/ 425 w 1102"/>
                  <a:gd name="T35" fmla="*/ 864 h 879"/>
                  <a:gd name="T36" fmla="*/ 323 w 1102"/>
                  <a:gd name="T37" fmla="*/ 816 h 879"/>
                  <a:gd name="T38" fmla="*/ 232 w 1102"/>
                  <a:gd name="T39" fmla="*/ 789 h 879"/>
                  <a:gd name="T40" fmla="*/ 219 w 1102"/>
                  <a:gd name="T41" fmla="*/ 769 h 879"/>
                  <a:gd name="T42" fmla="*/ 186 w 1102"/>
                  <a:gd name="T43" fmla="*/ 733 h 879"/>
                  <a:gd name="T44" fmla="*/ 158 w 1102"/>
                  <a:gd name="T45" fmla="*/ 685 h 879"/>
                  <a:gd name="T46" fmla="*/ 120 w 1102"/>
                  <a:gd name="T47" fmla="*/ 617 h 879"/>
                  <a:gd name="T48" fmla="*/ 72 w 1102"/>
                  <a:gd name="T49" fmla="*/ 568 h 879"/>
                  <a:gd name="T50" fmla="*/ 9 w 1102"/>
                  <a:gd name="T51" fmla="*/ 534 h 879"/>
                  <a:gd name="T52" fmla="*/ 54 w 1102"/>
                  <a:gd name="T53" fmla="*/ 498 h 879"/>
                  <a:gd name="T54" fmla="*/ 88 w 1102"/>
                  <a:gd name="T55" fmla="*/ 456 h 879"/>
                  <a:gd name="T56" fmla="*/ 94 w 1102"/>
                  <a:gd name="T57" fmla="*/ 375 h 879"/>
                  <a:gd name="T58" fmla="*/ 120 w 1102"/>
                  <a:gd name="T59" fmla="*/ 313 h 879"/>
                  <a:gd name="T60" fmla="*/ 144 w 1102"/>
                  <a:gd name="T61" fmla="*/ 293 h 879"/>
                  <a:gd name="T62" fmla="*/ 168 w 1102"/>
                  <a:gd name="T63" fmla="*/ 214 h 879"/>
                  <a:gd name="T64" fmla="*/ 222 w 1102"/>
                  <a:gd name="T65" fmla="*/ 167 h 879"/>
                  <a:gd name="T66" fmla="*/ 240 w 1102"/>
                  <a:gd name="T67" fmla="*/ 83 h 879"/>
                  <a:gd name="T68" fmla="*/ 242 w 1102"/>
                  <a:gd name="T69" fmla="*/ 50 h 879"/>
                  <a:gd name="T70" fmla="*/ 304 w 1102"/>
                  <a:gd name="T71" fmla="*/ 44 h 879"/>
                  <a:gd name="T72" fmla="*/ 338 w 1102"/>
                  <a:gd name="T73" fmla="*/ 0 h 879"/>
                  <a:gd name="T74" fmla="*/ 398 w 1102"/>
                  <a:gd name="T75" fmla="*/ 31 h 879"/>
                  <a:gd name="T76" fmla="*/ 444 w 1102"/>
                  <a:gd name="T77" fmla="*/ 27 h 879"/>
                  <a:gd name="T78" fmla="*/ 499 w 1102"/>
                  <a:gd name="T79" fmla="*/ 28 h 879"/>
                  <a:gd name="T80" fmla="*/ 564 w 1102"/>
                  <a:gd name="T81" fmla="*/ 63 h 879"/>
                  <a:gd name="T82" fmla="*/ 628 w 1102"/>
                  <a:gd name="T83" fmla="*/ 123 h 879"/>
                  <a:gd name="T84" fmla="*/ 672 w 1102"/>
                  <a:gd name="T85" fmla="*/ 173 h 8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102" h="879">
                    <a:moveTo>
                      <a:pt x="672" y="173"/>
                    </a:moveTo>
                    <a:cubicBezTo>
                      <a:pt x="673" y="174"/>
                      <a:pt x="674" y="174"/>
                      <a:pt x="676" y="174"/>
                    </a:cubicBezTo>
                    <a:cubicBezTo>
                      <a:pt x="676" y="177"/>
                      <a:pt x="676" y="177"/>
                      <a:pt x="676" y="177"/>
                    </a:cubicBezTo>
                    <a:cubicBezTo>
                      <a:pt x="670" y="187"/>
                      <a:pt x="664" y="198"/>
                      <a:pt x="658" y="209"/>
                    </a:cubicBezTo>
                    <a:cubicBezTo>
                      <a:pt x="653" y="219"/>
                      <a:pt x="647" y="228"/>
                      <a:pt x="638" y="236"/>
                    </a:cubicBezTo>
                    <a:cubicBezTo>
                      <a:pt x="635" y="247"/>
                      <a:pt x="635" y="257"/>
                      <a:pt x="640" y="268"/>
                    </a:cubicBezTo>
                    <a:cubicBezTo>
                      <a:pt x="643" y="278"/>
                      <a:pt x="634" y="296"/>
                      <a:pt x="651" y="295"/>
                    </a:cubicBezTo>
                    <a:cubicBezTo>
                      <a:pt x="663" y="293"/>
                      <a:pt x="676" y="291"/>
                      <a:pt x="688" y="287"/>
                    </a:cubicBezTo>
                    <a:cubicBezTo>
                      <a:pt x="699" y="278"/>
                      <a:pt x="710" y="287"/>
                      <a:pt x="719" y="291"/>
                    </a:cubicBezTo>
                    <a:cubicBezTo>
                      <a:pt x="720" y="290"/>
                      <a:pt x="721" y="289"/>
                      <a:pt x="722" y="288"/>
                    </a:cubicBezTo>
                    <a:cubicBezTo>
                      <a:pt x="723" y="289"/>
                      <a:pt x="723" y="289"/>
                      <a:pt x="723" y="289"/>
                    </a:cubicBezTo>
                    <a:cubicBezTo>
                      <a:pt x="722" y="294"/>
                      <a:pt x="721" y="296"/>
                      <a:pt x="717" y="300"/>
                    </a:cubicBezTo>
                    <a:cubicBezTo>
                      <a:pt x="711" y="310"/>
                      <a:pt x="700" y="323"/>
                      <a:pt x="714" y="332"/>
                    </a:cubicBezTo>
                    <a:cubicBezTo>
                      <a:pt x="717" y="343"/>
                      <a:pt x="721" y="354"/>
                      <a:pt x="732" y="359"/>
                    </a:cubicBezTo>
                    <a:cubicBezTo>
                      <a:pt x="734" y="374"/>
                      <a:pt x="754" y="372"/>
                      <a:pt x="752" y="389"/>
                    </a:cubicBezTo>
                    <a:cubicBezTo>
                      <a:pt x="761" y="397"/>
                      <a:pt x="765" y="410"/>
                      <a:pt x="775" y="416"/>
                    </a:cubicBezTo>
                    <a:cubicBezTo>
                      <a:pt x="790" y="417"/>
                      <a:pt x="798" y="434"/>
                      <a:pt x="810" y="442"/>
                    </a:cubicBezTo>
                    <a:cubicBezTo>
                      <a:pt x="885" y="466"/>
                      <a:pt x="958" y="491"/>
                      <a:pt x="1032" y="516"/>
                    </a:cubicBezTo>
                    <a:cubicBezTo>
                      <a:pt x="1055" y="516"/>
                      <a:pt x="1079" y="515"/>
                      <a:pt x="1102" y="515"/>
                    </a:cubicBezTo>
                    <a:cubicBezTo>
                      <a:pt x="1070" y="551"/>
                      <a:pt x="1037" y="586"/>
                      <a:pt x="1006" y="624"/>
                    </a:cubicBezTo>
                    <a:cubicBezTo>
                      <a:pt x="967" y="668"/>
                      <a:pt x="931" y="715"/>
                      <a:pt x="893" y="761"/>
                    </a:cubicBezTo>
                    <a:cubicBezTo>
                      <a:pt x="878" y="760"/>
                      <a:pt x="863" y="759"/>
                      <a:pt x="848" y="759"/>
                    </a:cubicBezTo>
                    <a:cubicBezTo>
                      <a:pt x="836" y="758"/>
                      <a:pt x="824" y="756"/>
                      <a:pt x="813" y="761"/>
                    </a:cubicBezTo>
                    <a:cubicBezTo>
                      <a:pt x="796" y="763"/>
                      <a:pt x="779" y="772"/>
                      <a:pt x="764" y="781"/>
                    </a:cubicBezTo>
                    <a:cubicBezTo>
                      <a:pt x="749" y="786"/>
                      <a:pt x="751" y="804"/>
                      <a:pt x="739" y="811"/>
                    </a:cubicBezTo>
                    <a:cubicBezTo>
                      <a:pt x="728" y="812"/>
                      <a:pt x="716" y="816"/>
                      <a:pt x="705" y="818"/>
                    </a:cubicBezTo>
                    <a:cubicBezTo>
                      <a:pt x="694" y="816"/>
                      <a:pt x="683" y="819"/>
                      <a:pt x="677" y="828"/>
                    </a:cubicBezTo>
                    <a:cubicBezTo>
                      <a:pt x="676" y="832"/>
                      <a:pt x="675" y="834"/>
                      <a:pt x="673" y="835"/>
                    </a:cubicBezTo>
                    <a:cubicBezTo>
                      <a:pt x="668" y="839"/>
                      <a:pt x="659" y="833"/>
                      <a:pt x="652" y="835"/>
                    </a:cubicBezTo>
                    <a:cubicBezTo>
                      <a:pt x="638" y="837"/>
                      <a:pt x="617" y="845"/>
                      <a:pt x="609" y="829"/>
                    </a:cubicBezTo>
                    <a:cubicBezTo>
                      <a:pt x="601" y="826"/>
                      <a:pt x="594" y="808"/>
                      <a:pt x="584" y="816"/>
                    </a:cubicBezTo>
                    <a:cubicBezTo>
                      <a:pt x="573" y="820"/>
                      <a:pt x="563" y="825"/>
                      <a:pt x="553" y="830"/>
                    </a:cubicBezTo>
                    <a:cubicBezTo>
                      <a:pt x="542" y="836"/>
                      <a:pt x="528" y="840"/>
                      <a:pt x="521" y="851"/>
                    </a:cubicBezTo>
                    <a:cubicBezTo>
                      <a:pt x="520" y="863"/>
                      <a:pt x="505" y="868"/>
                      <a:pt x="502" y="879"/>
                    </a:cubicBezTo>
                    <a:cubicBezTo>
                      <a:pt x="491" y="876"/>
                      <a:pt x="478" y="876"/>
                      <a:pt x="465" y="872"/>
                    </a:cubicBezTo>
                    <a:cubicBezTo>
                      <a:pt x="450" y="875"/>
                      <a:pt x="439" y="866"/>
                      <a:pt x="425" y="864"/>
                    </a:cubicBezTo>
                    <a:cubicBezTo>
                      <a:pt x="412" y="868"/>
                      <a:pt x="394" y="869"/>
                      <a:pt x="385" y="857"/>
                    </a:cubicBezTo>
                    <a:cubicBezTo>
                      <a:pt x="364" y="843"/>
                      <a:pt x="344" y="829"/>
                      <a:pt x="323" y="816"/>
                    </a:cubicBezTo>
                    <a:cubicBezTo>
                      <a:pt x="310" y="801"/>
                      <a:pt x="291" y="803"/>
                      <a:pt x="274" y="803"/>
                    </a:cubicBezTo>
                    <a:cubicBezTo>
                      <a:pt x="260" y="801"/>
                      <a:pt x="234" y="810"/>
                      <a:pt x="232" y="789"/>
                    </a:cubicBezTo>
                    <a:cubicBezTo>
                      <a:pt x="227" y="789"/>
                      <a:pt x="227" y="789"/>
                      <a:pt x="227" y="789"/>
                    </a:cubicBezTo>
                    <a:cubicBezTo>
                      <a:pt x="235" y="786"/>
                      <a:pt x="215" y="778"/>
                      <a:pt x="219" y="769"/>
                    </a:cubicBezTo>
                    <a:cubicBezTo>
                      <a:pt x="216" y="757"/>
                      <a:pt x="229" y="740"/>
                      <a:pt x="216" y="733"/>
                    </a:cubicBezTo>
                    <a:cubicBezTo>
                      <a:pt x="206" y="731"/>
                      <a:pt x="195" y="724"/>
                      <a:pt x="186" y="733"/>
                    </a:cubicBezTo>
                    <a:cubicBezTo>
                      <a:pt x="179" y="729"/>
                      <a:pt x="183" y="717"/>
                      <a:pt x="172" y="715"/>
                    </a:cubicBezTo>
                    <a:cubicBezTo>
                      <a:pt x="166" y="706"/>
                      <a:pt x="159" y="697"/>
                      <a:pt x="158" y="685"/>
                    </a:cubicBezTo>
                    <a:cubicBezTo>
                      <a:pt x="154" y="671"/>
                      <a:pt x="146" y="658"/>
                      <a:pt x="142" y="644"/>
                    </a:cubicBezTo>
                    <a:cubicBezTo>
                      <a:pt x="142" y="628"/>
                      <a:pt x="120" y="632"/>
                      <a:pt x="120" y="617"/>
                    </a:cubicBezTo>
                    <a:cubicBezTo>
                      <a:pt x="111" y="611"/>
                      <a:pt x="98" y="610"/>
                      <a:pt x="95" y="596"/>
                    </a:cubicBezTo>
                    <a:cubicBezTo>
                      <a:pt x="81" y="593"/>
                      <a:pt x="87" y="573"/>
                      <a:pt x="72" y="568"/>
                    </a:cubicBezTo>
                    <a:cubicBezTo>
                      <a:pt x="60" y="558"/>
                      <a:pt x="46" y="551"/>
                      <a:pt x="29" y="553"/>
                    </a:cubicBezTo>
                    <a:cubicBezTo>
                      <a:pt x="22" y="547"/>
                      <a:pt x="0" y="550"/>
                      <a:pt x="9" y="534"/>
                    </a:cubicBezTo>
                    <a:cubicBezTo>
                      <a:pt x="16" y="526"/>
                      <a:pt x="24" y="517"/>
                      <a:pt x="18" y="507"/>
                    </a:cubicBezTo>
                    <a:cubicBezTo>
                      <a:pt x="21" y="492"/>
                      <a:pt x="42" y="499"/>
                      <a:pt x="54" y="498"/>
                    </a:cubicBezTo>
                    <a:cubicBezTo>
                      <a:pt x="60" y="510"/>
                      <a:pt x="74" y="498"/>
                      <a:pt x="83" y="494"/>
                    </a:cubicBezTo>
                    <a:cubicBezTo>
                      <a:pt x="93" y="484"/>
                      <a:pt x="87" y="468"/>
                      <a:pt x="88" y="456"/>
                    </a:cubicBezTo>
                    <a:cubicBezTo>
                      <a:pt x="87" y="441"/>
                      <a:pt x="83" y="426"/>
                      <a:pt x="83" y="411"/>
                    </a:cubicBezTo>
                    <a:cubicBezTo>
                      <a:pt x="86" y="399"/>
                      <a:pt x="89" y="386"/>
                      <a:pt x="94" y="375"/>
                    </a:cubicBezTo>
                    <a:cubicBezTo>
                      <a:pt x="104" y="364"/>
                      <a:pt x="97" y="350"/>
                      <a:pt x="94" y="338"/>
                    </a:cubicBezTo>
                    <a:cubicBezTo>
                      <a:pt x="101" y="328"/>
                      <a:pt x="106" y="308"/>
                      <a:pt x="120" y="313"/>
                    </a:cubicBezTo>
                    <a:cubicBezTo>
                      <a:pt x="128" y="318"/>
                      <a:pt x="131" y="331"/>
                      <a:pt x="138" y="318"/>
                    </a:cubicBezTo>
                    <a:cubicBezTo>
                      <a:pt x="148" y="311"/>
                      <a:pt x="137" y="301"/>
                      <a:pt x="144" y="293"/>
                    </a:cubicBezTo>
                    <a:cubicBezTo>
                      <a:pt x="137" y="276"/>
                      <a:pt x="155" y="262"/>
                      <a:pt x="146" y="246"/>
                    </a:cubicBezTo>
                    <a:cubicBezTo>
                      <a:pt x="148" y="232"/>
                      <a:pt x="168" y="230"/>
                      <a:pt x="168" y="214"/>
                    </a:cubicBezTo>
                    <a:cubicBezTo>
                      <a:pt x="175" y="203"/>
                      <a:pt x="178" y="189"/>
                      <a:pt x="187" y="179"/>
                    </a:cubicBezTo>
                    <a:cubicBezTo>
                      <a:pt x="193" y="166"/>
                      <a:pt x="213" y="173"/>
                      <a:pt x="222" y="167"/>
                    </a:cubicBezTo>
                    <a:cubicBezTo>
                      <a:pt x="219" y="150"/>
                      <a:pt x="222" y="134"/>
                      <a:pt x="226" y="118"/>
                    </a:cubicBezTo>
                    <a:cubicBezTo>
                      <a:pt x="235" y="108"/>
                      <a:pt x="237" y="96"/>
                      <a:pt x="240" y="83"/>
                    </a:cubicBezTo>
                    <a:cubicBezTo>
                      <a:pt x="235" y="72"/>
                      <a:pt x="241" y="61"/>
                      <a:pt x="242" y="50"/>
                    </a:cubicBezTo>
                    <a:cubicBezTo>
                      <a:pt x="242" y="50"/>
                      <a:pt x="242" y="50"/>
                      <a:pt x="242" y="50"/>
                    </a:cubicBezTo>
                    <a:cubicBezTo>
                      <a:pt x="253" y="40"/>
                      <a:pt x="269" y="49"/>
                      <a:pt x="280" y="47"/>
                    </a:cubicBezTo>
                    <a:cubicBezTo>
                      <a:pt x="280" y="31"/>
                      <a:pt x="300" y="30"/>
                      <a:pt x="304" y="44"/>
                    </a:cubicBezTo>
                    <a:cubicBezTo>
                      <a:pt x="309" y="51"/>
                      <a:pt x="319" y="69"/>
                      <a:pt x="321" y="51"/>
                    </a:cubicBezTo>
                    <a:cubicBezTo>
                      <a:pt x="327" y="34"/>
                      <a:pt x="332" y="17"/>
                      <a:pt x="338" y="0"/>
                    </a:cubicBezTo>
                    <a:cubicBezTo>
                      <a:pt x="343" y="12"/>
                      <a:pt x="355" y="14"/>
                      <a:pt x="365" y="17"/>
                    </a:cubicBezTo>
                    <a:cubicBezTo>
                      <a:pt x="370" y="31"/>
                      <a:pt x="384" y="40"/>
                      <a:pt x="398" y="31"/>
                    </a:cubicBezTo>
                    <a:cubicBezTo>
                      <a:pt x="410" y="33"/>
                      <a:pt x="416" y="18"/>
                      <a:pt x="425" y="16"/>
                    </a:cubicBezTo>
                    <a:cubicBezTo>
                      <a:pt x="434" y="20"/>
                      <a:pt x="432" y="36"/>
                      <a:pt x="444" y="27"/>
                    </a:cubicBezTo>
                    <a:cubicBezTo>
                      <a:pt x="453" y="28"/>
                      <a:pt x="458" y="17"/>
                      <a:pt x="466" y="25"/>
                    </a:cubicBezTo>
                    <a:cubicBezTo>
                      <a:pt x="477" y="24"/>
                      <a:pt x="487" y="34"/>
                      <a:pt x="499" y="28"/>
                    </a:cubicBezTo>
                    <a:cubicBezTo>
                      <a:pt x="514" y="27"/>
                      <a:pt x="520" y="43"/>
                      <a:pt x="534" y="46"/>
                    </a:cubicBezTo>
                    <a:cubicBezTo>
                      <a:pt x="546" y="47"/>
                      <a:pt x="556" y="53"/>
                      <a:pt x="564" y="63"/>
                    </a:cubicBezTo>
                    <a:cubicBezTo>
                      <a:pt x="574" y="71"/>
                      <a:pt x="577" y="84"/>
                      <a:pt x="586" y="93"/>
                    </a:cubicBezTo>
                    <a:cubicBezTo>
                      <a:pt x="601" y="102"/>
                      <a:pt x="616" y="110"/>
                      <a:pt x="628" y="123"/>
                    </a:cubicBezTo>
                    <a:cubicBezTo>
                      <a:pt x="635" y="132"/>
                      <a:pt x="637" y="147"/>
                      <a:pt x="650" y="150"/>
                    </a:cubicBezTo>
                    <a:cubicBezTo>
                      <a:pt x="661" y="153"/>
                      <a:pt x="665" y="164"/>
                      <a:pt x="672" y="173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24" name="Estonia"/>
              <p:cNvSpPr>
                <a:spLocks/>
              </p:cNvSpPr>
              <p:nvPr>
                <p:custDataLst>
                  <p:tags r:id="rId100"/>
                </p:custDataLst>
              </p:nvPr>
            </p:nvSpPr>
            <p:spPr bwMode="auto">
              <a:xfrm>
                <a:off x="4800586" y="2674792"/>
                <a:ext cx="93716" cy="66942"/>
              </a:xfrm>
              <a:custGeom>
                <a:avLst/>
                <a:gdLst/>
                <a:ahLst/>
                <a:cxnLst>
                  <a:cxn ang="0">
                    <a:pos x="2" y="9"/>
                  </a:cxn>
                  <a:cxn ang="0">
                    <a:pos x="0" y="9"/>
                  </a:cxn>
                  <a:cxn ang="0">
                    <a:pos x="0" y="3"/>
                  </a:cxn>
                  <a:cxn ang="0">
                    <a:pos x="9" y="0"/>
                  </a:cxn>
                  <a:cxn ang="0">
                    <a:pos x="17" y="3"/>
                  </a:cxn>
                  <a:cxn ang="0">
                    <a:pos x="13" y="3"/>
                  </a:cxn>
                  <a:cxn ang="0">
                    <a:pos x="11" y="5"/>
                  </a:cxn>
                  <a:cxn ang="0">
                    <a:pos x="13" y="9"/>
                  </a:cxn>
                  <a:cxn ang="0">
                    <a:pos x="13" y="12"/>
                  </a:cxn>
                  <a:cxn ang="0">
                    <a:pos x="4" y="9"/>
                  </a:cxn>
                  <a:cxn ang="0">
                    <a:pos x="2" y="9"/>
                  </a:cxn>
                </a:cxnLst>
                <a:rect l="0" t="0" r="r" b="b"/>
                <a:pathLst>
                  <a:path w="17" h="12">
                    <a:moveTo>
                      <a:pt x="2" y="9"/>
                    </a:moveTo>
                    <a:lnTo>
                      <a:pt x="0" y="9"/>
                    </a:lnTo>
                    <a:lnTo>
                      <a:pt x="0" y="3"/>
                    </a:lnTo>
                    <a:lnTo>
                      <a:pt x="9" y="0"/>
                    </a:lnTo>
                    <a:lnTo>
                      <a:pt x="17" y="3"/>
                    </a:lnTo>
                    <a:lnTo>
                      <a:pt x="13" y="3"/>
                    </a:lnTo>
                    <a:lnTo>
                      <a:pt x="11" y="5"/>
                    </a:lnTo>
                    <a:lnTo>
                      <a:pt x="13" y="9"/>
                    </a:lnTo>
                    <a:lnTo>
                      <a:pt x="13" y="12"/>
                    </a:lnTo>
                    <a:lnTo>
                      <a:pt x="4" y="9"/>
                    </a:lnTo>
                    <a:lnTo>
                      <a:pt x="2" y="9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25" name="Eritrea"/>
              <p:cNvSpPr>
                <a:spLocks/>
              </p:cNvSpPr>
              <p:nvPr/>
            </p:nvSpPr>
            <p:spPr bwMode="auto">
              <a:xfrm>
                <a:off x="5198403" y="3977274"/>
                <a:ext cx="179783" cy="183610"/>
              </a:xfrm>
              <a:custGeom>
                <a:avLst/>
                <a:gdLst>
                  <a:gd name="T0" fmla="*/ 12 w 497"/>
                  <a:gd name="T1" fmla="*/ 289 h 428"/>
                  <a:gd name="T2" fmla="*/ 10 w 497"/>
                  <a:gd name="T3" fmla="*/ 279 h 428"/>
                  <a:gd name="T4" fmla="*/ 0 w 497"/>
                  <a:gd name="T5" fmla="*/ 222 h 428"/>
                  <a:gd name="T6" fmla="*/ 13 w 497"/>
                  <a:gd name="T7" fmla="*/ 185 h 428"/>
                  <a:gd name="T8" fmla="*/ 28 w 497"/>
                  <a:gd name="T9" fmla="*/ 142 h 428"/>
                  <a:gd name="T10" fmla="*/ 31 w 497"/>
                  <a:gd name="T11" fmla="*/ 98 h 428"/>
                  <a:gd name="T12" fmla="*/ 39 w 497"/>
                  <a:gd name="T13" fmla="*/ 77 h 428"/>
                  <a:gd name="T14" fmla="*/ 65 w 497"/>
                  <a:gd name="T15" fmla="*/ 57 h 428"/>
                  <a:gd name="T16" fmla="*/ 83 w 497"/>
                  <a:gd name="T17" fmla="*/ 42 h 428"/>
                  <a:gd name="T18" fmla="*/ 106 w 497"/>
                  <a:gd name="T19" fmla="*/ 40 h 428"/>
                  <a:gd name="T20" fmla="*/ 118 w 497"/>
                  <a:gd name="T21" fmla="*/ 30 h 428"/>
                  <a:gd name="T22" fmla="*/ 136 w 497"/>
                  <a:gd name="T23" fmla="*/ 0 h 428"/>
                  <a:gd name="T24" fmla="*/ 158 w 497"/>
                  <a:gd name="T25" fmla="*/ 34 h 428"/>
                  <a:gd name="T26" fmla="*/ 171 w 497"/>
                  <a:gd name="T27" fmla="*/ 65 h 428"/>
                  <a:gd name="T28" fmla="*/ 184 w 497"/>
                  <a:gd name="T29" fmla="*/ 95 h 428"/>
                  <a:gd name="T30" fmla="*/ 202 w 497"/>
                  <a:gd name="T31" fmla="*/ 160 h 428"/>
                  <a:gd name="T32" fmla="*/ 217 w 497"/>
                  <a:gd name="T33" fmla="*/ 185 h 428"/>
                  <a:gd name="T34" fmla="*/ 242 w 497"/>
                  <a:gd name="T35" fmla="*/ 219 h 428"/>
                  <a:gd name="T36" fmla="*/ 243 w 497"/>
                  <a:gd name="T37" fmla="*/ 202 h 428"/>
                  <a:gd name="T38" fmla="*/ 247 w 497"/>
                  <a:gd name="T39" fmla="*/ 187 h 428"/>
                  <a:gd name="T40" fmla="*/ 261 w 497"/>
                  <a:gd name="T41" fmla="*/ 212 h 428"/>
                  <a:gd name="T42" fmla="*/ 271 w 497"/>
                  <a:gd name="T43" fmla="*/ 223 h 428"/>
                  <a:gd name="T44" fmla="*/ 285 w 497"/>
                  <a:gd name="T45" fmla="*/ 226 h 428"/>
                  <a:gd name="T46" fmla="*/ 303 w 497"/>
                  <a:gd name="T47" fmla="*/ 232 h 428"/>
                  <a:gd name="T48" fmla="*/ 310 w 497"/>
                  <a:gd name="T49" fmla="*/ 243 h 428"/>
                  <a:gd name="T50" fmla="*/ 330 w 497"/>
                  <a:gd name="T51" fmla="*/ 248 h 428"/>
                  <a:gd name="T52" fmla="*/ 352 w 497"/>
                  <a:gd name="T53" fmla="*/ 258 h 428"/>
                  <a:gd name="T54" fmla="*/ 384 w 497"/>
                  <a:gd name="T55" fmla="*/ 299 h 428"/>
                  <a:gd name="T56" fmla="*/ 405 w 497"/>
                  <a:gd name="T57" fmla="*/ 315 h 428"/>
                  <a:gd name="T58" fmla="*/ 435 w 497"/>
                  <a:gd name="T59" fmla="*/ 342 h 428"/>
                  <a:gd name="T60" fmla="*/ 458 w 497"/>
                  <a:gd name="T61" fmla="*/ 364 h 428"/>
                  <a:gd name="T62" fmla="*/ 474 w 497"/>
                  <a:gd name="T63" fmla="*/ 386 h 428"/>
                  <a:gd name="T64" fmla="*/ 493 w 497"/>
                  <a:gd name="T65" fmla="*/ 389 h 428"/>
                  <a:gd name="T66" fmla="*/ 497 w 497"/>
                  <a:gd name="T67" fmla="*/ 395 h 428"/>
                  <a:gd name="T68" fmla="*/ 496 w 497"/>
                  <a:gd name="T69" fmla="*/ 396 h 428"/>
                  <a:gd name="T70" fmla="*/ 476 w 497"/>
                  <a:gd name="T71" fmla="*/ 408 h 428"/>
                  <a:gd name="T72" fmla="*/ 461 w 497"/>
                  <a:gd name="T73" fmla="*/ 417 h 428"/>
                  <a:gd name="T74" fmla="*/ 446 w 497"/>
                  <a:gd name="T75" fmla="*/ 413 h 428"/>
                  <a:gd name="T76" fmla="*/ 442 w 497"/>
                  <a:gd name="T77" fmla="*/ 412 h 428"/>
                  <a:gd name="T78" fmla="*/ 420 w 497"/>
                  <a:gd name="T79" fmla="*/ 389 h 428"/>
                  <a:gd name="T80" fmla="*/ 398 w 497"/>
                  <a:gd name="T81" fmla="*/ 362 h 428"/>
                  <a:gd name="T82" fmla="*/ 356 w 497"/>
                  <a:gd name="T83" fmla="*/ 332 h 428"/>
                  <a:gd name="T84" fmla="*/ 334 w 497"/>
                  <a:gd name="T85" fmla="*/ 302 h 428"/>
                  <a:gd name="T86" fmla="*/ 304 w 497"/>
                  <a:gd name="T87" fmla="*/ 285 h 428"/>
                  <a:gd name="T88" fmla="*/ 269 w 497"/>
                  <a:gd name="T89" fmla="*/ 267 h 428"/>
                  <a:gd name="T90" fmla="*/ 236 w 497"/>
                  <a:gd name="T91" fmla="*/ 264 h 428"/>
                  <a:gd name="T92" fmla="*/ 214 w 497"/>
                  <a:gd name="T93" fmla="*/ 266 h 428"/>
                  <a:gd name="T94" fmla="*/ 195 w 497"/>
                  <a:gd name="T95" fmla="*/ 255 h 428"/>
                  <a:gd name="T96" fmla="*/ 168 w 497"/>
                  <a:gd name="T97" fmla="*/ 270 h 428"/>
                  <a:gd name="T98" fmla="*/ 135 w 497"/>
                  <a:gd name="T99" fmla="*/ 256 h 428"/>
                  <a:gd name="T100" fmla="*/ 108 w 497"/>
                  <a:gd name="T101" fmla="*/ 239 h 428"/>
                  <a:gd name="T102" fmla="*/ 91 w 497"/>
                  <a:gd name="T103" fmla="*/ 290 h 428"/>
                  <a:gd name="T104" fmla="*/ 74 w 497"/>
                  <a:gd name="T105" fmla="*/ 283 h 428"/>
                  <a:gd name="T106" fmla="*/ 50 w 497"/>
                  <a:gd name="T107" fmla="*/ 286 h 428"/>
                  <a:gd name="T108" fmla="*/ 12 w 497"/>
                  <a:gd name="T109" fmla="*/ 289 h 4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97" h="428">
                    <a:moveTo>
                      <a:pt x="12" y="289"/>
                    </a:moveTo>
                    <a:cubicBezTo>
                      <a:pt x="12" y="286"/>
                      <a:pt x="12" y="282"/>
                      <a:pt x="10" y="279"/>
                    </a:cubicBezTo>
                    <a:cubicBezTo>
                      <a:pt x="6" y="260"/>
                      <a:pt x="4" y="241"/>
                      <a:pt x="0" y="222"/>
                    </a:cubicBezTo>
                    <a:cubicBezTo>
                      <a:pt x="11" y="213"/>
                      <a:pt x="12" y="198"/>
                      <a:pt x="13" y="185"/>
                    </a:cubicBezTo>
                    <a:cubicBezTo>
                      <a:pt x="17" y="171"/>
                      <a:pt x="25" y="157"/>
                      <a:pt x="28" y="142"/>
                    </a:cubicBezTo>
                    <a:cubicBezTo>
                      <a:pt x="39" y="128"/>
                      <a:pt x="15" y="111"/>
                      <a:pt x="31" y="98"/>
                    </a:cubicBezTo>
                    <a:cubicBezTo>
                      <a:pt x="33" y="90"/>
                      <a:pt x="22" y="67"/>
                      <a:pt x="39" y="77"/>
                    </a:cubicBezTo>
                    <a:cubicBezTo>
                      <a:pt x="51" y="78"/>
                      <a:pt x="69" y="75"/>
                      <a:pt x="65" y="57"/>
                    </a:cubicBezTo>
                    <a:cubicBezTo>
                      <a:pt x="65" y="47"/>
                      <a:pt x="82" y="54"/>
                      <a:pt x="83" y="42"/>
                    </a:cubicBezTo>
                    <a:cubicBezTo>
                      <a:pt x="93" y="50"/>
                      <a:pt x="99" y="28"/>
                      <a:pt x="106" y="40"/>
                    </a:cubicBezTo>
                    <a:cubicBezTo>
                      <a:pt x="106" y="30"/>
                      <a:pt x="117" y="41"/>
                      <a:pt x="118" y="30"/>
                    </a:cubicBezTo>
                    <a:cubicBezTo>
                      <a:pt x="127" y="22"/>
                      <a:pt x="125" y="7"/>
                      <a:pt x="136" y="0"/>
                    </a:cubicBezTo>
                    <a:cubicBezTo>
                      <a:pt x="144" y="11"/>
                      <a:pt x="150" y="23"/>
                      <a:pt x="158" y="34"/>
                    </a:cubicBezTo>
                    <a:cubicBezTo>
                      <a:pt x="163" y="44"/>
                      <a:pt x="168" y="54"/>
                      <a:pt x="171" y="65"/>
                    </a:cubicBezTo>
                    <a:cubicBezTo>
                      <a:pt x="173" y="76"/>
                      <a:pt x="179" y="85"/>
                      <a:pt x="184" y="95"/>
                    </a:cubicBezTo>
                    <a:cubicBezTo>
                      <a:pt x="189" y="117"/>
                      <a:pt x="194" y="139"/>
                      <a:pt x="202" y="160"/>
                    </a:cubicBezTo>
                    <a:cubicBezTo>
                      <a:pt x="207" y="168"/>
                      <a:pt x="213" y="176"/>
                      <a:pt x="217" y="185"/>
                    </a:cubicBezTo>
                    <a:cubicBezTo>
                      <a:pt x="225" y="196"/>
                      <a:pt x="234" y="207"/>
                      <a:pt x="242" y="219"/>
                    </a:cubicBezTo>
                    <a:cubicBezTo>
                      <a:pt x="243" y="213"/>
                      <a:pt x="244" y="207"/>
                      <a:pt x="243" y="202"/>
                    </a:cubicBezTo>
                    <a:cubicBezTo>
                      <a:pt x="241" y="196"/>
                      <a:pt x="245" y="192"/>
                      <a:pt x="247" y="187"/>
                    </a:cubicBezTo>
                    <a:cubicBezTo>
                      <a:pt x="252" y="196"/>
                      <a:pt x="257" y="204"/>
                      <a:pt x="261" y="212"/>
                    </a:cubicBezTo>
                    <a:cubicBezTo>
                      <a:pt x="263" y="217"/>
                      <a:pt x="266" y="221"/>
                      <a:pt x="271" y="223"/>
                    </a:cubicBezTo>
                    <a:cubicBezTo>
                      <a:pt x="274" y="228"/>
                      <a:pt x="280" y="225"/>
                      <a:pt x="285" y="226"/>
                    </a:cubicBezTo>
                    <a:cubicBezTo>
                      <a:pt x="291" y="227"/>
                      <a:pt x="298" y="228"/>
                      <a:pt x="303" y="232"/>
                    </a:cubicBezTo>
                    <a:cubicBezTo>
                      <a:pt x="308" y="234"/>
                      <a:pt x="309" y="238"/>
                      <a:pt x="310" y="243"/>
                    </a:cubicBezTo>
                    <a:cubicBezTo>
                      <a:pt x="317" y="244"/>
                      <a:pt x="323" y="246"/>
                      <a:pt x="330" y="248"/>
                    </a:cubicBezTo>
                    <a:cubicBezTo>
                      <a:pt x="338" y="249"/>
                      <a:pt x="345" y="254"/>
                      <a:pt x="352" y="258"/>
                    </a:cubicBezTo>
                    <a:cubicBezTo>
                      <a:pt x="363" y="271"/>
                      <a:pt x="373" y="286"/>
                      <a:pt x="384" y="299"/>
                    </a:cubicBezTo>
                    <a:cubicBezTo>
                      <a:pt x="389" y="307"/>
                      <a:pt x="398" y="310"/>
                      <a:pt x="405" y="315"/>
                    </a:cubicBezTo>
                    <a:cubicBezTo>
                      <a:pt x="416" y="323"/>
                      <a:pt x="427" y="331"/>
                      <a:pt x="435" y="342"/>
                    </a:cubicBezTo>
                    <a:cubicBezTo>
                      <a:pt x="440" y="351"/>
                      <a:pt x="449" y="358"/>
                      <a:pt x="458" y="364"/>
                    </a:cubicBezTo>
                    <a:cubicBezTo>
                      <a:pt x="465" y="370"/>
                      <a:pt x="470" y="378"/>
                      <a:pt x="474" y="386"/>
                    </a:cubicBezTo>
                    <a:cubicBezTo>
                      <a:pt x="480" y="387"/>
                      <a:pt x="487" y="387"/>
                      <a:pt x="493" y="389"/>
                    </a:cubicBezTo>
                    <a:cubicBezTo>
                      <a:pt x="494" y="391"/>
                      <a:pt x="495" y="393"/>
                      <a:pt x="497" y="395"/>
                    </a:cubicBezTo>
                    <a:cubicBezTo>
                      <a:pt x="496" y="396"/>
                      <a:pt x="496" y="396"/>
                      <a:pt x="496" y="396"/>
                    </a:cubicBezTo>
                    <a:cubicBezTo>
                      <a:pt x="490" y="400"/>
                      <a:pt x="481" y="401"/>
                      <a:pt x="476" y="408"/>
                    </a:cubicBezTo>
                    <a:cubicBezTo>
                      <a:pt x="478" y="416"/>
                      <a:pt x="468" y="428"/>
                      <a:pt x="461" y="417"/>
                    </a:cubicBezTo>
                    <a:cubicBezTo>
                      <a:pt x="457" y="409"/>
                      <a:pt x="451" y="413"/>
                      <a:pt x="446" y="413"/>
                    </a:cubicBezTo>
                    <a:cubicBezTo>
                      <a:pt x="444" y="413"/>
                      <a:pt x="443" y="413"/>
                      <a:pt x="442" y="412"/>
                    </a:cubicBezTo>
                    <a:cubicBezTo>
                      <a:pt x="435" y="403"/>
                      <a:pt x="431" y="392"/>
                      <a:pt x="420" y="389"/>
                    </a:cubicBezTo>
                    <a:cubicBezTo>
                      <a:pt x="407" y="386"/>
                      <a:pt x="405" y="371"/>
                      <a:pt x="398" y="362"/>
                    </a:cubicBezTo>
                    <a:cubicBezTo>
                      <a:pt x="386" y="349"/>
                      <a:pt x="371" y="341"/>
                      <a:pt x="356" y="332"/>
                    </a:cubicBezTo>
                    <a:cubicBezTo>
                      <a:pt x="347" y="323"/>
                      <a:pt x="344" y="310"/>
                      <a:pt x="334" y="302"/>
                    </a:cubicBezTo>
                    <a:cubicBezTo>
                      <a:pt x="326" y="292"/>
                      <a:pt x="316" y="286"/>
                      <a:pt x="304" y="285"/>
                    </a:cubicBezTo>
                    <a:cubicBezTo>
                      <a:pt x="290" y="282"/>
                      <a:pt x="284" y="266"/>
                      <a:pt x="269" y="267"/>
                    </a:cubicBezTo>
                    <a:cubicBezTo>
                      <a:pt x="257" y="273"/>
                      <a:pt x="247" y="263"/>
                      <a:pt x="236" y="264"/>
                    </a:cubicBezTo>
                    <a:cubicBezTo>
                      <a:pt x="228" y="256"/>
                      <a:pt x="223" y="267"/>
                      <a:pt x="214" y="266"/>
                    </a:cubicBezTo>
                    <a:cubicBezTo>
                      <a:pt x="202" y="275"/>
                      <a:pt x="204" y="259"/>
                      <a:pt x="195" y="255"/>
                    </a:cubicBezTo>
                    <a:cubicBezTo>
                      <a:pt x="186" y="257"/>
                      <a:pt x="180" y="272"/>
                      <a:pt x="168" y="270"/>
                    </a:cubicBezTo>
                    <a:cubicBezTo>
                      <a:pt x="154" y="279"/>
                      <a:pt x="140" y="270"/>
                      <a:pt x="135" y="256"/>
                    </a:cubicBezTo>
                    <a:cubicBezTo>
                      <a:pt x="125" y="253"/>
                      <a:pt x="113" y="251"/>
                      <a:pt x="108" y="239"/>
                    </a:cubicBezTo>
                    <a:cubicBezTo>
                      <a:pt x="102" y="256"/>
                      <a:pt x="97" y="273"/>
                      <a:pt x="91" y="290"/>
                    </a:cubicBezTo>
                    <a:cubicBezTo>
                      <a:pt x="89" y="308"/>
                      <a:pt x="79" y="290"/>
                      <a:pt x="74" y="283"/>
                    </a:cubicBezTo>
                    <a:cubicBezTo>
                      <a:pt x="70" y="269"/>
                      <a:pt x="50" y="270"/>
                      <a:pt x="50" y="286"/>
                    </a:cubicBezTo>
                    <a:cubicBezTo>
                      <a:pt x="39" y="288"/>
                      <a:pt x="23" y="279"/>
                      <a:pt x="12" y="28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702" name="Equatorial Guinea"/>
              <p:cNvSpPr>
                <a:spLocks/>
              </p:cNvSpPr>
              <p:nvPr/>
            </p:nvSpPr>
            <p:spPr bwMode="auto">
              <a:xfrm>
                <a:off x="4471952" y="4494528"/>
                <a:ext cx="55559" cy="53409"/>
              </a:xfrm>
              <a:custGeom>
                <a:avLst/>
                <a:gdLst>
                  <a:gd name="T0" fmla="*/ 2473097 w 154"/>
                  <a:gd name="T1" fmla="*/ 19739881 h 122"/>
                  <a:gd name="T2" fmla="*/ 0 w 154"/>
                  <a:gd name="T3" fmla="*/ 17631977 h 122"/>
                  <a:gd name="T4" fmla="*/ 2082380 w 154"/>
                  <a:gd name="T5" fmla="*/ 11690880 h 122"/>
                  <a:gd name="T6" fmla="*/ 3514287 w 154"/>
                  <a:gd name="T7" fmla="*/ 6515898 h 122"/>
                  <a:gd name="T8" fmla="*/ 3904643 w 154"/>
                  <a:gd name="T9" fmla="*/ 1533101 h 122"/>
                  <a:gd name="T10" fmla="*/ 3904643 w 154"/>
                  <a:gd name="T11" fmla="*/ 0 h 122"/>
                  <a:gd name="T12" fmla="*/ 4034882 w 154"/>
                  <a:gd name="T13" fmla="*/ 0 h 122"/>
                  <a:gd name="T14" fmla="*/ 5466428 w 154"/>
                  <a:gd name="T15" fmla="*/ 3257949 h 122"/>
                  <a:gd name="T16" fmla="*/ 12885359 w 154"/>
                  <a:gd name="T17" fmla="*/ 3833191 h 122"/>
                  <a:gd name="T18" fmla="*/ 19653814 w 154"/>
                  <a:gd name="T19" fmla="*/ 3833191 h 122"/>
                  <a:gd name="T20" fmla="*/ 19653814 w 154"/>
                  <a:gd name="T21" fmla="*/ 3641444 h 122"/>
                  <a:gd name="T22" fmla="*/ 19913931 w 154"/>
                  <a:gd name="T23" fmla="*/ 3833191 h 122"/>
                  <a:gd name="T24" fmla="*/ 20044170 w 154"/>
                  <a:gd name="T25" fmla="*/ 20698178 h 122"/>
                  <a:gd name="T26" fmla="*/ 6768096 w 154"/>
                  <a:gd name="T27" fmla="*/ 20698178 h 122"/>
                  <a:gd name="T28" fmla="*/ 2473097 w 154"/>
                  <a:gd name="T29" fmla="*/ 20506431 h 122"/>
                  <a:gd name="T30" fmla="*/ 2473097 w 154"/>
                  <a:gd name="T31" fmla="*/ 19739881 h 12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54"/>
                  <a:gd name="T49" fmla="*/ 0 h 122"/>
                  <a:gd name="T50" fmla="*/ 154 w 154"/>
                  <a:gd name="T51" fmla="*/ 122 h 12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54" h="122">
                    <a:moveTo>
                      <a:pt x="19" y="103"/>
                    </a:moveTo>
                    <a:cubicBezTo>
                      <a:pt x="13" y="99"/>
                      <a:pt x="6" y="96"/>
                      <a:pt x="0" y="92"/>
                    </a:cubicBezTo>
                    <a:cubicBezTo>
                      <a:pt x="4" y="81"/>
                      <a:pt x="15" y="73"/>
                      <a:pt x="16" y="61"/>
                    </a:cubicBezTo>
                    <a:cubicBezTo>
                      <a:pt x="17" y="51"/>
                      <a:pt x="23" y="43"/>
                      <a:pt x="27" y="34"/>
                    </a:cubicBezTo>
                    <a:cubicBezTo>
                      <a:pt x="27" y="25"/>
                      <a:pt x="27" y="16"/>
                      <a:pt x="30" y="8"/>
                    </a:cubicBezTo>
                    <a:cubicBezTo>
                      <a:pt x="30" y="5"/>
                      <a:pt x="30" y="3"/>
                      <a:pt x="30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3" y="4"/>
                      <a:pt x="36" y="15"/>
                      <a:pt x="42" y="17"/>
                    </a:cubicBezTo>
                    <a:cubicBezTo>
                      <a:pt x="59" y="23"/>
                      <a:pt x="81" y="18"/>
                      <a:pt x="99" y="20"/>
                    </a:cubicBezTo>
                    <a:cubicBezTo>
                      <a:pt x="116" y="19"/>
                      <a:pt x="134" y="20"/>
                      <a:pt x="151" y="20"/>
                    </a:cubicBezTo>
                    <a:cubicBezTo>
                      <a:pt x="151" y="20"/>
                      <a:pt x="151" y="19"/>
                      <a:pt x="151" y="19"/>
                    </a:cubicBezTo>
                    <a:cubicBezTo>
                      <a:pt x="153" y="20"/>
                      <a:pt x="153" y="20"/>
                      <a:pt x="153" y="20"/>
                    </a:cubicBezTo>
                    <a:cubicBezTo>
                      <a:pt x="154" y="49"/>
                      <a:pt x="153" y="78"/>
                      <a:pt x="154" y="108"/>
                    </a:cubicBezTo>
                    <a:cubicBezTo>
                      <a:pt x="120" y="108"/>
                      <a:pt x="86" y="108"/>
                      <a:pt x="52" y="108"/>
                    </a:cubicBezTo>
                    <a:cubicBezTo>
                      <a:pt x="46" y="122"/>
                      <a:pt x="30" y="92"/>
                      <a:pt x="19" y="107"/>
                    </a:cubicBezTo>
                    <a:cubicBezTo>
                      <a:pt x="20" y="106"/>
                      <a:pt x="20" y="105"/>
                      <a:pt x="19" y="103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48703" name="El Salvador"/>
              <p:cNvSpPr>
                <a:spLocks/>
              </p:cNvSpPr>
              <p:nvPr>
                <p:custDataLst>
                  <p:tags r:id="rId101"/>
                </p:custDataLst>
              </p:nvPr>
            </p:nvSpPr>
            <p:spPr bwMode="auto">
              <a:xfrm>
                <a:off x="1892710" y="4095152"/>
                <a:ext cx="61023" cy="61307"/>
              </a:xfrm>
              <a:custGeom>
                <a:avLst/>
                <a:gdLst>
                  <a:gd name="T0" fmla="*/ 61023 w 11"/>
                  <a:gd name="T1" fmla="*/ 39014 h 11"/>
                  <a:gd name="T2" fmla="*/ 11095 w 11"/>
                  <a:gd name="T3" fmla="*/ 0 h 11"/>
                  <a:gd name="T4" fmla="*/ 0 w 11"/>
                  <a:gd name="T5" fmla="*/ 39014 h 11"/>
                  <a:gd name="T6" fmla="*/ 11095 w 11"/>
                  <a:gd name="T7" fmla="*/ 39014 h 11"/>
                  <a:gd name="T8" fmla="*/ 61023 w 11"/>
                  <a:gd name="T9" fmla="*/ 61307 h 11"/>
                  <a:gd name="T10" fmla="*/ 61023 w 11"/>
                  <a:gd name="T11" fmla="*/ 50160 h 11"/>
                  <a:gd name="T12" fmla="*/ 61023 w 11"/>
                  <a:gd name="T13" fmla="*/ 39014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"/>
                  <a:gd name="T22" fmla="*/ 0 h 11"/>
                  <a:gd name="T23" fmla="*/ 11 w 11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" h="11">
                    <a:moveTo>
                      <a:pt x="11" y="7"/>
                    </a:moveTo>
                    <a:lnTo>
                      <a:pt x="2" y="0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11" y="11"/>
                    </a:lnTo>
                    <a:lnTo>
                      <a:pt x="11" y="9"/>
                    </a:lnTo>
                    <a:lnTo>
                      <a:pt x="11" y="7"/>
                    </a:lnTo>
                    <a:close/>
                  </a:path>
                </a:pathLst>
              </a:custGeom>
              <a:solidFill>
                <a:srgbClr val="EF7A04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3348704" name="Egypt"/>
              <p:cNvGrpSpPr>
                <a:grpSpLocks/>
              </p:cNvGrpSpPr>
              <p:nvPr/>
            </p:nvGrpSpPr>
            <p:grpSpPr bwMode="auto">
              <a:xfrm>
                <a:off x="4866734" y="3549863"/>
                <a:ext cx="294205" cy="308768"/>
                <a:chOff x="4866734" y="3530774"/>
                <a:chExt cx="294205" cy="308768"/>
              </a:xfrm>
            </p:grpSpPr>
            <p:sp>
              <p:nvSpPr>
                <p:cNvPr id="755" name="Egypt"/>
                <p:cNvSpPr>
                  <a:spLocks/>
                </p:cNvSpPr>
                <p:nvPr>
                  <p:custDataLst>
                    <p:tags r:id="rId133"/>
                  </p:custDataLst>
                </p:nvPr>
              </p:nvSpPr>
              <p:spPr bwMode="auto">
                <a:xfrm>
                  <a:off x="5035833" y="3535499"/>
                  <a:ext cx="93717" cy="128145"/>
                </a:xfrm>
                <a:custGeom>
                  <a:avLst/>
                  <a:gdLst>
                    <a:gd name="connsiteX0" fmla="*/ 8462 w 10000"/>
                    <a:gd name="connsiteY0" fmla="*/ 370 h 10000"/>
                    <a:gd name="connsiteX1" fmla="*/ 7115 w 10000"/>
                    <a:gd name="connsiteY1" fmla="*/ 370 h 10000"/>
                    <a:gd name="connsiteX2" fmla="*/ 6731 w 10000"/>
                    <a:gd name="connsiteY2" fmla="*/ 370 h 10000"/>
                    <a:gd name="connsiteX3" fmla="*/ 5962 w 10000"/>
                    <a:gd name="connsiteY3" fmla="*/ 370 h 10000"/>
                    <a:gd name="connsiteX4" fmla="*/ 5962 w 10000"/>
                    <a:gd name="connsiteY4" fmla="*/ 0 h 10000"/>
                    <a:gd name="connsiteX5" fmla="*/ 5577 w 10000"/>
                    <a:gd name="connsiteY5" fmla="*/ 0 h 10000"/>
                    <a:gd name="connsiteX6" fmla="*/ 4038 w 10000"/>
                    <a:gd name="connsiteY6" fmla="*/ 370 h 10000"/>
                    <a:gd name="connsiteX7" fmla="*/ 1538 w 10000"/>
                    <a:gd name="connsiteY7" fmla="*/ 0 h 10000"/>
                    <a:gd name="connsiteX8" fmla="*/ 0 w 10000"/>
                    <a:gd name="connsiteY8" fmla="*/ 0 h 10000"/>
                    <a:gd name="connsiteX9" fmla="*/ 0 w 10000"/>
                    <a:gd name="connsiteY9" fmla="*/ 1667 h 10000"/>
                    <a:gd name="connsiteX10" fmla="*/ 0 w 10000"/>
                    <a:gd name="connsiteY10" fmla="*/ 3333 h 10000"/>
                    <a:gd name="connsiteX11" fmla="*/ 7500 w 10000"/>
                    <a:gd name="connsiteY11" fmla="*/ 10000 h 10000"/>
                    <a:gd name="connsiteX12" fmla="*/ 8846 w 10000"/>
                    <a:gd name="connsiteY12" fmla="*/ 10000 h 10000"/>
                    <a:gd name="connsiteX13" fmla="*/ 10000 w 10000"/>
                    <a:gd name="connsiteY13" fmla="*/ 9259 h 10000"/>
                    <a:gd name="connsiteX14" fmla="*/ 10000 w 10000"/>
                    <a:gd name="connsiteY14" fmla="*/ 7963 h 10000"/>
                    <a:gd name="connsiteX15" fmla="*/ 7115 w 10000"/>
                    <a:gd name="connsiteY15" fmla="*/ 2963 h 10000"/>
                    <a:gd name="connsiteX16" fmla="*/ 6731 w 10000"/>
                    <a:gd name="connsiteY16" fmla="*/ 1667 h 10000"/>
                    <a:gd name="connsiteX17" fmla="*/ 7500 w 10000"/>
                    <a:gd name="connsiteY17" fmla="*/ 3333 h 10000"/>
                    <a:gd name="connsiteX18" fmla="*/ 8462 w 10000"/>
                    <a:gd name="connsiteY18" fmla="*/ 4259 h 10000"/>
                    <a:gd name="connsiteX19" fmla="*/ 8846 w 10000"/>
                    <a:gd name="connsiteY19" fmla="*/ 2037 h 10000"/>
                    <a:gd name="connsiteX20" fmla="*/ 8462 w 10000"/>
                    <a:gd name="connsiteY20" fmla="*/ 1296 h 10000"/>
                    <a:gd name="connsiteX21" fmla="*/ 8462 w 10000"/>
                    <a:gd name="connsiteY21" fmla="*/ 370 h 10000"/>
                    <a:gd name="connsiteX0" fmla="*/ 8462 w 10000"/>
                    <a:gd name="connsiteY0" fmla="*/ 370 h 10000"/>
                    <a:gd name="connsiteX1" fmla="*/ 7115 w 10000"/>
                    <a:gd name="connsiteY1" fmla="*/ 370 h 10000"/>
                    <a:gd name="connsiteX2" fmla="*/ 6731 w 10000"/>
                    <a:gd name="connsiteY2" fmla="*/ 370 h 10000"/>
                    <a:gd name="connsiteX3" fmla="*/ 5962 w 10000"/>
                    <a:gd name="connsiteY3" fmla="*/ 370 h 10000"/>
                    <a:gd name="connsiteX4" fmla="*/ 5962 w 10000"/>
                    <a:gd name="connsiteY4" fmla="*/ 0 h 10000"/>
                    <a:gd name="connsiteX5" fmla="*/ 5577 w 10000"/>
                    <a:gd name="connsiteY5" fmla="*/ 0 h 10000"/>
                    <a:gd name="connsiteX6" fmla="*/ 4038 w 10000"/>
                    <a:gd name="connsiteY6" fmla="*/ 370 h 10000"/>
                    <a:gd name="connsiteX7" fmla="*/ 1538 w 10000"/>
                    <a:gd name="connsiteY7" fmla="*/ 0 h 10000"/>
                    <a:gd name="connsiteX8" fmla="*/ 0 w 10000"/>
                    <a:gd name="connsiteY8" fmla="*/ 0 h 10000"/>
                    <a:gd name="connsiteX9" fmla="*/ 0 w 10000"/>
                    <a:gd name="connsiteY9" fmla="*/ 1667 h 10000"/>
                    <a:gd name="connsiteX10" fmla="*/ 7500 w 10000"/>
                    <a:gd name="connsiteY10" fmla="*/ 10000 h 10000"/>
                    <a:gd name="connsiteX11" fmla="*/ 8846 w 10000"/>
                    <a:gd name="connsiteY11" fmla="*/ 10000 h 10000"/>
                    <a:gd name="connsiteX12" fmla="*/ 10000 w 10000"/>
                    <a:gd name="connsiteY12" fmla="*/ 9259 h 10000"/>
                    <a:gd name="connsiteX13" fmla="*/ 10000 w 10000"/>
                    <a:gd name="connsiteY13" fmla="*/ 7963 h 10000"/>
                    <a:gd name="connsiteX14" fmla="*/ 7115 w 10000"/>
                    <a:gd name="connsiteY14" fmla="*/ 2963 h 10000"/>
                    <a:gd name="connsiteX15" fmla="*/ 6731 w 10000"/>
                    <a:gd name="connsiteY15" fmla="*/ 1667 h 10000"/>
                    <a:gd name="connsiteX16" fmla="*/ 7500 w 10000"/>
                    <a:gd name="connsiteY16" fmla="*/ 3333 h 10000"/>
                    <a:gd name="connsiteX17" fmla="*/ 8462 w 10000"/>
                    <a:gd name="connsiteY17" fmla="*/ 4259 h 10000"/>
                    <a:gd name="connsiteX18" fmla="*/ 8846 w 10000"/>
                    <a:gd name="connsiteY18" fmla="*/ 2037 h 10000"/>
                    <a:gd name="connsiteX19" fmla="*/ 8462 w 10000"/>
                    <a:gd name="connsiteY19" fmla="*/ 1296 h 10000"/>
                    <a:gd name="connsiteX20" fmla="*/ 8462 w 10000"/>
                    <a:gd name="connsiteY20" fmla="*/ 370 h 10000"/>
                    <a:gd name="connsiteX0" fmla="*/ 8462 w 10000"/>
                    <a:gd name="connsiteY0" fmla="*/ 370 h 10000"/>
                    <a:gd name="connsiteX1" fmla="*/ 7115 w 10000"/>
                    <a:gd name="connsiteY1" fmla="*/ 370 h 10000"/>
                    <a:gd name="connsiteX2" fmla="*/ 6731 w 10000"/>
                    <a:gd name="connsiteY2" fmla="*/ 370 h 10000"/>
                    <a:gd name="connsiteX3" fmla="*/ 5962 w 10000"/>
                    <a:gd name="connsiteY3" fmla="*/ 370 h 10000"/>
                    <a:gd name="connsiteX4" fmla="*/ 5962 w 10000"/>
                    <a:gd name="connsiteY4" fmla="*/ 0 h 10000"/>
                    <a:gd name="connsiteX5" fmla="*/ 5577 w 10000"/>
                    <a:gd name="connsiteY5" fmla="*/ 0 h 10000"/>
                    <a:gd name="connsiteX6" fmla="*/ 4038 w 10000"/>
                    <a:gd name="connsiteY6" fmla="*/ 370 h 10000"/>
                    <a:gd name="connsiteX7" fmla="*/ 1538 w 10000"/>
                    <a:gd name="connsiteY7" fmla="*/ 0 h 10000"/>
                    <a:gd name="connsiteX8" fmla="*/ 0 w 10000"/>
                    <a:gd name="connsiteY8" fmla="*/ 0 h 10000"/>
                    <a:gd name="connsiteX9" fmla="*/ 7500 w 10000"/>
                    <a:gd name="connsiteY9" fmla="*/ 10000 h 10000"/>
                    <a:gd name="connsiteX10" fmla="*/ 8846 w 10000"/>
                    <a:gd name="connsiteY10" fmla="*/ 10000 h 10000"/>
                    <a:gd name="connsiteX11" fmla="*/ 10000 w 10000"/>
                    <a:gd name="connsiteY11" fmla="*/ 9259 h 10000"/>
                    <a:gd name="connsiteX12" fmla="*/ 10000 w 10000"/>
                    <a:gd name="connsiteY12" fmla="*/ 7963 h 10000"/>
                    <a:gd name="connsiteX13" fmla="*/ 7115 w 10000"/>
                    <a:gd name="connsiteY13" fmla="*/ 2963 h 10000"/>
                    <a:gd name="connsiteX14" fmla="*/ 6731 w 10000"/>
                    <a:gd name="connsiteY14" fmla="*/ 1667 h 10000"/>
                    <a:gd name="connsiteX15" fmla="*/ 7500 w 10000"/>
                    <a:gd name="connsiteY15" fmla="*/ 3333 h 10000"/>
                    <a:gd name="connsiteX16" fmla="*/ 8462 w 10000"/>
                    <a:gd name="connsiteY16" fmla="*/ 4259 h 10000"/>
                    <a:gd name="connsiteX17" fmla="*/ 8846 w 10000"/>
                    <a:gd name="connsiteY17" fmla="*/ 2037 h 10000"/>
                    <a:gd name="connsiteX18" fmla="*/ 8462 w 10000"/>
                    <a:gd name="connsiteY18" fmla="*/ 1296 h 10000"/>
                    <a:gd name="connsiteX19" fmla="*/ 8462 w 10000"/>
                    <a:gd name="connsiteY19" fmla="*/ 370 h 10000"/>
                    <a:gd name="connsiteX0" fmla="*/ 6924 w 8462"/>
                    <a:gd name="connsiteY0" fmla="*/ 370 h 10000"/>
                    <a:gd name="connsiteX1" fmla="*/ 5577 w 8462"/>
                    <a:gd name="connsiteY1" fmla="*/ 370 h 10000"/>
                    <a:gd name="connsiteX2" fmla="*/ 5193 w 8462"/>
                    <a:gd name="connsiteY2" fmla="*/ 370 h 10000"/>
                    <a:gd name="connsiteX3" fmla="*/ 4424 w 8462"/>
                    <a:gd name="connsiteY3" fmla="*/ 370 h 10000"/>
                    <a:gd name="connsiteX4" fmla="*/ 4424 w 8462"/>
                    <a:gd name="connsiteY4" fmla="*/ 0 h 10000"/>
                    <a:gd name="connsiteX5" fmla="*/ 4039 w 8462"/>
                    <a:gd name="connsiteY5" fmla="*/ 0 h 10000"/>
                    <a:gd name="connsiteX6" fmla="*/ 2500 w 8462"/>
                    <a:gd name="connsiteY6" fmla="*/ 370 h 10000"/>
                    <a:gd name="connsiteX7" fmla="*/ 0 w 8462"/>
                    <a:gd name="connsiteY7" fmla="*/ 0 h 10000"/>
                    <a:gd name="connsiteX8" fmla="*/ 5962 w 8462"/>
                    <a:gd name="connsiteY8" fmla="*/ 10000 h 10000"/>
                    <a:gd name="connsiteX9" fmla="*/ 7308 w 8462"/>
                    <a:gd name="connsiteY9" fmla="*/ 10000 h 10000"/>
                    <a:gd name="connsiteX10" fmla="*/ 8462 w 8462"/>
                    <a:gd name="connsiteY10" fmla="*/ 9259 h 10000"/>
                    <a:gd name="connsiteX11" fmla="*/ 8462 w 8462"/>
                    <a:gd name="connsiteY11" fmla="*/ 7963 h 10000"/>
                    <a:gd name="connsiteX12" fmla="*/ 5577 w 8462"/>
                    <a:gd name="connsiteY12" fmla="*/ 2963 h 10000"/>
                    <a:gd name="connsiteX13" fmla="*/ 5193 w 8462"/>
                    <a:gd name="connsiteY13" fmla="*/ 1667 h 10000"/>
                    <a:gd name="connsiteX14" fmla="*/ 5962 w 8462"/>
                    <a:gd name="connsiteY14" fmla="*/ 3333 h 10000"/>
                    <a:gd name="connsiteX15" fmla="*/ 6924 w 8462"/>
                    <a:gd name="connsiteY15" fmla="*/ 4259 h 10000"/>
                    <a:gd name="connsiteX16" fmla="*/ 7308 w 8462"/>
                    <a:gd name="connsiteY16" fmla="*/ 2037 h 10000"/>
                    <a:gd name="connsiteX17" fmla="*/ 6924 w 8462"/>
                    <a:gd name="connsiteY17" fmla="*/ 1296 h 10000"/>
                    <a:gd name="connsiteX18" fmla="*/ 6924 w 8462"/>
                    <a:gd name="connsiteY18" fmla="*/ 370 h 10000"/>
                    <a:gd name="connsiteX0" fmla="*/ 8182 w 10000"/>
                    <a:gd name="connsiteY0" fmla="*/ 370 h 10000"/>
                    <a:gd name="connsiteX1" fmla="*/ 6591 w 10000"/>
                    <a:gd name="connsiteY1" fmla="*/ 370 h 10000"/>
                    <a:gd name="connsiteX2" fmla="*/ 6137 w 10000"/>
                    <a:gd name="connsiteY2" fmla="*/ 370 h 10000"/>
                    <a:gd name="connsiteX3" fmla="*/ 5228 w 10000"/>
                    <a:gd name="connsiteY3" fmla="*/ 370 h 10000"/>
                    <a:gd name="connsiteX4" fmla="*/ 5228 w 10000"/>
                    <a:gd name="connsiteY4" fmla="*/ 0 h 10000"/>
                    <a:gd name="connsiteX5" fmla="*/ 4773 w 10000"/>
                    <a:gd name="connsiteY5" fmla="*/ 0 h 10000"/>
                    <a:gd name="connsiteX6" fmla="*/ 0 w 10000"/>
                    <a:gd name="connsiteY6" fmla="*/ 0 h 10000"/>
                    <a:gd name="connsiteX7" fmla="*/ 7046 w 10000"/>
                    <a:gd name="connsiteY7" fmla="*/ 10000 h 10000"/>
                    <a:gd name="connsiteX8" fmla="*/ 8636 w 10000"/>
                    <a:gd name="connsiteY8" fmla="*/ 10000 h 10000"/>
                    <a:gd name="connsiteX9" fmla="*/ 10000 w 10000"/>
                    <a:gd name="connsiteY9" fmla="*/ 9259 h 10000"/>
                    <a:gd name="connsiteX10" fmla="*/ 10000 w 10000"/>
                    <a:gd name="connsiteY10" fmla="*/ 7963 h 10000"/>
                    <a:gd name="connsiteX11" fmla="*/ 6591 w 10000"/>
                    <a:gd name="connsiteY11" fmla="*/ 2963 h 10000"/>
                    <a:gd name="connsiteX12" fmla="*/ 6137 w 10000"/>
                    <a:gd name="connsiteY12" fmla="*/ 1667 h 10000"/>
                    <a:gd name="connsiteX13" fmla="*/ 7046 w 10000"/>
                    <a:gd name="connsiteY13" fmla="*/ 3333 h 10000"/>
                    <a:gd name="connsiteX14" fmla="*/ 8182 w 10000"/>
                    <a:gd name="connsiteY14" fmla="*/ 4259 h 10000"/>
                    <a:gd name="connsiteX15" fmla="*/ 8636 w 10000"/>
                    <a:gd name="connsiteY15" fmla="*/ 2037 h 10000"/>
                    <a:gd name="connsiteX16" fmla="*/ 8182 w 10000"/>
                    <a:gd name="connsiteY16" fmla="*/ 1296 h 10000"/>
                    <a:gd name="connsiteX17" fmla="*/ 8182 w 10000"/>
                    <a:gd name="connsiteY17" fmla="*/ 370 h 10000"/>
                    <a:gd name="connsiteX0" fmla="*/ 3409 w 5227"/>
                    <a:gd name="connsiteY0" fmla="*/ 370 h 10000"/>
                    <a:gd name="connsiteX1" fmla="*/ 1818 w 5227"/>
                    <a:gd name="connsiteY1" fmla="*/ 370 h 10000"/>
                    <a:gd name="connsiteX2" fmla="*/ 1364 w 5227"/>
                    <a:gd name="connsiteY2" fmla="*/ 370 h 10000"/>
                    <a:gd name="connsiteX3" fmla="*/ 455 w 5227"/>
                    <a:gd name="connsiteY3" fmla="*/ 370 h 10000"/>
                    <a:gd name="connsiteX4" fmla="*/ 455 w 5227"/>
                    <a:gd name="connsiteY4" fmla="*/ 0 h 10000"/>
                    <a:gd name="connsiteX5" fmla="*/ 0 w 5227"/>
                    <a:gd name="connsiteY5" fmla="*/ 0 h 10000"/>
                    <a:gd name="connsiteX6" fmla="*/ 2273 w 5227"/>
                    <a:gd name="connsiteY6" fmla="*/ 10000 h 10000"/>
                    <a:gd name="connsiteX7" fmla="*/ 3863 w 5227"/>
                    <a:gd name="connsiteY7" fmla="*/ 10000 h 10000"/>
                    <a:gd name="connsiteX8" fmla="*/ 5227 w 5227"/>
                    <a:gd name="connsiteY8" fmla="*/ 9259 h 10000"/>
                    <a:gd name="connsiteX9" fmla="*/ 5227 w 5227"/>
                    <a:gd name="connsiteY9" fmla="*/ 7963 h 10000"/>
                    <a:gd name="connsiteX10" fmla="*/ 1818 w 5227"/>
                    <a:gd name="connsiteY10" fmla="*/ 2963 h 10000"/>
                    <a:gd name="connsiteX11" fmla="*/ 1364 w 5227"/>
                    <a:gd name="connsiteY11" fmla="*/ 1667 h 10000"/>
                    <a:gd name="connsiteX12" fmla="*/ 2273 w 5227"/>
                    <a:gd name="connsiteY12" fmla="*/ 3333 h 10000"/>
                    <a:gd name="connsiteX13" fmla="*/ 3409 w 5227"/>
                    <a:gd name="connsiteY13" fmla="*/ 4259 h 10000"/>
                    <a:gd name="connsiteX14" fmla="*/ 3863 w 5227"/>
                    <a:gd name="connsiteY14" fmla="*/ 2037 h 10000"/>
                    <a:gd name="connsiteX15" fmla="*/ 3409 w 5227"/>
                    <a:gd name="connsiteY15" fmla="*/ 1296 h 10000"/>
                    <a:gd name="connsiteX16" fmla="*/ 3409 w 5227"/>
                    <a:gd name="connsiteY16" fmla="*/ 370 h 10000"/>
                    <a:gd name="connsiteX0" fmla="*/ 6522 w 10000"/>
                    <a:gd name="connsiteY0" fmla="*/ 370 h 10000"/>
                    <a:gd name="connsiteX1" fmla="*/ 3478 w 10000"/>
                    <a:gd name="connsiteY1" fmla="*/ 370 h 10000"/>
                    <a:gd name="connsiteX2" fmla="*/ 2610 w 10000"/>
                    <a:gd name="connsiteY2" fmla="*/ 370 h 10000"/>
                    <a:gd name="connsiteX3" fmla="*/ 870 w 10000"/>
                    <a:gd name="connsiteY3" fmla="*/ 370 h 10000"/>
                    <a:gd name="connsiteX4" fmla="*/ 870 w 10000"/>
                    <a:gd name="connsiteY4" fmla="*/ 0 h 10000"/>
                    <a:gd name="connsiteX5" fmla="*/ 0 w 10000"/>
                    <a:gd name="connsiteY5" fmla="*/ 0 h 10000"/>
                    <a:gd name="connsiteX6" fmla="*/ 7390 w 10000"/>
                    <a:gd name="connsiteY6" fmla="*/ 10000 h 10000"/>
                    <a:gd name="connsiteX7" fmla="*/ 10000 w 10000"/>
                    <a:gd name="connsiteY7" fmla="*/ 9259 h 10000"/>
                    <a:gd name="connsiteX8" fmla="*/ 10000 w 10000"/>
                    <a:gd name="connsiteY8" fmla="*/ 7963 h 10000"/>
                    <a:gd name="connsiteX9" fmla="*/ 3478 w 10000"/>
                    <a:gd name="connsiteY9" fmla="*/ 2963 h 10000"/>
                    <a:gd name="connsiteX10" fmla="*/ 2610 w 10000"/>
                    <a:gd name="connsiteY10" fmla="*/ 1667 h 10000"/>
                    <a:gd name="connsiteX11" fmla="*/ 4349 w 10000"/>
                    <a:gd name="connsiteY11" fmla="*/ 3333 h 10000"/>
                    <a:gd name="connsiteX12" fmla="*/ 6522 w 10000"/>
                    <a:gd name="connsiteY12" fmla="*/ 4259 h 10000"/>
                    <a:gd name="connsiteX13" fmla="*/ 7390 w 10000"/>
                    <a:gd name="connsiteY13" fmla="*/ 2037 h 10000"/>
                    <a:gd name="connsiteX14" fmla="*/ 6522 w 10000"/>
                    <a:gd name="connsiteY14" fmla="*/ 1296 h 10000"/>
                    <a:gd name="connsiteX15" fmla="*/ 6522 w 10000"/>
                    <a:gd name="connsiteY15" fmla="*/ 370 h 10000"/>
                    <a:gd name="connsiteX0" fmla="*/ 6522 w 10000"/>
                    <a:gd name="connsiteY0" fmla="*/ 370 h 10000"/>
                    <a:gd name="connsiteX1" fmla="*/ 3478 w 10000"/>
                    <a:gd name="connsiteY1" fmla="*/ 370 h 10000"/>
                    <a:gd name="connsiteX2" fmla="*/ 2610 w 10000"/>
                    <a:gd name="connsiteY2" fmla="*/ 370 h 10000"/>
                    <a:gd name="connsiteX3" fmla="*/ 870 w 10000"/>
                    <a:gd name="connsiteY3" fmla="*/ 370 h 10000"/>
                    <a:gd name="connsiteX4" fmla="*/ 870 w 10000"/>
                    <a:gd name="connsiteY4" fmla="*/ 0 h 10000"/>
                    <a:gd name="connsiteX5" fmla="*/ 0 w 10000"/>
                    <a:gd name="connsiteY5" fmla="*/ 0 h 10000"/>
                    <a:gd name="connsiteX6" fmla="*/ 7390 w 10000"/>
                    <a:gd name="connsiteY6" fmla="*/ 10000 h 10000"/>
                    <a:gd name="connsiteX7" fmla="*/ 8357 w 10000"/>
                    <a:gd name="connsiteY7" fmla="*/ 9888 h 10000"/>
                    <a:gd name="connsiteX8" fmla="*/ 10000 w 10000"/>
                    <a:gd name="connsiteY8" fmla="*/ 9259 h 10000"/>
                    <a:gd name="connsiteX9" fmla="*/ 10000 w 10000"/>
                    <a:gd name="connsiteY9" fmla="*/ 7963 h 10000"/>
                    <a:gd name="connsiteX10" fmla="*/ 3478 w 10000"/>
                    <a:gd name="connsiteY10" fmla="*/ 2963 h 10000"/>
                    <a:gd name="connsiteX11" fmla="*/ 2610 w 10000"/>
                    <a:gd name="connsiteY11" fmla="*/ 1667 h 10000"/>
                    <a:gd name="connsiteX12" fmla="*/ 4349 w 10000"/>
                    <a:gd name="connsiteY12" fmla="*/ 3333 h 10000"/>
                    <a:gd name="connsiteX13" fmla="*/ 6522 w 10000"/>
                    <a:gd name="connsiteY13" fmla="*/ 4259 h 10000"/>
                    <a:gd name="connsiteX14" fmla="*/ 7390 w 10000"/>
                    <a:gd name="connsiteY14" fmla="*/ 2037 h 10000"/>
                    <a:gd name="connsiteX15" fmla="*/ 6522 w 10000"/>
                    <a:gd name="connsiteY15" fmla="*/ 1296 h 10000"/>
                    <a:gd name="connsiteX16" fmla="*/ 6522 w 10000"/>
                    <a:gd name="connsiteY16" fmla="*/ 370 h 10000"/>
                    <a:gd name="connsiteX0" fmla="*/ 6522 w 10000"/>
                    <a:gd name="connsiteY0" fmla="*/ 370 h 10000"/>
                    <a:gd name="connsiteX1" fmla="*/ 3478 w 10000"/>
                    <a:gd name="connsiteY1" fmla="*/ 370 h 10000"/>
                    <a:gd name="connsiteX2" fmla="*/ 2610 w 10000"/>
                    <a:gd name="connsiteY2" fmla="*/ 370 h 10000"/>
                    <a:gd name="connsiteX3" fmla="*/ 870 w 10000"/>
                    <a:gd name="connsiteY3" fmla="*/ 370 h 10000"/>
                    <a:gd name="connsiteX4" fmla="*/ 870 w 10000"/>
                    <a:gd name="connsiteY4" fmla="*/ 0 h 10000"/>
                    <a:gd name="connsiteX5" fmla="*/ 0 w 10000"/>
                    <a:gd name="connsiteY5" fmla="*/ 0 h 10000"/>
                    <a:gd name="connsiteX6" fmla="*/ 7390 w 10000"/>
                    <a:gd name="connsiteY6" fmla="*/ 10000 h 10000"/>
                    <a:gd name="connsiteX7" fmla="*/ 10000 w 10000"/>
                    <a:gd name="connsiteY7" fmla="*/ 9259 h 10000"/>
                    <a:gd name="connsiteX8" fmla="*/ 10000 w 10000"/>
                    <a:gd name="connsiteY8" fmla="*/ 7963 h 10000"/>
                    <a:gd name="connsiteX9" fmla="*/ 3478 w 10000"/>
                    <a:gd name="connsiteY9" fmla="*/ 2963 h 10000"/>
                    <a:gd name="connsiteX10" fmla="*/ 2610 w 10000"/>
                    <a:gd name="connsiteY10" fmla="*/ 1667 h 10000"/>
                    <a:gd name="connsiteX11" fmla="*/ 4349 w 10000"/>
                    <a:gd name="connsiteY11" fmla="*/ 3333 h 10000"/>
                    <a:gd name="connsiteX12" fmla="*/ 6522 w 10000"/>
                    <a:gd name="connsiteY12" fmla="*/ 4259 h 10000"/>
                    <a:gd name="connsiteX13" fmla="*/ 7390 w 10000"/>
                    <a:gd name="connsiteY13" fmla="*/ 2037 h 10000"/>
                    <a:gd name="connsiteX14" fmla="*/ 6522 w 10000"/>
                    <a:gd name="connsiteY14" fmla="*/ 1296 h 10000"/>
                    <a:gd name="connsiteX15" fmla="*/ 6522 w 10000"/>
                    <a:gd name="connsiteY15" fmla="*/ 370 h 10000"/>
                    <a:gd name="connsiteX0" fmla="*/ 6522 w 10000"/>
                    <a:gd name="connsiteY0" fmla="*/ 370 h 10000"/>
                    <a:gd name="connsiteX1" fmla="*/ 3478 w 10000"/>
                    <a:gd name="connsiteY1" fmla="*/ 370 h 10000"/>
                    <a:gd name="connsiteX2" fmla="*/ 2610 w 10000"/>
                    <a:gd name="connsiteY2" fmla="*/ 370 h 10000"/>
                    <a:gd name="connsiteX3" fmla="*/ 870 w 10000"/>
                    <a:gd name="connsiteY3" fmla="*/ 370 h 10000"/>
                    <a:gd name="connsiteX4" fmla="*/ 870 w 10000"/>
                    <a:gd name="connsiteY4" fmla="*/ 0 h 10000"/>
                    <a:gd name="connsiteX5" fmla="*/ 0 w 10000"/>
                    <a:gd name="connsiteY5" fmla="*/ 0 h 10000"/>
                    <a:gd name="connsiteX6" fmla="*/ 7390 w 10000"/>
                    <a:gd name="connsiteY6" fmla="*/ 10000 h 10000"/>
                    <a:gd name="connsiteX7" fmla="*/ 10000 w 10000"/>
                    <a:gd name="connsiteY7" fmla="*/ 7963 h 10000"/>
                    <a:gd name="connsiteX8" fmla="*/ 3478 w 10000"/>
                    <a:gd name="connsiteY8" fmla="*/ 2963 h 10000"/>
                    <a:gd name="connsiteX9" fmla="*/ 2610 w 10000"/>
                    <a:gd name="connsiteY9" fmla="*/ 1667 h 10000"/>
                    <a:gd name="connsiteX10" fmla="*/ 4349 w 10000"/>
                    <a:gd name="connsiteY10" fmla="*/ 3333 h 10000"/>
                    <a:gd name="connsiteX11" fmla="*/ 6522 w 10000"/>
                    <a:gd name="connsiteY11" fmla="*/ 4259 h 10000"/>
                    <a:gd name="connsiteX12" fmla="*/ 7390 w 10000"/>
                    <a:gd name="connsiteY12" fmla="*/ 2037 h 10000"/>
                    <a:gd name="connsiteX13" fmla="*/ 6522 w 10000"/>
                    <a:gd name="connsiteY13" fmla="*/ 1296 h 10000"/>
                    <a:gd name="connsiteX14" fmla="*/ 6522 w 10000"/>
                    <a:gd name="connsiteY14" fmla="*/ 370 h 10000"/>
                    <a:gd name="connsiteX0" fmla="*/ 6522 w 10000"/>
                    <a:gd name="connsiteY0" fmla="*/ 370 h 7963"/>
                    <a:gd name="connsiteX1" fmla="*/ 3478 w 10000"/>
                    <a:gd name="connsiteY1" fmla="*/ 370 h 7963"/>
                    <a:gd name="connsiteX2" fmla="*/ 2610 w 10000"/>
                    <a:gd name="connsiteY2" fmla="*/ 370 h 7963"/>
                    <a:gd name="connsiteX3" fmla="*/ 870 w 10000"/>
                    <a:gd name="connsiteY3" fmla="*/ 370 h 7963"/>
                    <a:gd name="connsiteX4" fmla="*/ 870 w 10000"/>
                    <a:gd name="connsiteY4" fmla="*/ 0 h 7963"/>
                    <a:gd name="connsiteX5" fmla="*/ 0 w 10000"/>
                    <a:gd name="connsiteY5" fmla="*/ 0 h 7963"/>
                    <a:gd name="connsiteX6" fmla="*/ 10000 w 10000"/>
                    <a:gd name="connsiteY6" fmla="*/ 7963 h 7963"/>
                    <a:gd name="connsiteX7" fmla="*/ 3478 w 10000"/>
                    <a:gd name="connsiteY7" fmla="*/ 2963 h 7963"/>
                    <a:gd name="connsiteX8" fmla="*/ 2610 w 10000"/>
                    <a:gd name="connsiteY8" fmla="*/ 1667 h 7963"/>
                    <a:gd name="connsiteX9" fmla="*/ 4349 w 10000"/>
                    <a:gd name="connsiteY9" fmla="*/ 3333 h 7963"/>
                    <a:gd name="connsiteX10" fmla="*/ 6522 w 10000"/>
                    <a:gd name="connsiteY10" fmla="*/ 4259 h 7963"/>
                    <a:gd name="connsiteX11" fmla="*/ 7390 w 10000"/>
                    <a:gd name="connsiteY11" fmla="*/ 2037 h 7963"/>
                    <a:gd name="connsiteX12" fmla="*/ 6522 w 10000"/>
                    <a:gd name="connsiteY12" fmla="*/ 1296 h 7963"/>
                    <a:gd name="connsiteX13" fmla="*/ 6522 w 10000"/>
                    <a:gd name="connsiteY13" fmla="*/ 370 h 7963"/>
                    <a:gd name="connsiteX0" fmla="*/ 6522 w 7390"/>
                    <a:gd name="connsiteY0" fmla="*/ 465 h 5348"/>
                    <a:gd name="connsiteX1" fmla="*/ 3478 w 7390"/>
                    <a:gd name="connsiteY1" fmla="*/ 465 h 5348"/>
                    <a:gd name="connsiteX2" fmla="*/ 2610 w 7390"/>
                    <a:gd name="connsiteY2" fmla="*/ 465 h 5348"/>
                    <a:gd name="connsiteX3" fmla="*/ 870 w 7390"/>
                    <a:gd name="connsiteY3" fmla="*/ 465 h 5348"/>
                    <a:gd name="connsiteX4" fmla="*/ 870 w 7390"/>
                    <a:gd name="connsiteY4" fmla="*/ 0 h 5348"/>
                    <a:gd name="connsiteX5" fmla="*/ 0 w 7390"/>
                    <a:gd name="connsiteY5" fmla="*/ 0 h 5348"/>
                    <a:gd name="connsiteX6" fmla="*/ 3478 w 7390"/>
                    <a:gd name="connsiteY6" fmla="*/ 3721 h 5348"/>
                    <a:gd name="connsiteX7" fmla="*/ 2610 w 7390"/>
                    <a:gd name="connsiteY7" fmla="*/ 2093 h 5348"/>
                    <a:gd name="connsiteX8" fmla="*/ 4349 w 7390"/>
                    <a:gd name="connsiteY8" fmla="*/ 4186 h 5348"/>
                    <a:gd name="connsiteX9" fmla="*/ 6522 w 7390"/>
                    <a:gd name="connsiteY9" fmla="*/ 5348 h 5348"/>
                    <a:gd name="connsiteX10" fmla="*/ 7390 w 7390"/>
                    <a:gd name="connsiteY10" fmla="*/ 2558 h 5348"/>
                    <a:gd name="connsiteX11" fmla="*/ 6522 w 7390"/>
                    <a:gd name="connsiteY11" fmla="*/ 1628 h 5348"/>
                    <a:gd name="connsiteX12" fmla="*/ 6522 w 7390"/>
                    <a:gd name="connsiteY12" fmla="*/ 465 h 5348"/>
                    <a:gd name="connsiteX0" fmla="*/ 8825 w 10000"/>
                    <a:gd name="connsiteY0" fmla="*/ 869 h 10000"/>
                    <a:gd name="connsiteX1" fmla="*/ 4706 w 10000"/>
                    <a:gd name="connsiteY1" fmla="*/ 869 h 10000"/>
                    <a:gd name="connsiteX2" fmla="*/ 3532 w 10000"/>
                    <a:gd name="connsiteY2" fmla="*/ 869 h 10000"/>
                    <a:gd name="connsiteX3" fmla="*/ 1177 w 10000"/>
                    <a:gd name="connsiteY3" fmla="*/ 869 h 10000"/>
                    <a:gd name="connsiteX4" fmla="*/ 1177 w 10000"/>
                    <a:gd name="connsiteY4" fmla="*/ 0 h 10000"/>
                    <a:gd name="connsiteX5" fmla="*/ 0 w 10000"/>
                    <a:gd name="connsiteY5" fmla="*/ 0 h 10000"/>
                    <a:gd name="connsiteX6" fmla="*/ 4706 w 10000"/>
                    <a:gd name="connsiteY6" fmla="*/ 6958 h 10000"/>
                    <a:gd name="connsiteX7" fmla="*/ 3532 w 10000"/>
                    <a:gd name="connsiteY7" fmla="*/ 3914 h 10000"/>
                    <a:gd name="connsiteX8" fmla="*/ 8825 w 10000"/>
                    <a:gd name="connsiteY8" fmla="*/ 10000 h 10000"/>
                    <a:gd name="connsiteX9" fmla="*/ 10000 w 10000"/>
                    <a:gd name="connsiteY9" fmla="*/ 4783 h 10000"/>
                    <a:gd name="connsiteX10" fmla="*/ 8825 w 10000"/>
                    <a:gd name="connsiteY10" fmla="*/ 3044 h 10000"/>
                    <a:gd name="connsiteX11" fmla="*/ 8825 w 10000"/>
                    <a:gd name="connsiteY11" fmla="*/ 869 h 10000"/>
                    <a:gd name="connsiteX0" fmla="*/ 8825 w 10000"/>
                    <a:gd name="connsiteY0" fmla="*/ 869 h 10000"/>
                    <a:gd name="connsiteX1" fmla="*/ 4706 w 10000"/>
                    <a:gd name="connsiteY1" fmla="*/ 869 h 10000"/>
                    <a:gd name="connsiteX2" fmla="*/ 3532 w 10000"/>
                    <a:gd name="connsiteY2" fmla="*/ 869 h 10000"/>
                    <a:gd name="connsiteX3" fmla="*/ 1177 w 10000"/>
                    <a:gd name="connsiteY3" fmla="*/ 869 h 10000"/>
                    <a:gd name="connsiteX4" fmla="*/ 1177 w 10000"/>
                    <a:gd name="connsiteY4" fmla="*/ 0 h 10000"/>
                    <a:gd name="connsiteX5" fmla="*/ 0 w 10000"/>
                    <a:gd name="connsiteY5" fmla="*/ 0 h 10000"/>
                    <a:gd name="connsiteX6" fmla="*/ 3532 w 10000"/>
                    <a:gd name="connsiteY6" fmla="*/ 3914 h 10000"/>
                    <a:gd name="connsiteX7" fmla="*/ 8825 w 10000"/>
                    <a:gd name="connsiteY7" fmla="*/ 10000 h 10000"/>
                    <a:gd name="connsiteX8" fmla="*/ 10000 w 10000"/>
                    <a:gd name="connsiteY8" fmla="*/ 4783 h 10000"/>
                    <a:gd name="connsiteX9" fmla="*/ 8825 w 10000"/>
                    <a:gd name="connsiteY9" fmla="*/ 3044 h 10000"/>
                    <a:gd name="connsiteX10" fmla="*/ 8825 w 10000"/>
                    <a:gd name="connsiteY10" fmla="*/ 869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0000" h="10000">
                      <a:moveTo>
                        <a:pt x="8825" y="869"/>
                      </a:moveTo>
                      <a:lnTo>
                        <a:pt x="4706" y="869"/>
                      </a:lnTo>
                      <a:lnTo>
                        <a:pt x="3532" y="869"/>
                      </a:lnTo>
                      <a:lnTo>
                        <a:pt x="1177" y="869"/>
                      </a:lnTo>
                      <a:lnTo>
                        <a:pt x="1177" y="0"/>
                      </a:lnTo>
                      <a:lnTo>
                        <a:pt x="0" y="0"/>
                      </a:lnTo>
                      <a:lnTo>
                        <a:pt x="3532" y="3914"/>
                      </a:lnTo>
                      <a:lnTo>
                        <a:pt x="8825" y="10000"/>
                      </a:lnTo>
                      <a:lnTo>
                        <a:pt x="10000" y="4783"/>
                      </a:lnTo>
                      <a:lnTo>
                        <a:pt x="8825" y="3044"/>
                      </a:lnTo>
                      <a:lnTo>
                        <a:pt x="8825" y="869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56" name="Egypt"/>
                <p:cNvSpPr>
                  <a:spLocks/>
                </p:cNvSpPr>
                <p:nvPr/>
              </p:nvSpPr>
              <p:spPr bwMode="auto">
                <a:xfrm>
                  <a:off x="4867526" y="3531674"/>
                  <a:ext cx="296451" cy="307929"/>
                </a:xfrm>
                <a:custGeom>
                  <a:avLst/>
                  <a:gdLst>
                    <a:gd name="T0" fmla="*/ 62 w 808"/>
                    <a:gd name="T1" fmla="*/ 7 h 716"/>
                    <a:gd name="T2" fmla="*/ 123 w 808"/>
                    <a:gd name="T3" fmla="*/ 12 h 716"/>
                    <a:gd name="T4" fmla="*/ 177 w 808"/>
                    <a:gd name="T5" fmla="*/ 29 h 716"/>
                    <a:gd name="T6" fmla="*/ 218 w 808"/>
                    <a:gd name="T7" fmla="*/ 41 h 716"/>
                    <a:gd name="T8" fmla="*/ 282 w 808"/>
                    <a:gd name="T9" fmla="*/ 54 h 716"/>
                    <a:gd name="T10" fmla="*/ 322 w 808"/>
                    <a:gd name="T11" fmla="*/ 41 h 716"/>
                    <a:gd name="T12" fmla="*/ 369 w 808"/>
                    <a:gd name="T13" fmla="*/ 8 h 716"/>
                    <a:gd name="T14" fmla="*/ 397 w 808"/>
                    <a:gd name="T15" fmla="*/ 5 h 716"/>
                    <a:gd name="T16" fmla="*/ 392 w 808"/>
                    <a:gd name="T17" fmla="*/ 15 h 716"/>
                    <a:gd name="T18" fmla="*/ 417 w 808"/>
                    <a:gd name="T19" fmla="*/ 0 h 716"/>
                    <a:gd name="T20" fmla="*/ 472 w 808"/>
                    <a:gd name="T21" fmla="*/ 3 h 716"/>
                    <a:gd name="T22" fmla="*/ 497 w 808"/>
                    <a:gd name="T23" fmla="*/ 17 h 716"/>
                    <a:gd name="T24" fmla="*/ 507 w 808"/>
                    <a:gd name="T25" fmla="*/ 69 h 716"/>
                    <a:gd name="T26" fmla="*/ 521 w 808"/>
                    <a:gd name="T27" fmla="*/ 96 h 716"/>
                    <a:gd name="T28" fmla="*/ 527 w 808"/>
                    <a:gd name="T29" fmla="*/ 138 h 716"/>
                    <a:gd name="T30" fmla="*/ 574 w 808"/>
                    <a:gd name="T31" fmla="*/ 222 h 716"/>
                    <a:gd name="T32" fmla="*/ 617 w 808"/>
                    <a:gd name="T33" fmla="*/ 260 h 716"/>
                    <a:gd name="T34" fmla="*/ 644 w 808"/>
                    <a:gd name="T35" fmla="*/ 310 h 716"/>
                    <a:gd name="T36" fmla="*/ 679 w 808"/>
                    <a:gd name="T37" fmla="*/ 384 h 716"/>
                    <a:gd name="T38" fmla="*/ 713 w 808"/>
                    <a:gd name="T39" fmla="*/ 435 h 716"/>
                    <a:gd name="T40" fmla="*/ 755 w 808"/>
                    <a:gd name="T41" fmla="*/ 503 h 716"/>
                    <a:gd name="T42" fmla="*/ 806 w 808"/>
                    <a:gd name="T43" fmla="*/ 550 h 716"/>
                    <a:gd name="T44" fmla="*/ 788 w 808"/>
                    <a:gd name="T45" fmla="*/ 553 h 716"/>
                    <a:gd name="T46" fmla="*/ 794 w 808"/>
                    <a:gd name="T47" fmla="*/ 589 h 716"/>
                    <a:gd name="T48" fmla="*/ 803 w 808"/>
                    <a:gd name="T49" fmla="*/ 613 h 716"/>
                    <a:gd name="T50" fmla="*/ 785 w 808"/>
                    <a:gd name="T51" fmla="*/ 636 h 716"/>
                    <a:gd name="T52" fmla="*/ 743 w 808"/>
                    <a:gd name="T53" fmla="*/ 679 h 716"/>
                    <a:gd name="T54" fmla="*/ 706 w 808"/>
                    <a:gd name="T55" fmla="*/ 699 h 716"/>
                    <a:gd name="T56" fmla="*/ 643 w 808"/>
                    <a:gd name="T57" fmla="*/ 701 h 716"/>
                    <a:gd name="T58" fmla="*/ 532 w 808"/>
                    <a:gd name="T59" fmla="*/ 705 h 716"/>
                    <a:gd name="T60" fmla="*/ 509 w 808"/>
                    <a:gd name="T61" fmla="*/ 705 h 716"/>
                    <a:gd name="T62" fmla="*/ 59 w 808"/>
                    <a:gd name="T63" fmla="*/ 614 h 716"/>
                    <a:gd name="T64" fmla="*/ 32 w 808"/>
                    <a:gd name="T65" fmla="*/ 183 h 716"/>
                    <a:gd name="T66" fmla="*/ 13 w 808"/>
                    <a:gd name="T67" fmla="*/ 100 h 716"/>
                    <a:gd name="T68" fmla="*/ 12 w 808"/>
                    <a:gd name="T69" fmla="*/ 26 h 716"/>
                    <a:gd name="T70" fmla="*/ 24 w 808"/>
                    <a:gd name="T71" fmla="*/ 10 h 716"/>
                    <a:gd name="connsiteX0" fmla="*/ 292 w 10230"/>
                    <a:gd name="connsiteY0" fmla="*/ 182 h 10000"/>
                    <a:gd name="connsiteX1" fmla="*/ 663 w 10230"/>
                    <a:gd name="connsiteY1" fmla="*/ 98 h 10000"/>
                    <a:gd name="connsiteX2" fmla="*/ 985 w 10230"/>
                    <a:gd name="connsiteY2" fmla="*/ 126 h 10000"/>
                    <a:gd name="connsiteX3" fmla="*/ 1418 w 10230"/>
                    <a:gd name="connsiteY3" fmla="*/ 168 h 10000"/>
                    <a:gd name="connsiteX4" fmla="*/ 1802 w 10230"/>
                    <a:gd name="connsiteY4" fmla="*/ 251 h 10000"/>
                    <a:gd name="connsiteX5" fmla="*/ 2087 w 10230"/>
                    <a:gd name="connsiteY5" fmla="*/ 405 h 10000"/>
                    <a:gd name="connsiteX6" fmla="*/ 2384 w 10230"/>
                    <a:gd name="connsiteY6" fmla="*/ 461 h 10000"/>
                    <a:gd name="connsiteX7" fmla="*/ 2594 w 10230"/>
                    <a:gd name="connsiteY7" fmla="*/ 573 h 10000"/>
                    <a:gd name="connsiteX8" fmla="*/ 2879 w 10230"/>
                    <a:gd name="connsiteY8" fmla="*/ 573 h 10000"/>
                    <a:gd name="connsiteX9" fmla="*/ 3386 w 10230"/>
                    <a:gd name="connsiteY9" fmla="*/ 754 h 10000"/>
                    <a:gd name="connsiteX10" fmla="*/ 3559 w 10230"/>
                    <a:gd name="connsiteY10" fmla="*/ 740 h 10000"/>
                    <a:gd name="connsiteX11" fmla="*/ 3881 w 10230"/>
                    <a:gd name="connsiteY11" fmla="*/ 573 h 10000"/>
                    <a:gd name="connsiteX12" fmla="*/ 4240 w 10230"/>
                    <a:gd name="connsiteY12" fmla="*/ 279 h 10000"/>
                    <a:gd name="connsiteX13" fmla="*/ 4463 w 10230"/>
                    <a:gd name="connsiteY13" fmla="*/ 112 h 10000"/>
                    <a:gd name="connsiteX14" fmla="*/ 4735 w 10230"/>
                    <a:gd name="connsiteY14" fmla="*/ 56 h 10000"/>
                    <a:gd name="connsiteX15" fmla="*/ 4809 w 10230"/>
                    <a:gd name="connsiteY15" fmla="*/ 70 h 10000"/>
                    <a:gd name="connsiteX16" fmla="*/ 4636 w 10230"/>
                    <a:gd name="connsiteY16" fmla="*/ 196 h 10000"/>
                    <a:gd name="connsiteX17" fmla="*/ 4747 w 10230"/>
                    <a:gd name="connsiteY17" fmla="*/ 209 h 10000"/>
                    <a:gd name="connsiteX18" fmla="*/ 4983 w 10230"/>
                    <a:gd name="connsiteY18" fmla="*/ 126 h 10000"/>
                    <a:gd name="connsiteX19" fmla="*/ 5057 w 10230"/>
                    <a:gd name="connsiteY19" fmla="*/ 0 h 10000"/>
                    <a:gd name="connsiteX20" fmla="*/ 5230 w 10230"/>
                    <a:gd name="connsiteY20" fmla="*/ 28 h 10000"/>
                    <a:gd name="connsiteX21" fmla="*/ 5738 w 10230"/>
                    <a:gd name="connsiteY21" fmla="*/ 42 h 10000"/>
                    <a:gd name="connsiteX22" fmla="*/ 5898 w 10230"/>
                    <a:gd name="connsiteY22" fmla="*/ 168 h 10000"/>
                    <a:gd name="connsiteX23" fmla="*/ 6047 w 10230"/>
                    <a:gd name="connsiteY23" fmla="*/ 237 h 10000"/>
                    <a:gd name="connsiteX24" fmla="*/ 6096 w 10230"/>
                    <a:gd name="connsiteY24" fmla="*/ 489 h 10000"/>
                    <a:gd name="connsiteX25" fmla="*/ 6171 w 10230"/>
                    <a:gd name="connsiteY25" fmla="*/ 964 h 10000"/>
                    <a:gd name="connsiteX26" fmla="*/ 6196 w 10230"/>
                    <a:gd name="connsiteY26" fmla="*/ 1187 h 10000"/>
                    <a:gd name="connsiteX27" fmla="*/ 6344 w 10230"/>
                    <a:gd name="connsiteY27" fmla="*/ 1341 h 10000"/>
                    <a:gd name="connsiteX28" fmla="*/ 6394 w 10230"/>
                    <a:gd name="connsiteY28" fmla="*/ 1620 h 10000"/>
                    <a:gd name="connsiteX29" fmla="*/ 6418 w 10230"/>
                    <a:gd name="connsiteY29" fmla="*/ 1927 h 10000"/>
                    <a:gd name="connsiteX30" fmla="*/ 6691 w 10230"/>
                    <a:gd name="connsiteY30" fmla="*/ 2556 h 10000"/>
                    <a:gd name="connsiteX31" fmla="*/ 7000 w 10230"/>
                    <a:gd name="connsiteY31" fmla="*/ 3101 h 10000"/>
                    <a:gd name="connsiteX32" fmla="*/ 7408 w 10230"/>
                    <a:gd name="connsiteY32" fmla="*/ 3534 h 10000"/>
                    <a:gd name="connsiteX33" fmla="*/ 7532 w 10230"/>
                    <a:gd name="connsiteY33" fmla="*/ 3631 h 10000"/>
                    <a:gd name="connsiteX34" fmla="*/ 7606 w 10230"/>
                    <a:gd name="connsiteY34" fmla="*/ 4036 h 10000"/>
                    <a:gd name="connsiteX35" fmla="*/ 7866 w 10230"/>
                    <a:gd name="connsiteY35" fmla="*/ 4330 h 10000"/>
                    <a:gd name="connsiteX36" fmla="*/ 8077 w 10230"/>
                    <a:gd name="connsiteY36" fmla="*/ 4972 h 10000"/>
                    <a:gd name="connsiteX37" fmla="*/ 8299 w 10230"/>
                    <a:gd name="connsiteY37" fmla="*/ 5363 h 10000"/>
                    <a:gd name="connsiteX38" fmla="*/ 8535 w 10230"/>
                    <a:gd name="connsiteY38" fmla="*/ 5810 h 10000"/>
                    <a:gd name="connsiteX39" fmla="*/ 8720 w 10230"/>
                    <a:gd name="connsiteY39" fmla="*/ 6075 h 10000"/>
                    <a:gd name="connsiteX40" fmla="*/ 8993 w 10230"/>
                    <a:gd name="connsiteY40" fmla="*/ 6606 h 10000"/>
                    <a:gd name="connsiteX41" fmla="*/ 9240 w 10230"/>
                    <a:gd name="connsiteY41" fmla="*/ 7025 h 10000"/>
                    <a:gd name="connsiteX42" fmla="*/ 9698 w 10230"/>
                    <a:gd name="connsiteY42" fmla="*/ 7514 h 10000"/>
                    <a:gd name="connsiteX43" fmla="*/ 9871 w 10230"/>
                    <a:gd name="connsiteY43" fmla="*/ 7682 h 10000"/>
                    <a:gd name="connsiteX44" fmla="*/ 9797 w 10230"/>
                    <a:gd name="connsiteY44" fmla="*/ 7709 h 10000"/>
                    <a:gd name="connsiteX45" fmla="*/ 9648 w 10230"/>
                    <a:gd name="connsiteY45" fmla="*/ 7723 h 10000"/>
                    <a:gd name="connsiteX46" fmla="*/ 9673 w 10230"/>
                    <a:gd name="connsiteY46" fmla="*/ 7905 h 10000"/>
                    <a:gd name="connsiteX47" fmla="*/ 9723 w 10230"/>
                    <a:gd name="connsiteY47" fmla="*/ 8226 h 10000"/>
                    <a:gd name="connsiteX48" fmla="*/ 9822 w 10230"/>
                    <a:gd name="connsiteY48" fmla="*/ 8547 h 10000"/>
                    <a:gd name="connsiteX49" fmla="*/ 9834 w 10230"/>
                    <a:gd name="connsiteY49" fmla="*/ 8561 h 10000"/>
                    <a:gd name="connsiteX50" fmla="*/ 9834 w 10230"/>
                    <a:gd name="connsiteY50" fmla="*/ 8561 h 10000"/>
                    <a:gd name="connsiteX51" fmla="*/ 10221 w 10230"/>
                    <a:gd name="connsiteY51" fmla="*/ 9005 h 10000"/>
                    <a:gd name="connsiteX52" fmla="*/ 9327 w 10230"/>
                    <a:gd name="connsiteY52" fmla="*/ 8841 h 10000"/>
                    <a:gd name="connsiteX53" fmla="*/ 9092 w 10230"/>
                    <a:gd name="connsiteY53" fmla="*/ 9483 h 10000"/>
                    <a:gd name="connsiteX54" fmla="*/ 8696 w 10230"/>
                    <a:gd name="connsiteY54" fmla="*/ 9553 h 10000"/>
                    <a:gd name="connsiteX55" fmla="*/ 8634 w 10230"/>
                    <a:gd name="connsiteY55" fmla="*/ 9763 h 10000"/>
                    <a:gd name="connsiteX56" fmla="*/ 7854 w 10230"/>
                    <a:gd name="connsiteY56" fmla="*/ 9791 h 10000"/>
                    <a:gd name="connsiteX57" fmla="*/ 7854 w 10230"/>
                    <a:gd name="connsiteY57" fmla="*/ 9791 h 10000"/>
                    <a:gd name="connsiteX58" fmla="*/ 7854 w 10230"/>
                    <a:gd name="connsiteY58" fmla="*/ 9791 h 10000"/>
                    <a:gd name="connsiteX59" fmla="*/ 6480 w 10230"/>
                    <a:gd name="connsiteY59" fmla="*/ 9846 h 10000"/>
                    <a:gd name="connsiteX60" fmla="*/ 6381 w 10230"/>
                    <a:gd name="connsiteY60" fmla="*/ 9665 h 10000"/>
                    <a:gd name="connsiteX61" fmla="*/ 6196 w 10230"/>
                    <a:gd name="connsiteY61" fmla="*/ 9846 h 10000"/>
                    <a:gd name="connsiteX62" fmla="*/ 688 w 10230"/>
                    <a:gd name="connsiteY62" fmla="*/ 10000 h 10000"/>
                    <a:gd name="connsiteX63" fmla="*/ 626 w 10230"/>
                    <a:gd name="connsiteY63" fmla="*/ 8575 h 10000"/>
                    <a:gd name="connsiteX64" fmla="*/ 626 w 10230"/>
                    <a:gd name="connsiteY64" fmla="*/ 8575 h 10000"/>
                    <a:gd name="connsiteX65" fmla="*/ 292 w 10230"/>
                    <a:gd name="connsiteY65" fmla="*/ 2556 h 10000"/>
                    <a:gd name="connsiteX66" fmla="*/ 119 w 10230"/>
                    <a:gd name="connsiteY66" fmla="*/ 1997 h 10000"/>
                    <a:gd name="connsiteX67" fmla="*/ 57 w 10230"/>
                    <a:gd name="connsiteY67" fmla="*/ 1397 h 10000"/>
                    <a:gd name="connsiteX68" fmla="*/ 181 w 10230"/>
                    <a:gd name="connsiteY68" fmla="*/ 880 h 10000"/>
                    <a:gd name="connsiteX69" fmla="*/ 45 w 10230"/>
                    <a:gd name="connsiteY69" fmla="*/ 363 h 10000"/>
                    <a:gd name="connsiteX70" fmla="*/ 181 w 10230"/>
                    <a:gd name="connsiteY70" fmla="*/ 154 h 10000"/>
                    <a:gd name="connsiteX71" fmla="*/ 193 w 10230"/>
                    <a:gd name="connsiteY71" fmla="*/ 140 h 10000"/>
                    <a:gd name="connsiteX72" fmla="*/ 292 w 10230"/>
                    <a:gd name="connsiteY72" fmla="*/ 182 h 10000"/>
                    <a:gd name="connsiteX0" fmla="*/ 292 w 10870"/>
                    <a:gd name="connsiteY0" fmla="*/ 182 h 10000"/>
                    <a:gd name="connsiteX1" fmla="*/ 663 w 10870"/>
                    <a:gd name="connsiteY1" fmla="*/ 98 h 10000"/>
                    <a:gd name="connsiteX2" fmla="*/ 985 w 10870"/>
                    <a:gd name="connsiteY2" fmla="*/ 126 h 10000"/>
                    <a:gd name="connsiteX3" fmla="*/ 1418 w 10870"/>
                    <a:gd name="connsiteY3" fmla="*/ 168 h 10000"/>
                    <a:gd name="connsiteX4" fmla="*/ 1802 w 10870"/>
                    <a:gd name="connsiteY4" fmla="*/ 251 h 10000"/>
                    <a:gd name="connsiteX5" fmla="*/ 2087 w 10870"/>
                    <a:gd name="connsiteY5" fmla="*/ 405 h 10000"/>
                    <a:gd name="connsiteX6" fmla="*/ 2384 w 10870"/>
                    <a:gd name="connsiteY6" fmla="*/ 461 h 10000"/>
                    <a:gd name="connsiteX7" fmla="*/ 2594 w 10870"/>
                    <a:gd name="connsiteY7" fmla="*/ 573 h 10000"/>
                    <a:gd name="connsiteX8" fmla="*/ 2879 w 10870"/>
                    <a:gd name="connsiteY8" fmla="*/ 573 h 10000"/>
                    <a:gd name="connsiteX9" fmla="*/ 3386 w 10870"/>
                    <a:gd name="connsiteY9" fmla="*/ 754 h 10000"/>
                    <a:gd name="connsiteX10" fmla="*/ 3559 w 10870"/>
                    <a:gd name="connsiteY10" fmla="*/ 740 h 10000"/>
                    <a:gd name="connsiteX11" fmla="*/ 3881 w 10870"/>
                    <a:gd name="connsiteY11" fmla="*/ 573 h 10000"/>
                    <a:gd name="connsiteX12" fmla="*/ 4240 w 10870"/>
                    <a:gd name="connsiteY12" fmla="*/ 279 h 10000"/>
                    <a:gd name="connsiteX13" fmla="*/ 4463 w 10870"/>
                    <a:gd name="connsiteY13" fmla="*/ 112 h 10000"/>
                    <a:gd name="connsiteX14" fmla="*/ 4735 w 10870"/>
                    <a:gd name="connsiteY14" fmla="*/ 56 h 10000"/>
                    <a:gd name="connsiteX15" fmla="*/ 4809 w 10870"/>
                    <a:gd name="connsiteY15" fmla="*/ 70 h 10000"/>
                    <a:gd name="connsiteX16" fmla="*/ 4636 w 10870"/>
                    <a:gd name="connsiteY16" fmla="*/ 196 h 10000"/>
                    <a:gd name="connsiteX17" fmla="*/ 4747 w 10870"/>
                    <a:gd name="connsiteY17" fmla="*/ 209 h 10000"/>
                    <a:gd name="connsiteX18" fmla="*/ 4983 w 10870"/>
                    <a:gd name="connsiteY18" fmla="*/ 126 h 10000"/>
                    <a:gd name="connsiteX19" fmla="*/ 5057 w 10870"/>
                    <a:gd name="connsiteY19" fmla="*/ 0 h 10000"/>
                    <a:gd name="connsiteX20" fmla="*/ 5230 w 10870"/>
                    <a:gd name="connsiteY20" fmla="*/ 28 h 10000"/>
                    <a:gd name="connsiteX21" fmla="*/ 5738 w 10870"/>
                    <a:gd name="connsiteY21" fmla="*/ 42 h 10000"/>
                    <a:gd name="connsiteX22" fmla="*/ 5898 w 10870"/>
                    <a:gd name="connsiteY22" fmla="*/ 168 h 10000"/>
                    <a:gd name="connsiteX23" fmla="*/ 6047 w 10870"/>
                    <a:gd name="connsiteY23" fmla="*/ 237 h 10000"/>
                    <a:gd name="connsiteX24" fmla="*/ 6096 w 10870"/>
                    <a:gd name="connsiteY24" fmla="*/ 489 h 10000"/>
                    <a:gd name="connsiteX25" fmla="*/ 6171 w 10870"/>
                    <a:gd name="connsiteY25" fmla="*/ 964 h 10000"/>
                    <a:gd name="connsiteX26" fmla="*/ 6196 w 10870"/>
                    <a:gd name="connsiteY26" fmla="*/ 1187 h 10000"/>
                    <a:gd name="connsiteX27" fmla="*/ 6344 w 10870"/>
                    <a:gd name="connsiteY27" fmla="*/ 1341 h 10000"/>
                    <a:gd name="connsiteX28" fmla="*/ 6394 w 10870"/>
                    <a:gd name="connsiteY28" fmla="*/ 1620 h 10000"/>
                    <a:gd name="connsiteX29" fmla="*/ 6418 w 10870"/>
                    <a:gd name="connsiteY29" fmla="*/ 1927 h 10000"/>
                    <a:gd name="connsiteX30" fmla="*/ 6691 w 10870"/>
                    <a:gd name="connsiteY30" fmla="*/ 2556 h 10000"/>
                    <a:gd name="connsiteX31" fmla="*/ 7000 w 10870"/>
                    <a:gd name="connsiteY31" fmla="*/ 3101 h 10000"/>
                    <a:gd name="connsiteX32" fmla="*/ 7408 w 10870"/>
                    <a:gd name="connsiteY32" fmla="*/ 3534 h 10000"/>
                    <a:gd name="connsiteX33" fmla="*/ 7532 w 10870"/>
                    <a:gd name="connsiteY33" fmla="*/ 3631 h 10000"/>
                    <a:gd name="connsiteX34" fmla="*/ 7606 w 10870"/>
                    <a:gd name="connsiteY34" fmla="*/ 4036 h 10000"/>
                    <a:gd name="connsiteX35" fmla="*/ 7866 w 10870"/>
                    <a:gd name="connsiteY35" fmla="*/ 4330 h 10000"/>
                    <a:gd name="connsiteX36" fmla="*/ 8077 w 10870"/>
                    <a:gd name="connsiteY36" fmla="*/ 4972 h 10000"/>
                    <a:gd name="connsiteX37" fmla="*/ 8299 w 10870"/>
                    <a:gd name="connsiteY37" fmla="*/ 5363 h 10000"/>
                    <a:gd name="connsiteX38" fmla="*/ 8535 w 10870"/>
                    <a:gd name="connsiteY38" fmla="*/ 5810 h 10000"/>
                    <a:gd name="connsiteX39" fmla="*/ 8720 w 10870"/>
                    <a:gd name="connsiteY39" fmla="*/ 6075 h 10000"/>
                    <a:gd name="connsiteX40" fmla="*/ 8993 w 10870"/>
                    <a:gd name="connsiteY40" fmla="*/ 6606 h 10000"/>
                    <a:gd name="connsiteX41" fmla="*/ 9240 w 10870"/>
                    <a:gd name="connsiteY41" fmla="*/ 7025 h 10000"/>
                    <a:gd name="connsiteX42" fmla="*/ 9698 w 10870"/>
                    <a:gd name="connsiteY42" fmla="*/ 7514 h 10000"/>
                    <a:gd name="connsiteX43" fmla="*/ 9871 w 10870"/>
                    <a:gd name="connsiteY43" fmla="*/ 7682 h 10000"/>
                    <a:gd name="connsiteX44" fmla="*/ 9797 w 10870"/>
                    <a:gd name="connsiteY44" fmla="*/ 7709 h 10000"/>
                    <a:gd name="connsiteX45" fmla="*/ 9648 w 10870"/>
                    <a:gd name="connsiteY45" fmla="*/ 7723 h 10000"/>
                    <a:gd name="connsiteX46" fmla="*/ 9673 w 10870"/>
                    <a:gd name="connsiteY46" fmla="*/ 7905 h 10000"/>
                    <a:gd name="connsiteX47" fmla="*/ 9723 w 10870"/>
                    <a:gd name="connsiteY47" fmla="*/ 8226 h 10000"/>
                    <a:gd name="connsiteX48" fmla="*/ 9822 w 10870"/>
                    <a:gd name="connsiteY48" fmla="*/ 8547 h 10000"/>
                    <a:gd name="connsiteX49" fmla="*/ 9834 w 10870"/>
                    <a:gd name="connsiteY49" fmla="*/ 8561 h 10000"/>
                    <a:gd name="connsiteX50" fmla="*/ 9834 w 10870"/>
                    <a:gd name="connsiteY50" fmla="*/ 8561 h 10000"/>
                    <a:gd name="connsiteX51" fmla="*/ 10221 w 10870"/>
                    <a:gd name="connsiteY51" fmla="*/ 9005 h 10000"/>
                    <a:gd name="connsiteX52" fmla="*/ 10870 w 10870"/>
                    <a:gd name="connsiteY52" fmla="*/ 9287 h 10000"/>
                    <a:gd name="connsiteX53" fmla="*/ 9092 w 10870"/>
                    <a:gd name="connsiteY53" fmla="*/ 9483 h 10000"/>
                    <a:gd name="connsiteX54" fmla="*/ 8696 w 10870"/>
                    <a:gd name="connsiteY54" fmla="*/ 9553 h 10000"/>
                    <a:gd name="connsiteX55" fmla="*/ 8634 w 10870"/>
                    <a:gd name="connsiteY55" fmla="*/ 9763 h 10000"/>
                    <a:gd name="connsiteX56" fmla="*/ 7854 w 10870"/>
                    <a:gd name="connsiteY56" fmla="*/ 9791 h 10000"/>
                    <a:gd name="connsiteX57" fmla="*/ 7854 w 10870"/>
                    <a:gd name="connsiteY57" fmla="*/ 9791 h 10000"/>
                    <a:gd name="connsiteX58" fmla="*/ 7854 w 10870"/>
                    <a:gd name="connsiteY58" fmla="*/ 9791 h 10000"/>
                    <a:gd name="connsiteX59" fmla="*/ 6480 w 10870"/>
                    <a:gd name="connsiteY59" fmla="*/ 9846 h 10000"/>
                    <a:gd name="connsiteX60" fmla="*/ 6381 w 10870"/>
                    <a:gd name="connsiteY60" fmla="*/ 9665 h 10000"/>
                    <a:gd name="connsiteX61" fmla="*/ 6196 w 10870"/>
                    <a:gd name="connsiteY61" fmla="*/ 9846 h 10000"/>
                    <a:gd name="connsiteX62" fmla="*/ 688 w 10870"/>
                    <a:gd name="connsiteY62" fmla="*/ 10000 h 10000"/>
                    <a:gd name="connsiteX63" fmla="*/ 626 w 10870"/>
                    <a:gd name="connsiteY63" fmla="*/ 8575 h 10000"/>
                    <a:gd name="connsiteX64" fmla="*/ 626 w 10870"/>
                    <a:gd name="connsiteY64" fmla="*/ 8575 h 10000"/>
                    <a:gd name="connsiteX65" fmla="*/ 292 w 10870"/>
                    <a:gd name="connsiteY65" fmla="*/ 2556 h 10000"/>
                    <a:gd name="connsiteX66" fmla="*/ 119 w 10870"/>
                    <a:gd name="connsiteY66" fmla="*/ 1997 h 10000"/>
                    <a:gd name="connsiteX67" fmla="*/ 57 w 10870"/>
                    <a:gd name="connsiteY67" fmla="*/ 1397 h 10000"/>
                    <a:gd name="connsiteX68" fmla="*/ 181 w 10870"/>
                    <a:gd name="connsiteY68" fmla="*/ 880 h 10000"/>
                    <a:gd name="connsiteX69" fmla="*/ 45 w 10870"/>
                    <a:gd name="connsiteY69" fmla="*/ 363 h 10000"/>
                    <a:gd name="connsiteX70" fmla="*/ 181 w 10870"/>
                    <a:gd name="connsiteY70" fmla="*/ 154 h 10000"/>
                    <a:gd name="connsiteX71" fmla="*/ 193 w 10870"/>
                    <a:gd name="connsiteY71" fmla="*/ 140 h 10000"/>
                    <a:gd name="connsiteX72" fmla="*/ 292 w 10870"/>
                    <a:gd name="connsiteY72" fmla="*/ 182 h 10000"/>
                    <a:gd name="connsiteX0" fmla="*/ 292 w 11069"/>
                    <a:gd name="connsiteY0" fmla="*/ 182 h 10000"/>
                    <a:gd name="connsiteX1" fmla="*/ 663 w 11069"/>
                    <a:gd name="connsiteY1" fmla="*/ 98 h 10000"/>
                    <a:gd name="connsiteX2" fmla="*/ 985 w 11069"/>
                    <a:gd name="connsiteY2" fmla="*/ 126 h 10000"/>
                    <a:gd name="connsiteX3" fmla="*/ 1418 w 11069"/>
                    <a:gd name="connsiteY3" fmla="*/ 168 h 10000"/>
                    <a:gd name="connsiteX4" fmla="*/ 1802 w 11069"/>
                    <a:gd name="connsiteY4" fmla="*/ 251 h 10000"/>
                    <a:gd name="connsiteX5" fmla="*/ 2087 w 11069"/>
                    <a:gd name="connsiteY5" fmla="*/ 405 h 10000"/>
                    <a:gd name="connsiteX6" fmla="*/ 2384 w 11069"/>
                    <a:gd name="connsiteY6" fmla="*/ 461 h 10000"/>
                    <a:gd name="connsiteX7" fmla="*/ 2594 w 11069"/>
                    <a:gd name="connsiteY7" fmla="*/ 573 h 10000"/>
                    <a:gd name="connsiteX8" fmla="*/ 2879 w 11069"/>
                    <a:gd name="connsiteY8" fmla="*/ 573 h 10000"/>
                    <a:gd name="connsiteX9" fmla="*/ 3386 w 11069"/>
                    <a:gd name="connsiteY9" fmla="*/ 754 h 10000"/>
                    <a:gd name="connsiteX10" fmla="*/ 3559 w 11069"/>
                    <a:gd name="connsiteY10" fmla="*/ 740 h 10000"/>
                    <a:gd name="connsiteX11" fmla="*/ 3881 w 11069"/>
                    <a:gd name="connsiteY11" fmla="*/ 573 h 10000"/>
                    <a:gd name="connsiteX12" fmla="*/ 4240 w 11069"/>
                    <a:gd name="connsiteY12" fmla="*/ 279 h 10000"/>
                    <a:gd name="connsiteX13" fmla="*/ 4463 w 11069"/>
                    <a:gd name="connsiteY13" fmla="*/ 112 h 10000"/>
                    <a:gd name="connsiteX14" fmla="*/ 4735 w 11069"/>
                    <a:gd name="connsiteY14" fmla="*/ 56 h 10000"/>
                    <a:gd name="connsiteX15" fmla="*/ 4809 w 11069"/>
                    <a:gd name="connsiteY15" fmla="*/ 70 h 10000"/>
                    <a:gd name="connsiteX16" fmla="*/ 4636 w 11069"/>
                    <a:gd name="connsiteY16" fmla="*/ 196 h 10000"/>
                    <a:gd name="connsiteX17" fmla="*/ 4747 w 11069"/>
                    <a:gd name="connsiteY17" fmla="*/ 209 h 10000"/>
                    <a:gd name="connsiteX18" fmla="*/ 4983 w 11069"/>
                    <a:gd name="connsiteY18" fmla="*/ 126 h 10000"/>
                    <a:gd name="connsiteX19" fmla="*/ 5057 w 11069"/>
                    <a:gd name="connsiteY19" fmla="*/ 0 h 10000"/>
                    <a:gd name="connsiteX20" fmla="*/ 5230 w 11069"/>
                    <a:gd name="connsiteY20" fmla="*/ 28 h 10000"/>
                    <a:gd name="connsiteX21" fmla="*/ 5738 w 11069"/>
                    <a:gd name="connsiteY21" fmla="*/ 42 h 10000"/>
                    <a:gd name="connsiteX22" fmla="*/ 5898 w 11069"/>
                    <a:gd name="connsiteY22" fmla="*/ 168 h 10000"/>
                    <a:gd name="connsiteX23" fmla="*/ 6047 w 11069"/>
                    <a:gd name="connsiteY23" fmla="*/ 237 h 10000"/>
                    <a:gd name="connsiteX24" fmla="*/ 6096 w 11069"/>
                    <a:gd name="connsiteY24" fmla="*/ 489 h 10000"/>
                    <a:gd name="connsiteX25" fmla="*/ 6171 w 11069"/>
                    <a:gd name="connsiteY25" fmla="*/ 964 h 10000"/>
                    <a:gd name="connsiteX26" fmla="*/ 6196 w 11069"/>
                    <a:gd name="connsiteY26" fmla="*/ 1187 h 10000"/>
                    <a:gd name="connsiteX27" fmla="*/ 6344 w 11069"/>
                    <a:gd name="connsiteY27" fmla="*/ 1341 h 10000"/>
                    <a:gd name="connsiteX28" fmla="*/ 6394 w 11069"/>
                    <a:gd name="connsiteY28" fmla="*/ 1620 h 10000"/>
                    <a:gd name="connsiteX29" fmla="*/ 6418 w 11069"/>
                    <a:gd name="connsiteY29" fmla="*/ 1927 h 10000"/>
                    <a:gd name="connsiteX30" fmla="*/ 6691 w 11069"/>
                    <a:gd name="connsiteY30" fmla="*/ 2556 h 10000"/>
                    <a:gd name="connsiteX31" fmla="*/ 7000 w 11069"/>
                    <a:gd name="connsiteY31" fmla="*/ 3101 h 10000"/>
                    <a:gd name="connsiteX32" fmla="*/ 7408 w 11069"/>
                    <a:gd name="connsiteY32" fmla="*/ 3534 h 10000"/>
                    <a:gd name="connsiteX33" fmla="*/ 7532 w 11069"/>
                    <a:gd name="connsiteY33" fmla="*/ 3631 h 10000"/>
                    <a:gd name="connsiteX34" fmla="*/ 7606 w 11069"/>
                    <a:gd name="connsiteY34" fmla="*/ 4036 h 10000"/>
                    <a:gd name="connsiteX35" fmla="*/ 7866 w 11069"/>
                    <a:gd name="connsiteY35" fmla="*/ 4330 h 10000"/>
                    <a:gd name="connsiteX36" fmla="*/ 8077 w 11069"/>
                    <a:gd name="connsiteY36" fmla="*/ 4972 h 10000"/>
                    <a:gd name="connsiteX37" fmla="*/ 8299 w 11069"/>
                    <a:gd name="connsiteY37" fmla="*/ 5363 h 10000"/>
                    <a:gd name="connsiteX38" fmla="*/ 8535 w 11069"/>
                    <a:gd name="connsiteY38" fmla="*/ 5810 h 10000"/>
                    <a:gd name="connsiteX39" fmla="*/ 8720 w 11069"/>
                    <a:gd name="connsiteY39" fmla="*/ 6075 h 10000"/>
                    <a:gd name="connsiteX40" fmla="*/ 8993 w 11069"/>
                    <a:gd name="connsiteY40" fmla="*/ 6606 h 10000"/>
                    <a:gd name="connsiteX41" fmla="*/ 9240 w 11069"/>
                    <a:gd name="connsiteY41" fmla="*/ 7025 h 10000"/>
                    <a:gd name="connsiteX42" fmla="*/ 9698 w 11069"/>
                    <a:gd name="connsiteY42" fmla="*/ 7514 h 10000"/>
                    <a:gd name="connsiteX43" fmla="*/ 9871 w 11069"/>
                    <a:gd name="connsiteY43" fmla="*/ 7682 h 10000"/>
                    <a:gd name="connsiteX44" fmla="*/ 9797 w 11069"/>
                    <a:gd name="connsiteY44" fmla="*/ 7709 h 10000"/>
                    <a:gd name="connsiteX45" fmla="*/ 9648 w 11069"/>
                    <a:gd name="connsiteY45" fmla="*/ 7723 h 10000"/>
                    <a:gd name="connsiteX46" fmla="*/ 9673 w 11069"/>
                    <a:gd name="connsiteY46" fmla="*/ 7905 h 10000"/>
                    <a:gd name="connsiteX47" fmla="*/ 9723 w 11069"/>
                    <a:gd name="connsiteY47" fmla="*/ 8226 h 10000"/>
                    <a:gd name="connsiteX48" fmla="*/ 9822 w 11069"/>
                    <a:gd name="connsiteY48" fmla="*/ 8547 h 10000"/>
                    <a:gd name="connsiteX49" fmla="*/ 9834 w 11069"/>
                    <a:gd name="connsiteY49" fmla="*/ 8561 h 10000"/>
                    <a:gd name="connsiteX50" fmla="*/ 9834 w 11069"/>
                    <a:gd name="connsiteY50" fmla="*/ 8561 h 10000"/>
                    <a:gd name="connsiteX51" fmla="*/ 10221 w 11069"/>
                    <a:gd name="connsiteY51" fmla="*/ 9005 h 10000"/>
                    <a:gd name="connsiteX52" fmla="*/ 10870 w 11069"/>
                    <a:gd name="connsiteY52" fmla="*/ 9287 h 10000"/>
                    <a:gd name="connsiteX53" fmla="*/ 11066 w 11069"/>
                    <a:gd name="connsiteY53" fmla="*/ 9605 h 10000"/>
                    <a:gd name="connsiteX54" fmla="*/ 8696 w 11069"/>
                    <a:gd name="connsiteY54" fmla="*/ 9553 h 10000"/>
                    <a:gd name="connsiteX55" fmla="*/ 8634 w 11069"/>
                    <a:gd name="connsiteY55" fmla="*/ 9763 h 10000"/>
                    <a:gd name="connsiteX56" fmla="*/ 7854 w 11069"/>
                    <a:gd name="connsiteY56" fmla="*/ 9791 h 10000"/>
                    <a:gd name="connsiteX57" fmla="*/ 7854 w 11069"/>
                    <a:gd name="connsiteY57" fmla="*/ 9791 h 10000"/>
                    <a:gd name="connsiteX58" fmla="*/ 7854 w 11069"/>
                    <a:gd name="connsiteY58" fmla="*/ 9791 h 10000"/>
                    <a:gd name="connsiteX59" fmla="*/ 6480 w 11069"/>
                    <a:gd name="connsiteY59" fmla="*/ 9846 h 10000"/>
                    <a:gd name="connsiteX60" fmla="*/ 6381 w 11069"/>
                    <a:gd name="connsiteY60" fmla="*/ 9665 h 10000"/>
                    <a:gd name="connsiteX61" fmla="*/ 6196 w 11069"/>
                    <a:gd name="connsiteY61" fmla="*/ 9846 h 10000"/>
                    <a:gd name="connsiteX62" fmla="*/ 688 w 11069"/>
                    <a:gd name="connsiteY62" fmla="*/ 10000 h 10000"/>
                    <a:gd name="connsiteX63" fmla="*/ 626 w 11069"/>
                    <a:gd name="connsiteY63" fmla="*/ 8575 h 10000"/>
                    <a:gd name="connsiteX64" fmla="*/ 626 w 11069"/>
                    <a:gd name="connsiteY64" fmla="*/ 8575 h 10000"/>
                    <a:gd name="connsiteX65" fmla="*/ 292 w 11069"/>
                    <a:gd name="connsiteY65" fmla="*/ 2556 h 10000"/>
                    <a:gd name="connsiteX66" fmla="*/ 119 w 11069"/>
                    <a:gd name="connsiteY66" fmla="*/ 1997 h 10000"/>
                    <a:gd name="connsiteX67" fmla="*/ 57 w 11069"/>
                    <a:gd name="connsiteY67" fmla="*/ 1397 h 10000"/>
                    <a:gd name="connsiteX68" fmla="*/ 181 w 11069"/>
                    <a:gd name="connsiteY68" fmla="*/ 880 h 10000"/>
                    <a:gd name="connsiteX69" fmla="*/ 45 w 11069"/>
                    <a:gd name="connsiteY69" fmla="*/ 363 h 10000"/>
                    <a:gd name="connsiteX70" fmla="*/ 181 w 11069"/>
                    <a:gd name="connsiteY70" fmla="*/ 154 h 10000"/>
                    <a:gd name="connsiteX71" fmla="*/ 193 w 11069"/>
                    <a:gd name="connsiteY71" fmla="*/ 140 h 10000"/>
                    <a:gd name="connsiteX72" fmla="*/ 292 w 11069"/>
                    <a:gd name="connsiteY72" fmla="*/ 182 h 10000"/>
                    <a:gd name="connsiteX0" fmla="*/ 292 w 11069"/>
                    <a:gd name="connsiteY0" fmla="*/ 182 h 10000"/>
                    <a:gd name="connsiteX1" fmla="*/ 663 w 11069"/>
                    <a:gd name="connsiteY1" fmla="*/ 98 h 10000"/>
                    <a:gd name="connsiteX2" fmla="*/ 985 w 11069"/>
                    <a:gd name="connsiteY2" fmla="*/ 126 h 10000"/>
                    <a:gd name="connsiteX3" fmla="*/ 1418 w 11069"/>
                    <a:gd name="connsiteY3" fmla="*/ 168 h 10000"/>
                    <a:gd name="connsiteX4" fmla="*/ 1802 w 11069"/>
                    <a:gd name="connsiteY4" fmla="*/ 251 h 10000"/>
                    <a:gd name="connsiteX5" fmla="*/ 2087 w 11069"/>
                    <a:gd name="connsiteY5" fmla="*/ 405 h 10000"/>
                    <a:gd name="connsiteX6" fmla="*/ 2384 w 11069"/>
                    <a:gd name="connsiteY6" fmla="*/ 461 h 10000"/>
                    <a:gd name="connsiteX7" fmla="*/ 2594 w 11069"/>
                    <a:gd name="connsiteY7" fmla="*/ 573 h 10000"/>
                    <a:gd name="connsiteX8" fmla="*/ 2879 w 11069"/>
                    <a:gd name="connsiteY8" fmla="*/ 573 h 10000"/>
                    <a:gd name="connsiteX9" fmla="*/ 3386 w 11069"/>
                    <a:gd name="connsiteY9" fmla="*/ 754 h 10000"/>
                    <a:gd name="connsiteX10" fmla="*/ 3559 w 11069"/>
                    <a:gd name="connsiteY10" fmla="*/ 740 h 10000"/>
                    <a:gd name="connsiteX11" fmla="*/ 3881 w 11069"/>
                    <a:gd name="connsiteY11" fmla="*/ 573 h 10000"/>
                    <a:gd name="connsiteX12" fmla="*/ 4240 w 11069"/>
                    <a:gd name="connsiteY12" fmla="*/ 279 h 10000"/>
                    <a:gd name="connsiteX13" fmla="*/ 4463 w 11069"/>
                    <a:gd name="connsiteY13" fmla="*/ 112 h 10000"/>
                    <a:gd name="connsiteX14" fmla="*/ 4735 w 11069"/>
                    <a:gd name="connsiteY14" fmla="*/ 56 h 10000"/>
                    <a:gd name="connsiteX15" fmla="*/ 4809 w 11069"/>
                    <a:gd name="connsiteY15" fmla="*/ 70 h 10000"/>
                    <a:gd name="connsiteX16" fmla="*/ 4636 w 11069"/>
                    <a:gd name="connsiteY16" fmla="*/ 196 h 10000"/>
                    <a:gd name="connsiteX17" fmla="*/ 4747 w 11069"/>
                    <a:gd name="connsiteY17" fmla="*/ 209 h 10000"/>
                    <a:gd name="connsiteX18" fmla="*/ 4983 w 11069"/>
                    <a:gd name="connsiteY18" fmla="*/ 126 h 10000"/>
                    <a:gd name="connsiteX19" fmla="*/ 5057 w 11069"/>
                    <a:gd name="connsiteY19" fmla="*/ 0 h 10000"/>
                    <a:gd name="connsiteX20" fmla="*/ 5230 w 11069"/>
                    <a:gd name="connsiteY20" fmla="*/ 28 h 10000"/>
                    <a:gd name="connsiteX21" fmla="*/ 5738 w 11069"/>
                    <a:gd name="connsiteY21" fmla="*/ 42 h 10000"/>
                    <a:gd name="connsiteX22" fmla="*/ 5898 w 11069"/>
                    <a:gd name="connsiteY22" fmla="*/ 168 h 10000"/>
                    <a:gd name="connsiteX23" fmla="*/ 6047 w 11069"/>
                    <a:gd name="connsiteY23" fmla="*/ 237 h 10000"/>
                    <a:gd name="connsiteX24" fmla="*/ 6096 w 11069"/>
                    <a:gd name="connsiteY24" fmla="*/ 489 h 10000"/>
                    <a:gd name="connsiteX25" fmla="*/ 6171 w 11069"/>
                    <a:gd name="connsiteY25" fmla="*/ 964 h 10000"/>
                    <a:gd name="connsiteX26" fmla="*/ 6196 w 11069"/>
                    <a:gd name="connsiteY26" fmla="*/ 1187 h 10000"/>
                    <a:gd name="connsiteX27" fmla="*/ 6344 w 11069"/>
                    <a:gd name="connsiteY27" fmla="*/ 1341 h 10000"/>
                    <a:gd name="connsiteX28" fmla="*/ 6394 w 11069"/>
                    <a:gd name="connsiteY28" fmla="*/ 1620 h 10000"/>
                    <a:gd name="connsiteX29" fmla="*/ 6418 w 11069"/>
                    <a:gd name="connsiteY29" fmla="*/ 1927 h 10000"/>
                    <a:gd name="connsiteX30" fmla="*/ 6691 w 11069"/>
                    <a:gd name="connsiteY30" fmla="*/ 2556 h 10000"/>
                    <a:gd name="connsiteX31" fmla="*/ 7000 w 11069"/>
                    <a:gd name="connsiteY31" fmla="*/ 3101 h 10000"/>
                    <a:gd name="connsiteX32" fmla="*/ 7408 w 11069"/>
                    <a:gd name="connsiteY32" fmla="*/ 3534 h 10000"/>
                    <a:gd name="connsiteX33" fmla="*/ 7532 w 11069"/>
                    <a:gd name="connsiteY33" fmla="*/ 3631 h 10000"/>
                    <a:gd name="connsiteX34" fmla="*/ 7606 w 11069"/>
                    <a:gd name="connsiteY34" fmla="*/ 4036 h 10000"/>
                    <a:gd name="connsiteX35" fmla="*/ 7866 w 11069"/>
                    <a:gd name="connsiteY35" fmla="*/ 4330 h 10000"/>
                    <a:gd name="connsiteX36" fmla="*/ 8077 w 11069"/>
                    <a:gd name="connsiteY36" fmla="*/ 4972 h 10000"/>
                    <a:gd name="connsiteX37" fmla="*/ 8299 w 11069"/>
                    <a:gd name="connsiteY37" fmla="*/ 5363 h 10000"/>
                    <a:gd name="connsiteX38" fmla="*/ 8535 w 11069"/>
                    <a:gd name="connsiteY38" fmla="*/ 5810 h 10000"/>
                    <a:gd name="connsiteX39" fmla="*/ 8720 w 11069"/>
                    <a:gd name="connsiteY39" fmla="*/ 6075 h 10000"/>
                    <a:gd name="connsiteX40" fmla="*/ 8993 w 11069"/>
                    <a:gd name="connsiteY40" fmla="*/ 6606 h 10000"/>
                    <a:gd name="connsiteX41" fmla="*/ 9240 w 11069"/>
                    <a:gd name="connsiteY41" fmla="*/ 7025 h 10000"/>
                    <a:gd name="connsiteX42" fmla="*/ 9698 w 11069"/>
                    <a:gd name="connsiteY42" fmla="*/ 7514 h 10000"/>
                    <a:gd name="connsiteX43" fmla="*/ 9871 w 11069"/>
                    <a:gd name="connsiteY43" fmla="*/ 7682 h 10000"/>
                    <a:gd name="connsiteX44" fmla="*/ 9797 w 11069"/>
                    <a:gd name="connsiteY44" fmla="*/ 7709 h 10000"/>
                    <a:gd name="connsiteX45" fmla="*/ 9648 w 11069"/>
                    <a:gd name="connsiteY45" fmla="*/ 7723 h 10000"/>
                    <a:gd name="connsiteX46" fmla="*/ 9673 w 11069"/>
                    <a:gd name="connsiteY46" fmla="*/ 7905 h 10000"/>
                    <a:gd name="connsiteX47" fmla="*/ 9723 w 11069"/>
                    <a:gd name="connsiteY47" fmla="*/ 8226 h 10000"/>
                    <a:gd name="connsiteX48" fmla="*/ 9822 w 11069"/>
                    <a:gd name="connsiteY48" fmla="*/ 8547 h 10000"/>
                    <a:gd name="connsiteX49" fmla="*/ 9834 w 11069"/>
                    <a:gd name="connsiteY49" fmla="*/ 8561 h 10000"/>
                    <a:gd name="connsiteX50" fmla="*/ 9834 w 11069"/>
                    <a:gd name="connsiteY50" fmla="*/ 8561 h 10000"/>
                    <a:gd name="connsiteX51" fmla="*/ 10221 w 11069"/>
                    <a:gd name="connsiteY51" fmla="*/ 9005 h 10000"/>
                    <a:gd name="connsiteX52" fmla="*/ 10870 w 11069"/>
                    <a:gd name="connsiteY52" fmla="*/ 9287 h 10000"/>
                    <a:gd name="connsiteX53" fmla="*/ 11066 w 11069"/>
                    <a:gd name="connsiteY53" fmla="*/ 9605 h 10000"/>
                    <a:gd name="connsiteX54" fmla="*/ 8634 w 11069"/>
                    <a:gd name="connsiteY54" fmla="*/ 9763 h 10000"/>
                    <a:gd name="connsiteX55" fmla="*/ 7854 w 11069"/>
                    <a:gd name="connsiteY55" fmla="*/ 9791 h 10000"/>
                    <a:gd name="connsiteX56" fmla="*/ 7854 w 11069"/>
                    <a:gd name="connsiteY56" fmla="*/ 9791 h 10000"/>
                    <a:gd name="connsiteX57" fmla="*/ 7854 w 11069"/>
                    <a:gd name="connsiteY57" fmla="*/ 9791 h 10000"/>
                    <a:gd name="connsiteX58" fmla="*/ 6480 w 11069"/>
                    <a:gd name="connsiteY58" fmla="*/ 9846 h 10000"/>
                    <a:gd name="connsiteX59" fmla="*/ 6381 w 11069"/>
                    <a:gd name="connsiteY59" fmla="*/ 9665 h 10000"/>
                    <a:gd name="connsiteX60" fmla="*/ 6196 w 11069"/>
                    <a:gd name="connsiteY60" fmla="*/ 9846 h 10000"/>
                    <a:gd name="connsiteX61" fmla="*/ 688 w 11069"/>
                    <a:gd name="connsiteY61" fmla="*/ 10000 h 10000"/>
                    <a:gd name="connsiteX62" fmla="*/ 626 w 11069"/>
                    <a:gd name="connsiteY62" fmla="*/ 8575 h 10000"/>
                    <a:gd name="connsiteX63" fmla="*/ 626 w 11069"/>
                    <a:gd name="connsiteY63" fmla="*/ 8575 h 10000"/>
                    <a:gd name="connsiteX64" fmla="*/ 292 w 11069"/>
                    <a:gd name="connsiteY64" fmla="*/ 2556 h 10000"/>
                    <a:gd name="connsiteX65" fmla="*/ 119 w 11069"/>
                    <a:gd name="connsiteY65" fmla="*/ 1997 h 10000"/>
                    <a:gd name="connsiteX66" fmla="*/ 57 w 11069"/>
                    <a:gd name="connsiteY66" fmla="*/ 1397 h 10000"/>
                    <a:gd name="connsiteX67" fmla="*/ 181 w 11069"/>
                    <a:gd name="connsiteY67" fmla="*/ 880 h 10000"/>
                    <a:gd name="connsiteX68" fmla="*/ 45 w 11069"/>
                    <a:gd name="connsiteY68" fmla="*/ 363 h 10000"/>
                    <a:gd name="connsiteX69" fmla="*/ 181 w 11069"/>
                    <a:gd name="connsiteY69" fmla="*/ 154 h 10000"/>
                    <a:gd name="connsiteX70" fmla="*/ 193 w 11069"/>
                    <a:gd name="connsiteY70" fmla="*/ 140 h 10000"/>
                    <a:gd name="connsiteX71" fmla="*/ 292 w 11069"/>
                    <a:gd name="connsiteY71" fmla="*/ 182 h 10000"/>
                    <a:gd name="connsiteX0" fmla="*/ 292 w 10870"/>
                    <a:gd name="connsiteY0" fmla="*/ 182 h 10000"/>
                    <a:gd name="connsiteX1" fmla="*/ 663 w 10870"/>
                    <a:gd name="connsiteY1" fmla="*/ 98 h 10000"/>
                    <a:gd name="connsiteX2" fmla="*/ 985 w 10870"/>
                    <a:gd name="connsiteY2" fmla="*/ 126 h 10000"/>
                    <a:gd name="connsiteX3" fmla="*/ 1418 w 10870"/>
                    <a:gd name="connsiteY3" fmla="*/ 168 h 10000"/>
                    <a:gd name="connsiteX4" fmla="*/ 1802 w 10870"/>
                    <a:gd name="connsiteY4" fmla="*/ 251 h 10000"/>
                    <a:gd name="connsiteX5" fmla="*/ 2087 w 10870"/>
                    <a:gd name="connsiteY5" fmla="*/ 405 h 10000"/>
                    <a:gd name="connsiteX6" fmla="*/ 2384 w 10870"/>
                    <a:gd name="connsiteY6" fmla="*/ 461 h 10000"/>
                    <a:gd name="connsiteX7" fmla="*/ 2594 w 10870"/>
                    <a:gd name="connsiteY7" fmla="*/ 573 h 10000"/>
                    <a:gd name="connsiteX8" fmla="*/ 2879 w 10870"/>
                    <a:gd name="connsiteY8" fmla="*/ 573 h 10000"/>
                    <a:gd name="connsiteX9" fmla="*/ 3386 w 10870"/>
                    <a:gd name="connsiteY9" fmla="*/ 754 h 10000"/>
                    <a:gd name="connsiteX10" fmla="*/ 3559 w 10870"/>
                    <a:gd name="connsiteY10" fmla="*/ 740 h 10000"/>
                    <a:gd name="connsiteX11" fmla="*/ 3881 w 10870"/>
                    <a:gd name="connsiteY11" fmla="*/ 573 h 10000"/>
                    <a:gd name="connsiteX12" fmla="*/ 4240 w 10870"/>
                    <a:gd name="connsiteY12" fmla="*/ 279 h 10000"/>
                    <a:gd name="connsiteX13" fmla="*/ 4463 w 10870"/>
                    <a:gd name="connsiteY13" fmla="*/ 112 h 10000"/>
                    <a:gd name="connsiteX14" fmla="*/ 4735 w 10870"/>
                    <a:gd name="connsiteY14" fmla="*/ 56 h 10000"/>
                    <a:gd name="connsiteX15" fmla="*/ 4809 w 10870"/>
                    <a:gd name="connsiteY15" fmla="*/ 70 h 10000"/>
                    <a:gd name="connsiteX16" fmla="*/ 4636 w 10870"/>
                    <a:gd name="connsiteY16" fmla="*/ 196 h 10000"/>
                    <a:gd name="connsiteX17" fmla="*/ 4747 w 10870"/>
                    <a:gd name="connsiteY17" fmla="*/ 209 h 10000"/>
                    <a:gd name="connsiteX18" fmla="*/ 4983 w 10870"/>
                    <a:gd name="connsiteY18" fmla="*/ 126 h 10000"/>
                    <a:gd name="connsiteX19" fmla="*/ 5057 w 10870"/>
                    <a:gd name="connsiteY19" fmla="*/ 0 h 10000"/>
                    <a:gd name="connsiteX20" fmla="*/ 5230 w 10870"/>
                    <a:gd name="connsiteY20" fmla="*/ 28 h 10000"/>
                    <a:gd name="connsiteX21" fmla="*/ 5738 w 10870"/>
                    <a:gd name="connsiteY21" fmla="*/ 42 h 10000"/>
                    <a:gd name="connsiteX22" fmla="*/ 5898 w 10870"/>
                    <a:gd name="connsiteY22" fmla="*/ 168 h 10000"/>
                    <a:gd name="connsiteX23" fmla="*/ 6047 w 10870"/>
                    <a:gd name="connsiteY23" fmla="*/ 237 h 10000"/>
                    <a:gd name="connsiteX24" fmla="*/ 6096 w 10870"/>
                    <a:gd name="connsiteY24" fmla="*/ 489 h 10000"/>
                    <a:gd name="connsiteX25" fmla="*/ 6171 w 10870"/>
                    <a:gd name="connsiteY25" fmla="*/ 964 h 10000"/>
                    <a:gd name="connsiteX26" fmla="*/ 6196 w 10870"/>
                    <a:gd name="connsiteY26" fmla="*/ 1187 h 10000"/>
                    <a:gd name="connsiteX27" fmla="*/ 6344 w 10870"/>
                    <a:gd name="connsiteY27" fmla="*/ 1341 h 10000"/>
                    <a:gd name="connsiteX28" fmla="*/ 6394 w 10870"/>
                    <a:gd name="connsiteY28" fmla="*/ 1620 h 10000"/>
                    <a:gd name="connsiteX29" fmla="*/ 6418 w 10870"/>
                    <a:gd name="connsiteY29" fmla="*/ 1927 h 10000"/>
                    <a:gd name="connsiteX30" fmla="*/ 6691 w 10870"/>
                    <a:gd name="connsiteY30" fmla="*/ 2556 h 10000"/>
                    <a:gd name="connsiteX31" fmla="*/ 7000 w 10870"/>
                    <a:gd name="connsiteY31" fmla="*/ 3101 h 10000"/>
                    <a:gd name="connsiteX32" fmla="*/ 7408 w 10870"/>
                    <a:gd name="connsiteY32" fmla="*/ 3534 h 10000"/>
                    <a:gd name="connsiteX33" fmla="*/ 7532 w 10870"/>
                    <a:gd name="connsiteY33" fmla="*/ 3631 h 10000"/>
                    <a:gd name="connsiteX34" fmla="*/ 7606 w 10870"/>
                    <a:gd name="connsiteY34" fmla="*/ 4036 h 10000"/>
                    <a:gd name="connsiteX35" fmla="*/ 7866 w 10870"/>
                    <a:gd name="connsiteY35" fmla="*/ 4330 h 10000"/>
                    <a:gd name="connsiteX36" fmla="*/ 8077 w 10870"/>
                    <a:gd name="connsiteY36" fmla="*/ 4972 h 10000"/>
                    <a:gd name="connsiteX37" fmla="*/ 8299 w 10870"/>
                    <a:gd name="connsiteY37" fmla="*/ 5363 h 10000"/>
                    <a:gd name="connsiteX38" fmla="*/ 8535 w 10870"/>
                    <a:gd name="connsiteY38" fmla="*/ 5810 h 10000"/>
                    <a:gd name="connsiteX39" fmla="*/ 8720 w 10870"/>
                    <a:gd name="connsiteY39" fmla="*/ 6075 h 10000"/>
                    <a:gd name="connsiteX40" fmla="*/ 8993 w 10870"/>
                    <a:gd name="connsiteY40" fmla="*/ 6606 h 10000"/>
                    <a:gd name="connsiteX41" fmla="*/ 9240 w 10870"/>
                    <a:gd name="connsiteY41" fmla="*/ 7025 h 10000"/>
                    <a:gd name="connsiteX42" fmla="*/ 9698 w 10870"/>
                    <a:gd name="connsiteY42" fmla="*/ 7514 h 10000"/>
                    <a:gd name="connsiteX43" fmla="*/ 9871 w 10870"/>
                    <a:gd name="connsiteY43" fmla="*/ 7682 h 10000"/>
                    <a:gd name="connsiteX44" fmla="*/ 9797 w 10870"/>
                    <a:gd name="connsiteY44" fmla="*/ 7709 h 10000"/>
                    <a:gd name="connsiteX45" fmla="*/ 9648 w 10870"/>
                    <a:gd name="connsiteY45" fmla="*/ 7723 h 10000"/>
                    <a:gd name="connsiteX46" fmla="*/ 9673 w 10870"/>
                    <a:gd name="connsiteY46" fmla="*/ 7905 h 10000"/>
                    <a:gd name="connsiteX47" fmla="*/ 9723 w 10870"/>
                    <a:gd name="connsiteY47" fmla="*/ 8226 h 10000"/>
                    <a:gd name="connsiteX48" fmla="*/ 9822 w 10870"/>
                    <a:gd name="connsiteY48" fmla="*/ 8547 h 10000"/>
                    <a:gd name="connsiteX49" fmla="*/ 9834 w 10870"/>
                    <a:gd name="connsiteY49" fmla="*/ 8561 h 10000"/>
                    <a:gd name="connsiteX50" fmla="*/ 9834 w 10870"/>
                    <a:gd name="connsiteY50" fmla="*/ 8561 h 10000"/>
                    <a:gd name="connsiteX51" fmla="*/ 10221 w 10870"/>
                    <a:gd name="connsiteY51" fmla="*/ 9005 h 10000"/>
                    <a:gd name="connsiteX52" fmla="*/ 10870 w 10870"/>
                    <a:gd name="connsiteY52" fmla="*/ 9287 h 10000"/>
                    <a:gd name="connsiteX53" fmla="*/ 9501 w 10870"/>
                    <a:gd name="connsiteY53" fmla="*/ 9303 h 10000"/>
                    <a:gd name="connsiteX54" fmla="*/ 8634 w 10870"/>
                    <a:gd name="connsiteY54" fmla="*/ 9763 h 10000"/>
                    <a:gd name="connsiteX55" fmla="*/ 7854 w 10870"/>
                    <a:gd name="connsiteY55" fmla="*/ 9791 h 10000"/>
                    <a:gd name="connsiteX56" fmla="*/ 7854 w 10870"/>
                    <a:gd name="connsiteY56" fmla="*/ 9791 h 10000"/>
                    <a:gd name="connsiteX57" fmla="*/ 7854 w 10870"/>
                    <a:gd name="connsiteY57" fmla="*/ 9791 h 10000"/>
                    <a:gd name="connsiteX58" fmla="*/ 6480 w 10870"/>
                    <a:gd name="connsiteY58" fmla="*/ 9846 h 10000"/>
                    <a:gd name="connsiteX59" fmla="*/ 6381 w 10870"/>
                    <a:gd name="connsiteY59" fmla="*/ 9665 h 10000"/>
                    <a:gd name="connsiteX60" fmla="*/ 6196 w 10870"/>
                    <a:gd name="connsiteY60" fmla="*/ 9846 h 10000"/>
                    <a:gd name="connsiteX61" fmla="*/ 688 w 10870"/>
                    <a:gd name="connsiteY61" fmla="*/ 10000 h 10000"/>
                    <a:gd name="connsiteX62" fmla="*/ 626 w 10870"/>
                    <a:gd name="connsiteY62" fmla="*/ 8575 h 10000"/>
                    <a:gd name="connsiteX63" fmla="*/ 626 w 10870"/>
                    <a:gd name="connsiteY63" fmla="*/ 8575 h 10000"/>
                    <a:gd name="connsiteX64" fmla="*/ 292 w 10870"/>
                    <a:gd name="connsiteY64" fmla="*/ 2556 h 10000"/>
                    <a:gd name="connsiteX65" fmla="*/ 119 w 10870"/>
                    <a:gd name="connsiteY65" fmla="*/ 1997 h 10000"/>
                    <a:gd name="connsiteX66" fmla="*/ 57 w 10870"/>
                    <a:gd name="connsiteY66" fmla="*/ 1397 h 10000"/>
                    <a:gd name="connsiteX67" fmla="*/ 181 w 10870"/>
                    <a:gd name="connsiteY67" fmla="*/ 880 h 10000"/>
                    <a:gd name="connsiteX68" fmla="*/ 45 w 10870"/>
                    <a:gd name="connsiteY68" fmla="*/ 363 h 10000"/>
                    <a:gd name="connsiteX69" fmla="*/ 181 w 10870"/>
                    <a:gd name="connsiteY69" fmla="*/ 154 h 10000"/>
                    <a:gd name="connsiteX70" fmla="*/ 193 w 10870"/>
                    <a:gd name="connsiteY70" fmla="*/ 140 h 10000"/>
                    <a:gd name="connsiteX71" fmla="*/ 292 w 10870"/>
                    <a:gd name="connsiteY71" fmla="*/ 182 h 10000"/>
                    <a:gd name="connsiteX0" fmla="*/ 292 w 10230"/>
                    <a:gd name="connsiteY0" fmla="*/ 182 h 10000"/>
                    <a:gd name="connsiteX1" fmla="*/ 663 w 10230"/>
                    <a:gd name="connsiteY1" fmla="*/ 98 h 10000"/>
                    <a:gd name="connsiteX2" fmla="*/ 985 w 10230"/>
                    <a:gd name="connsiteY2" fmla="*/ 126 h 10000"/>
                    <a:gd name="connsiteX3" fmla="*/ 1418 w 10230"/>
                    <a:gd name="connsiteY3" fmla="*/ 168 h 10000"/>
                    <a:gd name="connsiteX4" fmla="*/ 1802 w 10230"/>
                    <a:gd name="connsiteY4" fmla="*/ 251 h 10000"/>
                    <a:gd name="connsiteX5" fmla="*/ 2087 w 10230"/>
                    <a:gd name="connsiteY5" fmla="*/ 405 h 10000"/>
                    <a:gd name="connsiteX6" fmla="*/ 2384 w 10230"/>
                    <a:gd name="connsiteY6" fmla="*/ 461 h 10000"/>
                    <a:gd name="connsiteX7" fmla="*/ 2594 w 10230"/>
                    <a:gd name="connsiteY7" fmla="*/ 573 h 10000"/>
                    <a:gd name="connsiteX8" fmla="*/ 2879 w 10230"/>
                    <a:gd name="connsiteY8" fmla="*/ 573 h 10000"/>
                    <a:gd name="connsiteX9" fmla="*/ 3386 w 10230"/>
                    <a:gd name="connsiteY9" fmla="*/ 754 h 10000"/>
                    <a:gd name="connsiteX10" fmla="*/ 3559 w 10230"/>
                    <a:gd name="connsiteY10" fmla="*/ 740 h 10000"/>
                    <a:gd name="connsiteX11" fmla="*/ 3881 w 10230"/>
                    <a:gd name="connsiteY11" fmla="*/ 573 h 10000"/>
                    <a:gd name="connsiteX12" fmla="*/ 4240 w 10230"/>
                    <a:gd name="connsiteY12" fmla="*/ 279 h 10000"/>
                    <a:gd name="connsiteX13" fmla="*/ 4463 w 10230"/>
                    <a:gd name="connsiteY13" fmla="*/ 112 h 10000"/>
                    <a:gd name="connsiteX14" fmla="*/ 4735 w 10230"/>
                    <a:gd name="connsiteY14" fmla="*/ 56 h 10000"/>
                    <a:gd name="connsiteX15" fmla="*/ 4809 w 10230"/>
                    <a:gd name="connsiteY15" fmla="*/ 70 h 10000"/>
                    <a:gd name="connsiteX16" fmla="*/ 4636 w 10230"/>
                    <a:gd name="connsiteY16" fmla="*/ 196 h 10000"/>
                    <a:gd name="connsiteX17" fmla="*/ 4747 w 10230"/>
                    <a:gd name="connsiteY17" fmla="*/ 209 h 10000"/>
                    <a:gd name="connsiteX18" fmla="*/ 4983 w 10230"/>
                    <a:gd name="connsiteY18" fmla="*/ 126 h 10000"/>
                    <a:gd name="connsiteX19" fmla="*/ 5057 w 10230"/>
                    <a:gd name="connsiteY19" fmla="*/ 0 h 10000"/>
                    <a:gd name="connsiteX20" fmla="*/ 5230 w 10230"/>
                    <a:gd name="connsiteY20" fmla="*/ 28 h 10000"/>
                    <a:gd name="connsiteX21" fmla="*/ 5738 w 10230"/>
                    <a:gd name="connsiteY21" fmla="*/ 42 h 10000"/>
                    <a:gd name="connsiteX22" fmla="*/ 5898 w 10230"/>
                    <a:gd name="connsiteY22" fmla="*/ 168 h 10000"/>
                    <a:gd name="connsiteX23" fmla="*/ 6047 w 10230"/>
                    <a:gd name="connsiteY23" fmla="*/ 237 h 10000"/>
                    <a:gd name="connsiteX24" fmla="*/ 6096 w 10230"/>
                    <a:gd name="connsiteY24" fmla="*/ 489 h 10000"/>
                    <a:gd name="connsiteX25" fmla="*/ 6171 w 10230"/>
                    <a:gd name="connsiteY25" fmla="*/ 964 h 10000"/>
                    <a:gd name="connsiteX26" fmla="*/ 6196 w 10230"/>
                    <a:gd name="connsiteY26" fmla="*/ 1187 h 10000"/>
                    <a:gd name="connsiteX27" fmla="*/ 6344 w 10230"/>
                    <a:gd name="connsiteY27" fmla="*/ 1341 h 10000"/>
                    <a:gd name="connsiteX28" fmla="*/ 6394 w 10230"/>
                    <a:gd name="connsiteY28" fmla="*/ 1620 h 10000"/>
                    <a:gd name="connsiteX29" fmla="*/ 6418 w 10230"/>
                    <a:gd name="connsiteY29" fmla="*/ 1927 h 10000"/>
                    <a:gd name="connsiteX30" fmla="*/ 6691 w 10230"/>
                    <a:gd name="connsiteY30" fmla="*/ 2556 h 10000"/>
                    <a:gd name="connsiteX31" fmla="*/ 7000 w 10230"/>
                    <a:gd name="connsiteY31" fmla="*/ 3101 h 10000"/>
                    <a:gd name="connsiteX32" fmla="*/ 7408 w 10230"/>
                    <a:gd name="connsiteY32" fmla="*/ 3534 h 10000"/>
                    <a:gd name="connsiteX33" fmla="*/ 7532 w 10230"/>
                    <a:gd name="connsiteY33" fmla="*/ 3631 h 10000"/>
                    <a:gd name="connsiteX34" fmla="*/ 7606 w 10230"/>
                    <a:gd name="connsiteY34" fmla="*/ 4036 h 10000"/>
                    <a:gd name="connsiteX35" fmla="*/ 7866 w 10230"/>
                    <a:gd name="connsiteY35" fmla="*/ 4330 h 10000"/>
                    <a:gd name="connsiteX36" fmla="*/ 8077 w 10230"/>
                    <a:gd name="connsiteY36" fmla="*/ 4972 h 10000"/>
                    <a:gd name="connsiteX37" fmla="*/ 8299 w 10230"/>
                    <a:gd name="connsiteY37" fmla="*/ 5363 h 10000"/>
                    <a:gd name="connsiteX38" fmla="*/ 8535 w 10230"/>
                    <a:gd name="connsiteY38" fmla="*/ 5810 h 10000"/>
                    <a:gd name="connsiteX39" fmla="*/ 8720 w 10230"/>
                    <a:gd name="connsiteY39" fmla="*/ 6075 h 10000"/>
                    <a:gd name="connsiteX40" fmla="*/ 8993 w 10230"/>
                    <a:gd name="connsiteY40" fmla="*/ 6606 h 10000"/>
                    <a:gd name="connsiteX41" fmla="*/ 9240 w 10230"/>
                    <a:gd name="connsiteY41" fmla="*/ 7025 h 10000"/>
                    <a:gd name="connsiteX42" fmla="*/ 9698 w 10230"/>
                    <a:gd name="connsiteY42" fmla="*/ 7514 h 10000"/>
                    <a:gd name="connsiteX43" fmla="*/ 9871 w 10230"/>
                    <a:gd name="connsiteY43" fmla="*/ 7682 h 10000"/>
                    <a:gd name="connsiteX44" fmla="*/ 9797 w 10230"/>
                    <a:gd name="connsiteY44" fmla="*/ 7709 h 10000"/>
                    <a:gd name="connsiteX45" fmla="*/ 9648 w 10230"/>
                    <a:gd name="connsiteY45" fmla="*/ 7723 h 10000"/>
                    <a:gd name="connsiteX46" fmla="*/ 9673 w 10230"/>
                    <a:gd name="connsiteY46" fmla="*/ 7905 h 10000"/>
                    <a:gd name="connsiteX47" fmla="*/ 9723 w 10230"/>
                    <a:gd name="connsiteY47" fmla="*/ 8226 h 10000"/>
                    <a:gd name="connsiteX48" fmla="*/ 9822 w 10230"/>
                    <a:gd name="connsiteY48" fmla="*/ 8547 h 10000"/>
                    <a:gd name="connsiteX49" fmla="*/ 9834 w 10230"/>
                    <a:gd name="connsiteY49" fmla="*/ 8561 h 10000"/>
                    <a:gd name="connsiteX50" fmla="*/ 9834 w 10230"/>
                    <a:gd name="connsiteY50" fmla="*/ 8561 h 10000"/>
                    <a:gd name="connsiteX51" fmla="*/ 10221 w 10230"/>
                    <a:gd name="connsiteY51" fmla="*/ 9005 h 10000"/>
                    <a:gd name="connsiteX52" fmla="*/ 9801 w 10230"/>
                    <a:gd name="connsiteY52" fmla="*/ 8813 h 10000"/>
                    <a:gd name="connsiteX53" fmla="*/ 9501 w 10230"/>
                    <a:gd name="connsiteY53" fmla="*/ 9303 h 10000"/>
                    <a:gd name="connsiteX54" fmla="*/ 8634 w 10230"/>
                    <a:gd name="connsiteY54" fmla="*/ 9763 h 10000"/>
                    <a:gd name="connsiteX55" fmla="*/ 7854 w 10230"/>
                    <a:gd name="connsiteY55" fmla="*/ 9791 h 10000"/>
                    <a:gd name="connsiteX56" fmla="*/ 7854 w 10230"/>
                    <a:gd name="connsiteY56" fmla="*/ 9791 h 10000"/>
                    <a:gd name="connsiteX57" fmla="*/ 7854 w 10230"/>
                    <a:gd name="connsiteY57" fmla="*/ 9791 h 10000"/>
                    <a:gd name="connsiteX58" fmla="*/ 6480 w 10230"/>
                    <a:gd name="connsiteY58" fmla="*/ 9846 h 10000"/>
                    <a:gd name="connsiteX59" fmla="*/ 6381 w 10230"/>
                    <a:gd name="connsiteY59" fmla="*/ 9665 h 10000"/>
                    <a:gd name="connsiteX60" fmla="*/ 6196 w 10230"/>
                    <a:gd name="connsiteY60" fmla="*/ 9846 h 10000"/>
                    <a:gd name="connsiteX61" fmla="*/ 688 w 10230"/>
                    <a:gd name="connsiteY61" fmla="*/ 10000 h 10000"/>
                    <a:gd name="connsiteX62" fmla="*/ 626 w 10230"/>
                    <a:gd name="connsiteY62" fmla="*/ 8575 h 10000"/>
                    <a:gd name="connsiteX63" fmla="*/ 626 w 10230"/>
                    <a:gd name="connsiteY63" fmla="*/ 8575 h 10000"/>
                    <a:gd name="connsiteX64" fmla="*/ 292 w 10230"/>
                    <a:gd name="connsiteY64" fmla="*/ 2556 h 10000"/>
                    <a:gd name="connsiteX65" fmla="*/ 119 w 10230"/>
                    <a:gd name="connsiteY65" fmla="*/ 1997 h 10000"/>
                    <a:gd name="connsiteX66" fmla="*/ 57 w 10230"/>
                    <a:gd name="connsiteY66" fmla="*/ 1397 h 10000"/>
                    <a:gd name="connsiteX67" fmla="*/ 181 w 10230"/>
                    <a:gd name="connsiteY67" fmla="*/ 880 h 10000"/>
                    <a:gd name="connsiteX68" fmla="*/ 45 w 10230"/>
                    <a:gd name="connsiteY68" fmla="*/ 363 h 10000"/>
                    <a:gd name="connsiteX69" fmla="*/ 181 w 10230"/>
                    <a:gd name="connsiteY69" fmla="*/ 154 h 10000"/>
                    <a:gd name="connsiteX70" fmla="*/ 193 w 10230"/>
                    <a:gd name="connsiteY70" fmla="*/ 140 h 10000"/>
                    <a:gd name="connsiteX71" fmla="*/ 292 w 10230"/>
                    <a:gd name="connsiteY71" fmla="*/ 182 h 10000"/>
                    <a:gd name="connsiteX0" fmla="*/ 292 w 10008"/>
                    <a:gd name="connsiteY0" fmla="*/ 182 h 10000"/>
                    <a:gd name="connsiteX1" fmla="*/ 663 w 10008"/>
                    <a:gd name="connsiteY1" fmla="*/ 98 h 10000"/>
                    <a:gd name="connsiteX2" fmla="*/ 985 w 10008"/>
                    <a:gd name="connsiteY2" fmla="*/ 126 h 10000"/>
                    <a:gd name="connsiteX3" fmla="*/ 1418 w 10008"/>
                    <a:gd name="connsiteY3" fmla="*/ 168 h 10000"/>
                    <a:gd name="connsiteX4" fmla="*/ 1802 w 10008"/>
                    <a:gd name="connsiteY4" fmla="*/ 251 h 10000"/>
                    <a:gd name="connsiteX5" fmla="*/ 2087 w 10008"/>
                    <a:gd name="connsiteY5" fmla="*/ 405 h 10000"/>
                    <a:gd name="connsiteX6" fmla="*/ 2384 w 10008"/>
                    <a:gd name="connsiteY6" fmla="*/ 461 h 10000"/>
                    <a:gd name="connsiteX7" fmla="*/ 2594 w 10008"/>
                    <a:gd name="connsiteY7" fmla="*/ 573 h 10000"/>
                    <a:gd name="connsiteX8" fmla="*/ 2879 w 10008"/>
                    <a:gd name="connsiteY8" fmla="*/ 573 h 10000"/>
                    <a:gd name="connsiteX9" fmla="*/ 3386 w 10008"/>
                    <a:gd name="connsiteY9" fmla="*/ 754 h 10000"/>
                    <a:gd name="connsiteX10" fmla="*/ 3559 w 10008"/>
                    <a:gd name="connsiteY10" fmla="*/ 740 h 10000"/>
                    <a:gd name="connsiteX11" fmla="*/ 3881 w 10008"/>
                    <a:gd name="connsiteY11" fmla="*/ 573 h 10000"/>
                    <a:gd name="connsiteX12" fmla="*/ 4240 w 10008"/>
                    <a:gd name="connsiteY12" fmla="*/ 279 h 10000"/>
                    <a:gd name="connsiteX13" fmla="*/ 4463 w 10008"/>
                    <a:gd name="connsiteY13" fmla="*/ 112 h 10000"/>
                    <a:gd name="connsiteX14" fmla="*/ 4735 w 10008"/>
                    <a:gd name="connsiteY14" fmla="*/ 56 h 10000"/>
                    <a:gd name="connsiteX15" fmla="*/ 4809 w 10008"/>
                    <a:gd name="connsiteY15" fmla="*/ 70 h 10000"/>
                    <a:gd name="connsiteX16" fmla="*/ 4636 w 10008"/>
                    <a:gd name="connsiteY16" fmla="*/ 196 h 10000"/>
                    <a:gd name="connsiteX17" fmla="*/ 4747 w 10008"/>
                    <a:gd name="connsiteY17" fmla="*/ 209 h 10000"/>
                    <a:gd name="connsiteX18" fmla="*/ 4983 w 10008"/>
                    <a:gd name="connsiteY18" fmla="*/ 126 h 10000"/>
                    <a:gd name="connsiteX19" fmla="*/ 5057 w 10008"/>
                    <a:gd name="connsiteY19" fmla="*/ 0 h 10000"/>
                    <a:gd name="connsiteX20" fmla="*/ 5230 w 10008"/>
                    <a:gd name="connsiteY20" fmla="*/ 28 h 10000"/>
                    <a:gd name="connsiteX21" fmla="*/ 5738 w 10008"/>
                    <a:gd name="connsiteY21" fmla="*/ 42 h 10000"/>
                    <a:gd name="connsiteX22" fmla="*/ 5898 w 10008"/>
                    <a:gd name="connsiteY22" fmla="*/ 168 h 10000"/>
                    <a:gd name="connsiteX23" fmla="*/ 6047 w 10008"/>
                    <a:gd name="connsiteY23" fmla="*/ 237 h 10000"/>
                    <a:gd name="connsiteX24" fmla="*/ 6096 w 10008"/>
                    <a:gd name="connsiteY24" fmla="*/ 489 h 10000"/>
                    <a:gd name="connsiteX25" fmla="*/ 6171 w 10008"/>
                    <a:gd name="connsiteY25" fmla="*/ 964 h 10000"/>
                    <a:gd name="connsiteX26" fmla="*/ 6196 w 10008"/>
                    <a:gd name="connsiteY26" fmla="*/ 1187 h 10000"/>
                    <a:gd name="connsiteX27" fmla="*/ 6344 w 10008"/>
                    <a:gd name="connsiteY27" fmla="*/ 1341 h 10000"/>
                    <a:gd name="connsiteX28" fmla="*/ 6394 w 10008"/>
                    <a:gd name="connsiteY28" fmla="*/ 1620 h 10000"/>
                    <a:gd name="connsiteX29" fmla="*/ 6418 w 10008"/>
                    <a:gd name="connsiteY29" fmla="*/ 1927 h 10000"/>
                    <a:gd name="connsiteX30" fmla="*/ 6691 w 10008"/>
                    <a:gd name="connsiteY30" fmla="*/ 2556 h 10000"/>
                    <a:gd name="connsiteX31" fmla="*/ 7000 w 10008"/>
                    <a:gd name="connsiteY31" fmla="*/ 3101 h 10000"/>
                    <a:gd name="connsiteX32" fmla="*/ 7408 w 10008"/>
                    <a:gd name="connsiteY32" fmla="*/ 3534 h 10000"/>
                    <a:gd name="connsiteX33" fmla="*/ 7532 w 10008"/>
                    <a:gd name="connsiteY33" fmla="*/ 3631 h 10000"/>
                    <a:gd name="connsiteX34" fmla="*/ 7606 w 10008"/>
                    <a:gd name="connsiteY34" fmla="*/ 4036 h 10000"/>
                    <a:gd name="connsiteX35" fmla="*/ 7866 w 10008"/>
                    <a:gd name="connsiteY35" fmla="*/ 4330 h 10000"/>
                    <a:gd name="connsiteX36" fmla="*/ 8077 w 10008"/>
                    <a:gd name="connsiteY36" fmla="*/ 4972 h 10000"/>
                    <a:gd name="connsiteX37" fmla="*/ 8299 w 10008"/>
                    <a:gd name="connsiteY37" fmla="*/ 5363 h 10000"/>
                    <a:gd name="connsiteX38" fmla="*/ 8535 w 10008"/>
                    <a:gd name="connsiteY38" fmla="*/ 5810 h 10000"/>
                    <a:gd name="connsiteX39" fmla="*/ 8720 w 10008"/>
                    <a:gd name="connsiteY39" fmla="*/ 6075 h 10000"/>
                    <a:gd name="connsiteX40" fmla="*/ 8993 w 10008"/>
                    <a:gd name="connsiteY40" fmla="*/ 6606 h 10000"/>
                    <a:gd name="connsiteX41" fmla="*/ 9240 w 10008"/>
                    <a:gd name="connsiteY41" fmla="*/ 7025 h 10000"/>
                    <a:gd name="connsiteX42" fmla="*/ 9698 w 10008"/>
                    <a:gd name="connsiteY42" fmla="*/ 7514 h 10000"/>
                    <a:gd name="connsiteX43" fmla="*/ 9871 w 10008"/>
                    <a:gd name="connsiteY43" fmla="*/ 7682 h 10000"/>
                    <a:gd name="connsiteX44" fmla="*/ 9797 w 10008"/>
                    <a:gd name="connsiteY44" fmla="*/ 7709 h 10000"/>
                    <a:gd name="connsiteX45" fmla="*/ 9648 w 10008"/>
                    <a:gd name="connsiteY45" fmla="*/ 7723 h 10000"/>
                    <a:gd name="connsiteX46" fmla="*/ 9673 w 10008"/>
                    <a:gd name="connsiteY46" fmla="*/ 7905 h 10000"/>
                    <a:gd name="connsiteX47" fmla="*/ 9723 w 10008"/>
                    <a:gd name="connsiteY47" fmla="*/ 8226 h 10000"/>
                    <a:gd name="connsiteX48" fmla="*/ 9822 w 10008"/>
                    <a:gd name="connsiteY48" fmla="*/ 8547 h 10000"/>
                    <a:gd name="connsiteX49" fmla="*/ 9834 w 10008"/>
                    <a:gd name="connsiteY49" fmla="*/ 8561 h 10000"/>
                    <a:gd name="connsiteX50" fmla="*/ 9834 w 10008"/>
                    <a:gd name="connsiteY50" fmla="*/ 8561 h 10000"/>
                    <a:gd name="connsiteX51" fmla="*/ 9992 w 10008"/>
                    <a:gd name="connsiteY51" fmla="*/ 8746 h 10000"/>
                    <a:gd name="connsiteX52" fmla="*/ 9801 w 10008"/>
                    <a:gd name="connsiteY52" fmla="*/ 8813 h 10000"/>
                    <a:gd name="connsiteX53" fmla="*/ 9501 w 10008"/>
                    <a:gd name="connsiteY53" fmla="*/ 9303 h 10000"/>
                    <a:gd name="connsiteX54" fmla="*/ 8634 w 10008"/>
                    <a:gd name="connsiteY54" fmla="*/ 9763 h 10000"/>
                    <a:gd name="connsiteX55" fmla="*/ 7854 w 10008"/>
                    <a:gd name="connsiteY55" fmla="*/ 9791 h 10000"/>
                    <a:gd name="connsiteX56" fmla="*/ 7854 w 10008"/>
                    <a:gd name="connsiteY56" fmla="*/ 9791 h 10000"/>
                    <a:gd name="connsiteX57" fmla="*/ 7854 w 10008"/>
                    <a:gd name="connsiteY57" fmla="*/ 9791 h 10000"/>
                    <a:gd name="connsiteX58" fmla="*/ 6480 w 10008"/>
                    <a:gd name="connsiteY58" fmla="*/ 9846 h 10000"/>
                    <a:gd name="connsiteX59" fmla="*/ 6381 w 10008"/>
                    <a:gd name="connsiteY59" fmla="*/ 9665 h 10000"/>
                    <a:gd name="connsiteX60" fmla="*/ 6196 w 10008"/>
                    <a:gd name="connsiteY60" fmla="*/ 9846 h 10000"/>
                    <a:gd name="connsiteX61" fmla="*/ 688 w 10008"/>
                    <a:gd name="connsiteY61" fmla="*/ 10000 h 10000"/>
                    <a:gd name="connsiteX62" fmla="*/ 626 w 10008"/>
                    <a:gd name="connsiteY62" fmla="*/ 8575 h 10000"/>
                    <a:gd name="connsiteX63" fmla="*/ 626 w 10008"/>
                    <a:gd name="connsiteY63" fmla="*/ 8575 h 10000"/>
                    <a:gd name="connsiteX64" fmla="*/ 292 w 10008"/>
                    <a:gd name="connsiteY64" fmla="*/ 2556 h 10000"/>
                    <a:gd name="connsiteX65" fmla="*/ 119 w 10008"/>
                    <a:gd name="connsiteY65" fmla="*/ 1997 h 10000"/>
                    <a:gd name="connsiteX66" fmla="*/ 57 w 10008"/>
                    <a:gd name="connsiteY66" fmla="*/ 1397 h 10000"/>
                    <a:gd name="connsiteX67" fmla="*/ 181 w 10008"/>
                    <a:gd name="connsiteY67" fmla="*/ 880 h 10000"/>
                    <a:gd name="connsiteX68" fmla="*/ 45 w 10008"/>
                    <a:gd name="connsiteY68" fmla="*/ 363 h 10000"/>
                    <a:gd name="connsiteX69" fmla="*/ 181 w 10008"/>
                    <a:gd name="connsiteY69" fmla="*/ 154 h 10000"/>
                    <a:gd name="connsiteX70" fmla="*/ 193 w 10008"/>
                    <a:gd name="connsiteY70" fmla="*/ 140 h 10000"/>
                    <a:gd name="connsiteX71" fmla="*/ 292 w 10008"/>
                    <a:gd name="connsiteY71" fmla="*/ 182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</a:cxnLst>
                  <a:rect l="l" t="t" r="r" b="b"/>
                  <a:pathLst>
                    <a:path w="10008" h="10000">
                      <a:moveTo>
                        <a:pt x="292" y="182"/>
                      </a:moveTo>
                      <a:cubicBezTo>
                        <a:pt x="416" y="168"/>
                        <a:pt x="540" y="98"/>
                        <a:pt x="663" y="98"/>
                      </a:cubicBezTo>
                      <a:cubicBezTo>
                        <a:pt x="775" y="70"/>
                        <a:pt x="874" y="98"/>
                        <a:pt x="985" y="126"/>
                      </a:cubicBezTo>
                      <a:cubicBezTo>
                        <a:pt x="1121" y="154"/>
                        <a:pt x="1270" y="154"/>
                        <a:pt x="1418" y="168"/>
                      </a:cubicBezTo>
                      <a:cubicBezTo>
                        <a:pt x="1542" y="182"/>
                        <a:pt x="1678" y="209"/>
                        <a:pt x="1802" y="251"/>
                      </a:cubicBezTo>
                      <a:cubicBezTo>
                        <a:pt x="1901" y="279"/>
                        <a:pt x="2000" y="349"/>
                        <a:pt x="2087" y="405"/>
                      </a:cubicBezTo>
                      <a:cubicBezTo>
                        <a:pt x="2186" y="447"/>
                        <a:pt x="2285" y="433"/>
                        <a:pt x="2384" y="461"/>
                      </a:cubicBezTo>
                      <a:cubicBezTo>
                        <a:pt x="2470" y="475"/>
                        <a:pt x="2532" y="531"/>
                        <a:pt x="2594" y="573"/>
                      </a:cubicBezTo>
                      <a:cubicBezTo>
                        <a:pt x="2681" y="587"/>
                        <a:pt x="2780" y="559"/>
                        <a:pt x="2879" y="573"/>
                      </a:cubicBezTo>
                      <a:cubicBezTo>
                        <a:pt x="3052" y="628"/>
                        <a:pt x="3225" y="656"/>
                        <a:pt x="3386" y="754"/>
                      </a:cubicBezTo>
                      <a:cubicBezTo>
                        <a:pt x="3436" y="810"/>
                        <a:pt x="3497" y="754"/>
                        <a:pt x="3559" y="740"/>
                      </a:cubicBezTo>
                      <a:cubicBezTo>
                        <a:pt x="3683" y="726"/>
                        <a:pt x="3770" y="628"/>
                        <a:pt x="3881" y="573"/>
                      </a:cubicBezTo>
                      <a:cubicBezTo>
                        <a:pt x="3993" y="461"/>
                        <a:pt x="4104" y="363"/>
                        <a:pt x="4240" y="279"/>
                      </a:cubicBezTo>
                      <a:cubicBezTo>
                        <a:pt x="4327" y="237"/>
                        <a:pt x="4401" y="182"/>
                        <a:pt x="4463" y="112"/>
                      </a:cubicBezTo>
                      <a:cubicBezTo>
                        <a:pt x="4549" y="98"/>
                        <a:pt x="4648" y="98"/>
                        <a:pt x="4735" y="56"/>
                      </a:cubicBezTo>
                      <a:cubicBezTo>
                        <a:pt x="4772" y="14"/>
                        <a:pt x="4896" y="28"/>
                        <a:pt x="4809" y="70"/>
                      </a:cubicBezTo>
                      <a:cubicBezTo>
                        <a:pt x="4747" y="112"/>
                        <a:pt x="4661" y="112"/>
                        <a:pt x="4636" y="196"/>
                      </a:cubicBezTo>
                      <a:cubicBezTo>
                        <a:pt x="4599" y="265"/>
                        <a:pt x="4710" y="223"/>
                        <a:pt x="4747" y="209"/>
                      </a:cubicBezTo>
                      <a:cubicBezTo>
                        <a:pt x="4822" y="182"/>
                        <a:pt x="4921" y="196"/>
                        <a:pt x="4983" y="126"/>
                      </a:cubicBezTo>
                      <a:cubicBezTo>
                        <a:pt x="5007" y="70"/>
                        <a:pt x="5094" y="56"/>
                        <a:pt x="5057" y="0"/>
                      </a:cubicBezTo>
                      <a:cubicBezTo>
                        <a:pt x="5119" y="0"/>
                        <a:pt x="5181" y="14"/>
                        <a:pt x="5230" y="28"/>
                      </a:cubicBezTo>
                      <a:cubicBezTo>
                        <a:pt x="5403" y="42"/>
                        <a:pt x="5577" y="28"/>
                        <a:pt x="5738" y="42"/>
                      </a:cubicBezTo>
                      <a:cubicBezTo>
                        <a:pt x="5799" y="70"/>
                        <a:pt x="5837" y="154"/>
                        <a:pt x="5898" y="168"/>
                      </a:cubicBezTo>
                      <a:cubicBezTo>
                        <a:pt x="5948" y="196"/>
                        <a:pt x="6010" y="196"/>
                        <a:pt x="6047" y="237"/>
                      </a:cubicBezTo>
                      <a:cubicBezTo>
                        <a:pt x="6096" y="307"/>
                        <a:pt x="6084" y="405"/>
                        <a:pt x="6096" y="489"/>
                      </a:cubicBezTo>
                      <a:cubicBezTo>
                        <a:pt x="6121" y="656"/>
                        <a:pt x="6134" y="810"/>
                        <a:pt x="6171" y="964"/>
                      </a:cubicBezTo>
                      <a:cubicBezTo>
                        <a:pt x="6196" y="1034"/>
                        <a:pt x="6171" y="1117"/>
                        <a:pt x="6196" y="1187"/>
                      </a:cubicBezTo>
                      <a:cubicBezTo>
                        <a:pt x="6257" y="1229"/>
                        <a:pt x="6307" y="1285"/>
                        <a:pt x="6344" y="1341"/>
                      </a:cubicBezTo>
                      <a:cubicBezTo>
                        <a:pt x="6369" y="1439"/>
                        <a:pt x="6394" y="1522"/>
                        <a:pt x="6394" y="1620"/>
                      </a:cubicBezTo>
                      <a:cubicBezTo>
                        <a:pt x="6406" y="1718"/>
                        <a:pt x="6381" y="1830"/>
                        <a:pt x="6418" y="1927"/>
                      </a:cubicBezTo>
                      <a:cubicBezTo>
                        <a:pt x="6480" y="2151"/>
                        <a:pt x="6592" y="2346"/>
                        <a:pt x="6691" y="2556"/>
                      </a:cubicBezTo>
                      <a:cubicBezTo>
                        <a:pt x="6777" y="2751"/>
                        <a:pt x="6889" y="2933"/>
                        <a:pt x="7000" y="3101"/>
                      </a:cubicBezTo>
                      <a:cubicBezTo>
                        <a:pt x="7136" y="3254"/>
                        <a:pt x="7260" y="3394"/>
                        <a:pt x="7408" y="3534"/>
                      </a:cubicBezTo>
                      <a:cubicBezTo>
                        <a:pt x="7446" y="3589"/>
                        <a:pt x="7520" y="3575"/>
                        <a:pt x="7532" y="3631"/>
                      </a:cubicBezTo>
                      <a:cubicBezTo>
                        <a:pt x="7557" y="3771"/>
                        <a:pt x="7557" y="3911"/>
                        <a:pt x="7606" y="4036"/>
                      </a:cubicBezTo>
                      <a:cubicBezTo>
                        <a:pt x="7681" y="4148"/>
                        <a:pt x="7767" y="4246"/>
                        <a:pt x="7866" y="4330"/>
                      </a:cubicBezTo>
                      <a:cubicBezTo>
                        <a:pt x="7941" y="4553"/>
                        <a:pt x="8027" y="4749"/>
                        <a:pt x="8077" y="4972"/>
                      </a:cubicBezTo>
                      <a:cubicBezTo>
                        <a:pt x="8139" y="5112"/>
                        <a:pt x="8213" y="5251"/>
                        <a:pt x="8299" y="5363"/>
                      </a:cubicBezTo>
                      <a:cubicBezTo>
                        <a:pt x="8398" y="5503"/>
                        <a:pt x="8423" y="5684"/>
                        <a:pt x="8535" y="5810"/>
                      </a:cubicBezTo>
                      <a:cubicBezTo>
                        <a:pt x="8609" y="5880"/>
                        <a:pt x="8671" y="5978"/>
                        <a:pt x="8720" y="6075"/>
                      </a:cubicBezTo>
                      <a:cubicBezTo>
                        <a:pt x="8807" y="6257"/>
                        <a:pt x="8881" y="6453"/>
                        <a:pt x="8993" y="6606"/>
                      </a:cubicBezTo>
                      <a:cubicBezTo>
                        <a:pt x="9104" y="6732"/>
                        <a:pt x="9166" y="6885"/>
                        <a:pt x="9240" y="7025"/>
                      </a:cubicBezTo>
                      <a:cubicBezTo>
                        <a:pt x="9339" y="7235"/>
                        <a:pt x="9525" y="7374"/>
                        <a:pt x="9698" y="7514"/>
                      </a:cubicBezTo>
                      <a:cubicBezTo>
                        <a:pt x="9747" y="7570"/>
                        <a:pt x="9834" y="7612"/>
                        <a:pt x="9871" y="7682"/>
                      </a:cubicBezTo>
                      <a:cubicBezTo>
                        <a:pt x="9896" y="7793"/>
                        <a:pt x="9846" y="7723"/>
                        <a:pt x="9797" y="7709"/>
                      </a:cubicBezTo>
                      <a:cubicBezTo>
                        <a:pt x="9747" y="7709"/>
                        <a:pt x="9661" y="7640"/>
                        <a:pt x="9648" y="7723"/>
                      </a:cubicBezTo>
                      <a:cubicBezTo>
                        <a:pt x="9599" y="7779"/>
                        <a:pt x="9661" y="7835"/>
                        <a:pt x="9673" y="7905"/>
                      </a:cubicBezTo>
                      <a:cubicBezTo>
                        <a:pt x="9698" y="8003"/>
                        <a:pt x="9698" y="8128"/>
                        <a:pt x="9723" y="8226"/>
                      </a:cubicBezTo>
                      <a:cubicBezTo>
                        <a:pt x="9735" y="8352"/>
                        <a:pt x="9797" y="8436"/>
                        <a:pt x="9822" y="8547"/>
                      </a:cubicBezTo>
                      <a:cubicBezTo>
                        <a:pt x="9834" y="8547"/>
                        <a:pt x="9834" y="8547"/>
                        <a:pt x="9834" y="8561"/>
                      </a:cubicBezTo>
                      <a:lnTo>
                        <a:pt x="9834" y="8561"/>
                      </a:lnTo>
                      <a:cubicBezTo>
                        <a:pt x="9860" y="8592"/>
                        <a:pt x="10067" y="8648"/>
                        <a:pt x="9992" y="8746"/>
                      </a:cubicBezTo>
                      <a:lnTo>
                        <a:pt x="9801" y="8813"/>
                      </a:lnTo>
                      <a:cubicBezTo>
                        <a:pt x="9726" y="9008"/>
                        <a:pt x="9538" y="9205"/>
                        <a:pt x="9501" y="9303"/>
                      </a:cubicBezTo>
                      <a:cubicBezTo>
                        <a:pt x="9128" y="9382"/>
                        <a:pt x="9169" y="9732"/>
                        <a:pt x="8634" y="9763"/>
                      </a:cubicBezTo>
                      <a:cubicBezTo>
                        <a:pt x="8324" y="9777"/>
                        <a:pt x="8064" y="9791"/>
                        <a:pt x="7854" y="9791"/>
                      </a:cubicBezTo>
                      <a:lnTo>
                        <a:pt x="7854" y="9791"/>
                      </a:lnTo>
                      <a:lnTo>
                        <a:pt x="7854" y="9791"/>
                      </a:lnTo>
                      <a:cubicBezTo>
                        <a:pt x="7136" y="9832"/>
                        <a:pt x="7198" y="9818"/>
                        <a:pt x="6480" y="9846"/>
                      </a:cubicBezTo>
                      <a:cubicBezTo>
                        <a:pt x="6356" y="9902"/>
                        <a:pt x="6344" y="9777"/>
                        <a:pt x="6381" y="9665"/>
                      </a:cubicBezTo>
                      <a:cubicBezTo>
                        <a:pt x="6307" y="9497"/>
                        <a:pt x="6208" y="9763"/>
                        <a:pt x="6196" y="9846"/>
                      </a:cubicBezTo>
                      <a:cubicBezTo>
                        <a:pt x="4364" y="9916"/>
                        <a:pt x="2520" y="9958"/>
                        <a:pt x="688" y="10000"/>
                      </a:cubicBezTo>
                      <a:cubicBezTo>
                        <a:pt x="663" y="9525"/>
                        <a:pt x="651" y="9050"/>
                        <a:pt x="626" y="8575"/>
                      </a:cubicBezTo>
                      <a:lnTo>
                        <a:pt x="626" y="8575"/>
                      </a:lnTo>
                      <a:cubicBezTo>
                        <a:pt x="527" y="6564"/>
                        <a:pt x="416" y="4567"/>
                        <a:pt x="292" y="2556"/>
                      </a:cubicBezTo>
                      <a:cubicBezTo>
                        <a:pt x="218" y="2374"/>
                        <a:pt x="168" y="2193"/>
                        <a:pt x="119" y="1997"/>
                      </a:cubicBezTo>
                      <a:cubicBezTo>
                        <a:pt x="131" y="1788"/>
                        <a:pt x="-104" y="1592"/>
                        <a:pt x="57" y="1397"/>
                      </a:cubicBezTo>
                      <a:cubicBezTo>
                        <a:pt x="156" y="1243"/>
                        <a:pt x="205" y="1047"/>
                        <a:pt x="181" y="880"/>
                      </a:cubicBezTo>
                      <a:cubicBezTo>
                        <a:pt x="94" y="712"/>
                        <a:pt x="45" y="545"/>
                        <a:pt x="45" y="363"/>
                      </a:cubicBezTo>
                      <a:cubicBezTo>
                        <a:pt x="106" y="265"/>
                        <a:pt x="119" y="251"/>
                        <a:pt x="181" y="154"/>
                      </a:cubicBezTo>
                      <a:cubicBezTo>
                        <a:pt x="185" y="149"/>
                        <a:pt x="189" y="145"/>
                        <a:pt x="193" y="140"/>
                      </a:cubicBezTo>
                      <a:cubicBezTo>
                        <a:pt x="218" y="168"/>
                        <a:pt x="255" y="182"/>
                        <a:pt x="292" y="182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629" name="Ecuador"/>
              <p:cNvSpPr>
                <a:spLocks/>
              </p:cNvSpPr>
              <p:nvPr>
                <p:custDataLst>
                  <p:tags r:id="rId102"/>
                </p:custDataLst>
              </p:nvPr>
            </p:nvSpPr>
            <p:spPr bwMode="auto">
              <a:xfrm>
                <a:off x="2115320" y="4518539"/>
                <a:ext cx="149181" cy="218036"/>
              </a:xfrm>
              <a:custGeom>
                <a:avLst/>
                <a:gdLst/>
                <a:ahLst/>
                <a:cxnLst>
                  <a:cxn ang="0">
                    <a:pos x="2" y="30"/>
                  </a:cxn>
                  <a:cxn ang="0">
                    <a:pos x="2" y="34"/>
                  </a:cxn>
                  <a:cxn ang="0">
                    <a:pos x="8" y="39"/>
                  </a:cxn>
                  <a:cxn ang="0">
                    <a:pos x="13" y="30"/>
                  </a:cxn>
                  <a:cxn ang="0">
                    <a:pos x="21" y="25"/>
                  </a:cxn>
                  <a:cxn ang="0">
                    <a:pos x="25" y="18"/>
                  </a:cxn>
                  <a:cxn ang="0">
                    <a:pos x="27" y="16"/>
                  </a:cxn>
                  <a:cxn ang="0">
                    <a:pos x="25" y="9"/>
                  </a:cxn>
                  <a:cxn ang="0">
                    <a:pos x="27" y="9"/>
                  </a:cxn>
                  <a:cxn ang="0">
                    <a:pos x="25" y="7"/>
                  </a:cxn>
                  <a:cxn ang="0">
                    <a:pos x="17" y="9"/>
                  </a:cxn>
                  <a:cxn ang="0">
                    <a:pos x="10" y="0"/>
                  </a:cxn>
                  <a:cxn ang="0">
                    <a:pos x="4" y="7"/>
                  </a:cxn>
                  <a:cxn ang="0">
                    <a:pos x="4" y="9"/>
                  </a:cxn>
                  <a:cxn ang="0">
                    <a:pos x="2" y="9"/>
                  </a:cxn>
                  <a:cxn ang="0">
                    <a:pos x="2" y="14"/>
                  </a:cxn>
                  <a:cxn ang="0">
                    <a:pos x="0" y="16"/>
                  </a:cxn>
                  <a:cxn ang="0">
                    <a:pos x="0" y="23"/>
                  </a:cxn>
                  <a:cxn ang="0">
                    <a:pos x="4" y="30"/>
                  </a:cxn>
                  <a:cxn ang="0">
                    <a:pos x="2" y="30"/>
                  </a:cxn>
                </a:cxnLst>
                <a:rect l="0" t="0" r="r" b="b"/>
                <a:pathLst>
                  <a:path w="27" h="39">
                    <a:moveTo>
                      <a:pt x="2" y="30"/>
                    </a:moveTo>
                    <a:lnTo>
                      <a:pt x="2" y="34"/>
                    </a:lnTo>
                    <a:lnTo>
                      <a:pt x="8" y="39"/>
                    </a:lnTo>
                    <a:lnTo>
                      <a:pt x="13" y="30"/>
                    </a:lnTo>
                    <a:lnTo>
                      <a:pt x="21" y="25"/>
                    </a:lnTo>
                    <a:lnTo>
                      <a:pt x="25" y="18"/>
                    </a:lnTo>
                    <a:lnTo>
                      <a:pt x="27" y="16"/>
                    </a:lnTo>
                    <a:lnTo>
                      <a:pt x="25" y="9"/>
                    </a:lnTo>
                    <a:lnTo>
                      <a:pt x="27" y="9"/>
                    </a:lnTo>
                    <a:lnTo>
                      <a:pt x="25" y="7"/>
                    </a:lnTo>
                    <a:lnTo>
                      <a:pt x="17" y="9"/>
                    </a:lnTo>
                    <a:lnTo>
                      <a:pt x="10" y="0"/>
                    </a:lnTo>
                    <a:lnTo>
                      <a:pt x="4" y="7"/>
                    </a:lnTo>
                    <a:lnTo>
                      <a:pt x="4" y="9"/>
                    </a:lnTo>
                    <a:lnTo>
                      <a:pt x="2" y="9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4" y="30"/>
                    </a:lnTo>
                    <a:lnTo>
                      <a:pt x="2" y="30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30" name="Dominican Republic"/>
              <p:cNvSpPr>
                <a:spLocks/>
              </p:cNvSpPr>
              <p:nvPr>
                <p:custDataLst>
                  <p:tags r:id="rId103"/>
                </p:custDataLst>
              </p:nvPr>
            </p:nvSpPr>
            <p:spPr bwMode="auto">
              <a:xfrm>
                <a:off x="2381168" y="3933283"/>
                <a:ext cx="93717" cy="8415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0" y="2"/>
                  </a:cxn>
                  <a:cxn ang="0">
                    <a:pos x="13" y="2"/>
                  </a:cxn>
                  <a:cxn ang="0">
                    <a:pos x="10" y="6"/>
                  </a:cxn>
                  <a:cxn ang="0">
                    <a:pos x="17" y="6"/>
                  </a:cxn>
                  <a:cxn ang="0">
                    <a:pos x="17" y="9"/>
                  </a:cxn>
                  <a:cxn ang="0">
                    <a:pos x="17" y="11"/>
                  </a:cxn>
                  <a:cxn ang="0">
                    <a:pos x="13" y="9"/>
                  </a:cxn>
                  <a:cxn ang="0">
                    <a:pos x="4" y="9"/>
                  </a:cxn>
                  <a:cxn ang="0">
                    <a:pos x="8" y="9"/>
                  </a:cxn>
                  <a:cxn ang="0">
                    <a:pos x="4" y="9"/>
                  </a:cxn>
                  <a:cxn ang="0">
                    <a:pos x="2" y="15"/>
                  </a:cxn>
                  <a:cxn ang="0">
                    <a:pos x="0" y="11"/>
                  </a:cxn>
                  <a:cxn ang="0">
                    <a:pos x="0" y="6"/>
                  </a:cxn>
                  <a:cxn ang="0">
                    <a:pos x="2" y="0"/>
                  </a:cxn>
                </a:cxnLst>
                <a:rect l="0" t="0" r="r" b="b"/>
                <a:pathLst>
                  <a:path w="17" h="15">
                    <a:moveTo>
                      <a:pt x="2" y="0"/>
                    </a:moveTo>
                    <a:lnTo>
                      <a:pt x="10" y="2"/>
                    </a:lnTo>
                    <a:lnTo>
                      <a:pt x="13" y="2"/>
                    </a:lnTo>
                    <a:lnTo>
                      <a:pt x="10" y="6"/>
                    </a:lnTo>
                    <a:lnTo>
                      <a:pt x="17" y="6"/>
                    </a:lnTo>
                    <a:lnTo>
                      <a:pt x="17" y="9"/>
                    </a:lnTo>
                    <a:lnTo>
                      <a:pt x="17" y="11"/>
                    </a:lnTo>
                    <a:lnTo>
                      <a:pt x="13" y="9"/>
                    </a:lnTo>
                    <a:lnTo>
                      <a:pt x="4" y="9"/>
                    </a:lnTo>
                    <a:lnTo>
                      <a:pt x="8" y="9"/>
                    </a:lnTo>
                    <a:lnTo>
                      <a:pt x="4" y="9"/>
                    </a:lnTo>
                    <a:lnTo>
                      <a:pt x="2" y="15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31" name="Dominica"/>
              <p:cNvSpPr>
                <a:spLocks/>
              </p:cNvSpPr>
              <p:nvPr>
                <p:custDataLst>
                  <p:tags r:id="rId104"/>
                </p:custDataLst>
              </p:nvPr>
            </p:nvSpPr>
            <p:spPr bwMode="auto">
              <a:xfrm rot="5400000">
                <a:off x="3260957" y="4514714"/>
                <a:ext cx="45902" cy="11475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4" y="2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lnTo>
                      <a:pt x="4" y="2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32" name="Djibouti"/>
              <p:cNvSpPr>
                <a:spLocks/>
              </p:cNvSpPr>
              <p:nvPr/>
            </p:nvSpPr>
            <p:spPr bwMode="auto">
              <a:xfrm>
                <a:off x="5345671" y="4160883"/>
                <a:ext cx="40165" cy="47814"/>
              </a:xfrm>
              <a:custGeom>
                <a:avLst/>
                <a:gdLst>
                  <a:gd name="connsiteX0" fmla="*/ 3504 w 9060"/>
                  <a:gd name="connsiteY0" fmla="*/ 7778 h 10000"/>
                  <a:gd name="connsiteX1" fmla="*/ 9060 w 9060"/>
                  <a:gd name="connsiteY1" fmla="*/ 3333 h 10000"/>
                  <a:gd name="connsiteX2" fmla="*/ 3504 w 9060"/>
                  <a:gd name="connsiteY2" fmla="*/ 0 h 10000"/>
                  <a:gd name="connsiteX3" fmla="*/ 1282 w 9060"/>
                  <a:gd name="connsiteY3" fmla="*/ 3333 h 10000"/>
                  <a:gd name="connsiteX4" fmla="*/ 0 w 9060"/>
                  <a:gd name="connsiteY4" fmla="*/ 8752 h 10000"/>
                  <a:gd name="connsiteX5" fmla="*/ 3504 w 9060"/>
                  <a:gd name="connsiteY5" fmla="*/ 10000 h 10000"/>
                  <a:gd name="connsiteX6" fmla="*/ 3504 w 9060"/>
                  <a:gd name="connsiteY6" fmla="*/ 7778 h 10000"/>
                  <a:gd name="connsiteX0" fmla="*/ 8536 w 10000"/>
                  <a:gd name="connsiteY0" fmla="*/ 8760 h 10000"/>
                  <a:gd name="connsiteX1" fmla="*/ 10000 w 10000"/>
                  <a:gd name="connsiteY1" fmla="*/ 3333 h 10000"/>
                  <a:gd name="connsiteX2" fmla="*/ 3868 w 10000"/>
                  <a:gd name="connsiteY2" fmla="*/ 0 h 10000"/>
                  <a:gd name="connsiteX3" fmla="*/ 1415 w 10000"/>
                  <a:gd name="connsiteY3" fmla="*/ 3333 h 10000"/>
                  <a:gd name="connsiteX4" fmla="*/ 0 w 10000"/>
                  <a:gd name="connsiteY4" fmla="*/ 8752 h 10000"/>
                  <a:gd name="connsiteX5" fmla="*/ 3868 w 10000"/>
                  <a:gd name="connsiteY5" fmla="*/ 10000 h 10000"/>
                  <a:gd name="connsiteX6" fmla="*/ 8536 w 10000"/>
                  <a:gd name="connsiteY6" fmla="*/ 876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00" h="10000">
                    <a:moveTo>
                      <a:pt x="8536" y="8760"/>
                    </a:moveTo>
                    <a:lnTo>
                      <a:pt x="10000" y="3333"/>
                    </a:lnTo>
                    <a:lnTo>
                      <a:pt x="3868" y="0"/>
                    </a:lnTo>
                    <a:lnTo>
                      <a:pt x="1415" y="3333"/>
                    </a:lnTo>
                    <a:lnTo>
                      <a:pt x="0" y="8752"/>
                    </a:lnTo>
                    <a:lnTo>
                      <a:pt x="3868" y="10000"/>
                    </a:lnTo>
                    <a:lnTo>
                      <a:pt x="8536" y="876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633" name="Denmark"/>
              <p:cNvGrpSpPr/>
              <p:nvPr/>
            </p:nvGrpSpPr>
            <p:grpSpPr>
              <a:xfrm>
                <a:off x="4466750" y="2740807"/>
                <a:ext cx="88759" cy="105896"/>
                <a:chOff x="4466750" y="2721718"/>
                <a:chExt cx="88759" cy="105896"/>
              </a:xfrm>
              <a:solidFill>
                <a:schemeClr val="accent3"/>
              </a:solidFill>
            </p:grpSpPr>
            <p:sp>
              <p:nvSpPr>
                <p:cNvPr id="751" name="Denmark"/>
                <p:cNvSpPr>
                  <a:spLocks/>
                </p:cNvSpPr>
                <p:nvPr/>
              </p:nvSpPr>
              <p:spPr bwMode="auto">
                <a:xfrm>
                  <a:off x="4466750" y="2721718"/>
                  <a:ext cx="66570" cy="83601"/>
                </a:xfrm>
                <a:custGeom>
                  <a:avLst/>
                  <a:gdLst/>
                  <a:ahLst/>
                  <a:cxnLst>
                    <a:cxn ang="0">
                      <a:pos x="2" y="15"/>
                    </a:cxn>
                    <a:cxn ang="0">
                      <a:pos x="6" y="15"/>
                    </a:cxn>
                    <a:cxn ang="0">
                      <a:pos x="8" y="9"/>
                    </a:cxn>
                    <a:cxn ang="0">
                      <a:pos x="12" y="6"/>
                    </a:cxn>
                    <a:cxn ang="0">
                      <a:pos x="8" y="6"/>
                    </a:cxn>
                    <a:cxn ang="0">
                      <a:pos x="8" y="0"/>
                    </a:cxn>
                    <a:cxn ang="0">
                      <a:pos x="2" y="2"/>
                    </a:cxn>
                    <a:cxn ang="0">
                      <a:pos x="0" y="6"/>
                    </a:cxn>
                    <a:cxn ang="0">
                      <a:pos x="0" y="9"/>
                    </a:cxn>
                    <a:cxn ang="0">
                      <a:pos x="2" y="11"/>
                    </a:cxn>
                    <a:cxn ang="0">
                      <a:pos x="2" y="13"/>
                    </a:cxn>
                    <a:cxn ang="0">
                      <a:pos x="2" y="15"/>
                    </a:cxn>
                  </a:cxnLst>
                  <a:rect l="0" t="0" r="r" b="b"/>
                  <a:pathLst>
                    <a:path w="12" h="15">
                      <a:moveTo>
                        <a:pt x="2" y="15"/>
                      </a:moveTo>
                      <a:lnTo>
                        <a:pt x="6" y="15"/>
                      </a:lnTo>
                      <a:lnTo>
                        <a:pt x="8" y="9"/>
                      </a:lnTo>
                      <a:lnTo>
                        <a:pt x="12" y="6"/>
                      </a:lnTo>
                      <a:lnTo>
                        <a:pt x="8" y="6"/>
                      </a:lnTo>
                      <a:lnTo>
                        <a:pt x="8" y="0"/>
                      </a:lnTo>
                      <a:lnTo>
                        <a:pt x="2" y="2"/>
                      </a:lnTo>
                      <a:lnTo>
                        <a:pt x="0" y="6"/>
                      </a:lnTo>
                      <a:lnTo>
                        <a:pt x="0" y="9"/>
                      </a:lnTo>
                      <a:lnTo>
                        <a:pt x="2" y="11"/>
                      </a:lnTo>
                      <a:lnTo>
                        <a:pt x="2" y="13"/>
                      </a:lnTo>
                      <a:lnTo>
                        <a:pt x="2" y="1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52" name="Denmark"/>
                <p:cNvSpPr>
                  <a:spLocks noChangeShapeType="1"/>
                </p:cNvSpPr>
                <p:nvPr/>
              </p:nvSpPr>
              <p:spPr bwMode="auto">
                <a:xfrm flipV="1">
                  <a:off x="4511130" y="2783026"/>
                  <a:ext cx="5548" cy="11147"/>
                </a:xfrm>
                <a:prstGeom prst="line">
                  <a:avLst/>
                </a:pr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53" name="Denmark"/>
                <p:cNvSpPr>
                  <a:spLocks/>
                </p:cNvSpPr>
                <p:nvPr/>
              </p:nvSpPr>
              <p:spPr bwMode="auto">
                <a:xfrm>
                  <a:off x="4533319" y="2771879"/>
                  <a:ext cx="22190" cy="1114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4" y="2"/>
                    </a:cxn>
                    <a:cxn ang="0">
                      <a:pos x="2" y="2"/>
                    </a:cxn>
                    <a:cxn ang="0">
                      <a:pos x="4" y="0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2" y="2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54" name="Denmark"/>
                <p:cNvSpPr>
                  <a:spLocks noChangeShapeType="1"/>
                </p:cNvSpPr>
                <p:nvPr/>
              </p:nvSpPr>
              <p:spPr bwMode="auto">
                <a:xfrm>
                  <a:off x="4533319" y="2822040"/>
                  <a:ext cx="11095" cy="5574"/>
                </a:xfrm>
                <a:prstGeom prst="line">
                  <a:avLst/>
                </a:pr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634" name="Czech Republic"/>
              <p:cNvSpPr>
                <a:spLocks/>
              </p:cNvSpPr>
              <p:nvPr>
                <p:custDataLst>
                  <p:tags r:id="rId105"/>
                </p:custDataLst>
              </p:nvPr>
            </p:nvSpPr>
            <p:spPr bwMode="auto">
              <a:xfrm>
                <a:off x="4544299" y="2925343"/>
                <a:ext cx="151093" cy="87980"/>
              </a:xfrm>
              <a:custGeom>
                <a:avLst/>
                <a:gdLst/>
                <a:ahLst/>
                <a:cxnLst>
                  <a:cxn ang="0">
                    <a:pos x="11" y="3"/>
                  </a:cxn>
                  <a:cxn ang="0">
                    <a:pos x="11" y="0"/>
                  </a:cxn>
                  <a:cxn ang="0">
                    <a:pos x="0" y="7"/>
                  </a:cxn>
                  <a:cxn ang="0">
                    <a:pos x="2" y="9"/>
                  </a:cxn>
                  <a:cxn ang="0">
                    <a:pos x="9" y="16"/>
                  </a:cxn>
                  <a:cxn ang="0">
                    <a:pos x="11" y="16"/>
                  </a:cxn>
                  <a:cxn ang="0">
                    <a:pos x="15" y="12"/>
                  </a:cxn>
                  <a:cxn ang="0">
                    <a:pos x="19" y="16"/>
                  </a:cxn>
                  <a:cxn ang="0">
                    <a:pos x="27" y="9"/>
                  </a:cxn>
                  <a:cxn ang="0">
                    <a:pos x="23" y="7"/>
                  </a:cxn>
                  <a:cxn ang="0">
                    <a:pos x="19" y="7"/>
                  </a:cxn>
                  <a:cxn ang="0">
                    <a:pos x="17" y="3"/>
                  </a:cxn>
                  <a:cxn ang="0">
                    <a:pos x="13" y="3"/>
                  </a:cxn>
                  <a:cxn ang="0">
                    <a:pos x="11" y="3"/>
                  </a:cxn>
                </a:cxnLst>
                <a:rect l="0" t="0" r="r" b="b"/>
                <a:pathLst>
                  <a:path w="27" h="16">
                    <a:moveTo>
                      <a:pt x="11" y="3"/>
                    </a:moveTo>
                    <a:lnTo>
                      <a:pt x="11" y="0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9" y="16"/>
                    </a:lnTo>
                    <a:lnTo>
                      <a:pt x="11" y="16"/>
                    </a:lnTo>
                    <a:lnTo>
                      <a:pt x="15" y="12"/>
                    </a:lnTo>
                    <a:lnTo>
                      <a:pt x="19" y="16"/>
                    </a:lnTo>
                    <a:lnTo>
                      <a:pt x="27" y="9"/>
                    </a:lnTo>
                    <a:lnTo>
                      <a:pt x="23" y="7"/>
                    </a:lnTo>
                    <a:lnTo>
                      <a:pt x="19" y="7"/>
                    </a:lnTo>
                    <a:lnTo>
                      <a:pt x="17" y="3"/>
                    </a:lnTo>
                    <a:lnTo>
                      <a:pt x="13" y="3"/>
                    </a:lnTo>
                    <a:lnTo>
                      <a:pt x="11" y="3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35" name="Cyprus"/>
              <p:cNvSpPr>
                <a:spLocks/>
              </p:cNvSpPr>
              <p:nvPr>
                <p:custDataLst>
                  <p:tags r:id="rId106"/>
                </p:custDataLst>
              </p:nvPr>
            </p:nvSpPr>
            <p:spPr bwMode="auto">
              <a:xfrm>
                <a:off x="5043483" y="3414969"/>
                <a:ext cx="72678" cy="40164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4" y="7"/>
                  </a:cxn>
                  <a:cxn ang="0">
                    <a:pos x="6" y="7"/>
                  </a:cxn>
                  <a:cxn ang="0">
                    <a:pos x="8" y="7"/>
                  </a:cxn>
                  <a:cxn ang="0">
                    <a:pos x="8" y="5"/>
                  </a:cxn>
                  <a:cxn ang="0">
                    <a:pos x="13" y="0"/>
                  </a:cxn>
                  <a:cxn ang="0">
                    <a:pos x="6" y="5"/>
                  </a:cxn>
                  <a:cxn ang="0">
                    <a:pos x="0" y="7"/>
                  </a:cxn>
                </a:cxnLst>
                <a:rect l="0" t="0" r="r" b="b"/>
                <a:pathLst>
                  <a:path w="13" h="7">
                    <a:moveTo>
                      <a:pt x="0" y="7"/>
                    </a:moveTo>
                    <a:lnTo>
                      <a:pt x="4" y="7"/>
                    </a:lnTo>
                    <a:lnTo>
                      <a:pt x="6" y="7"/>
                    </a:lnTo>
                    <a:lnTo>
                      <a:pt x="8" y="7"/>
                    </a:lnTo>
                    <a:lnTo>
                      <a:pt x="8" y="5"/>
                    </a:lnTo>
                    <a:lnTo>
                      <a:pt x="13" y="0"/>
                    </a:lnTo>
                    <a:lnTo>
                      <a:pt x="6" y="5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712" name="Cuba"/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auto">
              <a:xfrm>
                <a:off x="2070229" y="3833202"/>
                <a:ext cx="266280" cy="100322"/>
              </a:xfrm>
              <a:custGeom>
                <a:avLst/>
                <a:gdLst>
                  <a:gd name="T0" fmla="*/ 0 w 48"/>
                  <a:gd name="T1" fmla="*/ 50161 h 18"/>
                  <a:gd name="T2" fmla="*/ 11095 w 48"/>
                  <a:gd name="T3" fmla="*/ 50161 h 18"/>
                  <a:gd name="T4" fmla="*/ 55475 w 48"/>
                  <a:gd name="T5" fmla="*/ 11147 h 18"/>
                  <a:gd name="T6" fmla="*/ 88760 w 48"/>
                  <a:gd name="T7" fmla="*/ 11147 h 18"/>
                  <a:gd name="T8" fmla="*/ 66570 w 48"/>
                  <a:gd name="T9" fmla="*/ 22294 h 18"/>
                  <a:gd name="T10" fmla="*/ 149782 w 48"/>
                  <a:gd name="T11" fmla="*/ 50161 h 18"/>
                  <a:gd name="T12" fmla="*/ 160877 w 48"/>
                  <a:gd name="T13" fmla="*/ 83602 h 18"/>
                  <a:gd name="T14" fmla="*/ 183068 w 48"/>
                  <a:gd name="T15" fmla="*/ 83602 h 18"/>
                  <a:gd name="T16" fmla="*/ 160877 w 48"/>
                  <a:gd name="T17" fmla="*/ 100322 h 18"/>
                  <a:gd name="T18" fmla="*/ 266280 w 48"/>
                  <a:gd name="T19" fmla="*/ 100322 h 18"/>
                  <a:gd name="T20" fmla="*/ 244090 w 48"/>
                  <a:gd name="T21" fmla="*/ 83602 h 18"/>
                  <a:gd name="T22" fmla="*/ 227448 w 48"/>
                  <a:gd name="T23" fmla="*/ 83602 h 18"/>
                  <a:gd name="T24" fmla="*/ 227448 w 48"/>
                  <a:gd name="T25" fmla="*/ 61308 h 18"/>
                  <a:gd name="T26" fmla="*/ 194163 w 48"/>
                  <a:gd name="T27" fmla="*/ 61308 h 18"/>
                  <a:gd name="T28" fmla="*/ 160877 w 48"/>
                  <a:gd name="T29" fmla="*/ 22294 h 18"/>
                  <a:gd name="T30" fmla="*/ 88760 w 48"/>
                  <a:gd name="T31" fmla="*/ 0 h 18"/>
                  <a:gd name="T32" fmla="*/ 22190 w 48"/>
                  <a:gd name="T33" fmla="*/ 11147 h 18"/>
                  <a:gd name="T34" fmla="*/ 11095 w 48"/>
                  <a:gd name="T35" fmla="*/ 33441 h 18"/>
                  <a:gd name="T36" fmla="*/ 0 w 48"/>
                  <a:gd name="T37" fmla="*/ 50161 h 1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8"/>
                  <a:gd name="T58" fmla="*/ 0 h 18"/>
                  <a:gd name="T59" fmla="*/ 48 w 48"/>
                  <a:gd name="T60" fmla="*/ 18 h 1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8" h="18">
                    <a:moveTo>
                      <a:pt x="0" y="9"/>
                    </a:moveTo>
                    <a:lnTo>
                      <a:pt x="2" y="9"/>
                    </a:lnTo>
                    <a:lnTo>
                      <a:pt x="10" y="2"/>
                    </a:lnTo>
                    <a:lnTo>
                      <a:pt x="16" y="2"/>
                    </a:lnTo>
                    <a:lnTo>
                      <a:pt x="12" y="4"/>
                    </a:lnTo>
                    <a:lnTo>
                      <a:pt x="27" y="9"/>
                    </a:lnTo>
                    <a:lnTo>
                      <a:pt x="29" y="15"/>
                    </a:lnTo>
                    <a:lnTo>
                      <a:pt x="33" y="15"/>
                    </a:lnTo>
                    <a:lnTo>
                      <a:pt x="29" y="18"/>
                    </a:lnTo>
                    <a:lnTo>
                      <a:pt x="48" y="18"/>
                    </a:lnTo>
                    <a:lnTo>
                      <a:pt x="44" y="15"/>
                    </a:lnTo>
                    <a:lnTo>
                      <a:pt x="41" y="15"/>
                    </a:lnTo>
                    <a:lnTo>
                      <a:pt x="41" y="11"/>
                    </a:lnTo>
                    <a:lnTo>
                      <a:pt x="35" y="11"/>
                    </a:lnTo>
                    <a:lnTo>
                      <a:pt x="29" y="4"/>
                    </a:lnTo>
                    <a:lnTo>
                      <a:pt x="16" y="0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EF7A04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37" name="Croatia"/>
              <p:cNvSpPr>
                <a:spLocks/>
              </p:cNvSpPr>
              <p:nvPr>
                <p:custDataLst>
                  <p:tags r:id="rId108"/>
                </p:custDataLst>
              </p:nvPr>
            </p:nvSpPr>
            <p:spPr bwMode="auto">
              <a:xfrm>
                <a:off x="4594027" y="3074526"/>
                <a:ext cx="128142" cy="128144"/>
              </a:xfrm>
              <a:custGeom>
                <a:avLst/>
                <a:gdLst/>
                <a:ahLst/>
                <a:cxnLst>
                  <a:cxn ang="0">
                    <a:pos x="18" y="3"/>
                  </a:cxn>
                  <a:cxn ang="0">
                    <a:pos x="16" y="3"/>
                  </a:cxn>
                  <a:cxn ang="0">
                    <a:pos x="10" y="0"/>
                  </a:cxn>
                  <a:cxn ang="0">
                    <a:pos x="6" y="3"/>
                  </a:cxn>
                  <a:cxn ang="0">
                    <a:pos x="6" y="7"/>
                  </a:cxn>
                  <a:cxn ang="0">
                    <a:pos x="2" y="3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2" y="7"/>
                  </a:cxn>
                  <a:cxn ang="0">
                    <a:pos x="6" y="9"/>
                  </a:cxn>
                  <a:cxn ang="0">
                    <a:pos x="6" y="16"/>
                  </a:cxn>
                  <a:cxn ang="0">
                    <a:pos x="18" y="23"/>
                  </a:cxn>
                  <a:cxn ang="0">
                    <a:pos x="10" y="12"/>
                  </a:cxn>
                  <a:cxn ang="0">
                    <a:pos x="8" y="9"/>
                  </a:cxn>
                  <a:cxn ang="0">
                    <a:pos x="10" y="7"/>
                  </a:cxn>
                  <a:cxn ang="0">
                    <a:pos x="18" y="9"/>
                  </a:cxn>
                  <a:cxn ang="0">
                    <a:pos x="23" y="9"/>
                  </a:cxn>
                  <a:cxn ang="0">
                    <a:pos x="23" y="7"/>
                  </a:cxn>
                  <a:cxn ang="0">
                    <a:pos x="20" y="5"/>
                  </a:cxn>
                  <a:cxn ang="0">
                    <a:pos x="18" y="3"/>
                  </a:cxn>
                </a:cxnLst>
                <a:rect l="0" t="0" r="r" b="b"/>
                <a:pathLst>
                  <a:path w="23" h="23">
                    <a:moveTo>
                      <a:pt x="18" y="3"/>
                    </a:moveTo>
                    <a:lnTo>
                      <a:pt x="16" y="3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6" y="7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2" y="7"/>
                    </a:lnTo>
                    <a:lnTo>
                      <a:pt x="6" y="9"/>
                    </a:lnTo>
                    <a:lnTo>
                      <a:pt x="6" y="16"/>
                    </a:lnTo>
                    <a:lnTo>
                      <a:pt x="18" y="23"/>
                    </a:lnTo>
                    <a:lnTo>
                      <a:pt x="10" y="12"/>
                    </a:lnTo>
                    <a:lnTo>
                      <a:pt x="8" y="9"/>
                    </a:lnTo>
                    <a:lnTo>
                      <a:pt x="10" y="7"/>
                    </a:lnTo>
                    <a:lnTo>
                      <a:pt x="18" y="9"/>
                    </a:lnTo>
                    <a:lnTo>
                      <a:pt x="23" y="9"/>
                    </a:lnTo>
                    <a:lnTo>
                      <a:pt x="23" y="7"/>
                    </a:lnTo>
                    <a:lnTo>
                      <a:pt x="20" y="5"/>
                    </a:lnTo>
                    <a:lnTo>
                      <a:pt x="18" y="3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714" name="Costa Rica"/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auto">
              <a:xfrm>
                <a:off x="1998112" y="4217768"/>
                <a:ext cx="83212" cy="89175"/>
              </a:xfrm>
              <a:custGeom>
                <a:avLst/>
                <a:gdLst>
                  <a:gd name="T0" fmla="*/ 83212 w 15"/>
                  <a:gd name="T1" fmla="*/ 50161 h 16"/>
                  <a:gd name="T2" fmla="*/ 72117 w 15"/>
                  <a:gd name="T3" fmla="*/ 39014 h 16"/>
                  <a:gd name="T4" fmla="*/ 49927 w 15"/>
                  <a:gd name="T5" fmla="*/ 0 h 16"/>
                  <a:gd name="T6" fmla="*/ 0 w 15"/>
                  <a:gd name="T7" fmla="*/ 0 h 16"/>
                  <a:gd name="T8" fmla="*/ 0 w 15"/>
                  <a:gd name="T9" fmla="*/ 39014 h 16"/>
                  <a:gd name="T10" fmla="*/ 11095 w 15"/>
                  <a:gd name="T11" fmla="*/ 50161 h 16"/>
                  <a:gd name="T12" fmla="*/ 11095 w 15"/>
                  <a:gd name="T13" fmla="*/ 39014 h 16"/>
                  <a:gd name="T14" fmla="*/ 49927 w 15"/>
                  <a:gd name="T15" fmla="*/ 66881 h 16"/>
                  <a:gd name="T16" fmla="*/ 49927 w 15"/>
                  <a:gd name="T17" fmla="*/ 89175 h 16"/>
                  <a:gd name="T18" fmla="*/ 72117 w 15"/>
                  <a:gd name="T19" fmla="*/ 89175 h 16"/>
                  <a:gd name="T20" fmla="*/ 72117 w 15"/>
                  <a:gd name="T21" fmla="*/ 78028 h 16"/>
                  <a:gd name="T22" fmla="*/ 83212 w 15"/>
                  <a:gd name="T23" fmla="*/ 50161 h 1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5"/>
                  <a:gd name="T37" fmla="*/ 0 h 16"/>
                  <a:gd name="T38" fmla="*/ 15 w 15"/>
                  <a:gd name="T39" fmla="*/ 16 h 1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5" h="16">
                    <a:moveTo>
                      <a:pt x="15" y="9"/>
                    </a:moveTo>
                    <a:lnTo>
                      <a:pt x="13" y="7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9" y="12"/>
                    </a:lnTo>
                    <a:lnTo>
                      <a:pt x="9" y="16"/>
                    </a:lnTo>
                    <a:lnTo>
                      <a:pt x="13" y="16"/>
                    </a:lnTo>
                    <a:lnTo>
                      <a:pt x="13" y="14"/>
                    </a:lnTo>
                    <a:lnTo>
                      <a:pt x="15" y="9"/>
                    </a:lnTo>
                    <a:close/>
                  </a:path>
                </a:pathLst>
              </a:custGeom>
              <a:solidFill>
                <a:srgbClr val="EF7A04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grpSp>
            <p:nvGrpSpPr>
              <p:cNvPr id="3348715" name="Congo"/>
              <p:cNvGrpSpPr>
                <a:grpSpLocks/>
              </p:cNvGrpSpPr>
              <p:nvPr/>
            </p:nvGrpSpPr>
            <p:grpSpPr bwMode="auto">
              <a:xfrm>
                <a:off x="4521181" y="4451968"/>
                <a:ext cx="208170" cy="311272"/>
                <a:chOff x="4521181" y="4432879"/>
                <a:chExt cx="208170" cy="311272"/>
              </a:xfrm>
            </p:grpSpPr>
            <p:sp>
              <p:nvSpPr>
                <p:cNvPr id="749" name="Congo"/>
                <p:cNvSpPr>
                  <a:spLocks/>
                </p:cNvSpPr>
                <p:nvPr/>
              </p:nvSpPr>
              <p:spPr bwMode="auto">
                <a:xfrm>
                  <a:off x="4546211" y="4694534"/>
                  <a:ext cx="30601" cy="49728"/>
                </a:xfrm>
                <a:custGeom>
                  <a:avLst/>
                  <a:gdLst>
                    <a:gd name="T0" fmla="*/ 0 w 85"/>
                    <a:gd name="T1" fmla="*/ 59 h 116"/>
                    <a:gd name="T2" fmla="*/ 14 w 85"/>
                    <a:gd name="T3" fmla="*/ 47 h 116"/>
                    <a:gd name="T4" fmla="*/ 30 w 85"/>
                    <a:gd name="T5" fmla="*/ 36 h 116"/>
                    <a:gd name="T6" fmla="*/ 57 w 85"/>
                    <a:gd name="T7" fmla="*/ 14 h 116"/>
                    <a:gd name="T8" fmla="*/ 84 w 85"/>
                    <a:gd name="T9" fmla="*/ 26 h 116"/>
                    <a:gd name="T10" fmla="*/ 85 w 85"/>
                    <a:gd name="T11" fmla="*/ 28 h 116"/>
                    <a:gd name="T12" fmla="*/ 56 w 85"/>
                    <a:gd name="T13" fmla="*/ 48 h 116"/>
                    <a:gd name="T14" fmla="*/ 38 w 85"/>
                    <a:gd name="T15" fmla="*/ 61 h 116"/>
                    <a:gd name="T16" fmla="*/ 42 w 85"/>
                    <a:gd name="T17" fmla="*/ 95 h 116"/>
                    <a:gd name="T18" fmla="*/ 29 w 85"/>
                    <a:gd name="T19" fmla="*/ 111 h 116"/>
                    <a:gd name="T20" fmla="*/ 17 w 85"/>
                    <a:gd name="T21" fmla="*/ 116 h 116"/>
                    <a:gd name="T22" fmla="*/ 17 w 85"/>
                    <a:gd name="T23" fmla="*/ 116 h 116"/>
                    <a:gd name="T24" fmla="*/ 13 w 85"/>
                    <a:gd name="T25" fmla="*/ 112 h 116"/>
                    <a:gd name="T26" fmla="*/ 10 w 85"/>
                    <a:gd name="T27" fmla="*/ 98 h 116"/>
                    <a:gd name="T28" fmla="*/ 9 w 85"/>
                    <a:gd name="T29" fmla="*/ 74 h 116"/>
                    <a:gd name="T30" fmla="*/ 1 w 85"/>
                    <a:gd name="T31" fmla="*/ 62 h 116"/>
                    <a:gd name="T32" fmla="*/ 0 w 85"/>
                    <a:gd name="T33" fmla="*/ 59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5" h="116">
                      <a:moveTo>
                        <a:pt x="0" y="59"/>
                      </a:moveTo>
                      <a:cubicBezTo>
                        <a:pt x="4" y="56"/>
                        <a:pt x="12" y="52"/>
                        <a:pt x="14" y="47"/>
                      </a:cubicBezTo>
                      <a:cubicBezTo>
                        <a:pt x="15" y="35"/>
                        <a:pt x="25" y="44"/>
                        <a:pt x="30" y="36"/>
                      </a:cubicBezTo>
                      <a:cubicBezTo>
                        <a:pt x="29" y="18"/>
                        <a:pt x="53" y="29"/>
                        <a:pt x="57" y="14"/>
                      </a:cubicBezTo>
                      <a:cubicBezTo>
                        <a:pt x="69" y="0"/>
                        <a:pt x="74" y="27"/>
                        <a:pt x="84" y="26"/>
                      </a:cubicBezTo>
                      <a:cubicBezTo>
                        <a:pt x="85" y="28"/>
                        <a:pt x="85" y="28"/>
                        <a:pt x="85" y="28"/>
                      </a:cubicBezTo>
                      <a:cubicBezTo>
                        <a:pt x="74" y="34"/>
                        <a:pt x="61" y="34"/>
                        <a:pt x="56" y="48"/>
                      </a:cubicBezTo>
                      <a:cubicBezTo>
                        <a:pt x="49" y="52"/>
                        <a:pt x="45" y="59"/>
                        <a:pt x="38" y="61"/>
                      </a:cubicBezTo>
                      <a:cubicBezTo>
                        <a:pt x="48" y="68"/>
                        <a:pt x="40" y="83"/>
                        <a:pt x="42" y="95"/>
                      </a:cubicBezTo>
                      <a:cubicBezTo>
                        <a:pt x="45" y="105"/>
                        <a:pt x="41" y="115"/>
                        <a:pt x="29" y="111"/>
                      </a:cubicBezTo>
                      <a:cubicBezTo>
                        <a:pt x="25" y="111"/>
                        <a:pt x="20" y="113"/>
                        <a:pt x="17" y="116"/>
                      </a:cubicBezTo>
                      <a:cubicBezTo>
                        <a:pt x="17" y="116"/>
                        <a:pt x="17" y="116"/>
                        <a:pt x="17" y="116"/>
                      </a:cubicBezTo>
                      <a:cubicBezTo>
                        <a:pt x="15" y="115"/>
                        <a:pt x="14" y="113"/>
                        <a:pt x="13" y="112"/>
                      </a:cubicBezTo>
                      <a:cubicBezTo>
                        <a:pt x="12" y="107"/>
                        <a:pt x="10" y="103"/>
                        <a:pt x="10" y="98"/>
                      </a:cubicBezTo>
                      <a:cubicBezTo>
                        <a:pt x="12" y="90"/>
                        <a:pt x="10" y="82"/>
                        <a:pt x="9" y="74"/>
                      </a:cubicBezTo>
                      <a:cubicBezTo>
                        <a:pt x="9" y="68"/>
                        <a:pt x="4" y="65"/>
                        <a:pt x="1" y="62"/>
                      </a:cubicBezTo>
                      <a:cubicBezTo>
                        <a:pt x="0" y="61"/>
                        <a:pt x="0" y="60"/>
                        <a:pt x="0" y="59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50" name="Congo"/>
                <p:cNvSpPr>
                  <a:spLocks/>
                </p:cNvSpPr>
                <p:nvPr/>
              </p:nvSpPr>
              <p:spPr bwMode="auto">
                <a:xfrm>
                  <a:off x="4521348" y="4432509"/>
                  <a:ext cx="208471" cy="286890"/>
                </a:xfrm>
                <a:custGeom>
                  <a:avLst/>
                  <a:gdLst>
                    <a:gd name="T0" fmla="*/ 287 w 574"/>
                    <a:gd name="T1" fmla="*/ 131 h 664"/>
                    <a:gd name="T2" fmla="*/ 302 w 574"/>
                    <a:gd name="T3" fmla="*/ 132 h 664"/>
                    <a:gd name="T4" fmla="*/ 369 w 574"/>
                    <a:gd name="T5" fmla="*/ 150 h 664"/>
                    <a:gd name="T6" fmla="*/ 384 w 574"/>
                    <a:gd name="T7" fmla="*/ 117 h 664"/>
                    <a:gd name="T8" fmla="*/ 399 w 574"/>
                    <a:gd name="T9" fmla="*/ 85 h 664"/>
                    <a:gd name="T10" fmla="*/ 423 w 574"/>
                    <a:gd name="T11" fmla="*/ 15 h 664"/>
                    <a:gd name="T12" fmla="*/ 493 w 574"/>
                    <a:gd name="T13" fmla="*/ 8 h 664"/>
                    <a:gd name="T14" fmla="*/ 541 w 574"/>
                    <a:gd name="T15" fmla="*/ 14 h 664"/>
                    <a:gd name="T16" fmla="*/ 566 w 574"/>
                    <a:gd name="T17" fmla="*/ 18 h 664"/>
                    <a:gd name="T18" fmla="*/ 555 w 574"/>
                    <a:gd name="T19" fmla="*/ 64 h 664"/>
                    <a:gd name="T20" fmla="*/ 526 w 574"/>
                    <a:gd name="T21" fmla="*/ 149 h 664"/>
                    <a:gd name="T22" fmla="*/ 512 w 574"/>
                    <a:gd name="T23" fmla="*/ 213 h 664"/>
                    <a:gd name="T24" fmla="*/ 502 w 574"/>
                    <a:gd name="T25" fmla="*/ 287 h 664"/>
                    <a:gd name="T26" fmla="*/ 463 w 574"/>
                    <a:gd name="T27" fmla="*/ 362 h 664"/>
                    <a:gd name="T28" fmla="*/ 391 w 574"/>
                    <a:gd name="T29" fmla="*/ 440 h 664"/>
                    <a:gd name="T30" fmla="*/ 384 w 574"/>
                    <a:gd name="T31" fmla="*/ 508 h 664"/>
                    <a:gd name="T32" fmla="*/ 363 w 574"/>
                    <a:gd name="T33" fmla="*/ 578 h 664"/>
                    <a:gd name="T34" fmla="*/ 318 w 574"/>
                    <a:gd name="T35" fmla="*/ 607 h 664"/>
                    <a:gd name="T36" fmla="*/ 257 w 574"/>
                    <a:gd name="T37" fmla="*/ 650 h 664"/>
                    <a:gd name="T38" fmla="*/ 250 w 574"/>
                    <a:gd name="T39" fmla="*/ 612 h 664"/>
                    <a:gd name="T40" fmla="*/ 205 w 574"/>
                    <a:gd name="T41" fmla="*/ 617 h 664"/>
                    <a:gd name="T42" fmla="*/ 173 w 574"/>
                    <a:gd name="T43" fmla="*/ 649 h 664"/>
                    <a:gd name="T44" fmla="*/ 150 w 574"/>
                    <a:gd name="T45" fmla="*/ 631 h 664"/>
                    <a:gd name="T46" fmla="*/ 96 w 574"/>
                    <a:gd name="T47" fmla="*/ 641 h 664"/>
                    <a:gd name="T48" fmla="*/ 66 w 574"/>
                    <a:gd name="T49" fmla="*/ 664 h 664"/>
                    <a:gd name="T50" fmla="*/ 53 w 574"/>
                    <a:gd name="T51" fmla="*/ 637 h 664"/>
                    <a:gd name="T52" fmla="*/ 16 w 574"/>
                    <a:gd name="T53" fmla="*/ 592 h 664"/>
                    <a:gd name="T54" fmla="*/ 4 w 574"/>
                    <a:gd name="T55" fmla="*/ 578 h 664"/>
                    <a:gd name="T56" fmla="*/ 60 w 574"/>
                    <a:gd name="T57" fmla="*/ 561 h 664"/>
                    <a:gd name="T58" fmla="*/ 60 w 574"/>
                    <a:gd name="T59" fmla="*/ 561 h 664"/>
                    <a:gd name="T60" fmla="*/ 46 w 574"/>
                    <a:gd name="T61" fmla="*/ 516 h 664"/>
                    <a:gd name="T62" fmla="*/ 34 w 574"/>
                    <a:gd name="T63" fmla="*/ 495 h 664"/>
                    <a:gd name="T64" fmla="*/ 52 w 574"/>
                    <a:gd name="T65" fmla="*/ 463 h 664"/>
                    <a:gd name="T66" fmla="*/ 106 w 574"/>
                    <a:gd name="T67" fmla="*/ 444 h 664"/>
                    <a:gd name="T68" fmla="*/ 132 w 574"/>
                    <a:gd name="T69" fmla="*/ 432 h 664"/>
                    <a:gd name="T70" fmla="*/ 167 w 574"/>
                    <a:gd name="T71" fmla="*/ 464 h 664"/>
                    <a:gd name="T72" fmla="*/ 209 w 574"/>
                    <a:gd name="T73" fmla="*/ 456 h 664"/>
                    <a:gd name="T74" fmla="*/ 237 w 574"/>
                    <a:gd name="T75" fmla="*/ 459 h 664"/>
                    <a:gd name="T76" fmla="*/ 251 w 574"/>
                    <a:gd name="T77" fmla="*/ 414 h 664"/>
                    <a:gd name="T78" fmla="*/ 255 w 574"/>
                    <a:gd name="T79" fmla="*/ 378 h 664"/>
                    <a:gd name="T80" fmla="*/ 242 w 574"/>
                    <a:gd name="T81" fmla="*/ 316 h 664"/>
                    <a:gd name="T82" fmla="*/ 214 w 574"/>
                    <a:gd name="T83" fmla="*/ 284 h 664"/>
                    <a:gd name="T84" fmla="*/ 240 w 574"/>
                    <a:gd name="T85" fmla="*/ 240 h 664"/>
                    <a:gd name="T86" fmla="*/ 238 w 574"/>
                    <a:gd name="T87" fmla="*/ 181 h 664"/>
                    <a:gd name="T88" fmla="*/ 164 w 574"/>
                    <a:gd name="T89" fmla="*/ 190 h 664"/>
                    <a:gd name="T90" fmla="*/ 156 w 574"/>
                    <a:gd name="T91" fmla="*/ 150 h 664"/>
                    <a:gd name="T92" fmla="*/ 210 w 574"/>
                    <a:gd name="T93" fmla="*/ 119 h 664"/>
                    <a:gd name="T94" fmla="*/ 280 w 574"/>
                    <a:gd name="T95" fmla="*/ 127 h 6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574" h="664">
                      <a:moveTo>
                        <a:pt x="287" y="131"/>
                      </a:moveTo>
                      <a:cubicBezTo>
                        <a:pt x="286" y="131"/>
                        <a:pt x="285" y="131"/>
                        <a:pt x="287" y="131"/>
                      </a:cubicBezTo>
                      <a:cubicBezTo>
                        <a:pt x="287" y="131"/>
                        <a:pt x="287" y="131"/>
                        <a:pt x="287" y="131"/>
                      </a:cubicBezTo>
                      <a:cubicBezTo>
                        <a:pt x="290" y="131"/>
                        <a:pt x="297" y="131"/>
                        <a:pt x="302" y="132"/>
                      </a:cubicBezTo>
                      <a:cubicBezTo>
                        <a:pt x="311" y="123"/>
                        <a:pt x="315" y="138"/>
                        <a:pt x="323" y="136"/>
                      </a:cubicBezTo>
                      <a:cubicBezTo>
                        <a:pt x="340" y="129"/>
                        <a:pt x="355" y="142"/>
                        <a:pt x="369" y="150"/>
                      </a:cubicBezTo>
                      <a:cubicBezTo>
                        <a:pt x="371" y="159"/>
                        <a:pt x="384" y="156"/>
                        <a:pt x="381" y="146"/>
                      </a:cubicBezTo>
                      <a:cubicBezTo>
                        <a:pt x="376" y="137"/>
                        <a:pt x="370" y="117"/>
                        <a:pt x="384" y="117"/>
                      </a:cubicBezTo>
                      <a:cubicBezTo>
                        <a:pt x="384" y="116"/>
                        <a:pt x="385" y="115"/>
                        <a:pt x="385" y="114"/>
                      </a:cubicBezTo>
                      <a:cubicBezTo>
                        <a:pt x="391" y="105"/>
                        <a:pt x="395" y="94"/>
                        <a:pt x="399" y="85"/>
                      </a:cubicBezTo>
                      <a:cubicBezTo>
                        <a:pt x="409" y="73"/>
                        <a:pt x="405" y="61"/>
                        <a:pt x="407" y="48"/>
                      </a:cubicBezTo>
                      <a:cubicBezTo>
                        <a:pt x="410" y="38"/>
                        <a:pt x="410" y="18"/>
                        <a:pt x="423" y="15"/>
                      </a:cubicBezTo>
                      <a:cubicBezTo>
                        <a:pt x="438" y="16"/>
                        <a:pt x="454" y="13"/>
                        <a:pt x="469" y="9"/>
                      </a:cubicBezTo>
                      <a:cubicBezTo>
                        <a:pt x="477" y="4"/>
                        <a:pt x="485" y="0"/>
                        <a:pt x="493" y="8"/>
                      </a:cubicBezTo>
                      <a:cubicBezTo>
                        <a:pt x="503" y="4"/>
                        <a:pt x="509" y="16"/>
                        <a:pt x="519" y="14"/>
                      </a:cubicBezTo>
                      <a:cubicBezTo>
                        <a:pt x="529" y="7"/>
                        <a:pt x="535" y="26"/>
                        <a:pt x="541" y="14"/>
                      </a:cubicBezTo>
                      <a:cubicBezTo>
                        <a:pt x="534" y="14"/>
                        <a:pt x="559" y="4"/>
                        <a:pt x="562" y="13"/>
                      </a:cubicBezTo>
                      <a:cubicBezTo>
                        <a:pt x="564" y="17"/>
                        <a:pt x="565" y="18"/>
                        <a:pt x="566" y="18"/>
                      </a:cubicBezTo>
                      <a:cubicBezTo>
                        <a:pt x="568" y="20"/>
                        <a:pt x="568" y="20"/>
                        <a:pt x="568" y="20"/>
                      </a:cubicBezTo>
                      <a:cubicBezTo>
                        <a:pt x="574" y="37"/>
                        <a:pt x="562" y="50"/>
                        <a:pt x="555" y="64"/>
                      </a:cubicBezTo>
                      <a:cubicBezTo>
                        <a:pt x="553" y="79"/>
                        <a:pt x="541" y="88"/>
                        <a:pt x="537" y="101"/>
                      </a:cubicBezTo>
                      <a:cubicBezTo>
                        <a:pt x="524" y="113"/>
                        <a:pt x="527" y="132"/>
                        <a:pt x="526" y="149"/>
                      </a:cubicBezTo>
                      <a:cubicBezTo>
                        <a:pt x="529" y="160"/>
                        <a:pt x="525" y="172"/>
                        <a:pt x="520" y="182"/>
                      </a:cubicBezTo>
                      <a:cubicBezTo>
                        <a:pt x="520" y="193"/>
                        <a:pt x="509" y="202"/>
                        <a:pt x="512" y="213"/>
                      </a:cubicBezTo>
                      <a:cubicBezTo>
                        <a:pt x="515" y="226"/>
                        <a:pt x="511" y="238"/>
                        <a:pt x="519" y="250"/>
                      </a:cubicBezTo>
                      <a:cubicBezTo>
                        <a:pt x="514" y="263"/>
                        <a:pt x="503" y="272"/>
                        <a:pt x="502" y="287"/>
                      </a:cubicBezTo>
                      <a:cubicBezTo>
                        <a:pt x="496" y="303"/>
                        <a:pt x="508" y="321"/>
                        <a:pt x="493" y="335"/>
                      </a:cubicBezTo>
                      <a:cubicBezTo>
                        <a:pt x="483" y="344"/>
                        <a:pt x="476" y="357"/>
                        <a:pt x="463" y="362"/>
                      </a:cubicBezTo>
                      <a:cubicBezTo>
                        <a:pt x="442" y="365"/>
                        <a:pt x="426" y="384"/>
                        <a:pt x="420" y="404"/>
                      </a:cubicBezTo>
                      <a:cubicBezTo>
                        <a:pt x="414" y="419"/>
                        <a:pt x="405" y="432"/>
                        <a:pt x="391" y="440"/>
                      </a:cubicBezTo>
                      <a:cubicBezTo>
                        <a:pt x="380" y="447"/>
                        <a:pt x="384" y="462"/>
                        <a:pt x="386" y="473"/>
                      </a:cubicBezTo>
                      <a:cubicBezTo>
                        <a:pt x="390" y="485"/>
                        <a:pt x="382" y="496"/>
                        <a:pt x="384" y="508"/>
                      </a:cubicBezTo>
                      <a:cubicBezTo>
                        <a:pt x="382" y="520"/>
                        <a:pt x="390" y="534"/>
                        <a:pt x="382" y="544"/>
                      </a:cubicBezTo>
                      <a:cubicBezTo>
                        <a:pt x="375" y="555"/>
                        <a:pt x="369" y="567"/>
                        <a:pt x="363" y="578"/>
                      </a:cubicBezTo>
                      <a:cubicBezTo>
                        <a:pt x="357" y="587"/>
                        <a:pt x="343" y="582"/>
                        <a:pt x="335" y="589"/>
                      </a:cubicBezTo>
                      <a:cubicBezTo>
                        <a:pt x="330" y="597"/>
                        <a:pt x="331" y="611"/>
                        <a:pt x="318" y="607"/>
                      </a:cubicBezTo>
                      <a:cubicBezTo>
                        <a:pt x="305" y="611"/>
                        <a:pt x="300" y="627"/>
                        <a:pt x="289" y="635"/>
                      </a:cubicBezTo>
                      <a:cubicBezTo>
                        <a:pt x="284" y="649"/>
                        <a:pt x="269" y="657"/>
                        <a:pt x="257" y="650"/>
                      </a:cubicBezTo>
                      <a:cubicBezTo>
                        <a:pt x="244" y="654"/>
                        <a:pt x="256" y="634"/>
                        <a:pt x="247" y="629"/>
                      </a:cubicBezTo>
                      <a:cubicBezTo>
                        <a:pt x="251" y="623"/>
                        <a:pt x="259" y="617"/>
                        <a:pt x="250" y="612"/>
                      </a:cubicBezTo>
                      <a:cubicBezTo>
                        <a:pt x="248" y="598"/>
                        <a:pt x="233" y="619"/>
                        <a:pt x="224" y="615"/>
                      </a:cubicBezTo>
                      <a:cubicBezTo>
                        <a:pt x="218" y="622"/>
                        <a:pt x="211" y="625"/>
                        <a:pt x="205" y="617"/>
                      </a:cubicBezTo>
                      <a:cubicBezTo>
                        <a:pt x="192" y="619"/>
                        <a:pt x="204" y="641"/>
                        <a:pt x="190" y="643"/>
                      </a:cubicBezTo>
                      <a:cubicBezTo>
                        <a:pt x="182" y="639"/>
                        <a:pt x="180" y="653"/>
                        <a:pt x="173" y="649"/>
                      </a:cubicBezTo>
                      <a:cubicBezTo>
                        <a:pt x="169" y="641"/>
                        <a:pt x="157" y="638"/>
                        <a:pt x="154" y="629"/>
                      </a:cubicBezTo>
                      <a:cubicBezTo>
                        <a:pt x="153" y="630"/>
                        <a:pt x="151" y="631"/>
                        <a:pt x="150" y="631"/>
                      </a:cubicBezTo>
                      <a:cubicBezTo>
                        <a:pt x="140" y="632"/>
                        <a:pt x="135" y="605"/>
                        <a:pt x="123" y="619"/>
                      </a:cubicBezTo>
                      <a:cubicBezTo>
                        <a:pt x="119" y="634"/>
                        <a:pt x="95" y="623"/>
                        <a:pt x="96" y="641"/>
                      </a:cubicBezTo>
                      <a:cubicBezTo>
                        <a:pt x="91" y="649"/>
                        <a:pt x="81" y="640"/>
                        <a:pt x="80" y="652"/>
                      </a:cubicBezTo>
                      <a:cubicBezTo>
                        <a:pt x="78" y="657"/>
                        <a:pt x="70" y="661"/>
                        <a:pt x="66" y="664"/>
                      </a:cubicBezTo>
                      <a:cubicBezTo>
                        <a:pt x="66" y="664"/>
                        <a:pt x="66" y="664"/>
                        <a:pt x="66" y="664"/>
                      </a:cubicBezTo>
                      <a:cubicBezTo>
                        <a:pt x="61" y="655"/>
                        <a:pt x="57" y="646"/>
                        <a:pt x="53" y="637"/>
                      </a:cubicBezTo>
                      <a:cubicBezTo>
                        <a:pt x="50" y="629"/>
                        <a:pt x="44" y="623"/>
                        <a:pt x="37" y="617"/>
                      </a:cubicBezTo>
                      <a:cubicBezTo>
                        <a:pt x="29" y="610"/>
                        <a:pt x="22" y="602"/>
                        <a:pt x="16" y="592"/>
                      </a:cubicBezTo>
                      <a:cubicBezTo>
                        <a:pt x="12" y="589"/>
                        <a:pt x="6" y="587"/>
                        <a:pt x="0" y="584"/>
                      </a:cubicBezTo>
                      <a:cubicBezTo>
                        <a:pt x="4" y="578"/>
                        <a:pt x="4" y="578"/>
                        <a:pt x="4" y="578"/>
                      </a:cubicBezTo>
                      <a:cubicBezTo>
                        <a:pt x="6" y="561"/>
                        <a:pt x="20" y="555"/>
                        <a:pt x="32" y="548"/>
                      </a:cubicBezTo>
                      <a:cubicBezTo>
                        <a:pt x="41" y="553"/>
                        <a:pt x="48" y="570"/>
                        <a:pt x="60" y="561"/>
                      </a:cubicBezTo>
                      <a:cubicBezTo>
                        <a:pt x="61" y="562"/>
                        <a:pt x="61" y="562"/>
                        <a:pt x="61" y="560"/>
                      </a:cubicBezTo>
                      <a:cubicBezTo>
                        <a:pt x="61" y="560"/>
                        <a:pt x="60" y="561"/>
                        <a:pt x="60" y="561"/>
                      </a:cubicBezTo>
                      <a:cubicBezTo>
                        <a:pt x="59" y="558"/>
                        <a:pt x="55" y="547"/>
                        <a:pt x="60" y="541"/>
                      </a:cubicBezTo>
                      <a:cubicBezTo>
                        <a:pt x="76" y="528"/>
                        <a:pt x="42" y="530"/>
                        <a:pt x="46" y="516"/>
                      </a:cubicBezTo>
                      <a:cubicBezTo>
                        <a:pt x="54" y="512"/>
                        <a:pt x="52" y="507"/>
                        <a:pt x="45" y="502"/>
                      </a:cubicBezTo>
                      <a:cubicBezTo>
                        <a:pt x="44" y="492"/>
                        <a:pt x="33" y="502"/>
                        <a:pt x="34" y="495"/>
                      </a:cubicBezTo>
                      <a:cubicBezTo>
                        <a:pt x="43" y="487"/>
                        <a:pt x="40" y="477"/>
                        <a:pt x="38" y="467"/>
                      </a:cubicBezTo>
                      <a:cubicBezTo>
                        <a:pt x="33" y="453"/>
                        <a:pt x="47" y="466"/>
                        <a:pt x="52" y="463"/>
                      </a:cubicBezTo>
                      <a:cubicBezTo>
                        <a:pt x="63" y="453"/>
                        <a:pt x="72" y="470"/>
                        <a:pt x="84" y="463"/>
                      </a:cubicBezTo>
                      <a:cubicBezTo>
                        <a:pt x="95" y="462"/>
                        <a:pt x="108" y="459"/>
                        <a:pt x="106" y="444"/>
                      </a:cubicBezTo>
                      <a:cubicBezTo>
                        <a:pt x="110" y="447"/>
                        <a:pt x="94" y="428"/>
                        <a:pt x="105" y="427"/>
                      </a:cubicBezTo>
                      <a:cubicBezTo>
                        <a:pt x="111" y="417"/>
                        <a:pt x="127" y="421"/>
                        <a:pt x="132" y="432"/>
                      </a:cubicBezTo>
                      <a:cubicBezTo>
                        <a:pt x="132" y="444"/>
                        <a:pt x="146" y="448"/>
                        <a:pt x="144" y="459"/>
                      </a:cubicBezTo>
                      <a:cubicBezTo>
                        <a:pt x="146" y="459"/>
                        <a:pt x="160" y="462"/>
                        <a:pt x="167" y="464"/>
                      </a:cubicBezTo>
                      <a:cubicBezTo>
                        <a:pt x="180" y="471"/>
                        <a:pt x="189" y="457"/>
                        <a:pt x="197" y="449"/>
                      </a:cubicBezTo>
                      <a:cubicBezTo>
                        <a:pt x="200" y="434"/>
                        <a:pt x="206" y="449"/>
                        <a:pt x="209" y="456"/>
                      </a:cubicBezTo>
                      <a:cubicBezTo>
                        <a:pt x="218" y="459"/>
                        <a:pt x="201" y="473"/>
                        <a:pt x="215" y="470"/>
                      </a:cubicBezTo>
                      <a:cubicBezTo>
                        <a:pt x="226" y="476"/>
                        <a:pt x="231" y="463"/>
                        <a:pt x="237" y="459"/>
                      </a:cubicBezTo>
                      <a:cubicBezTo>
                        <a:pt x="225" y="451"/>
                        <a:pt x="243" y="444"/>
                        <a:pt x="239" y="433"/>
                      </a:cubicBezTo>
                      <a:cubicBezTo>
                        <a:pt x="246" y="428"/>
                        <a:pt x="254" y="426"/>
                        <a:pt x="251" y="414"/>
                      </a:cubicBezTo>
                      <a:cubicBezTo>
                        <a:pt x="257" y="410"/>
                        <a:pt x="248" y="409"/>
                        <a:pt x="250" y="403"/>
                      </a:cubicBezTo>
                      <a:cubicBezTo>
                        <a:pt x="259" y="397"/>
                        <a:pt x="253" y="387"/>
                        <a:pt x="255" y="378"/>
                      </a:cubicBezTo>
                      <a:cubicBezTo>
                        <a:pt x="251" y="366"/>
                        <a:pt x="250" y="354"/>
                        <a:pt x="254" y="342"/>
                      </a:cubicBezTo>
                      <a:cubicBezTo>
                        <a:pt x="260" y="331"/>
                        <a:pt x="255" y="317"/>
                        <a:pt x="242" y="316"/>
                      </a:cubicBezTo>
                      <a:cubicBezTo>
                        <a:pt x="228" y="321"/>
                        <a:pt x="233" y="299"/>
                        <a:pt x="220" y="301"/>
                      </a:cubicBezTo>
                      <a:cubicBezTo>
                        <a:pt x="206" y="306"/>
                        <a:pt x="206" y="292"/>
                        <a:pt x="214" y="284"/>
                      </a:cubicBezTo>
                      <a:cubicBezTo>
                        <a:pt x="209" y="273"/>
                        <a:pt x="209" y="257"/>
                        <a:pt x="223" y="251"/>
                      </a:cubicBezTo>
                      <a:cubicBezTo>
                        <a:pt x="222" y="239"/>
                        <a:pt x="233" y="242"/>
                        <a:pt x="240" y="240"/>
                      </a:cubicBezTo>
                      <a:cubicBezTo>
                        <a:pt x="244" y="231"/>
                        <a:pt x="254" y="225"/>
                        <a:pt x="254" y="215"/>
                      </a:cubicBezTo>
                      <a:cubicBezTo>
                        <a:pt x="248" y="204"/>
                        <a:pt x="240" y="194"/>
                        <a:pt x="238" y="181"/>
                      </a:cubicBezTo>
                      <a:cubicBezTo>
                        <a:pt x="226" y="177"/>
                        <a:pt x="209" y="170"/>
                        <a:pt x="197" y="179"/>
                      </a:cubicBezTo>
                      <a:cubicBezTo>
                        <a:pt x="187" y="187"/>
                        <a:pt x="175" y="182"/>
                        <a:pt x="164" y="190"/>
                      </a:cubicBezTo>
                      <a:cubicBezTo>
                        <a:pt x="153" y="192"/>
                        <a:pt x="159" y="186"/>
                        <a:pt x="162" y="180"/>
                      </a:cubicBezTo>
                      <a:cubicBezTo>
                        <a:pt x="161" y="169"/>
                        <a:pt x="149" y="161"/>
                        <a:pt x="156" y="150"/>
                      </a:cubicBezTo>
                      <a:cubicBezTo>
                        <a:pt x="155" y="137"/>
                        <a:pt x="165" y="130"/>
                        <a:pt x="166" y="119"/>
                      </a:cubicBezTo>
                      <a:cubicBezTo>
                        <a:pt x="180" y="119"/>
                        <a:pt x="195" y="119"/>
                        <a:pt x="210" y="119"/>
                      </a:cubicBezTo>
                      <a:cubicBezTo>
                        <a:pt x="225" y="120"/>
                        <a:pt x="240" y="118"/>
                        <a:pt x="254" y="120"/>
                      </a:cubicBezTo>
                      <a:cubicBezTo>
                        <a:pt x="265" y="114"/>
                        <a:pt x="271" y="123"/>
                        <a:pt x="280" y="127"/>
                      </a:cubicBezTo>
                      <a:cubicBezTo>
                        <a:pt x="284" y="121"/>
                        <a:pt x="287" y="126"/>
                        <a:pt x="287" y="131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grpSp>
            <p:nvGrpSpPr>
              <p:cNvPr id="640" name="Congo, Democratic Republic of the Congo"/>
              <p:cNvGrpSpPr/>
              <p:nvPr/>
            </p:nvGrpSpPr>
            <p:grpSpPr>
              <a:xfrm>
                <a:off x="4551422" y="4397725"/>
                <a:ext cx="524644" cy="618371"/>
                <a:chOff x="4551422" y="4378636"/>
                <a:chExt cx="524644" cy="618371"/>
              </a:xfrm>
              <a:solidFill>
                <a:srgbClr val="5DD4F1"/>
              </a:solidFill>
            </p:grpSpPr>
            <p:sp>
              <p:nvSpPr>
                <p:cNvPr id="747" name="Democratic Republic of the Congo"/>
                <p:cNvSpPr>
                  <a:spLocks/>
                </p:cNvSpPr>
                <p:nvPr/>
              </p:nvSpPr>
              <p:spPr bwMode="auto">
                <a:xfrm>
                  <a:off x="4575334" y="4746655"/>
                  <a:ext cx="2110" cy="0"/>
                </a:xfrm>
                <a:custGeom>
                  <a:avLst/>
                  <a:gdLst>
                    <a:gd name="T0" fmla="*/ 0 w 5"/>
                    <a:gd name="T1" fmla="*/ 0 h 1"/>
                    <a:gd name="T2" fmla="*/ 5 w 5"/>
                    <a:gd name="T3" fmla="*/ 0 h 1"/>
                    <a:gd name="T4" fmla="*/ 0 w 5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5" h="1">
                      <a:moveTo>
                        <a:pt x="0" y="0"/>
                      </a:moveTo>
                      <a:cubicBezTo>
                        <a:pt x="2" y="0"/>
                        <a:pt x="4" y="0"/>
                        <a:pt x="5" y="0"/>
                      </a:cubicBezTo>
                      <a:cubicBezTo>
                        <a:pt x="4" y="1"/>
                        <a:pt x="2" y="1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48" name="Democratic Republic of the Congo"/>
                <p:cNvSpPr>
                  <a:spLocks noEditPoints="1"/>
                </p:cNvSpPr>
                <p:nvPr/>
              </p:nvSpPr>
              <p:spPr bwMode="auto">
                <a:xfrm>
                  <a:off x="4551422" y="4378636"/>
                  <a:ext cx="524644" cy="618371"/>
                </a:xfrm>
                <a:custGeom>
                  <a:avLst/>
                  <a:gdLst>
                    <a:gd name="T0" fmla="*/ 19 w 1444"/>
                    <a:gd name="T1" fmla="*/ 866 h 1435"/>
                    <a:gd name="T2" fmla="*/ 0 w 1444"/>
                    <a:gd name="T3" fmla="*/ 848 h 1435"/>
                    <a:gd name="T4" fmla="*/ 21 w 1444"/>
                    <a:gd name="T5" fmla="*/ 793 h 1435"/>
                    <a:gd name="T6" fmla="*/ 71 w 1444"/>
                    <a:gd name="T7" fmla="*/ 756 h 1435"/>
                    <a:gd name="T8" fmla="*/ 141 w 1444"/>
                    <a:gd name="T9" fmla="*/ 742 h 1435"/>
                    <a:gd name="T10" fmla="*/ 206 w 1444"/>
                    <a:gd name="T11" fmla="*/ 762 h 1435"/>
                    <a:gd name="T12" fmla="*/ 299 w 1444"/>
                    <a:gd name="T13" fmla="*/ 671 h 1435"/>
                    <a:gd name="T14" fmla="*/ 337 w 1444"/>
                    <a:gd name="T15" fmla="*/ 531 h 1435"/>
                    <a:gd name="T16" fmla="*/ 436 w 1444"/>
                    <a:gd name="T17" fmla="*/ 377 h 1435"/>
                    <a:gd name="T18" fmla="*/ 454 w 1444"/>
                    <a:gd name="T19" fmla="*/ 228 h 1435"/>
                    <a:gd name="T20" fmla="*/ 483 w 1444"/>
                    <a:gd name="T21" fmla="*/ 131 h 1435"/>
                    <a:gd name="T22" fmla="*/ 567 w 1444"/>
                    <a:gd name="T23" fmla="*/ 21 h 1435"/>
                    <a:gd name="T24" fmla="*/ 710 w 1444"/>
                    <a:gd name="T25" fmla="*/ 85 h 1435"/>
                    <a:gd name="T26" fmla="*/ 817 w 1444"/>
                    <a:gd name="T27" fmla="*/ 51 h 1435"/>
                    <a:gd name="T28" fmla="*/ 917 w 1444"/>
                    <a:gd name="T29" fmla="*/ 28 h 1435"/>
                    <a:gd name="T30" fmla="*/ 965 w 1444"/>
                    <a:gd name="T31" fmla="*/ 33 h 1435"/>
                    <a:gd name="T32" fmla="*/ 1046 w 1444"/>
                    <a:gd name="T33" fmla="*/ 13 h 1435"/>
                    <a:gd name="T34" fmla="*/ 1147 w 1444"/>
                    <a:gd name="T35" fmla="*/ 26 h 1435"/>
                    <a:gd name="T36" fmla="*/ 1199 w 1444"/>
                    <a:gd name="T37" fmla="*/ 73 h 1435"/>
                    <a:gd name="T38" fmla="*/ 1302 w 1444"/>
                    <a:gd name="T39" fmla="*/ 54 h 1435"/>
                    <a:gd name="T40" fmla="*/ 1392 w 1444"/>
                    <a:gd name="T41" fmla="*/ 132 h 1435"/>
                    <a:gd name="T42" fmla="*/ 1404 w 1444"/>
                    <a:gd name="T43" fmla="*/ 196 h 1435"/>
                    <a:gd name="T44" fmla="*/ 1426 w 1444"/>
                    <a:gd name="T45" fmla="*/ 265 h 1435"/>
                    <a:gd name="T46" fmla="*/ 1328 w 1444"/>
                    <a:gd name="T47" fmla="*/ 395 h 1435"/>
                    <a:gd name="T48" fmla="*/ 1312 w 1444"/>
                    <a:gd name="T49" fmla="*/ 514 h 1435"/>
                    <a:gd name="T50" fmla="*/ 1261 w 1444"/>
                    <a:gd name="T51" fmla="*/ 614 h 1435"/>
                    <a:gd name="T52" fmla="*/ 1282 w 1444"/>
                    <a:gd name="T53" fmla="*/ 666 h 1435"/>
                    <a:gd name="T54" fmla="*/ 1296 w 1444"/>
                    <a:gd name="T55" fmla="*/ 749 h 1435"/>
                    <a:gd name="T56" fmla="*/ 1308 w 1444"/>
                    <a:gd name="T57" fmla="*/ 898 h 1435"/>
                    <a:gd name="T58" fmla="*/ 1387 w 1444"/>
                    <a:gd name="T59" fmla="*/ 1034 h 1435"/>
                    <a:gd name="T60" fmla="*/ 1216 w 1444"/>
                    <a:gd name="T61" fmla="*/ 1119 h 1435"/>
                    <a:gd name="T62" fmla="*/ 1207 w 1444"/>
                    <a:gd name="T63" fmla="*/ 1274 h 1435"/>
                    <a:gd name="T64" fmla="*/ 1284 w 1444"/>
                    <a:gd name="T65" fmla="*/ 1341 h 1435"/>
                    <a:gd name="T66" fmla="*/ 1295 w 1444"/>
                    <a:gd name="T67" fmla="*/ 1419 h 1435"/>
                    <a:gd name="T68" fmla="*/ 1199 w 1444"/>
                    <a:gd name="T69" fmla="*/ 1355 h 1435"/>
                    <a:gd name="T70" fmla="*/ 1104 w 1444"/>
                    <a:gd name="T71" fmla="*/ 1301 h 1435"/>
                    <a:gd name="T72" fmla="*/ 982 w 1444"/>
                    <a:gd name="T73" fmla="*/ 1292 h 1435"/>
                    <a:gd name="T74" fmla="*/ 893 w 1444"/>
                    <a:gd name="T75" fmla="*/ 1245 h 1435"/>
                    <a:gd name="T76" fmla="*/ 798 w 1444"/>
                    <a:gd name="T77" fmla="*/ 1247 h 1435"/>
                    <a:gd name="T78" fmla="*/ 751 w 1444"/>
                    <a:gd name="T79" fmla="*/ 1256 h 1435"/>
                    <a:gd name="T80" fmla="*/ 721 w 1444"/>
                    <a:gd name="T81" fmla="*/ 1116 h 1435"/>
                    <a:gd name="T82" fmla="*/ 702 w 1444"/>
                    <a:gd name="T83" fmla="*/ 961 h 1435"/>
                    <a:gd name="T84" fmla="*/ 552 w 1444"/>
                    <a:gd name="T85" fmla="*/ 939 h 1435"/>
                    <a:gd name="T86" fmla="*/ 487 w 1444"/>
                    <a:gd name="T87" fmla="*/ 1009 h 1435"/>
                    <a:gd name="T88" fmla="*/ 375 w 1444"/>
                    <a:gd name="T89" fmla="*/ 978 h 1435"/>
                    <a:gd name="T90" fmla="*/ 332 w 1444"/>
                    <a:gd name="T91" fmla="*/ 867 h 1435"/>
                    <a:gd name="T92" fmla="*/ 131 w 1444"/>
                    <a:gd name="T93" fmla="*/ 851 h 1435"/>
                    <a:gd name="T94" fmla="*/ 72 w 1444"/>
                    <a:gd name="T95" fmla="*/ 853 h 1435"/>
                    <a:gd name="T96" fmla="*/ 49 w 1444"/>
                    <a:gd name="T97" fmla="*/ 851 h 1435"/>
                    <a:gd name="T98" fmla="*/ 20 w 1444"/>
                    <a:gd name="T99" fmla="*/ 866 h 14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444" h="1435">
                      <a:moveTo>
                        <a:pt x="905" y="35"/>
                      </a:moveTo>
                      <a:cubicBezTo>
                        <a:pt x="906" y="35"/>
                        <a:pt x="906" y="35"/>
                        <a:pt x="907" y="35"/>
                      </a:cubicBezTo>
                      <a:cubicBezTo>
                        <a:pt x="907" y="35"/>
                        <a:pt x="906" y="35"/>
                        <a:pt x="905" y="35"/>
                      </a:cubicBezTo>
                      <a:close/>
                      <a:moveTo>
                        <a:pt x="19" y="866"/>
                      </a:moveTo>
                      <a:cubicBezTo>
                        <a:pt x="14" y="866"/>
                        <a:pt x="21" y="865"/>
                        <a:pt x="20" y="862"/>
                      </a:cubicBezTo>
                      <a:cubicBezTo>
                        <a:pt x="20" y="860"/>
                        <a:pt x="14" y="859"/>
                        <a:pt x="15" y="863"/>
                      </a:cubicBezTo>
                      <a:cubicBezTo>
                        <a:pt x="14" y="862"/>
                        <a:pt x="12" y="859"/>
                        <a:pt x="11" y="858"/>
                      </a:cubicBezTo>
                      <a:cubicBezTo>
                        <a:pt x="7" y="855"/>
                        <a:pt x="3" y="852"/>
                        <a:pt x="0" y="848"/>
                      </a:cubicBezTo>
                      <a:cubicBezTo>
                        <a:pt x="0" y="848"/>
                        <a:pt x="0" y="848"/>
                        <a:pt x="0" y="848"/>
                      </a:cubicBezTo>
                      <a:cubicBezTo>
                        <a:pt x="3" y="845"/>
                        <a:pt x="8" y="843"/>
                        <a:pt x="12" y="843"/>
                      </a:cubicBezTo>
                      <a:cubicBezTo>
                        <a:pt x="24" y="847"/>
                        <a:pt x="28" y="837"/>
                        <a:pt x="25" y="827"/>
                      </a:cubicBezTo>
                      <a:cubicBezTo>
                        <a:pt x="23" y="815"/>
                        <a:pt x="31" y="800"/>
                        <a:pt x="21" y="793"/>
                      </a:cubicBezTo>
                      <a:cubicBezTo>
                        <a:pt x="28" y="791"/>
                        <a:pt x="32" y="784"/>
                        <a:pt x="39" y="780"/>
                      </a:cubicBezTo>
                      <a:cubicBezTo>
                        <a:pt x="44" y="766"/>
                        <a:pt x="57" y="766"/>
                        <a:pt x="68" y="760"/>
                      </a:cubicBezTo>
                      <a:cubicBezTo>
                        <a:pt x="67" y="758"/>
                        <a:pt x="67" y="758"/>
                        <a:pt x="67" y="758"/>
                      </a:cubicBezTo>
                      <a:cubicBezTo>
                        <a:pt x="68" y="758"/>
                        <a:pt x="70" y="757"/>
                        <a:pt x="71" y="756"/>
                      </a:cubicBezTo>
                      <a:cubicBezTo>
                        <a:pt x="74" y="765"/>
                        <a:pt x="86" y="768"/>
                        <a:pt x="90" y="776"/>
                      </a:cubicBezTo>
                      <a:cubicBezTo>
                        <a:pt x="97" y="780"/>
                        <a:pt x="99" y="766"/>
                        <a:pt x="107" y="770"/>
                      </a:cubicBezTo>
                      <a:cubicBezTo>
                        <a:pt x="121" y="768"/>
                        <a:pt x="109" y="746"/>
                        <a:pt x="122" y="744"/>
                      </a:cubicBezTo>
                      <a:cubicBezTo>
                        <a:pt x="128" y="752"/>
                        <a:pt x="135" y="749"/>
                        <a:pt x="141" y="742"/>
                      </a:cubicBezTo>
                      <a:cubicBezTo>
                        <a:pt x="150" y="746"/>
                        <a:pt x="165" y="725"/>
                        <a:pt x="167" y="739"/>
                      </a:cubicBezTo>
                      <a:cubicBezTo>
                        <a:pt x="176" y="744"/>
                        <a:pt x="168" y="750"/>
                        <a:pt x="164" y="756"/>
                      </a:cubicBezTo>
                      <a:cubicBezTo>
                        <a:pt x="173" y="761"/>
                        <a:pt x="161" y="781"/>
                        <a:pt x="174" y="777"/>
                      </a:cubicBezTo>
                      <a:cubicBezTo>
                        <a:pt x="186" y="784"/>
                        <a:pt x="201" y="776"/>
                        <a:pt x="206" y="762"/>
                      </a:cubicBezTo>
                      <a:cubicBezTo>
                        <a:pt x="217" y="754"/>
                        <a:pt x="222" y="738"/>
                        <a:pt x="235" y="734"/>
                      </a:cubicBezTo>
                      <a:cubicBezTo>
                        <a:pt x="248" y="738"/>
                        <a:pt x="247" y="724"/>
                        <a:pt x="252" y="716"/>
                      </a:cubicBezTo>
                      <a:cubicBezTo>
                        <a:pt x="260" y="709"/>
                        <a:pt x="274" y="714"/>
                        <a:pt x="280" y="705"/>
                      </a:cubicBezTo>
                      <a:cubicBezTo>
                        <a:pt x="286" y="694"/>
                        <a:pt x="292" y="682"/>
                        <a:pt x="299" y="671"/>
                      </a:cubicBezTo>
                      <a:cubicBezTo>
                        <a:pt x="307" y="661"/>
                        <a:pt x="299" y="647"/>
                        <a:pt x="301" y="635"/>
                      </a:cubicBezTo>
                      <a:cubicBezTo>
                        <a:pt x="299" y="623"/>
                        <a:pt x="307" y="612"/>
                        <a:pt x="303" y="600"/>
                      </a:cubicBezTo>
                      <a:cubicBezTo>
                        <a:pt x="301" y="589"/>
                        <a:pt x="297" y="574"/>
                        <a:pt x="308" y="567"/>
                      </a:cubicBezTo>
                      <a:cubicBezTo>
                        <a:pt x="322" y="559"/>
                        <a:pt x="331" y="546"/>
                        <a:pt x="337" y="531"/>
                      </a:cubicBezTo>
                      <a:cubicBezTo>
                        <a:pt x="343" y="511"/>
                        <a:pt x="359" y="492"/>
                        <a:pt x="380" y="489"/>
                      </a:cubicBezTo>
                      <a:cubicBezTo>
                        <a:pt x="393" y="484"/>
                        <a:pt x="400" y="471"/>
                        <a:pt x="410" y="462"/>
                      </a:cubicBezTo>
                      <a:cubicBezTo>
                        <a:pt x="425" y="448"/>
                        <a:pt x="413" y="430"/>
                        <a:pt x="419" y="414"/>
                      </a:cubicBezTo>
                      <a:cubicBezTo>
                        <a:pt x="420" y="399"/>
                        <a:pt x="431" y="390"/>
                        <a:pt x="436" y="377"/>
                      </a:cubicBezTo>
                      <a:cubicBezTo>
                        <a:pt x="428" y="365"/>
                        <a:pt x="432" y="353"/>
                        <a:pt x="429" y="340"/>
                      </a:cubicBezTo>
                      <a:cubicBezTo>
                        <a:pt x="426" y="329"/>
                        <a:pt x="437" y="320"/>
                        <a:pt x="437" y="309"/>
                      </a:cubicBezTo>
                      <a:cubicBezTo>
                        <a:pt x="442" y="299"/>
                        <a:pt x="446" y="287"/>
                        <a:pt x="443" y="276"/>
                      </a:cubicBezTo>
                      <a:cubicBezTo>
                        <a:pt x="444" y="259"/>
                        <a:pt x="441" y="240"/>
                        <a:pt x="454" y="228"/>
                      </a:cubicBezTo>
                      <a:cubicBezTo>
                        <a:pt x="458" y="215"/>
                        <a:pt x="470" y="206"/>
                        <a:pt x="472" y="191"/>
                      </a:cubicBezTo>
                      <a:cubicBezTo>
                        <a:pt x="479" y="177"/>
                        <a:pt x="491" y="164"/>
                        <a:pt x="485" y="147"/>
                      </a:cubicBezTo>
                      <a:cubicBezTo>
                        <a:pt x="483" y="145"/>
                        <a:pt x="483" y="145"/>
                        <a:pt x="483" y="145"/>
                      </a:cubicBezTo>
                      <a:cubicBezTo>
                        <a:pt x="485" y="145"/>
                        <a:pt x="484" y="135"/>
                        <a:pt x="483" y="131"/>
                      </a:cubicBezTo>
                      <a:cubicBezTo>
                        <a:pt x="481" y="117"/>
                        <a:pt x="492" y="101"/>
                        <a:pt x="481" y="89"/>
                      </a:cubicBezTo>
                      <a:cubicBezTo>
                        <a:pt x="473" y="78"/>
                        <a:pt x="488" y="81"/>
                        <a:pt x="493" y="78"/>
                      </a:cubicBezTo>
                      <a:cubicBezTo>
                        <a:pt x="501" y="64"/>
                        <a:pt x="512" y="51"/>
                        <a:pt x="521" y="37"/>
                      </a:cubicBezTo>
                      <a:cubicBezTo>
                        <a:pt x="536" y="29"/>
                        <a:pt x="549" y="16"/>
                        <a:pt x="567" y="21"/>
                      </a:cubicBezTo>
                      <a:cubicBezTo>
                        <a:pt x="578" y="30"/>
                        <a:pt x="592" y="35"/>
                        <a:pt x="603" y="44"/>
                      </a:cubicBezTo>
                      <a:cubicBezTo>
                        <a:pt x="617" y="48"/>
                        <a:pt x="621" y="62"/>
                        <a:pt x="627" y="72"/>
                      </a:cubicBezTo>
                      <a:cubicBezTo>
                        <a:pt x="642" y="81"/>
                        <a:pt x="663" y="65"/>
                        <a:pt x="675" y="83"/>
                      </a:cubicBezTo>
                      <a:cubicBezTo>
                        <a:pt x="686" y="81"/>
                        <a:pt x="699" y="93"/>
                        <a:pt x="710" y="85"/>
                      </a:cubicBezTo>
                      <a:cubicBezTo>
                        <a:pt x="725" y="86"/>
                        <a:pt x="741" y="88"/>
                        <a:pt x="755" y="96"/>
                      </a:cubicBezTo>
                      <a:cubicBezTo>
                        <a:pt x="771" y="104"/>
                        <a:pt x="785" y="87"/>
                        <a:pt x="784" y="72"/>
                      </a:cubicBezTo>
                      <a:cubicBezTo>
                        <a:pt x="795" y="72"/>
                        <a:pt x="790" y="52"/>
                        <a:pt x="803" y="52"/>
                      </a:cubicBezTo>
                      <a:cubicBezTo>
                        <a:pt x="804" y="44"/>
                        <a:pt x="814" y="41"/>
                        <a:pt x="817" y="51"/>
                      </a:cubicBezTo>
                      <a:cubicBezTo>
                        <a:pt x="827" y="50"/>
                        <a:pt x="832" y="58"/>
                        <a:pt x="841" y="62"/>
                      </a:cubicBezTo>
                      <a:cubicBezTo>
                        <a:pt x="852" y="55"/>
                        <a:pt x="863" y="47"/>
                        <a:pt x="877" y="45"/>
                      </a:cubicBezTo>
                      <a:cubicBezTo>
                        <a:pt x="887" y="43"/>
                        <a:pt x="896" y="36"/>
                        <a:pt x="905" y="35"/>
                      </a:cubicBezTo>
                      <a:cubicBezTo>
                        <a:pt x="901" y="35"/>
                        <a:pt x="915" y="32"/>
                        <a:pt x="917" y="28"/>
                      </a:cubicBezTo>
                      <a:cubicBezTo>
                        <a:pt x="921" y="30"/>
                        <a:pt x="931" y="26"/>
                        <a:pt x="935" y="30"/>
                      </a:cubicBezTo>
                      <a:cubicBezTo>
                        <a:pt x="940" y="44"/>
                        <a:pt x="954" y="32"/>
                        <a:pt x="964" y="32"/>
                      </a:cubicBezTo>
                      <a:cubicBezTo>
                        <a:pt x="964" y="32"/>
                        <a:pt x="964" y="32"/>
                        <a:pt x="964" y="32"/>
                      </a:cubicBezTo>
                      <a:cubicBezTo>
                        <a:pt x="965" y="33"/>
                        <a:pt x="965" y="33"/>
                        <a:pt x="965" y="33"/>
                      </a:cubicBezTo>
                      <a:cubicBezTo>
                        <a:pt x="959" y="35"/>
                        <a:pt x="993" y="31"/>
                        <a:pt x="988" y="17"/>
                      </a:cubicBezTo>
                      <a:cubicBezTo>
                        <a:pt x="989" y="0"/>
                        <a:pt x="1011" y="0"/>
                        <a:pt x="1018" y="11"/>
                      </a:cubicBezTo>
                      <a:cubicBezTo>
                        <a:pt x="1028" y="11"/>
                        <a:pt x="1020" y="13"/>
                        <a:pt x="1030" y="15"/>
                      </a:cubicBezTo>
                      <a:cubicBezTo>
                        <a:pt x="1024" y="17"/>
                        <a:pt x="1040" y="16"/>
                        <a:pt x="1046" y="13"/>
                      </a:cubicBezTo>
                      <a:cubicBezTo>
                        <a:pt x="1055" y="13"/>
                        <a:pt x="1066" y="20"/>
                        <a:pt x="1074" y="25"/>
                      </a:cubicBezTo>
                      <a:cubicBezTo>
                        <a:pt x="1085" y="26"/>
                        <a:pt x="1094" y="21"/>
                        <a:pt x="1104" y="26"/>
                      </a:cubicBezTo>
                      <a:cubicBezTo>
                        <a:pt x="1112" y="9"/>
                        <a:pt x="1130" y="16"/>
                        <a:pt x="1144" y="23"/>
                      </a:cubicBezTo>
                      <a:cubicBezTo>
                        <a:pt x="1145" y="26"/>
                        <a:pt x="1147" y="26"/>
                        <a:pt x="1147" y="26"/>
                      </a:cubicBezTo>
                      <a:cubicBezTo>
                        <a:pt x="1148" y="28"/>
                        <a:pt x="1148" y="28"/>
                        <a:pt x="1148" y="28"/>
                      </a:cubicBezTo>
                      <a:cubicBezTo>
                        <a:pt x="1154" y="37"/>
                        <a:pt x="1165" y="36"/>
                        <a:pt x="1169" y="46"/>
                      </a:cubicBezTo>
                      <a:cubicBezTo>
                        <a:pt x="1174" y="51"/>
                        <a:pt x="1174" y="68"/>
                        <a:pt x="1187" y="62"/>
                      </a:cubicBezTo>
                      <a:cubicBezTo>
                        <a:pt x="1195" y="62"/>
                        <a:pt x="1190" y="75"/>
                        <a:pt x="1199" y="73"/>
                      </a:cubicBezTo>
                      <a:cubicBezTo>
                        <a:pt x="1203" y="81"/>
                        <a:pt x="1225" y="89"/>
                        <a:pt x="1221" y="83"/>
                      </a:cubicBezTo>
                      <a:cubicBezTo>
                        <a:pt x="1230" y="78"/>
                        <a:pt x="1239" y="71"/>
                        <a:pt x="1246" y="63"/>
                      </a:cubicBezTo>
                      <a:cubicBezTo>
                        <a:pt x="1254" y="72"/>
                        <a:pt x="1270" y="65"/>
                        <a:pt x="1278" y="77"/>
                      </a:cubicBezTo>
                      <a:cubicBezTo>
                        <a:pt x="1291" y="80"/>
                        <a:pt x="1297" y="60"/>
                        <a:pt x="1302" y="54"/>
                      </a:cubicBezTo>
                      <a:cubicBezTo>
                        <a:pt x="1313" y="55"/>
                        <a:pt x="1329" y="60"/>
                        <a:pt x="1324" y="74"/>
                      </a:cubicBezTo>
                      <a:cubicBezTo>
                        <a:pt x="1328" y="81"/>
                        <a:pt x="1337" y="78"/>
                        <a:pt x="1339" y="88"/>
                      </a:cubicBezTo>
                      <a:cubicBezTo>
                        <a:pt x="1350" y="99"/>
                        <a:pt x="1358" y="112"/>
                        <a:pt x="1376" y="114"/>
                      </a:cubicBezTo>
                      <a:cubicBezTo>
                        <a:pt x="1389" y="115"/>
                        <a:pt x="1376" y="142"/>
                        <a:pt x="1392" y="132"/>
                      </a:cubicBezTo>
                      <a:cubicBezTo>
                        <a:pt x="1400" y="125"/>
                        <a:pt x="1402" y="141"/>
                        <a:pt x="1405" y="141"/>
                      </a:cubicBezTo>
                      <a:cubicBezTo>
                        <a:pt x="1405" y="143"/>
                        <a:pt x="1405" y="143"/>
                        <a:pt x="1405" y="143"/>
                      </a:cubicBezTo>
                      <a:cubicBezTo>
                        <a:pt x="1418" y="141"/>
                        <a:pt x="1402" y="160"/>
                        <a:pt x="1401" y="165"/>
                      </a:cubicBezTo>
                      <a:cubicBezTo>
                        <a:pt x="1390" y="177"/>
                        <a:pt x="1412" y="184"/>
                        <a:pt x="1404" y="196"/>
                      </a:cubicBezTo>
                      <a:cubicBezTo>
                        <a:pt x="1401" y="204"/>
                        <a:pt x="1389" y="221"/>
                        <a:pt x="1401" y="224"/>
                      </a:cubicBezTo>
                      <a:cubicBezTo>
                        <a:pt x="1404" y="238"/>
                        <a:pt x="1413" y="222"/>
                        <a:pt x="1418" y="229"/>
                      </a:cubicBezTo>
                      <a:cubicBezTo>
                        <a:pt x="1419" y="239"/>
                        <a:pt x="1431" y="230"/>
                        <a:pt x="1431" y="239"/>
                      </a:cubicBezTo>
                      <a:cubicBezTo>
                        <a:pt x="1444" y="246"/>
                        <a:pt x="1432" y="257"/>
                        <a:pt x="1426" y="265"/>
                      </a:cubicBezTo>
                      <a:cubicBezTo>
                        <a:pt x="1416" y="282"/>
                        <a:pt x="1395" y="289"/>
                        <a:pt x="1385" y="306"/>
                      </a:cubicBezTo>
                      <a:cubicBezTo>
                        <a:pt x="1381" y="320"/>
                        <a:pt x="1363" y="316"/>
                        <a:pt x="1358" y="326"/>
                      </a:cubicBezTo>
                      <a:cubicBezTo>
                        <a:pt x="1362" y="345"/>
                        <a:pt x="1333" y="339"/>
                        <a:pt x="1338" y="357"/>
                      </a:cubicBezTo>
                      <a:cubicBezTo>
                        <a:pt x="1342" y="372"/>
                        <a:pt x="1329" y="380"/>
                        <a:pt x="1328" y="395"/>
                      </a:cubicBezTo>
                      <a:cubicBezTo>
                        <a:pt x="1317" y="403"/>
                        <a:pt x="1321" y="420"/>
                        <a:pt x="1317" y="432"/>
                      </a:cubicBezTo>
                      <a:cubicBezTo>
                        <a:pt x="1316" y="446"/>
                        <a:pt x="1314" y="460"/>
                        <a:pt x="1314" y="474"/>
                      </a:cubicBezTo>
                      <a:cubicBezTo>
                        <a:pt x="1307" y="484"/>
                        <a:pt x="1310" y="498"/>
                        <a:pt x="1311" y="510"/>
                      </a:cubicBezTo>
                      <a:cubicBezTo>
                        <a:pt x="1311" y="512"/>
                        <a:pt x="1312" y="513"/>
                        <a:pt x="1312" y="514"/>
                      </a:cubicBezTo>
                      <a:cubicBezTo>
                        <a:pt x="1311" y="515"/>
                        <a:pt x="1311" y="515"/>
                        <a:pt x="1311" y="515"/>
                      </a:cubicBezTo>
                      <a:cubicBezTo>
                        <a:pt x="1297" y="523"/>
                        <a:pt x="1286" y="533"/>
                        <a:pt x="1278" y="547"/>
                      </a:cubicBezTo>
                      <a:cubicBezTo>
                        <a:pt x="1273" y="560"/>
                        <a:pt x="1286" y="582"/>
                        <a:pt x="1265" y="586"/>
                      </a:cubicBezTo>
                      <a:cubicBezTo>
                        <a:pt x="1253" y="589"/>
                        <a:pt x="1254" y="607"/>
                        <a:pt x="1261" y="614"/>
                      </a:cubicBezTo>
                      <a:cubicBezTo>
                        <a:pt x="1263" y="616"/>
                        <a:pt x="1265" y="617"/>
                        <a:pt x="1266" y="617"/>
                      </a:cubicBezTo>
                      <a:cubicBezTo>
                        <a:pt x="1267" y="619"/>
                        <a:pt x="1267" y="619"/>
                        <a:pt x="1267" y="619"/>
                      </a:cubicBezTo>
                      <a:cubicBezTo>
                        <a:pt x="1262" y="624"/>
                        <a:pt x="1272" y="628"/>
                        <a:pt x="1274" y="634"/>
                      </a:cubicBezTo>
                      <a:cubicBezTo>
                        <a:pt x="1288" y="640"/>
                        <a:pt x="1280" y="655"/>
                        <a:pt x="1282" y="666"/>
                      </a:cubicBezTo>
                      <a:cubicBezTo>
                        <a:pt x="1285" y="678"/>
                        <a:pt x="1283" y="690"/>
                        <a:pt x="1282" y="701"/>
                      </a:cubicBezTo>
                      <a:cubicBezTo>
                        <a:pt x="1284" y="715"/>
                        <a:pt x="1298" y="725"/>
                        <a:pt x="1294" y="740"/>
                      </a:cubicBezTo>
                      <a:cubicBezTo>
                        <a:pt x="1294" y="743"/>
                        <a:pt x="1296" y="746"/>
                        <a:pt x="1297" y="747"/>
                      </a:cubicBezTo>
                      <a:cubicBezTo>
                        <a:pt x="1296" y="749"/>
                        <a:pt x="1296" y="749"/>
                        <a:pt x="1296" y="749"/>
                      </a:cubicBezTo>
                      <a:cubicBezTo>
                        <a:pt x="1299" y="762"/>
                        <a:pt x="1285" y="773"/>
                        <a:pt x="1290" y="786"/>
                      </a:cubicBezTo>
                      <a:cubicBezTo>
                        <a:pt x="1291" y="797"/>
                        <a:pt x="1299" y="805"/>
                        <a:pt x="1300" y="816"/>
                      </a:cubicBezTo>
                      <a:cubicBezTo>
                        <a:pt x="1302" y="828"/>
                        <a:pt x="1314" y="840"/>
                        <a:pt x="1308" y="852"/>
                      </a:cubicBezTo>
                      <a:cubicBezTo>
                        <a:pt x="1294" y="864"/>
                        <a:pt x="1300" y="885"/>
                        <a:pt x="1308" y="898"/>
                      </a:cubicBezTo>
                      <a:cubicBezTo>
                        <a:pt x="1312" y="915"/>
                        <a:pt x="1326" y="924"/>
                        <a:pt x="1340" y="931"/>
                      </a:cubicBezTo>
                      <a:cubicBezTo>
                        <a:pt x="1356" y="945"/>
                        <a:pt x="1366" y="965"/>
                        <a:pt x="1367" y="985"/>
                      </a:cubicBezTo>
                      <a:cubicBezTo>
                        <a:pt x="1373" y="1002"/>
                        <a:pt x="1389" y="1015"/>
                        <a:pt x="1389" y="1033"/>
                      </a:cubicBezTo>
                      <a:cubicBezTo>
                        <a:pt x="1388" y="1033"/>
                        <a:pt x="1387" y="1033"/>
                        <a:pt x="1387" y="1034"/>
                      </a:cubicBezTo>
                      <a:cubicBezTo>
                        <a:pt x="1377" y="1038"/>
                        <a:pt x="1363" y="1037"/>
                        <a:pt x="1352" y="1040"/>
                      </a:cubicBezTo>
                      <a:cubicBezTo>
                        <a:pt x="1318" y="1045"/>
                        <a:pt x="1284" y="1050"/>
                        <a:pt x="1251" y="1055"/>
                      </a:cubicBezTo>
                      <a:cubicBezTo>
                        <a:pt x="1262" y="1072"/>
                        <a:pt x="1242" y="1087"/>
                        <a:pt x="1232" y="1098"/>
                      </a:cubicBezTo>
                      <a:cubicBezTo>
                        <a:pt x="1227" y="1105"/>
                        <a:pt x="1200" y="1112"/>
                        <a:pt x="1216" y="1119"/>
                      </a:cubicBezTo>
                      <a:cubicBezTo>
                        <a:pt x="1224" y="1129"/>
                        <a:pt x="1226" y="1142"/>
                        <a:pt x="1231" y="1154"/>
                      </a:cubicBezTo>
                      <a:cubicBezTo>
                        <a:pt x="1227" y="1169"/>
                        <a:pt x="1222" y="1184"/>
                        <a:pt x="1226" y="1199"/>
                      </a:cubicBezTo>
                      <a:cubicBezTo>
                        <a:pt x="1226" y="1211"/>
                        <a:pt x="1234" y="1223"/>
                        <a:pt x="1221" y="1230"/>
                      </a:cubicBezTo>
                      <a:cubicBezTo>
                        <a:pt x="1215" y="1245"/>
                        <a:pt x="1214" y="1260"/>
                        <a:pt x="1207" y="1274"/>
                      </a:cubicBezTo>
                      <a:cubicBezTo>
                        <a:pt x="1198" y="1286"/>
                        <a:pt x="1209" y="1302"/>
                        <a:pt x="1216" y="1313"/>
                      </a:cubicBezTo>
                      <a:cubicBezTo>
                        <a:pt x="1228" y="1320"/>
                        <a:pt x="1238" y="1329"/>
                        <a:pt x="1246" y="1341"/>
                      </a:cubicBezTo>
                      <a:cubicBezTo>
                        <a:pt x="1251" y="1358"/>
                        <a:pt x="1270" y="1346"/>
                        <a:pt x="1281" y="1357"/>
                      </a:cubicBezTo>
                      <a:cubicBezTo>
                        <a:pt x="1294" y="1356"/>
                        <a:pt x="1274" y="1347"/>
                        <a:pt x="1284" y="1341"/>
                      </a:cubicBezTo>
                      <a:cubicBezTo>
                        <a:pt x="1291" y="1336"/>
                        <a:pt x="1300" y="1338"/>
                        <a:pt x="1307" y="1336"/>
                      </a:cubicBezTo>
                      <a:cubicBezTo>
                        <a:pt x="1308" y="1353"/>
                        <a:pt x="1306" y="1371"/>
                        <a:pt x="1306" y="1389"/>
                      </a:cubicBezTo>
                      <a:cubicBezTo>
                        <a:pt x="1303" y="1403"/>
                        <a:pt x="1307" y="1423"/>
                        <a:pt x="1301" y="1433"/>
                      </a:cubicBezTo>
                      <a:cubicBezTo>
                        <a:pt x="1286" y="1429"/>
                        <a:pt x="1293" y="1425"/>
                        <a:pt x="1295" y="1419"/>
                      </a:cubicBezTo>
                      <a:cubicBezTo>
                        <a:pt x="1282" y="1408"/>
                        <a:pt x="1268" y="1435"/>
                        <a:pt x="1255" y="1427"/>
                      </a:cubicBezTo>
                      <a:cubicBezTo>
                        <a:pt x="1238" y="1431"/>
                        <a:pt x="1243" y="1411"/>
                        <a:pt x="1235" y="1402"/>
                      </a:cubicBezTo>
                      <a:cubicBezTo>
                        <a:pt x="1232" y="1394"/>
                        <a:pt x="1223" y="1381"/>
                        <a:pt x="1215" y="1388"/>
                      </a:cubicBezTo>
                      <a:cubicBezTo>
                        <a:pt x="1208" y="1377"/>
                        <a:pt x="1214" y="1362"/>
                        <a:pt x="1199" y="1355"/>
                      </a:cubicBezTo>
                      <a:cubicBezTo>
                        <a:pt x="1186" y="1353"/>
                        <a:pt x="1175" y="1349"/>
                        <a:pt x="1165" y="1341"/>
                      </a:cubicBezTo>
                      <a:cubicBezTo>
                        <a:pt x="1150" y="1350"/>
                        <a:pt x="1137" y="1333"/>
                        <a:pt x="1136" y="1318"/>
                      </a:cubicBezTo>
                      <a:cubicBezTo>
                        <a:pt x="1129" y="1310"/>
                        <a:pt x="1115" y="1305"/>
                        <a:pt x="1119" y="1292"/>
                      </a:cubicBezTo>
                      <a:cubicBezTo>
                        <a:pt x="1113" y="1282"/>
                        <a:pt x="1101" y="1292"/>
                        <a:pt x="1104" y="1301"/>
                      </a:cubicBezTo>
                      <a:cubicBezTo>
                        <a:pt x="1103" y="1317"/>
                        <a:pt x="1084" y="1322"/>
                        <a:pt x="1071" y="1318"/>
                      </a:cubicBezTo>
                      <a:cubicBezTo>
                        <a:pt x="1058" y="1312"/>
                        <a:pt x="1043" y="1314"/>
                        <a:pt x="1029" y="1312"/>
                      </a:cubicBezTo>
                      <a:cubicBezTo>
                        <a:pt x="1020" y="1303"/>
                        <a:pt x="1009" y="1305"/>
                        <a:pt x="999" y="1299"/>
                      </a:cubicBezTo>
                      <a:cubicBezTo>
                        <a:pt x="990" y="1307"/>
                        <a:pt x="991" y="1291"/>
                        <a:pt x="982" y="1292"/>
                      </a:cubicBezTo>
                      <a:cubicBezTo>
                        <a:pt x="974" y="1281"/>
                        <a:pt x="979" y="1269"/>
                        <a:pt x="980" y="1258"/>
                      </a:cubicBezTo>
                      <a:cubicBezTo>
                        <a:pt x="963" y="1266"/>
                        <a:pt x="943" y="1261"/>
                        <a:pt x="928" y="1272"/>
                      </a:cubicBezTo>
                      <a:cubicBezTo>
                        <a:pt x="921" y="1281"/>
                        <a:pt x="910" y="1277"/>
                        <a:pt x="904" y="1271"/>
                      </a:cubicBezTo>
                      <a:cubicBezTo>
                        <a:pt x="919" y="1265"/>
                        <a:pt x="909" y="1240"/>
                        <a:pt x="893" y="1245"/>
                      </a:cubicBezTo>
                      <a:cubicBezTo>
                        <a:pt x="895" y="1238"/>
                        <a:pt x="883" y="1229"/>
                        <a:pt x="882" y="1235"/>
                      </a:cubicBezTo>
                      <a:cubicBezTo>
                        <a:pt x="880" y="1234"/>
                        <a:pt x="880" y="1234"/>
                        <a:pt x="880" y="1234"/>
                      </a:cubicBezTo>
                      <a:cubicBezTo>
                        <a:pt x="873" y="1251"/>
                        <a:pt x="854" y="1240"/>
                        <a:pt x="841" y="1239"/>
                      </a:cubicBezTo>
                      <a:cubicBezTo>
                        <a:pt x="827" y="1244"/>
                        <a:pt x="813" y="1254"/>
                        <a:pt x="798" y="1247"/>
                      </a:cubicBezTo>
                      <a:cubicBezTo>
                        <a:pt x="792" y="1250"/>
                        <a:pt x="775" y="1248"/>
                        <a:pt x="772" y="1246"/>
                      </a:cubicBezTo>
                      <a:cubicBezTo>
                        <a:pt x="772" y="1246"/>
                        <a:pt x="772" y="1246"/>
                        <a:pt x="772" y="1246"/>
                      </a:cubicBezTo>
                      <a:cubicBezTo>
                        <a:pt x="770" y="1246"/>
                        <a:pt x="770" y="1246"/>
                        <a:pt x="772" y="1246"/>
                      </a:cubicBezTo>
                      <a:cubicBezTo>
                        <a:pt x="768" y="1251"/>
                        <a:pt x="756" y="1254"/>
                        <a:pt x="751" y="1256"/>
                      </a:cubicBezTo>
                      <a:cubicBezTo>
                        <a:pt x="753" y="1246"/>
                        <a:pt x="740" y="1235"/>
                        <a:pt x="749" y="1227"/>
                      </a:cubicBezTo>
                      <a:cubicBezTo>
                        <a:pt x="765" y="1221"/>
                        <a:pt x="750" y="1203"/>
                        <a:pt x="756" y="1192"/>
                      </a:cubicBezTo>
                      <a:cubicBezTo>
                        <a:pt x="747" y="1179"/>
                        <a:pt x="752" y="1159"/>
                        <a:pt x="735" y="1153"/>
                      </a:cubicBezTo>
                      <a:cubicBezTo>
                        <a:pt x="726" y="1142"/>
                        <a:pt x="717" y="1130"/>
                        <a:pt x="721" y="1116"/>
                      </a:cubicBezTo>
                      <a:cubicBezTo>
                        <a:pt x="725" y="1098"/>
                        <a:pt x="722" y="1079"/>
                        <a:pt x="729" y="1061"/>
                      </a:cubicBezTo>
                      <a:cubicBezTo>
                        <a:pt x="735" y="1043"/>
                        <a:pt x="721" y="1026"/>
                        <a:pt x="718" y="1009"/>
                      </a:cubicBezTo>
                      <a:cubicBezTo>
                        <a:pt x="718" y="996"/>
                        <a:pt x="727" y="985"/>
                        <a:pt x="725" y="972"/>
                      </a:cubicBezTo>
                      <a:cubicBezTo>
                        <a:pt x="726" y="959"/>
                        <a:pt x="711" y="960"/>
                        <a:pt x="702" y="961"/>
                      </a:cubicBezTo>
                      <a:cubicBezTo>
                        <a:pt x="677" y="960"/>
                        <a:pt x="652" y="961"/>
                        <a:pt x="627" y="961"/>
                      </a:cubicBezTo>
                      <a:cubicBezTo>
                        <a:pt x="622" y="950"/>
                        <a:pt x="644" y="928"/>
                        <a:pt x="621" y="933"/>
                      </a:cubicBezTo>
                      <a:cubicBezTo>
                        <a:pt x="611" y="929"/>
                        <a:pt x="609" y="944"/>
                        <a:pt x="598" y="939"/>
                      </a:cubicBezTo>
                      <a:cubicBezTo>
                        <a:pt x="583" y="939"/>
                        <a:pt x="568" y="939"/>
                        <a:pt x="552" y="939"/>
                      </a:cubicBezTo>
                      <a:cubicBezTo>
                        <a:pt x="551" y="950"/>
                        <a:pt x="545" y="961"/>
                        <a:pt x="551" y="973"/>
                      </a:cubicBezTo>
                      <a:cubicBezTo>
                        <a:pt x="552" y="983"/>
                        <a:pt x="534" y="981"/>
                        <a:pt x="541" y="992"/>
                      </a:cubicBezTo>
                      <a:cubicBezTo>
                        <a:pt x="537" y="1002"/>
                        <a:pt x="543" y="1020"/>
                        <a:pt x="526" y="1014"/>
                      </a:cubicBezTo>
                      <a:cubicBezTo>
                        <a:pt x="512" y="1014"/>
                        <a:pt x="498" y="1016"/>
                        <a:pt x="487" y="1009"/>
                      </a:cubicBezTo>
                      <a:cubicBezTo>
                        <a:pt x="475" y="1011"/>
                        <a:pt x="465" y="1018"/>
                        <a:pt x="452" y="1014"/>
                      </a:cubicBezTo>
                      <a:cubicBezTo>
                        <a:pt x="444" y="1015"/>
                        <a:pt x="442" y="1029"/>
                        <a:pt x="433" y="1019"/>
                      </a:cubicBezTo>
                      <a:cubicBezTo>
                        <a:pt x="423" y="1014"/>
                        <a:pt x="404" y="1029"/>
                        <a:pt x="399" y="1014"/>
                      </a:cubicBezTo>
                      <a:cubicBezTo>
                        <a:pt x="390" y="1003"/>
                        <a:pt x="384" y="989"/>
                        <a:pt x="375" y="978"/>
                      </a:cubicBezTo>
                      <a:cubicBezTo>
                        <a:pt x="372" y="972"/>
                        <a:pt x="375" y="971"/>
                        <a:pt x="368" y="968"/>
                      </a:cubicBezTo>
                      <a:cubicBezTo>
                        <a:pt x="364" y="962"/>
                        <a:pt x="351" y="951"/>
                        <a:pt x="359" y="943"/>
                      </a:cubicBezTo>
                      <a:cubicBezTo>
                        <a:pt x="358" y="929"/>
                        <a:pt x="344" y="918"/>
                        <a:pt x="342" y="903"/>
                      </a:cubicBezTo>
                      <a:cubicBezTo>
                        <a:pt x="336" y="891"/>
                        <a:pt x="346" y="876"/>
                        <a:pt x="332" y="867"/>
                      </a:cubicBezTo>
                      <a:cubicBezTo>
                        <a:pt x="333" y="848"/>
                        <a:pt x="308" y="853"/>
                        <a:pt x="295" y="852"/>
                      </a:cubicBezTo>
                      <a:cubicBezTo>
                        <a:pt x="270" y="853"/>
                        <a:pt x="246" y="852"/>
                        <a:pt x="222" y="853"/>
                      </a:cubicBezTo>
                      <a:cubicBezTo>
                        <a:pt x="208" y="853"/>
                        <a:pt x="193" y="853"/>
                        <a:pt x="180" y="856"/>
                      </a:cubicBezTo>
                      <a:cubicBezTo>
                        <a:pt x="164" y="855"/>
                        <a:pt x="146" y="854"/>
                        <a:pt x="131" y="851"/>
                      </a:cubicBezTo>
                      <a:cubicBezTo>
                        <a:pt x="119" y="853"/>
                        <a:pt x="107" y="853"/>
                        <a:pt x="95" y="852"/>
                      </a:cubicBezTo>
                      <a:cubicBezTo>
                        <a:pt x="88" y="854"/>
                        <a:pt x="81" y="854"/>
                        <a:pt x="74" y="853"/>
                      </a:cubicBezTo>
                      <a:cubicBezTo>
                        <a:pt x="74" y="853"/>
                        <a:pt x="74" y="853"/>
                        <a:pt x="73" y="853"/>
                      </a:cubicBezTo>
                      <a:cubicBezTo>
                        <a:pt x="73" y="853"/>
                        <a:pt x="73" y="853"/>
                        <a:pt x="72" y="853"/>
                      </a:cubicBezTo>
                      <a:cubicBezTo>
                        <a:pt x="71" y="853"/>
                        <a:pt x="69" y="853"/>
                        <a:pt x="67" y="853"/>
                      </a:cubicBezTo>
                      <a:cubicBezTo>
                        <a:pt x="66" y="853"/>
                        <a:pt x="66" y="852"/>
                        <a:pt x="65" y="852"/>
                      </a:cubicBezTo>
                      <a:cubicBezTo>
                        <a:pt x="62" y="853"/>
                        <a:pt x="60" y="850"/>
                        <a:pt x="56" y="850"/>
                      </a:cubicBezTo>
                      <a:cubicBezTo>
                        <a:pt x="54" y="848"/>
                        <a:pt x="51" y="851"/>
                        <a:pt x="49" y="851"/>
                      </a:cubicBezTo>
                      <a:cubicBezTo>
                        <a:pt x="47" y="852"/>
                        <a:pt x="43" y="852"/>
                        <a:pt x="42" y="854"/>
                      </a:cubicBezTo>
                      <a:cubicBezTo>
                        <a:pt x="40" y="856"/>
                        <a:pt x="41" y="859"/>
                        <a:pt x="39" y="861"/>
                      </a:cubicBezTo>
                      <a:cubicBezTo>
                        <a:pt x="35" y="864"/>
                        <a:pt x="30" y="860"/>
                        <a:pt x="27" y="863"/>
                      </a:cubicBezTo>
                      <a:cubicBezTo>
                        <a:pt x="25" y="864"/>
                        <a:pt x="23" y="866"/>
                        <a:pt x="20" y="866"/>
                      </a:cubicBezTo>
                      <a:cubicBezTo>
                        <a:pt x="20" y="866"/>
                        <a:pt x="20" y="866"/>
                        <a:pt x="19" y="866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641" name="Comoros"/>
              <p:cNvSpPr>
                <a:spLocks/>
              </p:cNvSpPr>
              <p:nvPr>
                <p:custDataLst>
                  <p:tags r:id="rId110"/>
                </p:custDataLst>
              </p:nvPr>
            </p:nvSpPr>
            <p:spPr bwMode="auto">
              <a:xfrm>
                <a:off x="5416437" y="4881933"/>
                <a:ext cx="55464" cy="6694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5"/>
                  </a:cxn>
                  <a:cxn ang="0">
                    <a:pos x="4" y="7"/>
                  </a:cxn>
                  <a:cxn ang="0">
                    <a:pos x="10" y="12"/>
                  </a:cxn>
                  <a:cxn ang="0">
                    <a:pos x="10" y="7"/>
                  </a:cxn>
                  <a:cxn ang="0">
                    <a:pos x="6" y="5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10" h="12">
                    <a:moveTo>
                      <a:pt x="0" y="0"/>
                    </a:moveTo>
                    <a:lnTo>
                      <a:pt x="4" y="5"/>
                    </a:lnTo>
                    <a:lnTo>
                      <a:pt x="4" y="7"/>
                    </a:lnTo>
                    <a:lnTo>
                      <a:pt x="10" y="12"/>
                    </a:lnTo>
                    <a:lnTo>
                      <a:pt x="10" y="7"/>
                    </a:lnTo>
                    <a:lnTo>
                      <a:pt x="6" y="5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42" name="Colombia"/>
              <p:cNvSpPr>
                <a:spLocks/>
              </p:cNvSpPr>
              <p:nvPr>
                <p:custDataLst>
                  <p:tags r:id="rId111"/>
                </p:custDataLst>
              </p:nvPr>
            </p:nvSpPr>
            <p:spPr bwMode="auto">
              <a:xfrm>
                <a:off x="2170784" y="4168534"/>
                <a:ext cx="315577" cy="539353"/>
              </a:xfrm>
              <a:custGeom>
                <a:avLst/>
                <a:gdLst/>
                <a:ahLst/>
                <a:cxnLst>
                  <a:cxn ang="0">
                    <a:pos x="0" y="63"/>
                  </a:cxn>
                  <a:cxn ang="0">
                    <a:pos x="3" y="59"/>
                  </a:cxn>
                  <a:cxn ang="0">
                    <a:pos x="7" y="59"/>
                  </a:cxn>
                  <a:cxn ang="0">
                    <a:pos x="9" y="52"/>
                  </a:cxn>
                  <a:cxn ang="0">
                    <a:pos x="7" y="50"/>
                  </a:cxn>
                  <a:cxn ang="0">
                    <a:pos x="7" y="34"/>
                  </a:cxn>
                  <a:cxn ang="0">
                    <a:pos x="7" y="30"/>
                  </a:cxn>
                  <a:cxn ang="0">
                    <a:pos x="9" y="27"/>
                  </a:cxn>
                  <a:cxn ang="0">
                    <a:pos x="9" y="25"/>
                  </a:cxn>
                  <a:cxn ang="0">
                    <a:pos x="11" y="27"/>
                  </a:cxn>
                  <a:cxn ang="0">
                    <a:pos x="11" y="25"/>
                  </a:cxn>
                  <a:cxn ang="0">
                    <a:pos x="17" y="18"/>
                  </a:cxn>
                  <a:cxn ang="0">
                    <a:pos x="17" y="9"/>
                  </a:cxn>
                  <a:cxn ang="0">
                    <a:pos x="23" y="9"/>
                  </a:cxn>
                  <a:cxn ang="0">
                    <a:pos x="26" y="9"/>
                  </a:cxn>
                  <a:cxn ang="0">
                    <a:pos x="38" y="0"/>
                  </a:cxn>
                  <a:cxn ang="0">
                    <a:pos x="38" y="3"/>
                  </a:cxn>
                  <a:cxn ang="0">
                    <a:pos x="34" y="7"/>
                  </a:cxn>
                  <a:cxn ang="0">
                    <a:pos x="32" y="9"/>
                  </a:cxn>
                  <a:cxn ang="0">
                    <a:pos x="30" y="18"/>
                  </a:cxn>
                  <a:cxn ang="0">
                    <a:pos x="32" y="27"/>
                  </a:cxn>
                  <a:cxn ang="0">
                    <a:pos x="32" y="30"/>
                  </a:cxn>
                  <a:cxn ang="0">
                    <a:pos x="34" y="30"/>
                  </a:cxn>
                  <a:cxn ang="0">
                    <a:pos x="42" y="34"/>
                  </a:cxn>
                  <a:cxn ang="0">
                    <a:pos x="46" y="36"/>
                  </a:cxn>
                  <a:cxn ang="0">
                    <a:pos x="55" y="36"/>
                  </a:cxn>
                  <a:cxn ang="0">
                    <a:pos x="51" y="45"/>
                  </a:cxn>
                  <a:cxn ang="0">
                    <a:pos x="55" y="54"/>
                  </a:cxn>
                  <a:cxn ang="0">
                    <a:pos x="51" y="54"/>
                  </a:cxn>
                  <a:cxn ang="0">
                    <a:pos x="57" y="63"/>
                  </a:cxn>
                  <a:cxn ang="0">
                    <a:pos x="55" y="61"/>
                  </a:cxn>
                  <a:cxn ang="0">
                    <a:pos x="42" y="63"/>
                  </a:cxn>
                  <a:cxn ang="0">
                    <a:pos x="42" y="68"/>
                  </a:cxn>
                  <a:cxn ang="0">
                    <a:pos x="46" y="70"/>
                  </a:cxn>
                  <a:cxn ang="0">
                    <a:pos x="40" y="70"/>
                  </a:cxn>
                  <a:cxn ang="0">
                    <a:pos x="42" y="79"/>
                  </a:cxn>
                  <a:cxn ang="0">
                    <a:pos x="42" y="97"/>
                  </a:cxn>
                  <a:cxn ang="0">
                    <a:pos x="40" y="95"/>
                  </a:cxn>
                  <a:cxn ang="0">
                    <a:pos x="40" y="88"/>
                  </a:cxn>
                  <a:cxn ang="0">
                    <a:pos x="38" y="86"/>
                  </a:cxn>
                  <a:cxn ang="0">
                    <a:pos x="26" y="88"/>
                  </a:cxn>
                  <a:cxn ang="0">
                    <a:pos x="23" y="79"/>
                  </a:cxn>
                  <a:cxn ang="0">
                    <a:pos x="17" y="72"/>
                  </a:cxn>
                  <a:cxn ang="0">
                    <a:pos x="15" y="70"/>
                  </a:cxn>
                  <a:cxn ang="0">
                    <a:pos x="7" y="72"/>
                  </a:cxn>
                  <a:cxn ang="0">
                    <a:pos x="3" y="68"/>
                  </a:cxn>
                  <a:cxn ang="0">
                    <a:pos x="0" y="63"/>
                  </a:cxn>
                </a:cxnLst>
                <a:rect l="0" t="0" r="r" b="b"/>
                <a:pathLst>
                  <a:path w="57" h="97">
                    <a:moveTo>
                      <a:pt x="0" y="63"/>
                    </a:moveTo>
                    <a:lnTo>
                      <a:pt x="3" y="59"/>
                    </a:lnTo>
                    <a:lnTo>
                      <a:pt x="7" y="59"/>
                    </a:lnTo>
                    <a:lnTo>
                      <a:pt x="9" y="52"/>
                    </a:lnTo>
                    <a:lnTo>
                      <a:pt x="7" y="50"/>
                    </a:lnTo>
                    <a:lnTo>
                      <a:pt x="7" y="34"/>
                    </a:lnTo>
                    <a:lnTo>
                      <a:pt x="7" y="30"/>
                    </a:lnTo>
                    <a:lnTo>
                      <a:pt x="9" y="27"/>
                    </a:lnTo>
                    <a:lnTo>
                      <a:pt x="9" y="25"/>
                    </a:lnTo>
                    <a:lnTo>
                      <a:pt x="11" y="27"/>
                    </a:lnTo>
                    <a:lnTo>
                      <a:pt x="11" y="25"/>
                    </a:lnTo>
                    <a:lnTo>
                      <a:pt x="17" y="18"/>
                    </a:lnTo>
                    <a:lnTo>
                      <a:pt x="17" y="9"/>
                    </a:lnTo>
                    <a:lnTo>
                      <a:pt x="23" y="9"/>
                    </a:lnTo>
                    <a:lnTo>
                      <a:pt x="26" y="9"/>
                    </a:lnTo>
                    <a:lnTo>
                      <a:pt x="38" y="0"/>
                    </a:lnTo>
                    <a:lnTo>
                      <a:pt x="38" y="3"/>
                    </a:lnTo>
                    <a:lnTo>
                      <a:pt x="34" y="7"/>
                    </a:lnTo>
                    <a:lnTo>
                      <a:pt x="32" y="9"/>
                    </a:lnTo>
                    <a:lnTo>
                      <a:pt x="30" y="18"/>
                    </a:lnTo>
                    <a:lnTo>
                      <a:pt x="32" y="27"/>
                    </a:lnTo>
                    <a:lnTo>
                      <a:pt x="32" y="30"/>
                    </a:lnTo>
                    <a:lnTo>
                      <a:pt x="34" y="30"/>
                    </a:lnTo>
                    <a:lnTo>
                      <a:pt x="42" y="34"/>
                    </a:lnTo>
                    <a:lnTo>
                      <a:pt x="46" y="36"/>
                    </a:lnTo>
                    <a:lnTo>
                      <a:pt x="55" y="36"/>
                    </a:lnTo>
                    <a:lnTo>
                      <a:pt x="51" y="45"/>
                    </a:lnTo>
                    <a:lnTo>
                      <a:pt x="55" y="54"/>
                    </a:lnTo>
                    <a:lnTo>
                      <a:pt x="51" y="54"/>
                    </a:lnTo>
                    <a:lnTo>
                      <a:pt x="57" y="63"/>
                    </a:lnTo>
                    <a:lnTo>
                      <a:pt x="55" y="61"/>
                    </a:lnTo>
                    <a:lnTo>
                      <a:pt x="42" y="63"/>
                    </a:lnTo>
                    <a:lnTo>
                      <a:pt x="42" y="68"/>
                    </a:lnTo>
                    <a:lnTo>
                      <a:pt x="46" y="70"/>
                    </a:lnTo>
                    <a:lnTo>
                      <a:pt x="40" y="70"/>
                    </a:lnTo>
                    <a:lnTo>
                      <a:pt x="42" y="79"/>
                    </a:lnTo>
                    <a:lnTo>
                      <a:pt x="42" y="97"/>
                    </a:lnTo>
                    <a:lnTo>
                      <a:pt x="40" y="95"/>
                    </a:lnTo>
                    <a:lnTo>
                      <a:pt x="40" y="88"/>
                    </a:lnTo>
                    <a:lnTo>
                      <a:pt x="38" y="86"/>
                    </a:lnTo>
                    <a:lnTo>
                      <a:pt x="26" y="88"/>
                    </a:lnTo>
                    <a:lnTo>
                      <a:pt x="23" y="79"/>
                    </a:lnTo>
                    <a:lnTo>
                      <a:pt x="17" y="72"/>
                    </a:lnTo>
                    <a:lnTo>
                      <a:pt x="15" y="70"/>
                    </a:lnTo>
                    <a:lnTo>
                      <a:pt x="7" y="72"/>
                    </a:lnTo>
                    <a:lnTo>
                      <a:pt x="3" y="68"/>
                    </a:lnTo>
                    <a:lnTo>
                      <a:pt x="0" y="63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643" name="China"/>
              <p:cNvGrpSpPr/>
              <p:nvPr/>
            </p:nvGrpSpPr>
            <p:grpSpPr>
              <a:xfrm>
                <a:off x="6053334" y="2852276"/>
                <a:ext cx="1353590" cy="1131408"/>
                <a:chOff x="6053334" y="2833187"/>
                <a:chExt cx="1353590" cy="1131408"/>
              </a:xfrm>
              <a:solidFill>
                <a:srgbClr val="EE8B8B"/>
              </a:solidFill>
            </p:grpSpPr>
            <p:sp>
              <p:nvSpPr>
                <p:cNvPr id="745" name="China"/>
                <p:cNvSpPr>
                  <a:spLocks/>
                </p:cNvSpPr>
                <p:nvPr/>
              </p:nvSpPr>
              <p:spPr bwMode="auto">
                <a:xfrm>
                  <a:off x="7046337" y="3914434"/>
                  <a:ext cx="55475" cy="50161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2" y="9"/>
                    </a:cxn>
                    <a:cxn ang="0">
                      <a:pos x="4" y="9"/>
                    </a:cxn>
                    <a:cxn ang="0">
                      <a:pos x="10" y="6"/>
                    </a:cxn>
                    <a:cxn ang="0">
                      <a:pos x="10" y="0"/>
                    </a:cxn>
                    <a:cxn ang="0">
                      <a:pos x="4" y="0"/>
                    </a:cxn>
                    <a:cxn ang="0">
                      <a:pos x="2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10" h="9">
                      <a:moveTo>
                        <a:pt x="0" y="2"/>
                      </a:moveTo>
                      <a:lnTo>
                        <a:pt x="2" y="9"/>
                      </a:lnTo>
                      <a:lnTo>
                        <a:pt x="4" y="9"/>
                      </a:lnTo>
                      <a:lnTo>
                        <a:pt x="10" y="6"/>
                      </a:lnTo>
                      <a:lnTo>
                        <a:pt x="10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46" name="China"/>
                <p:cNvSpPr>
                  <a:spLocks/>
                </p:cNvSpPr>
                <p:nvPr/>
              </p:nvSpPr>
              <p:spPr bwMode="auto">
                <a:xfrm>
                  <a:off x="6053334" y="2833187"/>
                  <a:ext cx="1353590" cy="1064527"/>
                </a:xfrm>
                <a:custGeom>
                  <a:avLst/>
                  <a:gdLst/>
                  <a:ahLst/>
                  <a:cxnLst>
                    <a:cxn ang="0">
                      <a:pos x="48" y="31"/>
                    </a:cxn>
                    <a:cxn ang="0">
                      <a:pos x="62" y="47"/>
                    </a:cxn>
                    <a:cxn ang="0">
                      <a:pos x="110" y="63"/>
                    </a:cxn>
                    <a:cxn ang="0">
                      <a:pos x="150" y="63"/>
                    </a:cxn>
                    <a:cxn ang="0">
                      <a:pos x="156" y="49"/>
                    </a:cxn>
                    <a:cxn ang="0">
                      <a:pos x="167" y="43"/>
                    </a:cxn>
                    <a:cxn ang="0">
                      <a:pos x="175" y="34"/>
                    </a:cxn>
                    <a:cxn ang="0">
                      <a:pos x="160" y="34"/>
                    </a:cxn>
                    <a:cxn ang="0">
                      <a:pos x="164" y="22"/>
                    </a:cxn>
                    <a:cxn ang="0">
                      <a:pos x="169" y="11"/>
                    </a:cxn>
                    <a:cxn ang="0">
                      <a:pos x="175" y="0"/>
                    </a:cxn>
                    <a:cxn ang="0">
                      <a:pos x="204" y="22"/>
                    </a:cxn>
                    <a:cxn ang="0">
                      <a:pos x="227" y="34"/>
                    </a:cxn>
                    <a:cxn ang="0">
                      <a:pos x="240" y="34"/>
                    </a:cxn>
                    <a:cxn ang="0">
                      <a:pos x="237" y="47"/>
                    </a:cxn>
                    <a:cxn ang="0">
                      <a:pos x="240" y="63"/>
                    </a:cxn>
                    <a:cxn ang="0">
                      <a:pos x="231" y="67"/>
                    </a:cxn>
                    <a:cxn ang="0">
                      <a:pos x="219" y="81"/>
                    </a:cxn>
                    <a:cxn ang="0">
                      <a:pos x="208" y="83"/>
                    </a:cxn>
                    <a:cxn ang="0">
                      <a:pos x="206" y="74"/>
                    </a:cxn>
                    <a:cxn ang="0">
                      <a:pos x="198" y="81"/>
                    </a:cxn>
                    <a:cxn ang="0">
                      <a:pos x="192" y="85"/>
                    </a:cxn>
                    <a:cxn ang="0">
                      <a:pos x="208" y="90"/>
                    </a:cxn>
                    <a:cxn ang="0">
                      <a:pos x="215" y="94"/>
                    </a:cxn>
                    <a:cxn ang="0">
                      <a:pos x="215" y="110"/>
                    </a:cxn>
                    <a:cxn ang="0">
                      <a:pos x="223" y="126"/>
                    </a:cxn>
                    <a:cxn ang="0">
                      <a:pos x="229" y="135"/>
                    </a:cxn>
                    <a:cxn ang="0">
                      <a:pos x="223" y="153"/>
                    </a:cxn>
                    <a:cxn ang="0">
                      <a:pos x="219" y="167"/>
                    </a:cxn>
                    <a:cxn ang="0">
                      <a:pos x="204" y="178"/>
                    </a:cxn>
                    <a:cxn ang="0">
                      <a:pos x="200" y="180"/>
                    </a:cxn>
                    <a:cxn ang="0">
                      <a:pos x="187" y="187"/>
                    </a:cxn>
                    <a:cxn ang="0">
                      <a:pos x="183" y="185"/>
                    </a:cxn>
                    <a:cxn ang="0">
                      <a:pos x="167" y="178"/>
                    </a:cxn>
                    <a:cxn ang="0">
                      <a:pos x="148" y="178"/>
                    </a:cxn>
                    <a:cxn ang="0">
                      <a:pos x="139" y="185"/>
                    </a:cxn>
                    <a:cxn ang="0">
                      <a:pos x="129" y="176"/>
                    </a:cxn>
                    <a:cxn ang="0">
                      <a:pos x="127" y="153"/>
                    </a:cxn>
                    <a:cxn ang="0">
                      <a:pos x="110" y="137"/>
                    </a:cxn>
                    <a:cxn ang="0">
                      <a:pos x="93" y="149"/>
                    </a:cxn>
                    <a:cxn ang="0">
                      <a:pos x="79" y="149"/>
                    </a:cxn>
                    <a:cxn ang="0">
                      <a:pos x="56" y="137"/>
                    </a:cxn>
                    <a:cxn ang="0">
                      <a:pos x="41" y="135"/>
                    </a:cxn>
                    <a:cxn ang="0">
                      <a:pos x="29" y="119"/>
                    </a:cxn>
                    <a:cxn ang="0">
                      <a:pos x="33" y="108"/>
                    </a:cxn>
                    <a:cxn ang="0">
                      <a:pos x="23" y="106"/>
                    </a:cxn>
                    <a:cxn ang="0">
                      <a:pos x="6" y="94"/>
                    </a:cxn>
                    <a:cxn ang="0">
                      <a:pos x="2" y="85"/>
                    </a:cxn>
                    <a:cxn ang="0">
                      <a:pos x="0" y="76"/>
                    </a:cxn>
                    <a:cxn ang="0">
                      <a:pos x="12" y="72"/>
                    </a:cxn>
                    <a:cxn ang="0">
                      <a:pos x="23" y="65"/>
                    </a:cxn>
                    <a:cxn ang="0">
                      <a:pos x="25" y="47"/>
                    </a:cxn>
                    <a:cxn ang="0">
                      <a:pos x="37" y="38"/>
                    </a:cxn>
                  </a:cxnLst>
                  <a:rect l="0" t="0" r="r" b="b"/>
                  <a:pathLst>
                    <a:path w="244" h="191">
                      <a:moveTo>
                        <a:pt x="39" y="29"/>
                      </a:moveTo>
                      <a:lnTo>
                        <a:pt x="41" y="25"/>
                      </a:lnTo>
                      <a:lnTo>
                        <a:pt x="48" y="31"/>
                      </a:lnTo>
                      <a:lnTo>
                        <a:pt x="54" y="34"/>
                      </a:lnTo>
                      <a:lnTo>
                        <a:pt x="60" y="38"/>
                      </a:lnTo>
                      <a:lnTo>
                        <a:pt x="62" y="47"/>
                      </a:lnTo>
                      <a:lnTo>
                        <a:pt x="81" y="52"/>
                      </a:lnTo>
                      <a:lnTo>
                        <a:pt x="93" y="63"/>
                      </a:lnTo>
                      <a:lnTo>
                        <a:pt x="110" y="63"/>
                      </a:lnTo>
                      <a:lnTo>
                        <a:pt x="129" y="67"/>
                      </a:lnTo>
                      <a:lnTo>
                        <a:pt x="141" y="65"/>
                      </a:lnTo>
                      <a:lnTo>
                        <a:pt x="150" y="63"/>
                      </a:lnTo>
                      <a:lnTo>
                        <a:pt x="156" y="56"/>
                      </a:lnTo>
                      <a:lnTo>
                        <a:pt x="152" y="52"/>
                      </a:lnTo>
                      <a:lnTo>
                        <a:pt x="156" y="49"/>
                      </a:lnTo>
                      <a:lnTo>
                        <a:pt x="160" y="49"/>
                      </a:lnTo>
                      <a:lnTo>
                        <a:pt x="164" y="47"/>
                      </a:lnTo>
                      <a:lnTo>
                        <a:pt x="167" y="43"/>
                      </a:lnTo>
                      <a:lnTo>
                        <a:pt x="169" y="40"/>
                      </a:lnTo>
                      <a:lnTo>
                        <a:pt x="179" y="40"/>
                      </a:lnTo>
                      <a:lnTo>
                        <a:pt x="175" y="34"/>
                      </a:lnTo>
                      <a:lnTo>
                        <a:pt x="173" y="31"/>
                      </a:lnTo>
                      <a:lnTo>
                        <a:pt x="167" y="34"/>
                      </a:lnTo>
                      <a:lnTo>
                        <a:pt x="160" y="34"/>
                      </a:lnTo>
                      <a:lnTo>
                        <a:pt x="156" y="25"/>
                      </a:lnTo>
                      <a:lnTo>
                        <a:pt x="158" y="22"/>
                      </a:lnTo>
                      <a:lnTo>
                        <a:pt x="164" y="22"/>
                      </a:lnTo>
                      <a:lnTo>
                        <a:pt x="169" y="20"/>
                      </a:lnTo>
                      <a:lnTo>
                        <a:pt x="167" y="13"/>
                      </a:lnTo>
                      <a:lnTo>
                        <a:pt x="169" y="11"/>
                      </a:lnTo>
                      <a:lnTo>
                        <a:pt x="164" y="7"/>
                      </a:lnTo>
                      <a:lnTo>
                        <a:pt x="167" y="4"/>
                      </a:lnTo>
                      <a:lnTo>
                        <a:pt x="175" y="0"/>
                      </a:lnTo>
                      <a:lnTo>
                        <a:pt x="187" y="4"/>
                      </a:lnTo>
                      <a:lnTo>
                        <a:pt x="198" y="16"/>
                      </a:lnTo>
                      <a:lnTo>
                        <a:pt x="204" y="22"/>
                      </a:lnTo>
                      <a:lnTo>
                        <a:pt x="212" y="25"/>
                      </a:lnTo>
                      <a:lnTo>
                        <a:pt x="221" y="29"/>
                      </a:lnTo>
                      <a:lnTo>
                        <a:pt x="227" y="34"/>
                      </a:lnTo>
                      <a:lnTo>
                        <a:pt x="229" y="34"/>
                      </a:lnTo>
                      <a:lnTo>
                        <a:pt x="237" y="29"/>
                      </a:lnTo>
                      <a:lnTo>
                        <a:pt x="240" y="34"/>
                      </a:lnTo>
                      <a:lnTo>
                        <a:pt x="240" y="38"/>
                      </a:lnTo>
                      <a:lnTo>
                        <a:pt x="244" y="49"/>
                      </a:lnTo>
                      <a:lnTo>
                        <a:pt x="237" y="47"/>
                      </a:lnTo>
                      <a:lnTo>
                        <a:pt x="235" y="49"/>
                      </a:lnTo>
                      <a:lnTo>
                        <a:pt x="240" y="58"/>
                      </a:lnTo>
                      <a:lnTo>
                        <a:pt x="240" y="63"/>
                      </a:lnTo>
                      <a:lnTo>
                        <a:pt x="235" y="63"/>
                      </a:lnTo>
                      <a:lnTo>
                        <a:pt x="235" y="65"/>
                      </a:lnTo>
                      <a:lnTo>
                        <a:pt x="231" y="67"/>
                      </a:lnTo>
                      <a:lnTo>
                        <a:pt x="231" y="72"/>
                      </a:lnTo>
                      <a:lnTo>
                        <a:pt x="227" y="67"/>
                      </a:lnTo>
                      <a:lnTo>
                        <a:pt x="219" y="81"/>
                      </a:lnTo>
                      <a:lnTo>
                        <a:pt x="215" y="81"/>
                      </a:lnTo>
                      <a:lnTo>
                        <a:pt x="208" y="85"/>
                      </a:lnTo>
                      <a:lnTo>
                        <a:pt x="208" y="83"/>
                      </a:lnTo>
                      <a:lnTo>
                        <a:pt x="206" y="81"/>
                      </a:lnTo>
                      <a:lnTo>
                        <a:pt x="208" y="74"/>
                      </a:lnTo>
                      <a:lnTo>
                        <a:pt x="206" y="74"/>
                      </a:lnTo>
                      <a:lnTo>
                        <a:pt x="204" y="72"/>
                      </a:lnTo>
                      <a:lnTo>
                        <a:pt x="200" y="76"/>
                      </a:lnTo>
                      <a:lnTo>
                        <a:pt x="198" y="81"/>
                      </a:lnTo>
                      <a:lnTo>
                        <a:pt x="198" y="83"/>
                      </a:lnTo>
                      <a:lnTo>
                        <a:pt x="192" y="83"/>
                      </a:lnTo>
                      <a:lnTo>
                        <a:pt x="192" y="85"/>
                      </a:lnTo>
                      <a:lnTo>
                        <a:pt x="204" y="94"/>
                      </a:lnTo>
                      <a:lnTo>
                        <a:pt x="206" y="94"/>
                      </a:lnTo>
                      <a:lnTo>
                        <a:pt x="208" y="90"/>
                      </a:lnTo>
                      <a:lnTo>
                        <a:pt x="219" y="92"/>
                      </a:lnTo>
                      <a:lnTo>
                        <a:pt x="219" y="94"/>
                      </a:lnTo>
                      <a:lnTo>
                        <a:pt x="215" y="94"/>
                      </a:lnTo>
                      <a:lnTo>
                        <a:pt x="212" y="99"/>
                      </a:lnTo>
                      <a:lnTo>
                        <a:pt x="206" y="108"/>
                      </a:lnTo>
                      <a:lnTo>
                        <a:pt x="215" y="110"/>
                      </a:lnTo>
                      <a:lnTo>
                        <a:pt x="221" y="119"/>
                      </a:lnTo>
                      <a:lnTo>
                        <a:pt x="227" y="126"/>
                      </a:lnTo>
                      <a:lnTo>
                        <a:pt x="223" y="126"/>
                      </a:lnTo>
                      <a:lnTo>
                        <a:pt x="227" y="128"/>
                      </a:lnTo>
                      <a:lnTo>
                        <a:pt x="221" y="133"/>
                      </a:lnTo>
                      <a:lnTo>
                        <a:pt x="229" y="135"/>
                      </a:lnTo>
                      <a:lnTo>
                        <a:pt x="229" y="144"/>
                      </a:lnTo>
                      <a:lnTo>
                        <a:pt x="227" y="149"/>
                      </a:lnTo>
                      <a:lnTo>
                        <a:pt x="223" y="153"/>
                      </a:lnTo>
                      <a:lnTo>
                        <a:pt x="223" y="160"/>
                      </a:lnTo>
                      <a:lnTo>
                        <a:pt x="221" y="167"/>
                      </a:lnTo>
                      <a:lnTo>
                        <a:pt x="219" y="167"/>
                      </a:lnTo>
                      <a:lnTo>
                        <a:pt x="219" y="169"/>
                      </a:lnTo>
                      <a:lnTo>
                        <a:pt x="212" y="176"/>
                      </a:lnTo>
                      <a:lnTo>
                        <a:pt x="204" y="178"/>
                      </a:lnTo>
                      <a:lnTo>
                        <a:pt x="204" y="180"/>
                      </a:lnTo>
                      <a:lnTo>
                        <a:pt x="200" y="178"/>
                      </a:lnTo>
                      <a:lnTo>
                        <a:pt x="200" y="180"/>
                      </a:lnTo>
                      <a:lnTo>
                        <a:pt x="198" y="178"/>
                      </a:lnTo>
                      <a:lnTo>
                        <a:pt x="198" y="180"/>
                      </a:lnTo>
                      <a:lnTo>
                        <a:pt x="187" y="187"/>
                      </a:lnTo>
                      <a:lnTo>
                        <a:pt x="187" y="191"/>
                      </a:lnTo>
                      <a:lnTo>
                        <a:pt x="183" y="191"/>
                      </a:lnTo>
                      <a:lnTo>
                        <a:pt x="183" y="185"/>
                      </a:lnTo>
                      <a:lnTo>
                        <a:pt x="175" y="185"/>
                      </a:lnTo>
                      <a:lnTo>
                        <a:pt x="169" y="180"/>
                      </a:lnTo>
                      <a:lnTo>
                        <a:pt x="167" y="178"/>
                      </a:lnTo>
                      <a:lnTo>
                        <a:pt x="160" y="176"/>
                      </a:lnTo>
                      <a:lnTo>
                        <a:pt x="150" y="178"/>
                      </a:lnTo>
                      <a:lnTo>
                        <a:pt x="148" y="178"/>
                      </a:lnTo>
                      <a:lnTo>
                        <a:pt x="144" y="178"/>
                      </a:lnTo>
                      <a:lnTo>
                        <a:pt x="144" y="185"/>
                      </a:lnTo>
                      <a:lnTo>
                        <a:pt x="139" y="185"/>
                      </a:lnTo>
                      <a:lnTo>
                        <a:pt x="133" y="180"/>
                      </a:lnTo>
                      <a:lnTo>
                        <a:pt x="133" y="176"/>
                      </a:lnTo>
                      <a:lnTo>
                        <a:pt x="129" y="176"/>
                      </a:lnTo>
                      <a:lnTo>
                        <a:pt x="129" y="169"/>
                      </a:lnTo>
                      <a:lnTo>
                        <a:pt x="125" y="171"/>
                      </a:lnTo>
                      <a:lnTo>
                        <a:pt x="127" y="153"/>
                      </a:lnTo>
                      <a:lnTo>
                        <a:pt x="125" y="149"/>
                      </a:lnTo>
                      <a:lnTo>
                        <a:pt x="119" y="149"/>
                      </a:lnTo>
                      <a:lnTo>
                        <a:pt x="110" y="137"/>
                      </a:lnTo>
                      <a:lnTo>
                        <a:pt x="104" y="137"/>
                      </a:lnTo>
                      <a:lnTo>
                        <a:pt x="100" y="144"/>
                      </a:lnTo>
                      <a:lnTo>
                        <a:pt x="93" y="149"/>
                      </a:lnTo>
                      <a:lnTo>
                        <a:pt x="85" y="144"/>
                      </a:lnTo>
                      <a:lnTo>
                        <a:pt x="81" y="151"/>
                      </a:lnTo>
                      <a:lnTo>
                        <a:pt x="79" y="149"/>
                      </a:lnTo>
                      <a:lnTo>
                        <a:pt x="77" y="149"/>
                      </a:lnTo>
                      <a:lnTo>
                        <a:pt x="68" y="149"/>
                      </a:lnTo>
                      <a:lnTo>
                        <a:pt x="56" y="137"/>
                      </a:lnTo>
                      <a:lnTo>
                        <a:pt x="54" y="142"/>
                      </a:lnTo>
                      <a:lnTo>
                        <a:pt x="48" y="135"/>
                      </a:lnTo>
                      <a:lnTo>
                        <a:pt x="41" y="135"/>
                      </a:lnTo>
                      <a:lnTo>
                        <a:pt x="33" y="128"/>
                      </a:lnTo>
                      <a:lnTo>
                        <a:pt x="29" y="124"/>
                      </a:lnTo>
                      <a:lnTo>
                        <a:pt x="29" y="119"/>
                      </a:lnTo>
                      <a:lnTo>
                        <a:pt x="33" y="119"/>
                      </a:lnTo>
                      <a:lnTo>
                        <a:pt x="31" y="115"/>
                      </a:lnTo>
                      <a:lnTo>
                        <a:pt x="33" y="108"/>
                      </a:lnTo>
                      <a:lnTo>
                        <a:pt x="33" y="106"/>
                      </a:lnTo>
                      <a:lnTo>
                        <a:pt x="29" y="101"/>
                      </a:lnTo>
                      <a:lnTo>
                        <a:pt x="23" y="106"/>
                      </a:lnTo>
                      <a:lnTo>
                        <a:pt x="14" y="101"/>
                      </a:lnTo>
                      <a:lnTo>
                        <a:pt x="12" y="94"/>
                      </a:lnTo>
                      <a:lnTo>
                        <a:pt x="6" y="94"/>
                      </a:lnTo>
                      <a:lnTo>
                        <a:pt x="6" y="92"/>
                      </a:lnTo>
                      <a:lnTo>
                        <a:pt x="6" y="85"/>
                      </a:lnTo>
                      <a:lnTo>
                        <a:pt x="2" y="85"/>
                      </a:lnTo>
                      <a:lnTo>
                        <a:pt x="0" y="83"/>
                      </a:lnTo>
                      <a:lnTo>
                        <a:pt x="0" y="81"/>
                      </a:lnTo>
                      <a:lnTo>
                        <a:pt x="0" y="76"/>
                      </a:lnTo>
                      <a:lnTo>
                        <a:pt x="2" y="74"/>
                      </a:lnTo>
                      <a:lnTo>
                        <a:pt x="12" y="74"/>
                      </a:lnTo>
                      <a:lnTo>
                        <a:pt x="12" y="72"/>
                      </a:lnTo>
                      <a:lnTo>
                        <a:pt x="16" y="72"/>
                      </a:lnTo>
                      <a:lnTo>
                        <a:pt x="23" y="67"/>
                      </a:lnTo>
                      <a:lnTo>
                        <a:pt x="23" y="65"/>
                      </a:lnTo>
                      <a:lnTo>
                        <a:pt x="23" y="58"/>
                      </a:lnTo>
                      <a:lnTo>
                        <a:pt x="20" y="49"/>
                      </a:lnTo>
                      <a:lnTo>
                        <a:pt x="25" y="47"/>
                      </a:lnTo>
                      <a:lnTo>
                        <a:pt x="25" y="38"/>
                      </a:lnTo>
                      <a:lnTo>
                        <a:pt x="33" y="38"/>
                      </a:lnTo>
                      <a:lnTo>
                        <a:pt x="37" y="38"/>
                      </a:lnTo>
                      <a:lnTo>
                        <a:pt x="37" y="31"/>
                      </a:lnTo>
                      <a:lnTo>
                        <a:pt x="39" y="2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grpSp>
            <p:nvGrpSpPr>
              <p:cNvPr id="644" name="Chile"/>
              <p:cNvGrpSpPr/>
              <p:nvPr/>
            </p:nvGrpSpPr>
            <p:grpSpPr>
              <a:xfrm>
                <a:off x="2403080" y="5137385"/>
                <a:ext cx="327302" cy="1153702"/>
                <a:chOff x="2403080" y="5118296"/>
                <a:chExt cx="327302" cy="1153702"/>
              </a:xfrm>
              <a:solidFill>
                <a:srgbClr val="778025"/>
              </a:solidFill>
            </p:grpSpPr>
            <p:sp>
              <p:nvSpPr>
                <p:cNvPr id="743" name="Chile"/>
                <p:cNvSpPr>
                  <a:spLocks/>
                </p:cNvSpPr>
                <p:nvPr/>
              </p:nvSpPr>
              <p:spPr bwMode="auto">
                <a:xfrm>
                  <a:off x="2486292" y="5909725"/>
                  <a:ext cx="33285" cy="5016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9"/>
                    </a:cxn>
                    <a:cxn ang="0">
                      <a:pos x="6" y="9"/>
                    </a:cxn>
                    <a:cxn ang="0">
                      <a:pos x="6" y="2"/>
                    </a:cxn>
                    <a:cxn ang="0">
                      <a:pos x="2" y="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6" h="9">
                      <a:moveTo>
                        <a:pt x="0" y="0"/>
                      </a:moveTo>
                      <a:lnTo>
                        <a:pt x="4" y="9"/>
                      </a:lnTo>
                      <a:lnTo>
                        <a:pt x="6" y="9"/>
                      </a:lnTo>
                      <a:lnTo>
                        <a:pt x="6" y="2"/>
                      </a:lnTo>
                      <a:lnTo>
                        <a:pt x="2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44" name="Chile"/>
                <p:cNvSpPr>
                  <a:spLocks/>
                </p:cNvSpPr>
                <p:nvPr/>
              </p:nvSpPr>
              <p:spPr bwMode="auto">
                <a:xfrm>
                  <a:off x="2403080" y="5118296"/>
                  <a:ext cx="327302" cy="1153702"/>
                </a:xfrm>
                <a:custGeom>
                  <a:avLst/>
                  <a:gdLst/>
                  <a:ahLst/>
                  <a:cxnLst>
                    <a:cxn ang="0">
                      <a:pos x="6" y="0"/>
                    </a:cxn>
                    <a:cxn ang="0">
                      <a:pos x="13" y="16"/>
                    </a:cxn>
                    <a:cxn ang="0">
                      <a:pos x="21" y="31"/>
                    </a:cxn>
                    <a:cxn ang="0">
                      <a:pos x="15" y="40"/>
                    </a:cxn>
                    <a:cxn ang="0">
                      <a:pos x="15" y="61"/>
                    </a:cxn>
                    <a:cxn ang="0">
                      <a:pos x="21" y="94"/>
                    </a:cxn>
                    <a:cxn ang="0">
                      <a:pos x="21" y="108"/>
                    </a:cxn>
                    <a:cxn ang="0">
                      <a:pos x="23" y="121"/>
                    </a:cxn>
                    <a:cxn ang="0">
                      <a:pos x="27" y="142"/>
                    </a:cxn>
                    <a:cxn ang="0">
                      <a:pos x="29" y="155"/>
                    </a:cxn>
                    <a:cxn ang="0">
                      <a:pos x="32" y="155"/>
                    </a:cxn>
                    <a:cxn ang="0">
                      <a:pos x="36" y="187"/>
                    </a:cxn>
                    <a:cxn ang="0">
                      <a:pos x="40" y="189"/>
                    </a:cxn>
                    <a:cxn ang="0">
                      <a:pos x="59" y="198"/>
                    </a:cxn>
                    <a:cxn ang="0">
                      <a:pos x="54" y="202"/>
                    </a:cxn>
                    <a:cxn ang="0">
                      <a:pos x="38" y="198"/>
                    </a:cxn>
                    <a:cxn ang="0">
                      <a:pos x="36" y="198"/>
                    </a:cxn>
                    <a:cxn ang="0">
                      <a:pos x="38" y="196"/>
                    </a:cxn>
                    <a:cxn ang="0">
                      <a:pos x="36" y="196"/>
                    </a:cxn>
                    <a:cxn ang="0">
                      <a:pos x="32" y="189"/>
                    </a:cxn>
                    <a:cxn ang="0">
                      <a:pos x="29" y="189"/>
                    </a:cxn>
                    <a:cxn ang="0">
                      <a:pos x="27" y="187"/>
                    </a:cxn>
                    <a:cxn ang="0">
                      <a:pos x="23" y="173"/>
                    </a:cxn>
                    <a:cxn ang="0">
                      <a:pos x="27" y="169"/>
                    </a:cxn>
                    <a:cxn ang="0">
                      <a:pos x="21" y="164"/>
                    </a:cxn>
                    <a:cxn ang="0">
                      <a:pos x="19" y="153"/>
                    </a:cxn>
                    <a:cxn ang="0">
                      <a:pos x="21" y="142"/>
                    </a:cxn>
                    <a:cxn ang="0">
                      <a:pos x="19" y="142"/>
                    </a:cxn>
                    <a:cxn ang="0">
                      <a:pos x="15" y="128"/>
                    </a:cxn>
                    <a:cxn ang="0">
                      <a:pos x="9" y="112"/>
                    </a:cxn>
                    <a:cxn ang="0">
                      <a:pos x="13" y="94"/>
                    </a:cxn>
                    <a:cxn ang="0">
                      <a:pos x="6" y="76"/>
                    </a:cxn>
                    <a:cxn ang="0">
                      <a:pos x="6" y="67"/>
                    </a:cxn>
                    <a:cxn ang="0">
                      <a:pos x="6" y="31"/>
                    </a:cxn>
                    <a:cxn ang="0">
                      <a:pos x="2" y="16"/>
                    </a:cxn>
                  </a:cxnLst>
                  <a:rect l="0" t="0" r="r" b="b"/>
                  <a:pathLst>
                    <a:path w="59" h="207">
                      <a:moveTo>
                        <a:pt x="0" y="4"/>
                      </a:moveTo>
                      <a:lnTo>
                        <a:pt x="6" y="0"/>
                      </a:lnTo>
                      <a:lnTo>
                        <a:pt x="13" y="9"/>
                      </a:lnTo>
                      <a:lnTo>
                        <a:pt x="13" y="16"/>
                      </a:lnTo>
                      <a:lnTo>
                        <a:pt x="19" y="31"/>
                      </a:lnTo>
                      <a:lnTo>
                        <a:pt x="21" y="31"/>
                      </a:lnTo>
                      <a:lnTo>
                        <a:pt x="21" y="36"/>
                      </a:lnTo>
                      <a:lnTo>
                        <a:pt x="15" y="40"/>
                      </a:lnTo>
                      <a:lnTo>
                        <a:pt x="19" y="52"/>
                      </a:lnTo>
                      <a:lnTo>
                        <a:pt x="15" y="61"/>
                      </a:lnTo>
                      <a:lnTo>
                        <a:pt x="15" y="79"/>
                      </a:lnTo>
                      <a:lnTo>
                        <a:pt x="21" y="94"/>
                      </a:lnTo>
                      <a:lnTo>
                        <a:pt x="19" y="103"/>
                      </a:lnTo>
                      <a:lnTo>
                        <a:pt x="21" y="108"/>
                      </a:lnTo>
                      <a:lnTo>
                        <a:pt x="19" y="112"/>
                      </a:lnTo>
                      <a:lnTo>
                        <a:pt x="23" y="121"/>
                      </a:lnTo>
                      <a:lnTo>
                        <a:pt x="23" y="137"/>
                      </a:lnTo>
                      <a:lnTo>
                        <a:pt x="27" y="142"/>
                      </a:lnTo>
                      <a:lnTo>
                        <a:pt x="27" y="146"/>
                      </a:lnTo>
                      <a:lnTo>
                        <a:pt x="29" y="155"/>
                      </a:lnTo>
                      <a:lnTo>
                        <a:pt x="32" y="160"/>
                      </a:lnTo>
                      <a:lnTo>
                        <a:pt x="32" y="155"/>
                      </a:lnTo>
                      <a:lnTo>
                        <a:pt x="36" y="169"/>
                      </a:lnTo>
                      <a:lnTo>
                        <a:pt x="36" y="187"/>
                      </a:lnTo>
                      <a:lnTo>
                        <a:pt x="38" y="189"/>
                      </a:lnTo>
                      <a:lnTo>
                        <a:pt x="40" y="189"/>
                      </a:lnTo>
                      <a:lnTo>
                        <a:pt x="46" y="198"/>
                      </a:lnTo>
                      <a:lnTo>
                        <a:pt x="59" y="198"/>
                      </a:lnTo>
                      <a:lnTo>
                        <a:pt x="59" y="202"/>
                      </a:lnTo>
                      <a:lnTo>
                        <a:pt x="54" y="202"/>
                      </a:lnTo>
                      <a:lnTo>
                        <a:pt x="54" y="207"/>
                      </a:lnTo>
                      <a:lnTo>
                        <a:pt x="38" y="198"/>
                      </a:lnTo>
                      <a:lnTo>
                        <a:pt x="38" y="202"/>
                      </a:lnTo>
                      <a:lnTo>
                        <a:pt x="36" y="198"/>
                      </a:lnTo>
                      <a:lnTo>
                        <a:pt x="36" y="196"/>
                      </a:lnTo>
                      <a:lnTo>
                        <a:pt x="38" y="196"/>
                      </a:lnTo>
                      <a:lnTo>
                        <a:pt x="36" y="193"/>
                      </a:lnTo>
                      <a:lnTo>
                        <a:pt x="36" y="196"/>
                      </a:lnTo>
                      <a:lnTo>
                        <a:pt x="32" y="196"/>
                      </a:lnTo>
                      <a:lnTo>
                        <a:pt x="32" y="189"/>
                      </a:lnTo>
                      <a:lnTo>
                        <a:pt x="32" y="187"/>
                      </a:lnTo>
                      <a:lnTo>
                        <a:pt x="29" y="189"/>
                      </a:lnTo>
                      <a:lnTo>
                        <a:pt x="29" y="187"/>
                      </a:lnTo>
                      <a:lnTo>
                        <a:pt x="27" y="187"/>
                      </a:lnTo>
                      <a:lnTo>
                        <a:pt x="23" y="178"/>
                      </a:lnTo>
                      <a:lnTo>
                        <a:pt x="23" y="173"/>
                      </a:lnTo>
                      <a:lnTo>
                        <a:pt x="27" y="178"/>
                      </a:lnTo>
                      <a:lnTo>
                        <a:pt x="27" y="169"/>
                      </a:lnTo>
                      <a:lnTo>
                        <a:pt x="19" y="169"/>
                      </a:lnTo>
                      <a:lnTo>
                        <a:pt x="21" y="164"/>
                      </a:lnTo>
                      <a:lnTo>
                        <a:pt x="21" y="162"/>
                      </a:lnTo>
                      <a:lnTo>
                        <a:pt x="19" y="153"/>
                      </a:lnTo>
                      <a:lnTo>
                        <a:pt x="23" y="153"/>
                      </a:lnTo>
                      <a:lnTo>
                        <a:pt x="21" y="142"/>
                      </a:lnTo>
                      <a:lnTo>
                        <a:pt x="19" y="137"/>
                      </a:lnTo>
                      <a:lnTo>
                        <a:pt x="19" y="142"/>
                      </a:lnTo>
                      <a:lnTo>
                        <a:pt x="15" y="135"/>
                      </a:lnTo>
                      <a:lnTo>
                        <a:pt x="15" y="128"/>
                      </a:lnTo>
                      <a:lnTo>
                        <a:pt x="9" y="117"/>
                      </a:lnTo>
                      <a:lnTo>
                        <a:pt x="9" y="112"/>
                      </a:lnTo>
                      <a:lnTo>
                        <a:pt x="13" y="112"/>
                      </a:lnTo>
                      <a:lnTo>
                        <a:pt x="13" y="94"/>
                      </a:lnTo>
                      <a:lnTo>
                        <a:pt x="13" y="85"/>
                      </a:lnTo>
                      <a:lnTo>
                        <a:pt x="6" y="76"/>
                      </a:lnTo>
                      <a:lnTo>
                        <a:pt x="9" y="74"/>
                      </a:lnTo>
                      <a:lnTo>
                        <a:pt x="6" y="67"/>
                      </a:lnTo>
                      <a:lnTo>
                        <a:pt x="9" y="52"/>
                      </a:lnTo>
                      <a:lnTo>
                        <a:pt x="6" y="31"/>
                      </a:lnTo>
                      <a:lnTo>
                        <a:pt x="6" y="25"/>
                      </a:lnTo>
                      <a:lnTo>
                        <a:pt x="2" y="16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48721" name="Chad"/>
              <p:cNvSpPr>
                <a:spLocks/>
              </p:cNvSpPr>
              <p:nvPr/>
            </p:nvSpPr>
            <p:spPr bwMode="auto">
              <a:xfrm>
                <a:off x="4584476" y="3814403"/>
                <a:ext cx="283421" cy="516561"/>
              </a:xfrm>
              <a:custGeom>
                <a:avLst/>
                <a:gdLst>
                  <a:gd name="T0" fmla="*/ 102983940 w 780"/>
                  <a:gd name="T1" fmla="*/ 106152190 h 1197"/>
                  <a:gd name="T2" fmla="*/ 93609589 w 780"/>
                  <a:gd name="T3" fmla="*/ 108200740 h 1197"/>
                  <a:gd name="T4" fmla="*/ 90441089 w 780"/>
                  <a:gd name="T5" fmla="*/ 119188796 h 1197"/>
                  <a:gd name="T6" fmla="*/ 88460413 w 780"/>
                  <a:gd name="T7" fmla="*/ 125148017 h 1197"/>
                  <a:gd name="T8" fmla="*/ 86084037 w 780"/>
                  <a:gd name="T9" fmla="*/ 132038515 h 1197"/>
                  <a:gd name="T10" fmla="*/ 83971462 w 780"/>
                  <a:gd name="T11" fmla="*/ 143771393 h 1197"/>
                  <a:gd name="T12" fmla="*/ 88856475 w 780"/>
                  <a:gd name="T13" fmla="*/ 150661891 h 1197"/>
                  <a:gd name="T14" fmla="*/ 90308826 w 780"/>
                  <a:gd name="T15" fmla="*/ 161091068 h 1197"/>
                  <a:gd name="T16" fmla="*/ 93873752 w 780"/>
                  <a:gd name="T17" fmla="*/ 171706241 h 1197"/>
                  <a:gd name="T18" fmla="*/ 90572989 w 780"/>
                  <a:gd name="T19" fmla="*/ 173195939 h 1197"/>
                  <a:gd name="T20" fmla="*/ 83311236 w 780"/>
                  <a:gd name="T21" fmla="*/ 177479466 h 1197"/>
                  <a:gd name="T22" fmla="*/ 78426222 w 780"/>
                  <a:gd name="T23" fmla="*/ 187349791 h 1197"/>
                  <a:gd name="T24" fmla="*/ 72088858 w 780"/>
                  <a:gd name="T25" fmla="*/ 196102410 h 1197"/>
                  <a:gd name="T26" fmla="*/ 64695206 w 780"/>
                  <a:gd name="T27" fmla="*/ 200385938 h 1197"/>
                  <a:gd name="T28" fmla="*/ 55056715 w 780"/>
                  <a:gd name="T29" fmla="*/ 204296610 h 1197"/>
                  <a:gd name="T30" fmla="*/ 51624052 w 780"/>
                  <a:gd name="T31" fmla="*/ 214353362 h 1197"/>
                  <a:gd name="T32" fmla="*/ 41325687 w 780"/>
                  <a:gd name="T33" fmla="*/ 216215484 h 1197"/>
                  <a:gd name="T34" fmla="*/ 33271810 w 780"/>
                  <a:gd name="T35" fmla="*/ 220871436 h 1197"/>
                  <a:gd name="T36" fmla="*/ 28914758 w 780"/>
                  <a:gd name="T37" fmla="*/ 220126587 h 1197"/>
                  <a:gd name="T38" fmla="*/ 21125038 w 780"/>
                  <a:gd name="T39" fmla="*/ 221802712 h 1197"/>
                  <a:gd name="T40" fmla="*/ 20200649 w 780"/>
                  <a:gd name="T41" fmla="*/ 216587908 h 1197"/>
                  <a:gd name="T42" fmla="*/ 14127448 w 780"/>
                  <a:gd name="T43" fmla="*/ 203924185 h 1197"/>
                  <a:gd name="T44" fmla="*/ 6865693 w 780"/>
                  <a:gd name="T45" fmla="*/ 193867864 h 1197"/>
                  <a:gd name="T46" fmla="*/ 10562519 w 780"/>
                  <a:gd name="T47" fmla="*/ 187349791 h 1197"/>
                  <a:gd name="T48" fmla="*/ 21256937 w 780"/>
                  <a:gd name="T49" fmla="*/ 187908211 h 1197"/>
                  <a:gd name="T50" fmla="*/ 17560111 w 780"/>
                  <a:gd name="T51" fmla="*/ 180272865 h 1197"/>
                  <a:gd name="T52" fmla="*/ 16503823 w 780"/>
                  <a:gd name="T53" fmla="*/ 167795138 h 1197"/>
                  <a:gd name="T54" fmla="*/ 16371924 w 780"/>
                  <a:gd name="T55" fmla="*/ 158297238 h 1197"/>
                  <a:gd name="T56" fmla="*/ 13203060 w 780"/>
                  <a:gd name="T57" fmla="*/ 149358190 h 1197"/>
                  <a:gd name="T58" fmla="*/ 6865693 w 780"/>
                  <a:gd name="T59" fmla="*/ 144143818 h 1197"/>
                  <a:gd name="T60" fmla="*/ 1056288 w 780"/>
                  <a:gd name="T61" fmla="*/ 126451719 h 1197"/>
                  <a:gd name="T62" fmla="*/ 4621216 w 780"/>
                  <a:gd name="T63" fmla="*/ 117140246 h 1197"/>
                  <a:gd name="T64" fmla="*/ 20596712 w 780"/>
                  <a:gd name="T65" fmla="*/ 90695069 h 1197"/>
                  <a:gd name="T66" fmla="*/ 22577388 w 780"/>
                  <a:gd name="T67" fmla="*/ 54380012 h 1197"/>
                  <a:gd name="T68" fmla="*/ 23105350 w 780"/>
                  <a:gd name="T69" fmla="*/ 39294883 h 1197"/>
                  <a:gd name="T70" fmla="*/ 17824274 w 780"/>
                  <a:gd name="T71" fmla="*/ 26817582 h 1197"/>
                  <a:gd name="T72" fmla="*/ 15843598 w 780"/>
                  <a:gd name="T73" fmla="*/ 6332079 h 1197"/>
                  <a:gd name="T74" fmla="*/ 101663490 w 780"/>
                  <a:gd name="T75" fmla="*/ 53821160 h 119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780"/>
                  <a:gd name="T115" fmla="*/ 0 h 1197"/>
                  <a:gd name="T116" fmla="*/ 780 w 780"/>
                  <a:gd name="T117" fmla="*/ 1197 h 1197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780" h="1197">
                    <a:moveTo>
                      <a:pt x="770" y="289"/>
                    </a:moveTo>
                    <a:cubicBezTo>
                      <a:pt x="773" y="364"/>
                      <a:pt x="778" y="496"/>
                      <a:pt x="780" y="570"/>
                    </a:cubicBezTo>
                    <a:cubicBezTo>
                      <a:pt x="774" y="577"/>
                      <a:pt x="759" y="565"/>
                      <a:pt x="748" y="571"/>
                    </a:cubicBezTo>
                    <a:cubicBezTo>
                      <a:pt x="736" y="581"/>
                      <a:pt x="719" y="567"/>
                      <a:pt x="709" y="581"/>
                    </a:cubicBezTo>
                    <a:cubicBezTo>
                      <a:pt x="696" y="586"/>
                      <a:pt x="708" y="595"/>
                      <a:pt x="708" y="603"/>
                    </a:cubicBezTo>
                    <a:cubicBezTo>
                      <a:pt x="709" y="620"/>
                      <a:pt x="689" y="625"/>
                      <a:pt x="685" y="640"/>
                    </a:cubicBezTo>
                    <a:cubicBezTo>
                      <a:pt x="689" y="649"/>
                      <a:pt x="683" y="654"/>
                      <a:pt x="674" y="654"/>
                    </a:cubicBezTo>
                    <a:cubicBezTo>
                      <a:pt x="661" y="656"/>
                      <a:pt x="666" y="665"/>
                      <a:pt x="670" y="672"/>
                    </a:cubicBezTo>
                    <a:cubicBezTo>
                      <a:pt x="667" y="680"/>
                      <a:pt x="672" y="685"/>
                      <a:pt x="678" y="687"/>
                    </a:cubicBezTo>
                    <a:cubicBezTo>
                      <a:pt x="677" y="700"/>
                      <a:pt x="659" y="699"/>
                      <a:pt x="652" y="709"/>
                    </a:cubicBezTo>
                    <a:cubicBezTo>
                      <a:pt x="638" y="718"/>
                      <a:pt x="652" y="730"/>
                      <a:pt x="655" y="741"/>
                    </a:cubicBezTo>
                    <a:cubicBezTo>
                      <a:pt x="667" y="755"/>
                      <a:pt x="646" y="765"/>
                      <a:pt x="636" y="772"/>
                    </a:cubicBezTo>
                    <a:cubicBezTo>
                      <a:pt x="625" y="783"/>
                      <a:pt x="624" y="810"/>
                      <a:pt x="646" y="805"/>
                    </a:cubicBezTo>
                    <a:cubicBezTo>
                      <a:pt x="654" y="796"/>
                      <a:pt x="667" y="800"/>
                      <a:pt x="673" y="809"/>
                    </a:cubicBezTo>
                    <a:cubicBezTo>
                      <a:pt x="664" y="822"/>
                      <a:pt x="680" y="837"/>
                      <a:pt x="677" y="849"/>
                    </a:cubicBezTo>
                    <a:cubicBezTo>
                      <a:pt x="692" y="842"/>
                      <a:pt x="684" y="857"/>
                      <a:pt x="684" y="865"/>
                    </a:cubicBezTo>
                    <a:cubicBezTo>
                      <a:pt x="678" y="880"/>
                      <a:pt x="688" y="890"/>
                      <a:pt x="700" y="896"/>
                    </a:cubicBezTo>
                    <a:cubicBezTo>
                      <a:pt x="714" y="895"/>
                      <a:pt x="716" y="911"/>
                      <a:pt x="711" y="922"/>
                    </a:cubicBezTo>
                    <a:cubicBezTo>
                      <a:pt x="711" y="931"/>
                      <a:pt x="707" y="933"/>
                      <a:pt x="702" y="933"/>
                    </a:cubicBezTo>
                    <a:cubicBezTo>
                      <a:pt x="697" y="933"/>
                      <a:pt x="691" y="931"/>
                      <a:pt x="686" y="930"/>
                    </a:cubicBezTo>
                    <a:cubicBezTo>
                      <a:pt x="675" y="927"/>
                      <a:pt x="662" y="933"/>
                      <a:pt x="655" y="941"/>
                    </a:cubicBezTo>
                    <a:cubicBezTo>
                      <a:pt x="643" y="938"/>
                      <a:pt x="642" y="951"/>
                      <a:pt x="631" y="953"/>
                    </a:cubicBezTo>
                    <a:cubicBezTo>
                      <a:pt x="609" y="954"/>
                      <a:pt x="633" y="980"/>
                      <a:pt x="615" y="988"/>
                    </a:cubicBezTo>
                    <a:cubicBezTo>
                      <a:pt x="601" y="985"/>
                      <a:pt x="604" y="1005"/>
                      <a:pt x="594" y="1006"/>
                    </a:cubicBezTo>
                    <a:cubicBezTo>
                      <a:pt x="581" y="1007"/>
                      <a:pt x="576" y="1022"/>
                      <a:pt x="569" y="1029"/>
                    </a:cubicBezTo>
                    <a:cubicBezTo>
                      <a:pt x="564" y="1038"/>
                      <a:pt x="556" y="1049"/>
                      <a:pt x="546" y="1053"/>
                    </a:cubicBezTo>
                    <a:cubicBezTo>
                      <a:pt x="543" y="1060"/>
                      <a:pt x="530" y="1053"/>
                      <a:pt x="531" y="1065"/>
                    </a:cubicBezTo>
                    <a:cubicBezTo>
                      <a:pt x="522" y="1080"/>
                      <a:pt x="502" y="1063"/>
                      <a:pt x="490" y="1076"/>
                    </a:cubicBezTo>
                    <a:cubicBezTo>
                      <a:pt x="474" y="1078"/>
                      <a:pt x="458" y="1081"/>
                      <a:pt x="442" y="1080"/>
                    </a:cubicBezTo>
                    <a:cubicBezTo>
                      <a:pt x="433" y="1076"/>
                      <a:pt x="401" y="1086"/>
                      <a:pt x="417" y="1097"/>
                    </a:cubicBezTo>
                    <a:cubicBezTo>
                      <a:pt x="433" y="1100"/>
                      <a:pt x="426" y="1114"/>
                      <a:pt x="417" y="1121"/>
                    </a:cubicBezTo>
                    <a:cubicBezTo>
                      <a:pt x="413" y="1136"/>
                      <a:pt x="394" y="1136"/>
                      <a:pt x="391" y="1151"/>
                    </a:cubicBezTo>
                    <a:cubicBezTo>
                      <a:pt x="380" y="1156"/>
                      <a:pt x="364" y="1153"/>
                      <a:pt x="351" y="1155"/>
                    </a:cubicBezTo>
                    <a:cubicBezTo>
                      <a:pt x="339" y="1162"/>
                      <a:pt x="325" y="1153"/>
                      <a:pt x="313" y="1161"/>
                    </a:cubicBezTo>
                    <a:cubicBezTo>
                      <a:pt x="297" y="1164"/>
                      <a:pt x="286" y="1175"/>
                      <a:pt x="273" y="1181"/>
                    </a:cubicBezTo>
                    <a:cubicBezTo>
                      <a:pt x="263" y="1178"/>
                      <a:pt x="260" y="1197"/>
                      <a:pt x="252" y="1186"/>
                    </a:cubicBezTo>
                    <a:cubicBezTo>
                      <a:pt x="242" y="1183"/>
                      <a:pt x="242" y="1168"/>
                      <a:pt x="234" y="1167"/>
                    </a:cubicBezTo>
                    <a:cubicBezTo>
                      <a:pt x="225" y="1171"/>
                      <a:pt x="228" y="1180"/>
                      <a:pt x="219" y="1182"/>
                    </a:cubicBezTo>
                    <a:cubicBezTo>
                      <a:pt x="203" y="1184"/>
                      <a:pt x="193" y="1197"/>
                      <a:pt x="177" y="1197"/>
                    </a:cubicBezTo>
                    <a:cubicBezTo>
                      <a:pt x="175" y="1189"/>
                      <a:pt x="161" y="1196"/>
                      <a:pt x="160" y="1191"/>
                    </a:cubicBezTo>
                    <a:cubicBezTo>
                      <a:pt x="160" y="1190"/>
                      <a:pt x="160" y="1190"/>
                      <a:pt x="160" y="1189"/>
                    </a:cubicBezTo>
                    <a:cubicBezTo>
                      <a:pt x="171" y="1177"/>
                      <a:pt x="156" y="1174"/>
                      <a:pt x="153" y="1163"/>
                    </a:cubicBezTo>
                    <a:cubicBezTo>
                      <a:pt x="150" y="1151"/>
                      <a:pt x="144" y="1140"/>
                      <a:pt x="139" y="1129"/>
                    </a:cubicBezTo>
                    <a:cubicBezTo>
                      <a:pt x="133" y="1114"/>
                      <a:pt x="120" y="1102"/>
                      <a:pt x="107" y="1095"/>
                    </a:cubicBezTo>
                    <a:cubicBezTo>
                      <a:pt x="98" y="1088"/>
                      <a:pt x="88" y="1081"/>
                      <a:pt x="79" y="1073"/>
                    </a:cubicBezTo>
                    <a:cubicBezTo>
                      <a:pt x="70" y="1063"/>
                      <a:pt x="62" y="1051"/>
                      <a:pt x="52" y="1041"/>
                    </a:cubicBezTo>
                    <a:cubicBezTo>
                      <a:pt x="43" y="1036"/>
                      <a:pt x="42" y="1024"/>
                      <a:pt x="53" y="1020"/>
                    </a:cubicBezTo>
                    <a:cubicBezTo>
                      <a:pt x="57" y="1007"/>
                      <a:pt x="68" y="1005"/>
                      <a:pt x="80" y="1006"/>
                    </a:cubicBezTo>
                    <a:cubicBezTo>
                      <a:pt x="94" y="1009"/>
                      <a:pt x="107" y="1011"/>
                      <a:pt x="121" y="1009"/>
                    </a:cubicBezTo>
                    <a:cubicBezTo>
                      <a:pt x="135" y="1003"/>
                      <a:pt x="147" y="1013"/>
                      <a:pt x="161" y="1009"/>
                    </a:cubicBezTo>
                    <a:cubicBezTo>
                      <a:pt x="174" y="1009"/>
                      <a:pt x="165" y="1002"/>
                      <a:pt x="159" y="998"/>
                    </a:cubicBezTo>
                    <a:cubicBezTo>
                      <a:pt x="148" y="990"/>
                      <a:pt x="142" y="977"/>
                      <a:pt x="133" y="968"/>
                    </a:cubicBezTo>
                    <a:cubicBezTo>
                      <a:pt x="130" y="957"/>
                      <a:pt x="125" y="946"/>
                      <a:pt x="124" y="934"/>
                    </a:cubicBezTo>
                    <a:cubicBezTo>
                      <a:pt x="120" y="923"/>
                      <a:pt x="122" y="912"/>
                      <a:pt x="125" y="901"/>
                    </a:cubicBezTo>
                    <a:cubicBezTo>
                      <a:pt x="134" y="891"/>
                      <a:pt x="122" y="883"/>
                      <a:pt x="127" y="871"/>
                    </a:cubicBezTo>
                    <a:cubicBezTo>
                      <a:pt x="122" y="865"/>
                      <a:pt x="126" y="858"/>
                      <a:pt x="124" y="850"/>
                    </a:cubicBezTo>
                    <a:cubicBezTo>
                      <a:pt x="108" y="848"/>
                      <a:pt x="116" y="830"/>
                      <a:pt x="110" y="818"/>
                    </a:cubicBezTo>
                    <a:cubicBezTo>
                      <a:pt x="112" y="809"/>
                      <a:pt x="100" y="808"/>
                      <a:pt x="100" y="802"/>
                    </a:cubicBezTo>
                    <a:cubicBezTo>
                      <a:pt x="90" y="801"/>
                      <a:pt x="84" y="794"/>
                      <a:pt x="84" y="783"/>
                    </a:cubicBezTo>
                    <a:cubicBezTo>
                      <a:pt x="81" y="768"/>
                      <a:pt x="63" y="776"/>
                      <a:pt x="52" y="774"/>
                    </a:cubicBezTo>
                    <a:cubicBezTo>
                      <a:pt x="41" y="758"/>
                      <a:pt x="30" y="742"/>
                      <a:pt x="19" y="726"/>
                    </a:cubicBezTo>
                    <a:cubicBezTo>
                      <a:pt x="15" y="710"/>
                      <a:pt x="12" y="695"/>
                      <a:pt x="8" y="679"/>
                    </a:cubicBezTo>
                    <a:cubicBezTo>
                      <a:pt x="0" y="664"/>
                      <a:pt x="28" y="670"/>
                      <a:pt x="23" y="656"/>
                    </a:cubicBezTo>
                    <a:cubicBezTo>
                      <a:pt x="35" y="651"/>
                      <a:pt x="27" y="637"/>
                      <a:pt x="35" y="629"/>
                    </a:cubicBezTo>
                    <a:cubicBezTo>
                      <a:pt x="48" y="613"/>
                      <a:pt x="60" y="596"/>
                      <a:pt x="71" y="579"/>
                    </a:cubicBezTo>
                    <a:cubicBezTo>
                      <a:pt x="98" y="547"/>
                      <a:pt x="128" y="518"/>
                      <a:pt x="156" y="487"/>
                    </a:cubicBezTo>
                    <a:cubicBezTo>
                      <a:pt x="158" y="458"/>
                      <a:pt x="160" y="428"/>
                      <a:pt x="161" y="399"/>
                    </a:cubicBezTo>
                    <a:cubicBezTo>
                      <a:pt x="163" y="363"/>
                      <a:pt x="166" y="327"/>
                      <a:pt x="171" y="292"/>
                    </a:cubicBezTo>
                    <a:cubicBezTo>
                      <a:pt x="173" y="275"/>
                      <a:pt x="174" y="258"/>
                      <a:pt x="184" y="244"/>
                    </a:cubicBezTo>
                    <a:cubicBezTo>
                      <a:pt x="199" y="231"/>
                      <a:pt x="183" y="220"/>
                      <a:pt x="175" y="211"/>
                    </a:cubicBezTo>
                    <a:cubicBezTo>
                      <a:pt x="167" y="205"/>
                      <a:pt x="152" y="193"/>
                      <a:pt x="165" y="185"/>
                    </a:cubicBezTo>
                    <a:cubicBezTo>
                      <a:pt x="155" y="171"/>
                      <a:pt x="147" y="156"/>
                      <a:pt x="135" y="144"/>
                    </a:cubicBezTo>
                    <a:cubicBezTo>
                      <a:pt x="133" y="127"/>
                      <a:pt x="136" y="109"/>
                      <a:pt x="131" y="93"/>
                    </a:cubicBezTo>
                    <a:cubicBezTo>
                      <a:pt x="128" y="73"/>
                      <a:pt x="124" y="53"/>
                      <a:pt x="120" y="34"/>
                    </a:cubicBezTo>
                    <a:cubicBezTo>
                      <a:pt x="144" y="22"/>
                      <a:pt x="167" y="11"/>
                      <a:pt x="191" y="0"/>
                    </a:cubicBezTo>
                    <a:cubicBezTo>
                      <a:pt x="386" y="93"/>
                      <a:pt x="579" y="189"/>
                      <a:pt x="770" y="289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48722" name="Central African Republic"/>
              <p:cNvSpPr>
                <a:spLocks/>
              </p:cNvSpPr>
              <p:nvPr/>
            </p:nvSpPr>
            <p:spPr bwMode="auto">
              <a:xfrm>
                <a:off x="4609091" y="4214133"/>
                <a:ext cx="360078" cy="287071"/>
              </a:xfrm>
              <a:custGeom>
                <a:avLst/>
                <a:gdLst>
                  <a:gd name="T0" fmla="*/ 18917190 w 990"/>
                  <a:gd name="T1" fmla="*/ 123924458 h 665"/>
                  <a:gd name="T2" fmla="*/ 18652769 w 990"/>
                  <a:gd name="T3" fmla="*/ 123551914 h 665"/>
                  <a:gd name="T4" fmla="*/ 15213116 w 990"/>
                  <a:gd name="T5" fmla="*/ 111438790 h 665"/>
                  <a:gd name="T6" fmla="*/ 7408151 w 990"/>
                  <a:gd name="T7" fmla="*/ 99139637 h 665"/>
                  <a:gd name="T8" fmla="*/ 4630094 w 990"/>
                  <a:gd name="T9" fmla="*/ 90940201 h 665"/>
                  <a:gd name="T10" fmla="*/ 3042478 w 990"/>
                  <a:gd name="T11" fmla="*/ 78081584 h 665"/>
                  <a:gd name="T12" fmla="*/ 3704076 w 990"/>
                  <a:gd name="T13" fmla="*/ 67646017 h 665"/>
                  <a:gd name="T14" fmla="*/ 8598591 w 990"/>
                  <a:gd name="T15" fmla="*/ 56091940 h 665"/>
                  <a:gd name="T16" fmla="*/ 12170639 w 990"/>
                  <a:gd name="T17" fmla="*/ 49197058 h 665"/>
                  <a:gd name="T18" fmla="*/ 19975601 w 990"/>
                  <a:gd name="T19" fmla="*/ 47519959 h 665"/>
                  <a:gd name="T20" fmla="*/ 24341278 w 990"/>
                  <a:gd name="T21" fmla="*/ 48265480 h 665"/>
                  <a:gd name="T22" fmla="*/ 32410661 w 990"/>
                  <a:gd name="T23" fmla="*/ 43606298 h 665"/>
                  <a:gd name="T24" fmla="*/ 42729257 w 990"/>
                  <a:gd name="T25" fmla="*/ 41743143 h 665"/>
                  <a:gd name="T26" fmla="*/ 46168910 w 990"/>
                  <a:gd name="T27" fmla="*/ 31680121 h 665"/>
                  <a:gd name="T28" fmla="*/ 55825920 w 990"/>
                  <a:gd name="T29" fmla="*/ 27766453 h 665"/>
                  <a:gd name="T30" fmla="*/ 63234069 w 990"/>
                  <a:gd name="T31" fmla="*/ 23480247 h 665"/>
                  <a:gd name="T32" fmla="*/ 69583806 w 990"/>
                  <a:gd name="T33" fmla="*/ 14721779 h 665"/>
                  <a:gd name="T34" fmla="*/ 74478683 w 990"/>
                  <a:gd name="T35" fmla="*/ 4845240 h 665"/>
                  <a:gd name="T36" fmla="*/ 81754439 w 990"/>
                  <a:gd name="T37" fmla="*/ 559033 h 665"/>
                  <a:gd name="T38" fmla="*/ 84532495 w 990"/>
                  <a:gd name="T39" fmla="*/ 1304554 h 665"/>
                  <a:gd name="T40" fmla="*/ 92469849 w 990"/>
                  <a:gd name="T41" fmla="*/ 16212821 h 665"/>
                  <a:gd name="T42" fmla="*/ 90882233 w 990"/>
                  <a:gd name="T43" fmla="*/ 28884526 h 665"/>
                  <a:gd name="T44" fmla="*/ 97232357 w 990"/>
                  <a:gd name="T45" fmla="*/ 32611699 h 665"/>
                  <a:gd name="T46" fmla="*/ 101862449 w 990"/>
                  <a:gd name="T47" fmla="*/ 39506581 h 665"/>
                  <a:gd name="T48" fmla="*/ 109005813 w 990"/>
                  <a:gd name="T49" fmla="*/ 46401894 h 665"/>
                  <a:gd name="T50" fmla="*/ 114165111 w 990"/>
                  <a:gd name="T51" fmla="*/ 54414841 h 665"/>
                  <a:gd name="T52" fmla="*/ 119456802 w 990"/>
                  <a:gd name="T53" fmla="*/ 62987266 h 665"/>
                  <a:gd name="T54" fmla="*/ 121441231 w 990"/>
                  <a:gd name="T55" fmla="*/ 69323115 h 665"/>
                  <a:gd name="T56" fmla="*/ 128584595 w 990"/>
                  <a:gd name="T57" fmla="*/ 75845452 h 665"/>
                  <a:gd name="T58" fmla="*/ 130701417 w 990"/>
                  <a:gd name="T59" fmla="*/ 83858831 h 665"/>
                  <a:gd name="T60" fmla="*/ 125012913 w 990"/>
                  <a:gd name="T61" fmla="*/ 83858831 h 665"/>
                  <a:gd name="T62" fmla="*/ 117339980 w 990"/>
                  <a:gd name="T63" fmla="*/ 81436212 h 665"/>
                  <a:gd name="T64" fmla="*/ 113635906 w 990"/>
                  <a:gd name="T65" fmla="*/ 81063236 h 665"/>
                  <a:gd name="T66" fmla="*/ 106624571 w 990"/>
                  <a:gd name="T67" fmla="*/ 85162953 h 665"/>
                  <a:gd name="T68" fmla="*/ 106492542 w 990"/>
                  <a:gd name="T69" fmla="*/ 84976897 h 665"/>
                  <a:gd name="T70" fmla="*/ 100274833 w 990"/>
                  <a:gd name="T71" fmla="*/ 84231376 h 665"/>
                  <a:gd name="T72" fmla="*/ 100274833 w 990"/>
                  <a:gd name="T73" fmla="*/ 84231376 h 665"/>
                  <a:gd name="T74" fmla="*/ 94983484 w 990"/>
                  <a:gd name="T75" fmla="*/ 87399516 h 665"/>
                  <a:gd name="T76" fmla="*/ 87046130 w 990"/>
                  <a:gd name="T77" fmla="*/ 88517582 h 665"/>
                  <a:gd name="T78" fmla="*/ 82680458 w 990"/>
                  <a:gd name="T79" fmla="*/ 92430811 h 665"/>
                  <a:gd name="T80" fmla="*/ 72891067 w 990"/>
                  <a:gd name="T81" fmla="*/ 94853431 h 665"/>
                  <a:gd name="T82" fmla="*/ 61911237 w 990"/>
                  <a:gd name="T83" fmla="*/ 92430811 h 665"/>
                  <a:gd name="T84" fmla="*/ 53973883 w 990"/>
                  <a:gd name="T85" fmla="*/ 82926822 h 665"/>
                  <a:gd name="T86" fmla="*/ 44184481 w 990"/>
                  <a:gd name="T87" fmla="*/ 93548877 h 665"/>
                  <a:gd name="T88" fmla="*/ 42861649 w 990"/>
                  <a:gd name="T89" fmla="*/ 103425843 h 665"/>
                  <a:gd name="T90" fmla="*/ 42332444 w 990"/>
                  <a:gd name="T91" fmla="*/ 105102941 h 665"/>
                  <a:gd name="T92" fmla="*/ 36643940 w 990"/>
                  <a:gd name="T93" fmla="*/ 105288997 h 665"/>
                  <a:gd name="T94" fmla="*/ 30029418 w 990"/>
                  <a:gd name="T95" fmla="*/ 104357420 h 665"/>
                  <a:gd name="T96" fmla="*/ 21827638 w 990"/>
                  <a:gd name="T97" fmla="*/ 111625278 h 66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990"/>
                  <a:gd name="T148" fmla="*/ 0 h 665"/>
                  <a:gd name="T149" fmla="*/ 990 w 990"/>
                  <a:gd name="T150" fmla="*/ 665 h 665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990" h="665">
                    <a:moveTo>
                      <a:pt x="157" y="636"/>
                    </a:moveTo>
                    <a:cubicBezTo>
                      <a:pt x="153" y="645"/>
                      <a:pt x="149" y="656"/>
                      <a:pt x="143" y="665"/>
                    </a:cubicBezTo>
                    <a:cubicBezTo>
                      <a:pt x="142" y="665"/>
                      <a:pt x="142" y="665"/>
                      <a:pt x="142" y="665"/>
                    </a:cubicBezTo>
                    <a:cubicBezTo>
                      <a:pt x="141" y="663"/>
                      <a:pt x="141" y="663"/>
                      <a:pt x="141" y="663"/>
                    </a:cubicBezTo>
                    <a:cubicBezTo>
                      <a:pt x="134" y="649"/>
                      <a:pt x="133" y="631"/>
                      <a:pt x="136" y="616"/>
                    </a:cubicBezTo>
                    <a:cubicBezTo>
                      <a:pt x="130" y="609"/>
                      <a:pt x="126" y="598"/>
                      <a:pt x="115" y="598"/>
                    </a:cubicBezTo>
                    <a:cubicBezTo>
                      <a:pt x="103" y="591"/>
                      <a:pt x="94" y="576"/>
                      <a:pt x="82" y="566"/>
                    </a:cubicBezTo>
                    <a:cubicBezTo>
                      <a:pt x="72" y="556"/>
                      <a:pt x="61" y="545"/>
                      <a:pt x="56" y="532"/>
                    </a:cubicBezTo>
                    <a:cubicBezTo>
                      <a:pt x="58" y="526"/>
                      <a:pt x="70" y="534"/>
                      <a:pt x="61" y="522"/>
                    </a:cubicBezTo>
                    <a:cubicBezTo>
                      <a:pt x="62" y="505"/>
                      <a:pt x="48" y="496"/>
                      <a:pt x="35" y="488"/>
                    </a:cubicBezTo>
                    <a:cubicBezTo>
                      <a:pt x="27" y="474"/>
                      <a:pt x="32" y="455"/>
                      <a:pt x="26" y="440"/>
                    </a:cubicBezTo>
                    <a:cubicBezTo>
                      <a:pt x="13" y="437"/>
                      <a:pt x="21" y="428"/>
                      <a:pt x="23" y="419"/>
                    </a:cubicBezTo>
                    <a:cubicBezTo>
                      <a:pt x="20" y="410"/>
                      <a:pt x="30" y="391"/>
                      <a:pt x="20" y="387"/>
                    </a:cubicBezTo>
                    <a:cubicBezTo>
                      <a:pt x="0" y="384"/>
                      <a:pt x="14" y="363"/>
                      <a:pt x="28" y="363"/>
                    </a:cubicBezTo>
                    <a:cubicBezTo>
                      <a:pt x="40" y="358"/>
                      <a:pt x="39" y="343"/>
                      <a:pt x="46" y="333"/>
                    </a:cubicBezTo>
                    <a:cubicBezTo>
                      <a:pt x="52" y="323"/>
                      <a:pt x="62" y="315"/>
                      <a:pt x="65" y="301"/>
                    </a:cubicBezTo>
                    <a:cubicBezTo>
                      <a:pt x="66" y="284"/>
                      <a:pt x="85" y="280"/>
                      <a:pt x="90" y="265"/>
                    </a:cubicBezTo>
                    <a:cubicBezTo>
                      <a:pt x="92" y="264"/>
                      <a:pt x="92" y="264"/>
                      <a:pt x="92" y="264"/>
                    </a:cubicBezTo>
                    <a:cubicBezTo>
                      <a:pt x="93" y="269"/>
                      <a:pt x="107" y="262"/>
                      <a:pt x="109" y="270"/>
                    </a:cubicBezTo>
                    <a:cubicBezTo>
                      <a:pt x="125" y="270"/>
                      <a:pt x="135" y="257"/>
                      <a:pt x="151" y="255"/>
                    </a:cubicBezTo>
                    <a:cubicBezTo>
                      <a:pt x="160" y="253"/>
                      <a:pt x="157" y="244"/>
                      <a:pt x="166" y="240"/>
                    </a:cubicBezTo>
                    <a:cubicBezTo>
                      <a:pt x="174" y="241"/>
                      <a:pt x="174" y="256"/>
                      <a:pt x="184" y="259"/>
                    </a:cubicBezTo>
                    <a:cubicBezTo>
                      <a:pt x="192" y="270"/>
                      <a:pt x="195" y="251"/>
                      <a:pt x="205" y="254"/>
                    </a:cubicBezTo>
                    <a:cubicBezTo>
                      <a:pt x="218" y="248"/>
                      <a:pt x="229" y="237"/>
                      <a:pt x="245" y="234"/>
                    </a:cubicBezTo>
                    <a:cubicBezTo>
                      <a:pt x="257" y="226"/>
                      <a:pt x="271" y="235"/>
                      <a:pt x="283" y="228"/>
                    </a:cubicBezTo>
                    <a:cubicBezTo>
                      <a:pt x="296" y="226"/>
                      <a:pt x="312" y="229"/>
                      <a:pt x="323" y="224"/>
                    </a:cubicBezTo>
                    <a:cubicBezTo>
                      <a:pt x="326" y="209"/>
                      <a:pt x="345" y="209"/>
                      <a:pt x="349" y="194"/>
                    </a:cubicBezTo>
                    <a:cubicBezTo>
                      <a:pt x="358" y="187"/>
                      <a:pt x="365" y="173"/>
                      <a:pt x="349" y="170"/>
                    </a:cubicBezTo>
                    <a:cubicBezTo>
                      <a:pt x="333" y="159"/>
                      <a:pt x="365" y="149"/>
                      <a:pt x="374" y="153"/>
                    </a:cubicBezTo>
                    <a:cubicBezTo>
                      <a:pt x="390" y="154"/>
                      <a:pt x="406" y="151"/>
                      <a:pt x="422" y="149"/>
                    </a:cubicBezTo>
                    <a:cubicBezTo>
                      <a:pt x="434" y="136"/>
                      <a:pt x="454" y="153"/>
                      <a:pt x="463" y="138"/>
                    </a:cubicBezTo>
                    <a:cubicBezTo>
                      <a:pt x="462" y="126"/>
                      <a:pt x="475" y="133"/>
                      <a:pt x="478" y="126"/>
                    </a:cubicBezTo>
                    <a:cubicBezTo>
                      <a:pt x="488" y="122"/>
                      <a:pt x="496" y="111"/>
                      <a:pt x="501" y="102"/>
                    </a:cubicBezTo>
                    <a:cubicBezTo>
                      <a:pt x="508" y="95"/>
                      <a:pt x="513" y="80"/>
                      <a:pt x="526" y="79"/>
                    </a:cubicBezTo>
                    <a:cubicBezTo>
                      <a:pt x="536" y="78"/>
                      <a:pt x="533" y="58"/>
                      <a:pt x="547" y="61"/>
                    </a:cubicBezTo>
                    <a:cubicBezTo>
                      <a:pt x="565" y="53"/>
                      <a:pt x="541" y="27"/>
                      <a:pt x="563" y="26"/>
                    </a:cubicBezTo>
                    <a:cubicBezTo>
                      <a:pt x="574" y="24"/>
                      <a:pt x="575" y="11"/>
                      <a:pt x="587" y="14"/>
                    </a:cubicBezTo>
                    <a:cubicBezTo>
                      <a:pt x="594" y="6"/>
                      <a:pt x="607" y="0"/>
                      <a:pt x="618" y="3"/>
                    </a:cubicBezTo>
                    <a:cubicBezTo>
                      <a:pt x="623" y="4"/>
                      <a:pt x="629" y="6"/>
                      <a:pt x="634" y="6"/>
                    </a:cubicBezTo>
                    <a:cubicBezTo>
                      <a:pt x="639" y="7"/>
                      <a:pt x="639" y="7"/>
                      <a:pt x="639" y="7"/>
                    </a:cubicBezTo>
                    <a:cubicBezTo>
                      <a:pt x="645" y="23"/>
                      <a:pt x="661" y="31"/>
                      <a:pt x="672" y="43"/>
                    </a:cubicBezTo>
                    <a:cubicBezTo>
                      <a:pt x="682" y="57"/>
                      <a:pt x="690" y="72"/>
                      <a:pt x="699" y="87"/>
                    </a:cubicBezTo>
                    <a:cubicBezTo>
                      <a:pt x="705" y="99"/>
                      <a:pt x="695" y="109"/>
                      <a:pt x="699" y="121"/>
                    </a:cubicBezTo>
                    <a:cubicBezTo>
                      <a:pt x="705" y="137"/>
                      <a:pt x="676" y="140"/>
                      <a:pt x="687" y="155"/>
                    </a:cubicBezTo>
                    <a:cubicBezTo>
                      <a:pt x="704" y="150"/>
                      <a:pt x="684" y="175"/>
                      <a:pt x="689" y="171"/>
                    </a:cubicBezTo>
                    <a:cubicBezTo>
                      <a:pt x="701" y="175"/>
                      <a:pt x="720" y="172"/>
                      <a:pt x="735" y="175"/>
                    </a:cubicBezTo>
                    <a:cubicBezTo>
                      <a:pt x="750" y="172"/>
                      <a:pt x="743" y="189"/>
                      <a:pt x="737" y="195"/>
                    </a:cubicBezTo>
                    <a:cubicBezTo>
                      <a:pt x="738" y="213"/>
                      <a:pt x="760" y="204"/>
                      <a:pt x="770" y="212"/>
                    </a:cubicBezTo>
                    <a:cubicBezTo>
                      <a:pt x="784" y="208"/>
                      <a:pt x="797" y="217"/>
                      <a:pt x="802" y="230"/>
                    </a:cubicBezTo>
                    <a:cubicBezTo>
                      <a:pt x="809" y="237"/>
                      <a:pt x="825" y="234"/>
                      <a:pt x="824" y="249"/>
                    </a:cubicBezTo>
                    <a:cubicBezTo>
                      <a:pt x="824" y="256"/>
                      <a:pt x="808" y="262"/>
                      <a:pt x="823" y="267"/>
                    </a:cubicBezTo>
                    <a:cubicBezTo>
                      <a:pt x="832" y="281"/>
                      <a:pt x="849" y="285"/>
                      <a:pt x="863" y="292"/>
                    </a:cubicBezTo>
                    <a:cubicBezTo>
                      <a:pt x="875" y="299"/>
                      <a:pt x="883" y="307"/>
                      <a:pt x="890" y="318"/>
                    </a:cubicBezTo>
                    <a:cubicBezTo>
                      <a:pt x="896" y="325"/>
                      <a:pt x="915" y="326"/>
                      <a:pt x="903" y="338"/>
                    </a:cubicBezTo>
                    <a:cubicBezTo>
                      <a:pt x="894" y="351"/>
                      <a:pt x="915" y="354"/>
                      <a:pt x="918" y="364"/>
                    </a:cubicBezTo>
                    <a:cubicBezTo>
                      <a:pt x="914" y="368"/>
                      <a:pt x="909" y="372"/>
                      <a:pt x="918" y="372"/>
                    </a:cubicBezTo>
                    <a:cubicBezTo>
                      <a:pt x="924" y="381"/>
                      <a:pt x="939" y="373"/>
                      <a:pt x="944" y="386"/>
                    </a:cubicBezTo>
                    <a:cubicBezTo>
                      <a:pt x="954" y="390"/>
                      <a:pt x="969" y="394"/>
                      <a:pt x="972" y="407"/>
                    </a:cubicBezTo>
                    <a:cubicBezTo>
                      <a:pt x="977" y="415"/>
                      <a:pt x="968" y="432"/>
                      <a:pt x="981" y="440"/>
                    </a:cubicBezTo>
                    <a:cubicBezTo>
                      <a:pt x="986" y="441"/>
                      <a:pt x="990" y="450"/>
                      <a:pt x="988" y="450"/>
                    </a:cubicBezTo>
                    <a:cubicBezTo>
                      <a:pt x="988" y="450"/>
                      <a:pt x="986" y="450"/>
                      <a:pt x="985" y="447"/>
                    </a:cubicBezTo>
                    <a:cubicBezTo>
                      <a:pt x="971" y="440"/>
                      <a:pt x="953" y="433"/>
                      <a:pt x="945" y="450"/>
                    </a:cubicBezTo>
                    <a:cubicBezTo>
                      <a:pt x="935" y="445"/>
                      <a:pt x="926" y="450"/>
                      <a:pt x="915" y="449"/>
                    </a:cubicBezTo>
                    <a:cubicBezTo>
                      <a:pt x="907" y="444"/>
                      <a:pt x="896" y="437"/>
                      <a:pt x="887" y="437"/>
                    </a:cubicBezTo>
                    <a:cubicBezTo>
                      <a:pt x="881" y="440"/>
                      <a:pt x="865" y="441"/>
                      <a:pt x="871" y="439"/>
                    </a:cubicBezTo>
                    <a:cubicBezTo>
                      <a:pt x="861" y="437"/>
                      <a:pt x="869" y="435"/>
                      <a:pt x="859" y="435"/>
                    </a:cubicBezTo>
                    <a:cubicBezTo>
                      <a:pt x="852" y="424"/>
                      <a:pt x="830" y="424"/>
                      <a:pt x="829" y="441"/>
                    </a:cubicBezTo>
                    <a:cubicBezTo>
                      <a:pt x="834" y="455"/>
                      <a:pt x="800" y="459"/>
                      <a:pt x="806" y="457"/>
                    </a:cubicBezTo>
                    <a:cubicBezTo>
                      <a:pt x="805" y="456"/>
                      <a:pt x="805" y="456"/>
                      <a:pt x="805" y="456"/>
                    </a:cubicBezTo>
                    <a:cubicBezTo>
                      <a:pt x="805" y="456"/>
                      <a:pt x="805" y="456"/>
                      <a:pt x="805" y="456"/>
                    </a:cubicBezTo>
                    <a:cubicBezTo>
                      <a:pt x="795" y="456"/>
                      <a:pt x="781" y="468"/>
                      <a:pt x="776" y="454"/>
                    </a:cubicBezTo>
                    <a:cubicBezTo>
                      <a:pt x="772" y="450"/>
                      <a:pt x="762" y="454"/>
                      <a:pt x="758" y="452"/>
                    </a:cubicBezTo>
                    <a:cubicBezTo>
                      <a:pt x="759" y="451"/>
                      <a:pt x="758" y="451"/>
                      <a:pt x="757" y="450"/>
                    </a:cubicBezTo>
                    <a:cubicBezTo>
                      <a:pt x="757" y="451"/>
                      <a:pt x="757" y="452"/>
                      <a:pt x="758" y="452"/>
                    </a:cubicBezTo>
                    <a:cubicBezTo>
                      <a:pt x="756" y="456"/>
                      <a:pt x="742" y="459"/>
                      <a:pt x="746" y="459"/>
                    </a:cubicBezTo>
                    <a:cubicBezTo>
                      <a:pt x="737" y="460"/>
                      <a:pt x="728" y="467"/>
                      <a:pt x="718" y="469"/>
                    </a:cubicBezTo>
                    <a:cubicBezTo>
                      <a:pt x="704" y="471"/>
                      <a:pt x="693" y="479"/>
                      <a:pt x="682" y="486"/>
                    </a:cubicBezTo>
                    <a:cubicBezTo>
                      <a:pt x="673" y="482"/>
                      <a:pt x="668" y="474"/>
                      <a:pt x="658" y="475"/>
                    </a:cubicBezTo>
                    <a:cubicBezTo>
                      <a:pt x="655" y="465"/>
                      <a:pt x="645" y="468"/>
                      <a:pt x="644" y="476"/>
                    </a:cubicBezTo>
                    <a:cubicBezTo>
                      <a:pt x="631" y="476"/>
                      <a:pt x="636" y="496"/>
                      <a:pt x="625" y="496"/>
                    </a:cubicBezTo>
                    <a:cubicBezTo>
                      <a:pt x="626" y="511"/>
                      <a:pt x="612" y="528"/>
                      <a:pt x="596" y="520"/>
                    </a:cubicBezTo>
                    <a:cubicBezTo>
                      <a:pt x="582" y="512"/>
                      <a:pt x="566" y="510"/>
                      <a:pt x="551" y="509"/>
                    </a:cubicBezTo>
                    <a:cubicBezTo>
                      <a:pt x="540" y="517"/>
                      <a:pt x="527" y="505"/>
                      <a:pt x="516" y="507"/>
                    </a:cubicBezTo>
                    <a:cubicBezTo>
                      <a:pt x="504" y="489"/>
                      <a:pt x="483" y="505"/>
                      <a:pt x="468" y="496"/>
                    </a:cubicBezTo>
                    <a:cubicBezTo>
                      <a:pt x="462" y="486"/>
                      <a:pt x="458" y="472"/>
                      <a:pt x="444" y="468"/>
                    </a:cubicBezTo>
                    <a:cubicBezTo>
                      <a:pt x="433" y="459"/>
                      <a:pt x="419" y="454"/>
                      <a:pt x="408" y="445"/>
                    </a:cubicBezTo>
                    <a:cubicBezTo>
                      <a:pt x="390" y="440"/>
                      <a:pt x="377" y="453"/>
                      <a:pt x="362" y="461"/>
                    </a:cubicBezTo>
                    <a:cubicBezTo>
                      <a:pt x="353" y="475"/>
                      <a:pt x="342" y="488"/>
                      <a:pt x="334" y="502"/>
                    </a:cubicBezTo>
                    <a:cubicBezTo>
                      <a:pt x="329" y="505"/>
                      <a:pt x="314" y="502"/>
                      <a:pt x="322" y="513"/>
                    </a:cubicBezTo>
                    <a:cubicBezTo>
                      <a:pt x="333" y="525"/>
                      <a:pt x="322" y="541"/>
                      <a:pt x="324" y="555"/>
                    </a:cubicBezTo>
                    <a:cubicBezTo>
                      <a:pt x="325" y="559"/>
                      <a:pt x="326" y="569"/>
                      <a:pt x="324" y="569"/>
                    </a:cubicBezTo>
                    <a:cubicBezTo>
                      <a:pt x="323" y="569"/>
                      <a:pt x="322" y="568"/>
                      <a:pt x="320" y="564"/>
                    </a:cubicBezTo>
                    <a:cubicBezTo>
                      <a:pt x="317" y="555"/>
                      <a:pt x="292" y="565"/>
                      <a:pt x="299" y="565"/>
                    </a:cubicBezTo>
                    <a:cubicBezTo>
                      <a:pt x="293" y="577"/>
                      <a:pt x="287" y="558"/>
                      <a:pt x="277" y="565"/>
                    </a:cubicBezTo>
                    <a:cubicBezTo>
                      <a:pt x="267" y="567"/>
                      <a:pt x="261" y="555"/>
                      <a:pt x="251" y="559"/>
                    </a:cubicBezTo>
                    <a:cubicBezTo>
                      <a:pt x="243" y="551"/>
                      <a:pt x="235" y="555"/>
                      <a:pt x="227" y="560"/>
                    </a:cubicBezTo>
                    <a:cubicBezTo>
                      <a:pt x="212" y="564"/>
                      <a:pt x="196" y="567"/>
                      <a:pt x="181" y="566"/>
                    </a:cubicBezTo>
                    <a:cubicBezTo>
                      <a:pt x="168" y="569"/>
                      <a:pt x="168" y="589"/>
                      <a:pt x="165" y="599"/>
                    </a:cubicBezTo>
                    <a:cubicBezTo>
                      <a:pt x="163" y="612"/>
                      <a:pt x="167" y="624"/>
                      <a:pt x="157" y="636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47" name="Cape Verde"/>
              <p:cNvSpPr>
                <a:spLocks/>
              </p:cNvSpPr>
              <p:nvPr>
                <p:custDataLst>
                  <p:tags r:id="rId112"/>
                </p:custDataLst>
              </p:nvPr>
            </p:nvSpPr>
            <p:spPr bwMode="auto">
              <a:xfrm>
                <a:off x="3672162" y="4015526"/>
                <a:ext cx="43989" cy="6120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1"/>
                  </a:cxn>
                  <a:cxn ang="0">
                    <a:pos x="8" y="11"/>
                  </a:cxn>
                  <a:cxn ang="0">
                    <a:pos x="8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11">
                    <a:moveTo>
                      <a:pt x="0" y="0"/>
                    </a:moveTo>
                    <a:lnTo>
                      <a:pt x="2" y="11"/>
                    </a:lnTo>
                    <a:lnTo>
                      <a:pt x="8" y="11"/>
                    </a:lnTo>
                    <a:lnTo>
                      <a:pt x="8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648" name="Canada"/>
              <p:cNvGrpSpPr/>
              <p:nvPr/>
            </p:nvGrpSpPr>
            <p:grpSpPr>
              <a:xfrm>
                <a:off x="1326865" y="2071995"/>
                <a:ext cx="2074764" cy="1153701"/>
                <a:chOff x="1326865" y="2052906"/>
                <a:chExt cx="2074764" cy="1153701"/>
              </a:xfrm>
              <a:solidFill>
                <a:srgbClr val="EF7A04"/>
              </a:solidFill>
            </p:grpSpPr>
            <p:sp>
              <p:nvSpPr>
                <p:cNvPr id="711" name="Canada"/>
                <p:cNvSpPr>
                  <a:spLocks/>
                </p:cNvSpPr>
                <p:nvPr/>
              </p:nvSpPr>
              <p:spPr bwMode="auto">
                <a:xfrm>
                  <a:off x="1326865" y="2822040"/>
                  <a:ext cx="49927" cy="72455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2"/>
                    </a:cxn>
                    <a:cxn ang="0">
                      <a:pos x="0" y="9"/>
                    </a:cxn>
                    <a:cxn ang="0">
                      <a:pos x="2" y="13"/>
                    </a:cxn>
                    <a:cxn ang="0">
                      <a:pos x="2" y="9"/>
                    </a:cxn>
                    <a:cxn ang="0">
                      <a:pos x="9" y="0"/>
                    </a:cxn>
                    <a:cxn ang="0">
                      <a:pos x="4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" h="13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0" y="9"/>
                      </a:lnTo>
                      <a:lnTo>
                        <a:pt x="2" y="13"/>
                      </a:lnTo>
                      <a:lnTo>
                        <a:pt x="2" y="9"/>
                      </a:ln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12" name="Canada"/>
                <p:cNvSpPr>
                  <a:spLocks/>
                </p:cNvSpPr>
                <p:nvPr/>
              </p:nvSpPr>
              <p:spPr bwMode="auto">
                <a:xfrm>
                  <a:off x="1376792" y="2922363"/>
                  <a:ext cx="55475" cy="8360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2" y="6"/>
                    </a:cxn>
                    <a:cxn ang="0">
                      <a:pos x="2" y="9"/>
                    </a:cxn>
                    <a:cxn ang="0">
                      <a:pos x="6" y="9"/>
                    </a:cxn>
                    <a:cxn ang="0">
                      <a:pos x="6" y="13"/>
                    </a:cxn>
                    <a:cxn ang="0">
                      <a:pos x="8" y="15"/>
                    </a:cxn>
                    <a:cxn ang="0">
                      <a:pos x="10" y="13"/>
                    </a:cxn>
                    <a:cxn ang="0">
                      <a:pos x="8" y="4"/>
                    </a:cxn>
                    <a:cxn ang="0">
                      <a:pos x="4" y="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" h="15">
                      <a:moveTo>
                        <a:pt x="0" y="0"/>
                      </a:moveTo>
                      <a:lnTo>
                        <a:pt x="0" y="4"/>
                      </a:lnTo>
                      <a:lnTo>
                        <a:pt x="2" y="6"/>
                      </a:lnTo>
                      <a:lnTo>
                        <a:pt x="2" y="9"/>
                      </a:lnTo>
                      <a:lnTo>
                        <a:pt x="6" y="9"/>
                      </a:lnTo>
                      <a:lnTo>
                        <a:pt x="6" y="13"/>
                      </a:lnTo>
                      <a:lnTo>
                        <a:pt x="8" y="15"/>
                      </a:lnTo>
                      <a:lnTo>
                        <a:pt x="10" y="13"/>
                      </a:lnTo>
                      <a:lnTo>
                        <a:pt x="8" y="4"/>
                      </a:lnTo>
                      <a:lnTo>
                        <a:pt x="4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13" name="Canada"/>
                <p:cNvSpPr>
                  <a:spLocks/>
                </p:cNvSpPr>
                <p:nvPr/>
              </p:nvSpPr>
              <p:spPr bwMode="auto">
                <a:xfrm>
                  <a:off x="2580599" y="2571235"/>
                  <a:ext cx="44380" cy="11147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8" y="0"/>
                    </a:cxn>
                    <a:cxn ang="0">
                      <a:pos x="4" y="0"/>
                    </a:cxn>
                    <a:cxn ang="0">
                      <a:pos x="2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8" h="2">
                      <a:moveTo>
                        <a:pt x="0" y="2"/>
                      </a:move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14" name="Canada"/>
                <p:cNvSpPr>
                  <a:spLocks/>
                </p:cNvSpPr>
                <p:nvPr/>
              </p:nvSpPr>
              <p:spPr bwMode="auto">
                <a:xfrm>
                  <a:off x="2647169" y="2582383"/>
                  <a:ext cx="22190" cy="1114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2"/>
                    </a:cxn>
                    <a:cxn ang="0">
                      <a:pos x="4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4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15" name="Canada"/>
                <p:cNvSpPr>
                  <a:spLocks/>
                </p:cNvSpPr>
                <p:nvPr/>
              </p:nvSpPr>
              <p:spPr bwMode="auto">
                <a:xfrm>
                  <a:off x="2530672" y="2470914"/>
                  <a:ext cx="160877" cy="72455"/>
                </a:xfrm>
                <a:custGeom>
                  <a:avLst/>
                  <a:gdLst/>
                  <a:ahLst/>
                  <a:cxnLst>
                    <a:cxn ang="0">
                      <a:pos x="0" y="11"/>
                    </a:cxn>
                    <a:cxn ang="0">
                      <a:pos x="6" y="11"/>
                    </a:cxn>
                    <a:cxn ang="0">
                      <a:pos x="6" y="13"/>
                    </a:cxn>
                    <a:cxn ang="0">
                      <a:pos x="15" y="11"/>
                    </a:cxn>
                    <a:cxn ang="0">
                      <a:pos x="17" y="11"/>
                    </a:cxn>
                    <a:cxn ang="0">
                      <a:pos x="23" y="13"/>
                    </a:cxn>
                    <a:cxn ang="0">
                      <a:pos x="29" y="11"/>
                    </a:cxn>
                    <a:cxn ang="0">
                      <a:pos x="17" y="2"/>
                    </a:cxn>
                    <a:cxn ang="0">
                      <a:pos x="17" y="0"/>
                    </a:cxn>
                    <a:cxn ang="0">
                      <a:pos x="13" y="4"/>
                    </a:cxn>
                    <a:cxn ang="0">
                      <a:pos x="6" y="11"/>
                    </a:cxn>
                    <a:cxn ang="0">
                      <a:pos x="2" y="11"/>
                    </a:cxn>
                    <a:cxn ang="0">
                      <a:pos x="0" y="11"/>
                    </a:cxn>
                  </a:cxnLst>
                  <a:rect l="0" t="0" r="r" b="b"/>
                  <a:pathLst>
                    <a:path w="29" h="13">
                      <a:moveTo>
                        <a:pt x="0" y="11"/>
                      </a:moveTo>
                      <a:lnTo>
                        <a:pt x="6" y="11"/>
                      </a:lnTo>
                      <a:lnTo>
                        <a:pt x="6" y="13"/>
                      </a:lnTo>
                      <a:lnTo>
                        <a:pt x="15" y="11"/>
                      </a:lnTo>
                      <a:lnTo>
                        <a:pt x="17" y="11"/>
                      </a:lnTo>
                      <a:lnTo>
                        <a:pt x="23" y="13"/>
                      </a:lnTo>
                      <a:lnTo>
                        <a:pt x="29" y="11"/>
                      </a:lnTo>
                      <a:lnTo>
                        <a:pt x="17" y="2"/>
                      </a:lnTo>
                      <a:lnTo>
                        <a:pt x="17" y="0"/>
                      </a:lnTo>
                      <a:lnTo>
                        <a:pt x="13" y="4"/>
                      </a:lnTo>
                      <a:lnTo>
                        <a:pt x="6" y="11"/>
                      </a:lnTo>
                      <a:lnTo>
                        <a:pt x="2" y="11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16" name="Canada"/>
                <p:cNvSpPr>
                  <a:spLocks/>
                </p:cNvSpPr>
                <p:nvPr/>
              </p:nvSpPr>
              <p:spPr bwMode="auto">
                <a:xfrm>
                  <a:off x="2658265" y="2253550"/>
                  <a:ext cx="438252" cy="328833"/>
                </a:xfrm>
                <a:custGeom>
                  <a:avLst/>
                  <a:gdLst/>
                  <a:ahLst/>
                  <a:cxnLst>
                    <a:cxn ang="0">
                      <a:pos x="0" y="9"/>
                    </a:cxn>
                    <a:cxn ang="0">
                      <a:pos x="2" y="16"/>
                    </a:cxn>
                    <a:cxn ang="0">
                      <a:pos x="8" y="18"/>
                    </a:cxn>
                    <a:cxn ang="0">
                      <a:pos x="23" y="18"/>
                    </a:cxn>
                    <a:cxn ang="0">
                      <a:pos x="25" y="23"/>
                    </a:cxn>
                    <a:cxn ang="0">
                      <a:pos x="34" y="18"/>
                    </a:cxn>
                    <a:cxn ang="0">
                      <a:pos x="40" y="23"/>
                    </a:cxn>
                    <a:cxn ang="0">
                      <a:pos x="34" y="25"/>
                    </a:cxn>
                    <a:cxn ang="0">
                      <a:pos x="40" y="25"/>
                    </a:cxn>
                    <a:cxn ang="0">
                      <a:pos x="42" y="25"/>
                    </a:cxn>
                    <a:cxn ang="0">
                      <a:pos x="46" y="30"/>
                    </a:cxn>
                    <a:cxn ang="0">
                      <a:pos x="46" y="34"/>
                    </a:cxn>
                    <a:cxn ang="0">
                      <a:pos x="31" y="39"/>
                    </a:cxn>
                    <a:cxn ang="0">
                      <a:pos x="34" y="41"/>
                    </a:cxn>
                    <a:cxn ang="0">
                      <a:pos x="29" y="43"/>
                    </a:cxn>
                    <a:cxn ang="0">
                      <a:pos x="21" y="41"/>
                    </a:cxn>
                    <a:cxn ang="0">
                      <a:pos x="15" y="48"/>
                    </a:cxn>
                    <a:cxn ang="0">
                      <a:pos x="23" y="48"/>
                    </a:cxn>
                    <a:cxn ang="0">
                      <a:pos x="31" y="50"/>
                    </a:cxn>
                    <a:cxn ang="0">
                      <a:pos x="34" y="50"/>
                    </a:cxn>
                    <a:cxn ang="0">
                      <a:pos x="34" y="57"/>
                    </a:cxn>
                    <a:cxn ang="0">
                      <a:pos x="42" y="59"/>
                    </a:cxn>
                    <a:cxn ang="0">
                      <a:pos x="52" y="59"/>
                    </a:cxn>
                    <a:cxn ang="0">
                      <a:pos x="46" y="52"/>
                    </a:cxn>
                    <a:cxn ang="0">
                      <a:pos x="46" y="50"/>
                    </a:cxn>
                    <a:cxn ang="0">
                      <a:pos x="54" y="57"/>
                    </a:cxn>
                    <a:cxn ang="0">
                      <a:pos x="61" y="57"/>
                    </a:cxn>
                    <a:cxn ang="0">
                      <a:pos x="63" y="52"/>
                    </a:cxn>
                    <a:cxn ang="0">
                      <a:pos x="61" y="50"/>
                    </a:cxn>
                    <a:cxn ang="0">
                      <a:pos x="63" y="48"/>
                    </a:cxn>
                    <a:cxn ang="0">
                      <a:pos x="56" y="41"/>
                    </a:cxn>
                    <a:cxn ang="0">
                      <a:pos x="61" y="39"/>
                    </a:cxn>
                    <a:cxn ang="0">
                      <a:pos x="65" y="41"/>
                    </a:cxn>
                    <a:cxn ang="0">
                      <a:pos x="65" y="43"/>
                    </a:cxn>
                    <a:cxn ang="0">
                      <a:pos x="69" y="43"/>
                    </a:cxn>
                    <a:cxn ang="0">
                      <a:pos x="79" y="34"/>
                    </a:cxn>
                    <a:cxn ang="0">
                      <a:pos x="71" y="30"/>
                    </a:cxn>
                    <a:cxn ang="0">
                      <a:pos x="65" y="30"/>
                    </a:cxn>
                    <a:cxn ang="0">
                      <a:pos x="63" y="25"/>
                    </a:cxn>
                    <a:cxn ang="0">
                      <a:pos x="65" y="25"/>
                    </a:cxn>
                    <a:cxn ang="0">
                      <a:pos x="71" y="23"/>
                    </a:cxn>
                    <a:cxn ang="0">
                      <a:pos x="71" y="18"/>
                    </a:cxn>
                    <a:cxn ang="0">
                      <a:pos x="63" y="14"/>
                    </a:cxn>
                    <a:cxn ang="0">
                      <a:pos x="54" y="9"/>
                    </a:cxn>
                    <a:cxn ang="0">
                      <a:pos x="56" y="7"/>
                    </a:cxn>
                    <a:cxn ang="0">
                      <a:pos x="46" y="7"/>
                    </a:cxn>
                    <a:cxn ang="0">
                      <a:pos x="31" y="9"/>
                    </a:cxn>
                    <a:cxn ang="0">
                      <a:pos x="38" y="5"/>
                    </a:cxn>
                    <a:cxn ang="0">
                      <a:pos x="31" y="0"/>
                    </a:cxn>
                    <a:cxn ang="0">
                      <a:pos x="29" y="0"/>
                    </a:cxn>
                    <a:cxn ang="0">
                      <a:pos x="21" y="0"/>
                    </a:cxn>
                    <a:cxn ang="0">
                      <a:pos x="8" y="5"/>
                    </a:cxn>
                    <a:cxn ang="0">
                      <a:pos x="4" y="7"/>
                    </a:cxn>
                    <a:cxn ang="0">
                      <a:pos x="0" y="7"/>
                    </a:cxn>
                    <a:cxn ang="0">
                      <a:pos x="0" y="9"/>
                    </a:cxn>
                  </a:cxnLst>
                  <a:rect l="0" t="0" r="r" b="b"/>
                  <a:pathLst>
                    <a:path w="79" h="59">
                      <a:moveTo>
                        <a:pt x="0" y="9"/>
                      </a:moveTo>
                      <a:lnTo>
                        <a:pt x="2" y="16"/>
                      </a:lnTo>
                      <a:lnTo>
                        <a:pt x="8" y="18"/>
                      </a:lnTo>
                      <a:lnTo>
                        <a:pt x="23" y="18"/>
                      </a:lnTo>
                      <a:lnTo>
                        <a:pt x="25" y="23"/>
                      </a:lnTo>
                      <a:lnTo>
                        <a:pt x="34" y="18"/>
                      </a:lnTo>
                      <a:lnTo>
                        <a:pt x="40" y="23"/>
                      </a:lnTo>
                      <a:lnTo>
                        <a:pt x="34" y="25"/>
                      </a:lnTo>
                      <a:lnTo>
                        <a:pt x="40" y="25"/>
                      </a:lnTo>
                      <a:lnTo>
                        <a:pt x="42" y="25"/>
                      </a:lnTo>
                      <a:lnTo>
                        <a:pt x="46" y="30"/>
                      </a:lnTo>
                      <a:lnTo>
                        <a:pt x="46" y="34"/>
                      </a:lnTo>
                      <a:lnTo>
                        <a:pt x="31" y="39"/>
                      </a:lnTo>
                      <a:lnTo>
                        <a:pt x="34" y="41"/>
                      </a:lnTo>
                      <a:lnTo>
                        <a:pt x="29" y="43"/>
                      </a:lnTo>
                      <a:lnTo>
                        <a:pt x="21" y="41"/>
                      </a:lnTo>
                      <a:lnTo>
                        <a:pt x="15" y="48"/>
                      </a:lnTo>
                      <a:lnTo>
                        <a:pt x="23" y="48"/>
                      </a:lnTo>
                      <a:lnTo>
                        <a:pt x="31" y="50"/>
                      </a:lnTo>
                      <a:lnTo>
                        <a:pt x="34" y="50"/>
                      </a:lnTo>
                      <a:lnTo>
                        <a:pt x="34" y="57"/>
                      </a:lnTo>
                      <a:lnTo>
                        <a:pt x="42" y="59"/>
                      </a:lnTo>
                      <a:lnTo>
                        <a:pt x="52" y="59"/>
                      </a:lnTo>
                      <a:lnTo>
                        <a:pt x="46" y="52"/>
                      </a:lnTo>
                      <a:lnTo>
                        <a:pt x="46" y="50"/>
                      </a:lnTo>
                      <a:lnTo>
                        <a:pt x="54" y="57"/>
                      </a:lnTo>
                      <a:lnTo>
                        <a:pt x="61" y="57"/>
                      </a:lnTo>
                      <a:lnTo>
                        <a:pt x="63" y="52"/>
                      </a:lnTo>
                      <a:lnTo>
                        <a:pt x="61" y="50"/>
                      </a:lnTo>
                      <a:lnTo>
                        <a:pt x="63" y="48"/>
                      </a:lnTo>
                      <a:lnTo>
                        <a:pt x="56" y="41"/>
                      </a:lnTo>
                      <a:lnTo>
                        <a:pt x="61" y="39"/>
                      </a:lnTo>
                      <a:lnTo>
                        <a:pt x="65" y="41"/>
                      </a:lnTo>
                      <a:lnTo>
                        <a:pt x="65" y="43"/>
                      </a:lnTo>
                      <a:lnTo>
                        <a:pt x="69" y="43"/>
                      </a:lnTo>
                      <a:lnTo>
                        <a:pt x="79" y="34"/>
                      </a:lnTo>
                      <a:lnTo>
                        <a:pt x="71" y="30"/>
                      </a:lnTo>
                      <a:lnTo>
                        <a:pt x="65" y="30"/>
                      </a:lnTo>
                      <a:lnTo>
                        <a:pt x="63" y="25"/>
                      </a:lnTo>
                      <a:lnTo>
                        <a:pt x="65" y="25"/>
                      </a:lnTo>
                      <a:lnTo>
                        <a:pt x="71" y="23"/>
                      </a:lnTo>
                      <a:lnTo>
                        <a:pt x="71" y="18"/>
                      </a:lnTo>
                      <a:lnTo>
                        <a:pt x="63" y="14"/>
                      </a:lnTo>
                      <a:lnTo>
                        <a:pt x="54" y="9"/>
                      </a:lnTo>
                      <a:lnTo>
                        <a:pt x="56" y="7"/>
                      </a:lnTo>
                      <a:lnTo>
                        <a:pt x="46" y="7"/>
                      </a:lnTo>
                      <a:lnTo>
                        <a:pt x="31" y="9"/>
                      </a:lnTo>
                      <a:lnTo>
                        <a:pt x="38" y="5"/>
                      </a:lnTo>
                      <a:lnTo>
                        <a:pt x="31" y="0"/>
                      </a:lnTo>
                      <a:lnTo>
                        <a:pt x="29" y="0"/>
                      </a:lnTo>
                      <a:lnTo>
                        <a:pt x="21" y="0"/>
                      </a:lnTo>
                      <a:lnTo>
                        <a:pt x="8" y="5"/>
                      </a:lnTo>
                      <a:lnTo>
                        <a:pt x="4" y="7"/>
                      </a:lnTo>
                      <a:lnTo>
                        <a:pt x="0" y="7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17" name="Canada"/>
                <p:cNvSpPr>
                  <a:spLocks/>
                </p:cNvSpPr>
                <p:nvPr/>
              </p:nvSpPr>
              <p:spPr bwMode="auto">
                <a:xfrm>
                  <a:off x="2869069" y="2253550"/>
                  <a:ext cx="77665" cy="3901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5"/>
                    </a:cxn>
                    <a:cxn ang="0">
                      <a:pos x="2" y="7"/>
                    </a:cxn>
                    <a:cxn ang="0">
                      <a:pos x="10" y="7"/>
                    </a:cxn>
                    <a:cxn ang="0">
                      <a:pos x="14" y="5"/>
                    </a:cxn>
                    <a:cxn ang="0">
                      <a:pos x="8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4" h="7">
                      <a:moveTo>
                        <a:pt x="2" y="0"/>
                      </a:moveTo>
                      <a:lnTo>
                        <a:pt x="0" y="5"/>
                      </a:lnTo>
                      <a:lnTo>
                        <a:pt x="2" y="7"/>
                      </a:lnTo>
                      <a:lnTo>
                        <a:pt x="10" y="7"/>
                      </a:lnTo>
                      <a:lnTo>
                        <a:pt x="14" y="5"/>
                      </a:lnTo>
                      <a:lnTo>
                        <a:pt x="8" y="3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18" name="Canada"/>
                <p:cNvSpPr>
                  <a:spLocks/>
                </p:cNvSpPr>
                <p:nvPr/>
              </p:nvSpPr>
              <p:spPr bwMode="auto">
                <a:xfrm>
                  <a:off x="2624980" y="2231256"/>
                  <a:ext cx="44380" cy="1114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6" y="2"/>
                    </a:cxn>
                    <a:cxn ang="0">
                      <a:pos x="8" y="0"/>
                    </a:cxn>
                    <a:cxn ang="0">
                      <a:pos x="6" y="0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8" h="2">
                      <a:moveTo>
                        <a:pt x="0" y="0"/>
                      </a:moveTo>
                      <a:lnTo>
                        <a:pt x="6" y="2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19" name="Canada"/>
                <p:cNvSpPr>
                  <a:spLocks/>
                </p:cNvSpPr>
                <p:nvPr/>
              </p:nvSpPr>
              <p:spPr bwMode="auto">
                <a:xfrm>
                  <a:off x="2669360" y="2192242"/>
                  <a:ext cx="255185" cy="5016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4" y="2"/>
                    </a:cxn>
                    <a:cxn ang="0">
                      <a:pos x="13" y="2"/>
                    </a:cxn>
                    <a:cxn ang="0">
                      <a:pos x="6" y="9"/>
                    </a:cxn>
                    <a:cxn ang="0">
                      <a:pos x="11" y="9"/>
                    </a:cxn>
                    <a:cxn ang="0">
                      <a:pos x="27" y="9"/>
                    </a:cxn>
                    <a:cxn ang="0">
                      <a:pos x="32" y="9"/>
                    </a:cxn>
                    <a:cxn ang="0">
                      <a:pos x="36" y="9"/>
                    </a:cxn>
                    <a:cxn ang="0">
                      <a:pos x="40" y="9"/>
                    </a:cxn>
                    <a:cxn ang="0">
                      <a:pos x="46" y="7"/>
                    </a:cxn>
                    <a:cxn ang="0">
                      <a:pos x="21" y="2"/>
                    </a:cxn>
                    <a:cxn ang="0">
                      <a:pos x="19" y="2"/>
                    </a:cxn>
                    <a:cxn ang="0">
                      <a:pos x="19" y="0"/>
                    </a:cxn>
                    <a:cxn ang="0">
                      <a:pos x="11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6" h="9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13" y="2"/>
                      </a:lnTo>
                      <a:lnTo>
                        <a:pt x="6" y="9"/>
                      </a:lnTo>
                      <a:lnTo>
                        <a:pt x="11" y="9"/>
                      </a:lnTo>
                      <a:lnTo>
                        <a:pt x="27" y="9"/>
                      </a:lnTo>
                      <a:lnTo>
                        <a:pt x="32" y="9"/>
                      </a:lnTo>
                      <a:lnTo>
                        <a:pt x="36" y="9"/>
                      </a:lnTo>
                      <a:lnTo>
                        <a:pt x="40" y="9"/>
                      </a:lnTo>
                      <a:lnTo>
                        <a:pt x="46" y="7"/>
                      </a:lnTo>
                      <a:lnTo>
                        <a:pt x="21" y="2"/>
                      </a:lnTo>
                      <a:lnTo>
                        <a:pt x="19" y="2"/>
                      </a:lnTo>
                      <a:lnTo>
                        <a:pt x="19" y="0"/>
                      </a:lnTo>
                      <a:lnTo>
                        <a:pt x="11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20" name="Canada"/>
                <p:cNvSpPr>
                  <a:spLocks/>
                </p:cNvSpPr>
                <p:nvPr/>
              </p:nvSpPr>
              <p:spPr bwMode="auto">
                <a:xfrm>
                  <a:off x="2785857" y="2091920"/>
                  <a:ext cx="138687" cy="61307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" y="5"/>
                    </a:cxn>
                    <a:cxn ang="0">
                      <a:pos x="0" y="9"/>
                    </a:cxn>
                    <a:cxn ang="0">
                      <a:pos x="0" y="11"/>
                    </a:cxn>
                    <a:cxn ang="0">
                      <a:pos x="8" y="11"/>
                    </a:cxn>
                    <a:cxn ang="0">
                      <a:pos x="23" y="5"/>
                    </a:cxn>
                    <a:cxn ang="0">
                      <a:pos x="25" y="2"/>
                    </a:cxn>
                    <a:cxn ang="0">
                      <a:pos x="19" y="2"/>
                    </a:cxn>
                    <a:cxn ang="0">
                      <a:pos x="17" y="0"/>
                    </a:cxn>
                    <a:cxn ang="0">
                      <a:pos x="11" y="0"/>
                    </a:cxn>
                    <a:cxn ang="0">
                      <a:pos x="6" y="2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25" h="11">
                      <a:moveTo>
                        <a:pt x="2" y="2"/>
                      </a:moveTo>
                      <a:lnTo>
                        <a:pt x="2" y="5"/>
                      </a:lnTo>
                      <a:lnTo>
                        <a:pt x="0" y="9"/>
                      </a:lnTo>
                      <a:lnTo>
                        <a:pt x="0" y="11"/>
                      </a:lnTo>
                      <a:lnTo>
                        <a:pt x="8" y="11"/>
                      </a:lnTo>
                      <a:lnTo>
                        <a:pt x="23" y="5"/>
                      </a:lnTo>
                      <a:lnTo>
                        <a:pt x="25" y="2"/>
                      </a:lnTo>
                      <a:lnTo>
                        <a:pt x="19" y="2"/>
                      </a:lnTo>
                      <a:lnTo>
                        <a:pt x="17" y="0"/>
                      </a:lnTo>
                      <a:lnTo>
                        <a:pt x="11" y="0"/>
                      </a:lnTo>
                      <a:lnTo>
                        <a:pt x="6" y="2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21" name="Canada"/>
                <p:cNvSpPr>
                  <a:spLocks/>
                </p:cNvSpPr>
                <p:nvPr/>
              </p:nvSpPr>
              <p:spPr bwMode="auto">
                <a:xfrm>
                  <a:off x="2785857" y="2052906"/>
                  <a:ext cx="615772" cy="150483"/>
                </a:xfrm>
                <a:custGeom>
                  <a:avLst/>
                  <a:gdLst/>
                  <a:ahLst/>
                  <a:cxnLst>
                    <a:cxn ang="0">
                      <a:pos x="23" y="7"/>
                    </a:cxn>
                    <a:cxn ang="0">
                      <a:pos x="25" y="9"/>
                    </a:cxn>
                    <a:cxn ang="0">
                      <a:pos x="31" y="9"/>
                    </a:cxn>
                    <a:cxn ang="0">
                      <a:pos x="25" y="12"/>
                    </a:cxn>
                    <a:cxn ang="0">
                      <a:pos x="29" y="12"/>
                    </a:cxn>
                    <a:cxn ang="0">
                      <a:pos x="29" y="16"/>
                    </a:cxn>
                    <a:cxn ang="0">
                      <a:pos x="11" y="18"/>
                    </a:cxn>
                    <a:cxn ang="0">
                      <a:pos x="2" y="25"/>
                    </a:cxn>
                    <a:cxn ang="0">
                      <a:pos x="0" y="25"/>
                    </a:cxn>
                    <a:cxn ang="0">
                      <a:pos x="25" y="25"/>
                    </a:cxn>
                    <a:cxn ang="0">
                      <a:pos x="25" y="27"/>
                    </a:cxn>
                    <a:cxn ang="0">
                      <a:pos x="40" y="25"/>
                    </a:cxn>
                    <a:cxn ang="0">
                      <a:pos x="38" y="23"/>
                    </a:cxn>
                    <a:cxn ang="0">
                      <a:pos x="42" y="23"/>
                    </a:cxn>
                    <a:cxn ang="0">
                      <a:pos x="42" y="18"/>
                    </a:cxn>
                    <a:cxn ang="0">
                      <a:pos x="50" y="18"/>
                    </a:cxn>
                    <a:cxn ang="0">
                      <a:pos x="63" y="12"/>
                    </a:cxn>
                    <a:cxn ang="0">
                      <a:pos x="111" y="3"/>
                    </a:cxn>
                    <a:cxn ang="0">
                      <a:pos x="88" y="0"/>
                    </a:cxn>
                    <a:cxn ang="0">
                      <a:pos x="67" y="0"/>
                    </a:cxn>
                    <a:cxn ang="0">
                      <a:pos x="44" y="5"/>
                    </a:cxn>
                    <a:cxn ang="0">
                      <a:pos x="23" y="7"/>
                    </a:cxn>
                  </a:cxnLst>
                  <a:rect l="0" t="0" r="r" b="b"/>
                  <a:pathLst>
                    <a:path w="111" h="27">
                      <a:moveTo>
                        <a:pt x="23" y="7"/>
                      </a:moveTo>
                      <a:lnTo>
                        <a:pt x="25" y="9"/>
                      </a:lnTo>
                      <a:lnTo>
                        <a:pt x="31" y="9"/>
                      </a:lnTo>
                      <a:lnTo>
                        <a:pt x="25" y="12"/>
                      </a:lnTo>
                      <a:lnTo>
                        <a:pt x="29" y="12"/>
                      </a:lnTo>
                      <a:lnTo>
                        <a:pt x="29" y="16"/>
                      </a:lnTo>
                      <a:lnTo>
                        <a:pt x="11" y="18"/>
                      </a:lnTo>
                      <a:lnTo>
                        <a:pt x="2" y="25"/>
                      </a:lnTo>
                      <a:lnTo>
                        <a:pt x="0" y="25"/>
                      </a:lnTo>
                      <a:lnTo>
                        <a:pt x="25" y="25"/>
                      </a:lnTo>
                      <a:lnTo>
                        <a:pt x="25" y="27"/>
                      </a:lnTo>
                      <a:lnTo>
                        <a:pt x="40" y="25"/>
                      </a:lnTo>
                      <a:lnTo>
                        <a:pt x="38" y="23"/>
                      </a:lnTo>
                      <a:lnTo>
                        <a:pt x="42" y="23"/>
                      </a:lnTo>
                      <a:lnTo>
                        <a:pt x="42" y="18"/>
                      </a:lnTo>
                      <a:lnTo>
                        <a:pt x="50" y="18"/>
                      </a:lnTo>
                      <a:lnTo>
                        <a:pt x="63" y="12"/>
                      </a:lnTo>
                      <a:lnTo>
                        <a:pt x="111" y="3"/>
                      </a:lnTo>
                      <a:lnTo>
                        <a:pt x="88" y="0"/>
                      </a:lnTo>
                      <a:lnTo>
                        <a:pt x="67" y="0"/>
                      </a:lnTo>
                      <a:lnTo>
                        <a:pt x="44" y="5"/>
                      </a:lnTo>
                      <a:lnTo>
                        <a:pt x="23" y="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22" name="Canada"/>
                <p:cNvSpPr>
                  <a:spLocks/>
                </p:cNvSpPr>
                <p:nvPr/>
              </p:nvSpPr>
              <p:spPr bwMode="auto">
                <a:xfrm>
                  <a:off x="2730382" y="2103066"/>
                  <a:ext cx="11095" cy="16720"/>
                </a:xfrm>
                <a:custGeom>
                  <a:avLst/>
                  <a:gdLst/>
                  <a:ahLst/>
                  <a:cxnLst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0" y="3"/>
                    </a:cxn>
                  </a:cxnLst>
                  <a:rect l="0" t="0" r="r" b="b"/>
                  <a:pathLst>
                    <a:path w="2" h="3">
                      <a:moveTo>
                        <a:pt x="0" y="3"/>
                      </a:move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23" name="Canada"/>
                <p:cNvSpPr>
                  <a:spLocks/>
                </p:cNvSpPr>
                <p:nvPr/>
              </p:nvSpPr>
              <p:spPr bwMode="auto">
                <a:xfrm>
                  <a:off x="2580599" y="2142081"/>
                  <a:ext cx="160877" cy="3901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6" y="0"/>
                    </a:cxn>
                    <a:cxn ang="0">
                      <a:pos x="0" y="0"/>
                    </a:cxn>
                    <a:cxn ang="0">
                      <a:pos x="4" y="2"/>
                    </a:cxn>
                    <a:cxn ang="0">
                      <a:pos x="12" y="2"/>
                    </a:cxn>
                    <a:cxn ang="0">
                      <a:pos x="12" y="7"/>
                    </a:cxn>
                    <a:cxn ang="0">
                      <a:pos x="29" y="2"/>
                    </a:cxn>
                    <a:cxn ang="0">
                      <a:pos x="22" y="0"/>
                    </a:cxn>
                    <a:cxn ang="0">
                      <a:pos x="16" y="2"/>
                    </a:cxn>
                    <a:cxn ang="0">
                      <a:pos x="14" y="2"/>
                    </a:cxn>
                    <a:cxn ang="0">
                      <a:pos x="16" y="0"/>
                    </a:cxn>
                    <a:cxn ang="0">
                      <a:pos x="14" y="0"/>
                    </a:cxn>
                    <a:cxn ang="0">
                      <a:pos x="6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9" h="7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12" y="2"/>
                      </a:lnTo>
                      <a:lnTo>
                        <a:pt x="12" y="7"/>
                      </a:lnTo>
                      <a:lnTo>
                        <a:pt x="29" y="2"/>
                      </a:lnTo>
                      <a:lnTo>
                        <a:pt x="22" y="0"/>
                      </a:lnTo>
                      <a:lnTo>
                        <a:pt x="16" y="2"/>
                      </a:lnTo>
                      <a:lnTo>
                        <a:pt x="14" y="2"/>
                      </a:lnTo>
                      <a:lnTo>
                        <a:pt x="16" y="0"/>
                      </a:lnTo>
                      <a:lnTo>
                        <a:pt x="14" y="0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24" name="Canada"/>
                <p:cNvSpPr>
                  <a:spLocks/>
                </p:cNvSpPr>
                <p:nvPr/>
              </p:nvSpPr>
              <p:spPr bwMode="auto">
                <a:xfrm>
                  <a:off x="2691549" y="2153227"/>
                  <a:ext cx="83212" cy="27867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11" y="5"/>
                    </a:cxn>
                    <a:cxn ang="0">
                      <a:pos x="15" y="0"/>
                    </a:cxn>
                    <a:cxn ang="0">
                      <a:pos x="7" y="3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15" h="5">
                      <a:moveTo>
                        <a:pt x="0" y="5"/>
                      </a:moveTo>
                      <a:lnTo>
                        <a:pt x="11" y="5"/>
                      </a:lnTo>
                      <a:lnTo>
                        <a:pt x="15" y="0"/>
                      </a:lnTo>
                      <a:lnTo>
                        <a:pt x="7" y="3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25" name="Canada"/>
                <p:cNvSpPr>
                  <a:spLocks/>
                </p:cNvSpPr>
                <p:nvPr/>
              </p:nvSpPr>
              <p:spPr bwMode="auto">
                <a:xfrm>
                  <a:off x="2530672" y="2181095"/>
                  <a:ext cx="33285" cy="5574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6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26" name="Canada"/>
                <p:cNvSpPr>
                  <a:spLocks/>
                </p:cNvSpPr>
                <p:nvPr/>
              </p:nvSpPr>
              <p:spPr bwMode="auto">
                <a:xfrm>
                  <a:off x="2519578" y="2192242"/>
                  <a:ext cx="127592" cy="3901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7"/>
                    </a:cxn>
                    <a:cxn ang="0">
                      <a:pos x="6" y="7"/>
                    </a:cxn>
                    <a:cxn ang="0">
                      <a:pos x="15" y="7"/>
                    </a:cxn>
                    <a:cxn ang="0">
                      <a:pos x="23" y="0"/>
                    </a:cxn>
                    <a:cxn ang="0">
                      <a:pos x="15" y="0"/>
                    </a:cxn>
                    <a:cxn ang="0">
                      <a:pos x="8" y="2"/>
                    </a:cxn>
                    <a:cxn ang="0">
                      <a:pos x="6" y="0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3" h="7">
                      <a:moveTo>
                        <a:pt x="0" y="0"/>
                      </a:moveTo>
                      <a:lnTo>
                        <a:pt x="0" y="7"/>
                      </a:lnTo>
                      <a:lnTo>
                        <a:pt x="6" y="7"/>
                      </a:lnTo>
                      <a:lnTo>
                        <a:pt x="15" y="7"/>
                      </a:lnTo>
                      <a:lnTo>
                        <a:pt x="23" y="0"/>
                      </a:lnTo>
                      <a:lnTo>
                        <a:pt x="15" y="0"/>
                      </a:lnTo>
                      <a:lnTo>
                        <a:pt x="8" y="2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27" name="Canada"/>
                <p:cNvSpPr>
                  <a:spLocks noChangeShapeType="1"/>
                </p:cNvSpPr>
                <p:nvPr/>
              </p:nvSpPr>
              <p:spPr bwMode="auto">
                <a:xfrm>
                  <a:off x="2486293" y="2242402"/>
                  <a:ext cx="22190" cy="5574"/>
                </a:xfrm>
                <a:prstGeom prst="line">
                  <a:avLst/>
                </a:pr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28" name="Canada"/>
                <p:cNvSpPr>
                  <a:spLocks/>
                </p:cNvSpPr>
                <p:nvPr/>
              </p:nvSpPr>
              <p:spPr bwMode="auto">
                <a:xfrm>
                  <a:off x="2453007" y="2253550"/>
                  <a:ext cx="127592" cy="78028"/>
                </a:xfrm>
                <a:custGeom>
                  <a:avLst/>
                  <a:gdLst/>
                  <a:ahLst/>
                  <a:cxnLst>
                    <a:cxn ang="0">
                      <a:pos x="0" y="7"/>
                    </a:cxn>
                    <a:cxn ang="0">
                      <a:pos x="0" y="9"/>
                    </a:cxn>
                    <a:cxn ang="0">
                      <a:pos x="4" y="9"/>
                    </a:cxn>
                    <a:cxn ang="0">
                      <a:pos x="6" y="14"/>
                    </a:cxn>
                    <a:cxn ang="0">
                      <a:pos x="18" y="9"/>
                    </a:cxn>
                    <a:cxn ang="0">
                      <a:pos x="20" y="5"/>
                    </a:cxn>
                    <a:cxn ang="0">
                      <a:pos x="23" y="0"/>
                    </a:cxn>
                    <a:cxn ang="0">
                      <a:pos x="10" y="0"/>
                    </a:cxn>
                    <a:cxn ang="0">
                      <a:pos x="10" y="5"/>
                    </a:cxn>
                    <a:cxn ang="0">
                      <a:pos x="4" y="7"/>
                    </a:cxn>
                    <a:cxn ang="0">
                      <a:pos x="0" y="7"/>
                    </a:cxn>
                  </a:cxnLst>
                  <a:rect l="0" t="0" r="r" b="b"/>
                  <a:pathLst>
                    <a:path w="23" h="14">
                      <a:moveTo>
                        <a:pt x="0" y="7"/>
                      </a:moveTo>
                      <a:lnTo>
                        <a:pt x="0" y="9"/>
                      </a:lnTo>
                      <a:lnTo>
                        <a:pt x="4" y="9"/>
                      </a:lnTo>
                      <a:lnTo>
                        <a:pt x="6" y="14"/>
                      </a:lnTo>
                      <a:lnTo>
                        <a:pt x="18" y="9"/>
                      </a:lnTo>
                      <a:lnTo>
                        <a:pt x="20" y="5"/>
                      </a:lnTo>
                      <a:lnTo>
                        <a:pt x="23" y="0"/>
                      </a:lnTo>
                      <a:lnTo>
                        <a:pt x="10" y="0"/>
                      </a:lnTo>
                      <a:lnTo>
                        <a:pt x="10" y="5"/>
                      </a:lnTo>
                      <a:lnTo>
                        <a:pt x="4" y="7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29" name="Canada"/>
                <p:cNvSpPr>
                  <a:spLocks noChangeShapeType="1"/>
                </p:cNvSpPr>
                <p:nvPr/>
              </p:nvSpPr>
              <p:spPr bwMode="auto">
                <a:xfrm>
                  <a:off x="2425270" y="2169949"/>
                  <a:ext cx="94308" cy="5574"/>
                </a:xfrm>
                <a:prstGeom prst="line">
                  <a:avLst/>
                </a:pr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30" name="Canada"/>
                <p:cNvSpPr>
                  <a:spLocks/>
                </p:cNvSpPr>
                <p:nvPr/>
              </p:nvSpPr>
              <p:spPr bwMode="auto">
                <a:xfrm>
                  <a:off x="2391985" y="2153227"/>
                  <a:ext cx="11095" cy="2786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" y="5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" h="5">
                      <a:moveTo>
                        <a:pt x="0" y="0"/>
                      </a:moveTo>
                      <a:lnTo>
                        <a:pt x="2" y="5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31" name="Canada"/>
                <p:cNvSpPr>
                  <a:spLocks/>
                </p:cNvSpPr>
                <p:nvPr/>
              </p:nvSpPr>
              <p:spPr bwMode="auto">
                <a:xfrm>
                  <a:off x="2403080" y="2153227"/>
                  <a:ext cx="83212" cy="27867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4" y="5"/>
                    </a:cxn>
                    <a:cxn ang="0">
                      <a:pos x="15" y="0"/>
                    </a:cxn>
                    <a:cxn ang="0">
                      <a:pos x="6" y="3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15" h="5">
                      <a:moveTo>
                        <a:pt x="0" y="5"/>
                      </a:moveTo>
                      <a:lnTo>
                        <a:pt x="4" y="5"/>
                      </a:lnTo>
                      <a:lnTo>
                        <a:pt x="15" y="0"/>
                      </a:lnTo>
                      <a:lnTo>
                        <a:pt x="6" y="3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32" name="Canada"/>
                <p:cNvSpPr>
                  <a:spLocks/>
                </p:cNvSpPr>
                <p:nvPr/>
              </p:nvSpPr>
              <p:spPr bwMode="auto">
                <a:xfrm>
                  <a:off x="2231108" y="2203389"/>
                  <a:ext cx="55475" cy="27867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4" y="3"/>
                    </a:cxn>
                    <a:cxn ang="0">
                      <a:pos x="0" y="3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10" h="5">
                      <a:moveTo>
                        <a:pt x="0" y="5"/>
                      </a:moveTo>
                      <a:lnTo>
                        <a:pt x="4" y="5"/>
                      </a:lnTo>
                      <a:lnTo>
                        <a:pt x="10" y="0"/>
                      </a:lnTo>
                      <a:lnTo>
                        <a:pt x="4" y="3"/>
                      </a:lnTo>
                      <a:lnTo>
                        <a:pt x="0" y="3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33" name="Canada"/>
                <p:cNvSpPr>
                  <a:spLocks/>
                </p:cNvSpPr>
                <p:nvPr/>
              </p:nvSpPr>
              <p:spPr bwMode="auto">
                <a:xfrm>
                  <a:off x="2186727" y="2181095"/>
                  <a:ext cx="171973" cy="22294"/>
                </a:xfrm>
                <a:custGeom>
                  <a:avLst/>
                  <a:gdLst/>
                  <a:ahLst/>
                  <a:cxnLst>
                    <a:cxn ang="0">
                      <a:pos x="0" y="4"/>
                    </a:cxn>
                    <a:cxn ang="0">
                      <a:pos x="8" y="4"/>
                    </a:cxn>
                    <a:cxn ang="0">
                      <a:pos x="18" y="2"/>
                    </a:cxn>
                    <a:cxn ang="0">
                      <a:pos x="20" y="4"/>
                    </a:cxn>
                    <a:cxn ang="0">
                      <a:pos x="31" y="0"/>
                    </a:cxn>
                    <a:cxn ang="0">
                      <a:pos x="20" y="0"/>
                    </a:cxn>
                    <a:cxn ang="0">
                      <a:pos x="10" y="2"/>
                    </a:cxn>
                    <a:cxn ang="0">
                      <a:pos x="2" y="2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31" h="4">
                      <a:moveTo>
                        <a:pt x="0" y="4"/>
                      </a:moveTo>
                      <a:lnTo>
                        <a:pt x="8" y="4"/>
                      </a:lnTo>
                      <a:lnTo>
                        <a:pt x="18" y="2"/>
                      </a:lnTo>
                      <a:lnTo>
                        <a:pt x="20" y="4"/>
                      </a:lnTo>
                      <a:lnTo>
                        <a:pt x="31" y="0"/>
                      </a:lnTo>
                      <a:lnTo>
                        <a:pt x="20" y="0"/>
                      </a:lnTo>
                      <a:lnTo>
                        <a:pt x="10" y="2"/>
                      </a:lnTo>
                      <a:lnTo>
                        <a:pt x="2" y="2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34" name="Canada"/>
                <p:cNvSpPr>
                  <a:spLocks/>
                </p:cNvSpPr>
                <p:nvPr/>
              </p:nvSpPr>
              <p:spPr bwMode="auto">
                <a:xfrm>
                  <a:off x="2253297" y="2192242"/>
                  <a:ext cx="232995" cy="50161"/>
                </a:xfrm>
                <a:custGeom>
                  <a:avLst/>
                  <a:gdLst/>
                  <a:ahLst/>
                  <a:cxnLst>
                    <a:cxn ang="0">
                      <a:pos x="0" y="7"/>
                    </a:cxn>
                    <a:cxn ang="0">
                      <a:pos x="8" y="7"/>
                    </a:cxn>
                    <a:cxn ang="0">
                      <a:pos x="11" y="7"/>
                    </a:cxn>
                    <a:cxn ang="0">
                      <a:pos x="15" y="9"/>
                    </a:cxn>
                    <a:cxn ang="0">
                      <a:pos x="36" y="7"/>
                    </a:cxn>
                    <a:cxn ang="0">
                      <a:pos x="42" y="2"/>
                    </a:cxn>
                    <a:cxn ang="0">
                      <a:pos x="36" y="2"/>
                    </a:cxn>
                    <a:cxn ang="0">
                      <a:pos x="36" y="0"/>
                    </a:cxn>
                    <a:cxn ang="0">
                      <a:pos x="27" y="2"/>
                    </a:cxn>
                    <a:cxn ang="0">
                      <a:pos x="31" y="2"/>
                    </a:cxn>
                    <a:cxn ang="0">
                      <a:pos x="27" y="2"/>
                    </a:cxn>
                    <a:cxn ang="0">
                      <a:pos x="27" y="7"/>
                    </a:cxn>
                    <a:cxn ang="0">
                      <a:pos x="23" y="7"/>
                    </a:cxn>
                    <a:cxn ang="0">
                      <a:pos x="23" y="2"/>
                    </a:cxn>
                    <a:cxn ang="0">
                      <a:pos x="15" y="0"/>
                    </a:cxn>
                    <a:cxn ang="0">
                      <a:pos x="6" y="5"/>
                    </a:cxn>
                    <a:cxn ang="0">
                      <a:pos x="0" y="7"/>
                    </a:cxn>
                  </a:cxnLst>
                  <a:rect l="0" t="0" r="r" b="b"/>
                  <a:pathLst>
                    <a:path w="42" h="9">
                      <a:moveTo>
                        <a:pt x="0" y="7"/>
                      </a:moveTo>
                      <a:lnTo>
                        <a:pt x="8" y="7"/>
                      </a:lnTo>
                      <a:lnTo>
                        <a:pt x="11" y="7"/>
                      </a:lnTo>
                      <a:lnTo>
                        <a:pt x="15" y="9"/>
                      </a:lnTo>
                      <a:lnTo>
                        <a:pt x="36" y="7"/>
                      </a:lnTo>
                      <a:lnTo>
                        <a:pt x="42" y="2"/>
                      </a:lnTo>
                      <a:lnTo>
                        <a:pt x="36" y="2"/>
                      </a:lnTo>
                      <a:lnTo>
                        <a:pt x="36" y="0"/>
                      </a:lnTo>
                      <a:lnTo>
                        <a:pt x="27" y="2"/>
                      </a:lnTo>
                      <a:lnTo>
                        <a:pt x="31" y="2"/>
                      </a:lnTo>
                      <a:lnTo>
                        <a:pt x="27" y="2"/>
                      </a:lnTo>
                      <a:lnTo>
                        <a:pt x="27" y="7"/>
                      </a:lnTo>
                      <a:lnTo>
                        <a:pt x="23" y="7"/>
                      </a:lnTo>
                      <a:lnTo>
                        <a:pt x="23" y="2"/>
                      </a:lnTo>
                      <a:lnTo>
                        <a:pt x="15" y="0"/>
                      </a:lnTo>
                      <a:lnTo>
                        <a:pt x="6" y="5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35" name="Canada"/>
                <p:cNvSpPr>
                  <a:spLocks/>
                </p:cNvSpPr>
                <p:nvPr/>
              </p:nvSpPr>
              <p:spPr bwMode="auto">
                <a:xfrm>
                  <a:off x="2114610" y="2253550"/>
                  <a:ext cx="321755" cy="139336"/>
                </a:xfrm>
                <a:custGeom>
                  <a:avLst/>
                  <a:gdLst/>
                  <a:ahLst/>
                  <a:cxnLst>
                    <a:cxn ang="0">
                      <a:pos x="2" y="14"/>
                    </a:cxn>
                    <a:cxn ang="0">
                      <a:pos x="2" y="16"/>
                    </a:cxn>
                    <a:cxn ang="0">
                      <a:pos x="17" y="16"/>
                    </a:cxn>
                    <a:cxn ang="0">
                      <a:pos x="2" y="18"/>
                    </a:cxn>
                    <a:cxn ang="0">
                      <a:pos x="0" y="23"/>
                    </a:cxn>
                    <a:cxn ang="0">
                      <a:pos x="8" y="23"/>
                    </a:cxn>
                    <a:cxn ang="0">
                      <a:pos x="4" y="25"/>
                    </a:cxn>
                    <a:cxn ang="0">
                      <a:pos x="33" y="23"/>
                    </a:cxn>
                    <a:cxn ang="0">
                      <a:pos x="40" y="25"/>
                    </a:cxn>
                    <a:cxn ang="0">
                      <a:pos x="44" y="25"/>
                    </a:cxn>
                    <a:cxn ang="0">
                      <a:pos x="56" y="18"/>
                    </a:cxn>
                    <a:cxn ang="0">
                      <a:pos x="48" y="16"/>
                    </a:cxn>
                    <a:cxn ang="0">
                      <a:pos x="48" y="14"/>
                    </a:cxn>
                    <a:cxn ang="0">
                      <a:pos x="50" y="14"/>
                    </a:cxn>
                    <a:cxn ang="0">
                      <a:pos x="50" y="7"/>
                    </a:cxn>
                    <a:cxn ang="0">
                      <a:pos x="58" y="5"/>
                    </a:cxn>
                    <a:cxn ang="0">
                      <a:pos x="52" y="0"/>
                    </a:cxn>
                    <a:cxn ang="0">
                      <a:pos x="44" y="7"/>
                    </a:cxn>
                    <a:cxn ang="0">
                      <a:pos x="33" y="5"/>
                    </a:cxn>
                    <a:cxn ang="0">
                      <a:pos x="27" y="7"/>
                    </a:cxn>
                    <a:cxn ang="0">
                      <a:pos x="27" y="5"/>
                    </a:cxn>
                    <a:cxn ang="0">
                      <a:pos x="25" y="5"/>
                    </a:cxn>
                    <a:cxn ang="0">
                      <a:pos x="10" y="7"/>
                    </a:cxn>
                    <a:cxn ang="0">
                      <a:pos x="6" y="12"/>
                    </a:cxn>
                    <a:cxn ang="0">
                      <a:pos x="2" y="12"/>
                    </a:cxn>
                    <a:cxn ang="0">
                      <a:pos x="2" y="14"/>
                    </a:cxn>
                  </a:cxnLst>
                  <a:rect l="0" t="0" r="r" b="b"/>
                  <a:pathLst>
                    <a:path w="58" h="25">
                      <a:moveTo>
                        <a:pt x="2" y="14"/>
                      </a:moveTo>
                      <a:lnTo>
                        <a:pt x="2" y="16"/>
                      </a:lnTo>
                      <a:lnTo>
                        <a:pt x="17" y="16"/>
                      </a:lnTo>
                      <a:lnTo>
                        <a:pt x="2" y="18"/>
                      </a:lnTo>
                      <a:lnTo>
                        <a:pt x="0" y="23"/>
                      </a:lnTo>
                      <a:lnTo>
                        <a:pt x="8" y="23"/>
                      </a:lnTo>
                      <a:lnTo>
                        <a:pt x="4" y="25"/>
                      </a:lnTo>
                      <a:lnTo>
                        <a:pt x="33" y="23"/>
                      </a:lnTo>
                      <a:lnTo>
                        <a:pt x="40" y="25"/>
                      </a:lnTo>
                      <a:lnTo>
                        <a:pt x="44" y="25"/>
                      </a:lnTo>
                      <a:lnTo>
                        <a:pt x="56" y="18"/>
                      </a:lnTo>
                      <a:lnTo>
                        <a:pt x="48" y="16"/>
                      </a:lnTo>
                      <a:lnTo>
                        <a:pt x="48" y="14"/>
                      </a:lnTo>
                      <a:lnTo>
                        <a:pt x="50" y="14"/>
                      </a:lnTo>
                      <a:lnTo>
                        <a:pt x="50" y="7"/>
                      </a:lnTo>
                      <a:lnTo>
                        <a:pt x="58" y="5"/>
                      </a:lnTo>
                      <a:lnTo>
                        <a:pt x="52" y="0"/>
                      </a:lnTo>
                      <a:lnTo>
                        <a:pt x="44" y="7"/>
                      </a:lnTo>
                      <a:lnTo>
                        <a:pt x="33" y="5"/>
                      </a:lnTo>
                      <a:lnTo>
                        <a:pt x="27" y="7"/>
                      </a:lnTo>
                      <a:lnTo>
                        <a:pt x="27" y="5"/>
                      </a:lnTo>
                      <a:lnTo>
                        <a:pt x="25" y="5"/>
                      </a:lnTo>
                      <a:lnTo>
                        <a:pt x="10" y="7"/>
                      </a:lnTo>
                      <a:lnTo>
                        <a:pt x="6" y="12"/>
                      </a:lnTo>
                      <a:lnTo>
                        <a:pt x="2" y="12"/>
                      </a:lnTo>
                      <a:lnTo>
                        <a:pt x="2" y="1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36" name="Canada"/>
                <p:cNvSpPr>
                  <a:spLocks/>
                </p:cNvSpPr>
                <p:nvPr/>
              </p:nvSpPr>
              <p:spPr bwMode="auto">
                <a:xfrm>
                  <a:off x="2009208" y="2242402"/>
                  <a:ext cx="244090" cy="89175"/>
                </a:xfrm>
                <a:custGeom>
                  <a:avLst/>
                  <a:gdLst/>
                  <a:ahLst/>
                  <a:cxnLst>
                    <a:cxn ang="0">
                      <a:pos x="0" y="11"/>
                    </a:cxn>
                    <a:cxn ang="0">
                      <a:pos x="4" y="11"/>
                    </a:cxn>
                    <a:cxn ang="0">
                      <a:pos x="4" y="16"/>
                    </a:cxn>
                    <a:cxn ang="0">
                      <a:pos x="13" y="16"/>
                    </a:cxn>
                    <a:cxn ang="0">
                      <a:pos x="23" y="9"/>
                    </a:cxn>
                    <a:cxn ang="0">
                      <a:pos x="44" y="7"/>
                    </a:cxn>
                    <a:cxn ang="0">
                      <a:pos x="40" y="2"/>
                    </a:cxn>
                    <a:cxn ang="0">
                      <a:pos x="29" y="0"/>
                    </a:cxn>
                    <a:cxn ang="0">
                      <a:pos x="15" y="2"/>
                    </a:cxn>
                    <a:cxn ang="0">
                      <a:pos x="15" y="7"/>
                    </a:cxn>
                    <a:cxn ang="0">
                      <a:pos x="7" y="9"/>
                    </a:cxn>
                    <a:cxn ang="0">
                      <a:pos x="0" y="11"/>
                    </a:cxn>
                  </a:cxnLst>
                  <a:rect l="0" t="0" r="r" b="b"/>
                  <a:pathLst>
                    <a:path w="44" h="16">
                      <a:moveTo>
                        <a:pt x="0" y="11"/>
                      </a:moveTo>
                      <a:lnTo>
                        <a:pt x="4" y="11"/>
                      </a:lnTo>
                      <a:lnTo>
                        <a:pt x="4" y="16"/>
                      </a:lnTo>
                      <a:lnTo>
                        <a:pt x="13" y="16"/>
                      </a:lnTo>
                      <a:lnTo>
                        <a:pt x="23" y="9"/>
                      </a:lnTo>
                      <a:lnTo>
                        <a:pt x="44" y="7"/>
                      </a:lnTo>
                      <a:lnTo>
                        <a:pt x="40" y="2"/>
                      </a:lnTo>
                      <a:lnTo>
                        <a:pt x="29" y="0"/>
                      </a:lnTo>
                      <a:lnTo>
                        <a:pt x="15" y="2"/>
                      </a:lnTo>
                      <a:lnTo>
                        <a:pt x="15" y="7"/>
                      </a:lnTo>
                      <a:lnTo>
                        <a:pt x="7" y="9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37" name="Canada"/>
                <p:cNvSpPr>
                  <a:spLocks/>
                </p:cNvSpPr>
                <p:nvPr/>
              </p:nvSpPr>
              <p:spPr bwMode="auto">
                <a:xfrm>
                  <a:off x="2796952" y="2955803"/>
                  <a:ext cx="72117" cy="1672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6" y="3"/>
                    </a:cxn>
                    <a:cxn ang="0">
                      <a:pos x="13" y="3"/>
                    </a:cxn>
                    <a:cxn ang="0">
                      <a:pos x="6" y="0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" h="3">
                      <a:moveTo>
                        <a:pt x="0" y="0"/>
                      </a:moveTo>
                      <a:lnTo>
                        <a:pt x="6" y="3"/>
                      </a:lnTo>
                      <a:lnTo>
                        <a:pt x="13" y="3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38" name="Canada"/>
                <p:cNvSpPr>
                  <a:spLocks/>
                </p:cNvSpPr>
                <p:nvPr/>
              </p:nvSpPr>
              <p:spPr bwMode="auto">
                <a:xfrm>
                  <a:off x="2774762" y="3044978"/>
                  <a:ext cx="44380" cy="27867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4" y="5"/>
                    </a:cxn>
                    <a:cxn ang="0">
                      <a:pos x="8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8" h="5">
                      <a:moveTo>
                        <a:pt x="0" y="2"/>
                      </a:moveTo>
                      <a:lnTo>
                        <a:pt x="4" y="5"/>
                      </a:lnTo>
                      <a:lnTo>
                        <a:pt x="8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39" name="Canada"/>
                <p:cNvSpPr>
                  <a:spLocks/>
                </p:cNvSpPr>
                <p:nvPr/>
              </p:nvSpPr>
              <p:spPr bwMode="auto">
                <a:xfrm>
                  <a:off x="2891259" y="2905642"/>
                  <a:ext cx="160877" cy="150483"/>
                </a:xfrm>
                <a:custGeom>
                  <a:avLst/>
                  <a:gdLst/>
                  <a:ahLst/>
                  <a:cxnLst>
                    <a:cxn ang="0">
                      <a:pos x="0" y="18"/>
                    </a:cxn>
                    <a:cxn ang="0">
                      <a:pos x="0" y="21"/>
                    </a:cxn>
                    <a:cxn ang="0">
                      <a:pos x="19" y="21"/>
                    </a:cxn>
                    <a:cxn ang="0">
                      <a:pos x="14" y="25"/>
                    </a:cxn>
                    <a:cxn ang="0">
                      <a:pos x="19" y="25"/>
                    </a:cxn>
                    <a:cxn ang="0">
                      <a:pos x="21" y="21"/>
                    </a:cxn>
                    <a:cxn ang="0">
                      <a:pos x="23" y="21"/>
                    </a:cxn>
                    <a:cxn ang="0">
                      <a:pos x="21" y="25"/>
                    </a:cxn>
                    <a:cxn ang="0">
                      <a:pos x="23" y="25"/>
                    </a:cxn>
                    <a:cxn ang="0">
                      <a:pos x="23" y="27"/>
                    </a:cxn>
                    <a:cxn ang="0">
                      <a:pos x="27" y="27"/>
                    </a:cxn>
                    <a:cxn ang="0">
                      <a:pos x="29" y="21"/>
                    </a:cxn>
                    <a:cxn ang="0">
                      <a:pos x="27" y="21"/>
                    </a:cxn>
                    <a:cxn ang="0">
                      <a:pos x="29" y="18"/>
                    </a:cxn>
                    <a:cxn ang="0">
                      <a:pos x="23" y="21"/>
                    </a:cxn>
                    <a:cxn ang="0">
                      <a:pos x="29" y="16"/>
                    </a:cxn>
                    <a:cxn ang="0">
                      <a:pos x="27" y="16"/>
                    </a:cxn>
                    <a:cxn ang="0">
                      <a:pos x="29" y="12"/>
                    </a:cxn>
                    <a:cxn ang="0">
                      <a:pos x="21" y="12"/>
                    </a:cxn>
                    <a:cxn ang="0">
                      <a:pos x="21" y="9"/>
                    </a:cxn>
                    <a:cxn ang="0">
                      <a:pos x="21" y="7"/>
                    </a:cxn>
                    <a:cxn ang="0">
                      <a:pos x="14" y="9"/>
                    </a:cxn>
                    <a:cxn ang="0">
                      <a:pos x="23" y="0"/>
                    </a:cxn>
                    <a:cxn ang="0">
                      <a:pos x="21" y="0"/>
                    </a:cxn>
                    <a:cxn ang="0">
                      <a:pos x="6" y="16"/>
                    </a:cxn>
                    <a:cxn ang="0">
                      <a:pos x="2" y="18"/>
                    </a:cxn>
                    <a:cxn ang="0">
                      <a:pos x="0" y="18"/>
                    </a:cxn>
                  </a:cxnLst>
                  <a:rect l="0" t="0" r="r" b="b"/>
                  <a:pathLst>
                    <a:path w="29" h="27">
                      <a:moveTo>
                        <a:pt x="0" y="18"/>
                      </a:moveTo>
                      <a:lnTo>
                        <a:pt x="0" y="21"/>
                      </a:lnTo>
                      <a:lnTo>
                        <a:pt x="19" y="21"/>
                      </a:lnTo>
                      <a:lnTo>
                        <a:pt x="14" y="25"/>
                      </a:lnTo>
                      <a:lnTo>
                        <a:pt x="19" y="25"/>
                      </a:lnTo>
                      <a:lnTo>
                        <a:pt x="21" y="21"/>
                      </a:lnTo>
                      <a:lnTo>
                        <a:pt x="23" y="21"/>
                      </a:lnTo>
                      <a:lnTo>
                        <a:pt x="21" y="25"/>
                      </a:lnTo>
                      <a:lnTo>
                        <a:pt x="23" y="25"/>
                      </a:lnTo>
                      <a:lnTo>
                        <a:pt x="23" y="27"/>
                      </a:lnTo>
                      <a:lnTo>
                        <a:pt x="27" y="27"/>
                      </a:lnTo>
                      <a:lnTo>
                        <a:pt x="29" y="21"/>
                      </a:lnTo>
                      <a:lnTo>
                        <a:pt x="27" y="21"/>
                      </a:lnTo>
                      <a:lnTo>
                        <a:pt x="29" y="18"/>
                      </a:lnTo>
                      <a:lnTo>
                        <a:pt x="23" y="21"/>
                      </a:lnTo>
                      <a:lnTo>
                        <a:pt x="29" y="16"/>
                      </a:lnTo>
                      <a:lnTo>
                        <a:pt x="27" y="16"/>
                      </a:lnTo>
                      <a:lnTo>
                        <a:pt x="29" y="12"/>
                      </a:lnTo>
                      <a:lnTo>
                        <a:pt x="21" y="12"/>
                      </a:lnTo>
                      <a:lnTo>
                        <a:pt x="21" y="9"/>
                      </a:lnTo>
                      <a:lnTo>
                        <a:pt x="21" y="7"/>
                      </a:lnTo>
                      <a:lnTo>
                        <a:pt x="14" y="9"/>
                      </a:lnTo>
                      <a:lnTo>
                        <a:pt x="23" y="0"/>
                      </a:lnTo>
                      <a:lnTo>
                        <a:pt x="21" y="0"/>
                      </a:lnTo>
                      <a:lnTo>
                        <a:pt x="6" y="16"/>
                      </a:lnTo>
                      <a:lnTo>
                        <a:pt x="2" y="18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40" name="Canada"/>
                <p:cNvSpPr>
                  <a:spLocks/>
                </p:cNvSpPr>
                <p:nvPr/>
              </p:nvSpPr>
              <p:spPr bwMode="auto">
                <a:xfrm>
                  <a:off x="2563957" y="2755159"/>
                  <a:ext cx="16642" cy="1672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" h="3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3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41" name="Canada"/>
                <p:cNvSpPr>
                  <a:spLocks/>
                </p:cNvSpPr>
                <p:nvPr/>
              </p:nvSpPr>
              <p:spPr bwMode="auto">
                <a:xfrm>
                  <a:off x="2453007" y="2855480"/>
                  <a:ext cx="22190" cy="1672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" h="3">
                      <a:moveTo>
                        <a:pt x="0" y="0"/>
                      </a:move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42" name="Canada"/>
                <p:cNvSpPr>
                  <a:spLocks/>
                </p:cNvSpPr>
                <p:nvPr/>
              </p:nvSpPr>
              <p:spPr bwMode="auto">
                <a:xfrm>
                  <a:off x="1349054" y="2253550"/>
                  <a:ext cx="1691987" cy="953057"/>
                </a:xfrm>
                <a:custGeom>
                  <a:avLst/>
                  <a:gdLst/>
                  <a:ahLst/>
                  <a:cxnLst>
                    <a:cxn ang="0">
                      <a:pos x="251" y="151"/>
                    </a:cxn>
                    <a:cxn ang="0">
                      <a:pos x="244" y="162"/>
                    </a:cxn>
                    <a:cxn ang="0">
                      <a:pos x="274" y="147"/>
                    </a:cxn>
                    <a:cxn ang="0">
                      <a:pos x="267" y="147"/>
                    </a:cxn>
                    <a:cxn ang="0">
                      <a:pos x="257" y="138"/>
                    </a:cxn>
                    <a:cxn ang="0">
                      <a:pos x="261" y="133"/>
                    </a:cxn>
                    <a:cxn ang="0">
                      <a:pos x="228" y="142"/>
                    </a:cxn>
                    <a:cxn ang="0">
                      <a:pos x="251" y="129"/>
                    </a:cxn>
                    <a:cxn ang="0">
                      <a:pos x="282" y="124"/>
                    </a:cxn>
                    <a:cxn ang="0">
                      <a:pos x="305" y="104"/>
                    </a:cxn>
                    <a:cxn ang="0">
                      <a:pos x="297" y="102"/>
                    </a:cxn>
                    <a:cxn ang="0">
                      <a:pos x="297" y="95"/>
                    </a:cxn>
                    <a:cxn ang="0">
                      <a:pos x="288" y="90"/>
                    </a:cxn>
                    <a:cxn ang="0">
                      <a:pos x="282" y="72"/>
                    </a:cxn>
                    <a:cxn ang="0">
                      <a:pos x="267" y="75"/>
                    </a:cxn>
                    <a:cxn ang="0">
                      <a:pos x="265" y="61"/>
                    </a:cxn>
                    <a:cxn ang="0">
                      <a:pos x="242" y="59"/>
                    </a:cxn>
                    <a:cxn ang="0">
                      <a:pos x="230" y="77"/>
                    </a:cxn>
                    <a:cxn ang="0">
                      <a:pos x="213" y="99"/>
                    </a:cxn>
                    <a:cxn ang="0">
                      <a:pos x="196" y="108"/>
                    </a:cxn>
                    <a:cxn ang="0">
                      <a:pos x="178" y="86"/>
                    </a:cxn>
                    <a:cxn ang="0">
                      <a:pos x="169" y="77"/>
                    </a:cxn>
                    <a:cxn ang="0">
                      <a:pos x="188" y="59"/>
                    </a:cxn>
                    <a:cxn ang="0">
                      <a:pos x="205" y="50"/>
                    </a:cxn>
                    <a:cxn ang="0">
                      <a:pos x="228" y="39"/>
                    </a:cxn>
                    <a:cxn ang="0">
                      <a:pos x="249" y="34"/>
                    </a:cxn>
                    <a:cxn ang="0">
                      <a:pos x="257" y="23"/>
                    </a:cxn>
                    <a:cxn ang="0">
                      <a:pos x="238" y="30"/>
                    </a:cxn>
                    <a:cxn ang="0">
                      <a:pos x="230" y="25"/>
                    </a:cxn>
                    <a:cxn ang="0">
                      <a:pos x="222" y="23"/>
                    </a:cxn>
                    <a:cxn ang="0">
                      <a:pos x="222" y="9"/>
                    </a:cxn>
                    <a:cxn ang="0">
                      <a:pos x="234" y="7"/>
                    </a:cxn>
                    <a:cxn ang="0">
                      <a:pos x="228" y="5"/>
                    </a:cxn>
                    <a:cxn ang="0">
                      <a:pos x="209" y="18"/>
                    </a:cxn>
                    <a:cxn ang="0">
                      <a:pos x="199" y="32"/>
                    </a:cxn>
                    <a:cxn ang="0">
                      <a:pos x="205" y="25"/>
                    </a:cxn>
                    <a:cxn ang="0">
                      <a:pos x="190" y="25"/>
                    </a:cxn>
                    <a:cxn ang="0">
                      <a:pos x="180" y="32"/>
                    </a:cxn>
                    <a:cxn ang="0">
                      <a:pos x="157" y="30"/>
                    </a:cxn>
                    <a:cxn ang="0">
                      <a:pos x="151" y="30"/>
                    </a:cxn>
                    <a:cxn ang="0">
                      <a:pos x="140" y="30"/>
                    </a:cxn>
                    <a:cxn ang="0">
                      <a:pos x="123" y="18"/>
                    </a:cxn>
                    <a:cxn ang="0">
                      <a:pos x="103" y="23"/>
                    </a:cxn>
                    <a:cxn ang="0">
                      <a:pos x="94" y="18"/>
                    </a:cxn>
                    <a:cxn ang="0">
                      <a:pos x="67" y="25"/>
                    </a:cxn>
                    <a:cxn ang="0">
                      <a:pos x="7" y="68"/>
                    </a:cxn>
                    <a:cxn ang="0">
                      <a:pos x="19" y="72"/>
                    </a:cxn>
                    <a:cxn ang="0">
                      <a:pos x="19" y="93"/>
                    </a:cxn>
                    <a:cxn ang="0">
                      <a:pos x="7" y="111"/>
                    </a:cxn>
                    <a:cxn ang="0">
                      <a:pos x="13" y="124"/>
                    </a:cxn>
                    <a:cxn ang="0">
                      <a:pos x="134" y="129"/>
                    </a:cxn>
                    <a:cxn ang="0">
                      <a:pos x="151" y="135"/>
                    </a:cxn>
                    <a:cxn ang="0">
                      <a:pos x="169" y="135"/>
                    </a:cxn>
                    <a:cxn ang="0">
                      <a:pos x="186" y="147"/>
                    </a:cxn>
                    <a:cxn ang="0">
                      <a:pos x="180" y="151"/>
                    </a:cxn>
                    <a:cxn ang="0">
                      <a:pos x="165" y="171"/>
                    </a:cxn>
                    <a:cxn ang="0">
                      <a:pos x="186" y="162"/>
                    </a:cxn>
                    <a:cxn ang="0">
                      <a:pos x="196" y="160"/>
                    </a:cxn>
                    <a:cxn ang="0">
                      <a:pos x="222" y="153"/>
                    </a:cxn>
                    <a:cxn ang="0">
                      <a:pos x="242" y="142"/>
                    </a:cxn>
                    <a:cxn ang="0">
                      <a:pos x="242" y="151"/>
                    </a:cxn>
                  </a:cxnLst>
                  <a:rect l="0" t="0" r="r" b="b"/>
                  <a:pathLst>
                    <a:path w="305" h="171">
                      <a:moveTo>
                        <a:pt x="242" y="151"/>
                      </a:moveTo>
                      <a:lnTo>
                        <a:pt x="253" y="151"/>
                      </a:lnTo>
                      <a:lnTo>
                        <a:pt x="251" y="151"/>
                      </a:lnTo>
                      <a:lnTo>
                        <a:pt x="253" y="151"/>
                      </a:lnTo>
                      <a:lnTo>
                        <a:pt x="244" y="156"/>
                      </a:lnTo>
                      <a:lnTo>
                        <a:pt x="244" y="162"/>
                      </a:lnTo>
                      <a:lnTo>
                        <a:pt x="253" y="156"/>
                      </a:lnTo>
                      <a:lnTo>
                        <a:pt x="267" y="151"/>
                      </a:lnTo>
                      <a:lnTo>
                        <a:pt x="274" y="147"/>
                      </a:lnTo>
                      <a:lnTo>
                        <a:pt x="274" y="144"/>
                      </a:lnTo>
                      <a:lnTo>
                        <a:pt x="274" y="142"/>
                      </a:lnTo>
                      <a:lnTo>
                        <a:pt x="267" y="147"/>
                      </a:lnTo>
                      <a:lnTo>
                        <a:pt x="259" y="147"/>
                      </a:lnTo>
                      <a:lnTo>
                        <a:pt x="253" y="144"/>
                      </a:lnTo>
                      <a:lnTo>
                        <a:pt x="257" y="138"/>
                      </a:lnTo>
                      <a:lnTo>
                        <a:pt x="253" y="138"/>
                      </a:lnTo>
                      <a:lnTo>
                        <a:pt x="251" y="135"/>
                      </a:lnTo>
                      <a:lnTo>
                        <a:pt x="261" y="133"/>
                      </a:lnTo>
                      <a:lnTo>
                        <a:pt x="259" y="129"/>
                      </a:lnTo>
                      <a:lnTo>
                        <a:pt x="242" y="133"/>
                      </a:lnTo>
                      <a:lnTo>
                        <a:pt x="228" y="142"/>
                      </a:lnTo>
                      <a:lnTo>
                        <a:pt x="238" y="133"/>
                      </a:lnTo>
                      <a:lnTo>
                        <a:pt x="249" y="129"/>
                      </a:lnTo>
                      <a:lnTo>
                        <a:pt x="251" y="129"/>
                      </a:lnTo>
                      <a:lnTo>
                        <a:pt x="253" y="124"/>
                      </a:lnTo>
                      <a:lnTo>
                        <a:pt x="265" y="124"/>
                      </a:lnTo>
                      <a:lnTo>
                        <a:pt x="282" y="124"/>
                      </a:lnTo>
                      <a:lnTo>
                        <a:pt x="290" y="117"/>
                      </a:lnTo>
                      <a:lnTo>
                        <a:pt x="305" y="115"/>
                      </a:lnTo>
                      <a:lnTo>
                        <a:pt x="305" y="104"/>
                      </a:lnTo>
                      <a:lnTo>
                        <a:pt x="301" y="104"/>
                      </a:lnTo>
                      <a:lnTo>
                        <a:pt x="301" y="102"/>
                      </a:lnTo>
                      <a:lnTo>
                        <a:pt x="297" y="102"/>
                      </a:lnTo>
                      <a:lnTo>
                        <a:pt x="301" y="99"/>
                      </a:lnTo>
                      <a:lnTo>
                        <a:pt x="297" y="99"/>
                      </a:lnTo>
                      <a:lnTo>
                        <a:pt x="297" y="95"/>
                      </a:lnTo>
                      <a:lnTo>
                        <a:pt x="290" y="95"/>
                      </a:lnTo>
                      <a:lnTo>
                        <a:pt x="292" y="93"/>
                      </a:lnTo>
                      <a:lnTo>
                        <a:pt x="288" y="90"/>
                      </a:lnTo>
                      <a:lnTo>
                        <a:pt x="292" y="86"/>
                      </a:lnTo>
                      <a:lnTo>
                        <a:pt x="288" y="68"/>
                      </a:lnTo>
                      <a:lnTo>
                        <a:pt x="282" y="72"/>
                      </a:lnTo>
                      <a:lnTo>
                        <a:pt x="282" y="75"/>
                      </a:lnTo>
                      <a:lnTo>
                        <a:pt x="270" y="81"/>
                      </a:lnTo>
                      <a:lnTo>
                        <a:pt x="267" y="75"/>
                      </a:lnTo>
                      <a:lnTo>
                        <a:pt x="270" y="66"/>
                      </a:lnTo>
                      <a:lnTo>
                        <a:pt x="265" y="66"/>
                      </a:lnTo>
                      <a:lnTo>
                        <a:pt x="265" y="61"/>
                      </a:lnTo>
                      <a:lnTo>
                        <a:pt x="259" y="59"/>
                      </a:lnTo>
                      <a:lnTo>
                        <a:pt x="249" y="57"/>
                      </a:lnTo>
                      <a:lnTo>
                        <a:pt x="242" y="59"/>
                      </a:lnTo>
                      <a:lnTo>
                        <a:pt x="238" y="66"/>
                      </a:lnTo>
                      <a:lnTo>
                        <a:pt x="236" y="72"/>
                      </a:lnTo>
                      <a:lnTo>
                        <a:pt x="230" y="77"/>
                      </a:lnTo>
                      <a:lnTo>
                        <a:pt x="234" y="81"/>
                      </a:lnTo>
                      <a:lnTo>
                        <a:pt x="228" y="93"/>
                      </a:lnTo>
                      <a:lnTo>
                        <a:pt x="213" y="99"/>
                      </a:lnTo>
                      <a:lnTo>
                        <a:pt x="211" y="115"/>
                      </a:lnTo>
                      <a:lnTo>
                        <a:pt x="203" y="117"/>
                      </a:lnTo>
                      <a:lnTo>
                        <a:pt x="196" y="108"/>
                      </a:lnTo>
                      <a:lnTo>
                        <a:pt x="205" y="99"/>
                      </a:lnTo>
                      <a:lnTo>
                        <a:pt x="194" y="95"/>
                      </a:lnTo>
                      <a:lnTo>
                        <a:pt x="178" y="86"/>
                      </a:lnTo>
                      <a:lnTo>
                        <a:pt x="171" y="86"/>
                      </a:lnTo>
                      <a:lnTo>
                        <a:pt x="174" y="77"/>
                      </a:lnTo>
                      <a:lnTo>
                        <a:pt x="169" y="77"/>
                      </a:lnTo>
                      <a:lnTo>
                        <a:pt x="169" y="75"/>
                      </a:lnTo>
                      <a:lnTo>
                        <a:pt x="180" y="66"/>
                      </a:lnTo>
                      <a:lnTo>
                        <a:pt x="188" y="59"/>
                      </a:lnTo>
                      <a:lnTo>
                        <a:pt x="190" y="57"/>
                      </a:lnTo>
                      <a:lnTo>
                        <a:pt x="199" y="57"/>
                      </a:lnTo>
                      <a:lnTo>
                        <a:pt x="205" y="50"/>
                      </a:lnTo>
                      <a:lnTo>
                        <a:pt x="211" y="50"/>
                      </a:lnTo>
                      <a:lnTo>
                        <a:pt x="219" y="43"/>
                      </a:lnTo>
                      <a:lnTo>
                        <a:pt x="228" y="39"/>
                      </a:lnTo>
                      <a:lnTo>
                        <a:pt x="230" y="39"/>
                      </a:lnTo>
                      <a:lnTo>
                        <a:pt x="236" y="39"/>
                      </a:lnTo>
                      <a:lnTo>
                        <a:pt x="249" y="34"/>
                      </a:lnTo>
                      <a:lnTo>
                        <a:pt x="251" y="32"/>
                      </a:lnTo>
                      <a:lnTo>
                        <a:pt x="249" y="32"/>
                      </a:lnTo>
                      <a:lnTo>
                        <a:pt x="257" y="23"/>
                      </a:lnTo>
                      <a:lnTo>
                        <a:pt x="253" y="23"/>
                      </a:lnTo>
                      <a:lnTo>
                        <a:pt x="244" y="18"/>
                      </a:lnTo>
                      <a:lnTo>
                        <a:pt x="238" y="30"/>
                      </a:lnTo>
                      <a:lnTo>
                        <a:pt x="228" y="34"/>
                      </a:lnTo>
                      <a:lnTo>
                        <a:pt x="228" y="32"/>
                      </a:lnTo>
                      <a:lnTo>
                        <a:pt x="230" y="25"/>
                      </a:lnTo>
                      <a:lnTo>
                        <a:pt x="230" y="23"/>
                      </a:lnTo>
                      <a:lnTo>
                        <a:pt x="226" y="25"/>
                      </a:lnTo>
                      <a:lnTo>
                        <a:pt x="222" y="23"/>
                      </a:lnTo>
                      <a:lnTo>
                        <a:pt x="219" y="18"/>
                      </a:lnTo>
                      <a:lnTo>
                        <a:pt x="226" y="18"/>
                      </a:lnTo>
                      <a:lnTo>
                        <a:pt x="222" y="9"/>
                      </a:lnTo>
                      <a:lnTo>
                        <a:pt x="228" y="9"/>
                      </a:lnTo>
                      <a:lnTo>
                        <a:pt x="228" y="7"/>
                      </a:lnTo>
                      <a:lnTo>
                        <a:pt x="234" y="7"/>
                      </a:lnTo>
                      <a:lnTo>
                        <a:pt x="244" y="0"/>
                      </a:lnTo>
                      <a:lnTo>
                        <a:pt x="236" y="0"/>
                      </a:lnTo>
                      <a:lnTo>
                        <a:pt x="228" y="5"/>
                      </a:lnTo>
                      <a:lnTo>
                        <a:pt x="219" y="9"/>
                      </a:lnTo>
                      <a:lnTo>
                        <a:pt x="209" y="16"/>
                      </a:lnTo>
                      <a:lnTo>
                        <a:pt x="209" y="18"/>
                      </a:lnTo>
                      <a:lnTo>
                        <a:pt x="213" y="23"/>
                      </a:lnTo>
                      <a:lnTo>
                        <a:pt x="209" y="25"/>
                      </a:lnTo>
                      <a:lnTo>
                        <a:pt x="199" y="32"/>
                      </a:lnTo>
                      <a:lnTo>
                        <a:pt x="196" y="32"/>
                      </a:lnTo>
                      <a:lnTo>
                        <a:pt x="199" y="30"/>
                      </a:lnTo>
                      <a:lnTo>
                        <a:pt x="205" y="25"/>
                      </a:lnTo>
                      <a:lnTo>
                        <a:pt x="205" y="23"/>
                      </a:lnTo>
                      <a:lnTo>
                        <a:pt x="203" y="18"/>
                      </a:lnTo>
                      <a:lnTo>
                        <a:pt x="190" y="25"/>
                      </a:lnTo>
                      <a:lnTo>
                        <a:pt x="196" y="25"/>
                      </a:lnTo>
                      <a:lnTo>
                        <a:pt x="188" y="32"/>
                      </a:lnTo>
                      <a:lnTo>
                        <a:pt x="180" y="32"/>
                      </a:lnTo>
                      <a:lnTo>
                        <a:pt x="171" y="30"/>
                      </a:lnTo>
                      <a:lnTo>
                        <a:pt x="171" y="25"/>
                      </a:lnTo>
                      <a:lnTo>
                        <a:pt x="157" y="30"/>
                      </a:lnTo>
                      <a:lnTo>
                        <a:pt x="159" y="30"/>
                      </a:lnTo>
                      <a:lnTo>
                        <a:pt x="157" y="32"/>
                      </a:lnTo>
                      <a:lnTo>
                        <a:pt x="151" y="30"/>
                      </a:lnTo>
                      <a:lnTo>
                        <a:pt x="140" y="32"/>
                      </a:lnTo>
                      <a:lnTo>
                        <a:pt x="132" y="32"/>
                      </a:lnTo>
                      <a:lnTo>
                        <a:pt x="140" y="30"/>
                      </a:lnTo>
                      <a:lnTo>
                        <a:pt x="140" y="25"/>
                      </a:lnTo>
                      <a:lnTo>
                        <a:pt x="126" y="23"/>
                      </a:lnTo>
                      <a:lnTo>
                        <a:pt x="123" y="18"/>
                      </a:lnTo>
                      <a:lnTo>
                        <a:pt x="117" y="18"/>
                      </a:lnTo>
                      <a:lnTo>
                        <a:pt x="111" y="23"/>
                      </a:lnTo>
                      <a:lnTo>
                        <a:pt x="103" y="23"/>
                      </a:lnTo>
                      <a:lnTo>
                        <a:pt x="107" y="18"/>
                      </a:lnTo>
                      <a:lnTo>
                        <a:pt x="103" y="16"/>
                      </a:lnTo>
                      <a:lnTo>
                        <a:pt x="94" y="18"/>
                      </a:lnTo>
                      <a:lnTo>
                        <a:pt x="78" y="23"/>
                      </a:lnTo>
                      <a:lnTo>
                        <a:pt x="71" y="23"/>
                      </a:lnTo>
                      <a:lnTo>
                        <a:pt x="67" y="25"/>
                      </a:lnTo>
                      <a:lnTo>
                        <a:pt x="55" y="23"/>
                      </a:lnTo>
                      <a:lnTo>
                        <a:pt x="0" y="68"/>
                      </a:lnTo>
                      <a:lnTo>
                        <a:pt x="7" y="68"/>
                      </a:lnTo>
                      <a:lnTo>
                        <a:pt x="5" y="72"/>
                      </a:lnTo>
                      <a:lnTo>
                        <a:pt x="7" y="75"/>
                      </a:lnTo>
                      <a:lnTo>
                        <a:pt x="19" y="72"/>
                      </a:lnTo>
                      <a:lnTo>
                        <a:pt x="19" y="77"/>
                      </a:lnTo>
                      <a:lnTo>
                        <a:pt x="15" y="90"/>
                      </a:lnTo>
                      <a:lnTo>
                        <a:pt x="19" y="93"/>
                      </a:lnTo>
                      <a:lnTo>
                        <a:pt x="15" y="99"/>
                      </a:lnTo>
                      <a:lnTo>
                        <a:pt x="7" y="102"/>
                      </a:lnTo>
                      <a:lnTo>
                        <a:pt x="7" y="111"/>
                      </a:lnTo>
                      <a:lnTo>
                        <a:pt x="11" y="111"/>
                      </a:lnTo>
                      <a:lnTo>
                        <a:pt x="7" y="117"/>
                      </a:lnTo>
                      <a:lnTo>
                        <a:pt x="13" y="124"/>
                      </a:lnTo>
                      <a:lnTo>
                        <a:pt x="19" y="129"/>
                      </a:lnTo>
                      <a:lnTo>
                        <a:pt x="132" y="129"/>
                      </a:lnTo>
                      <a:lnTo>
                        <a:pt x="134" y="129"/>
                      </a:lnTo>
                      <a:lnTo>
                        <a:pt x="138" y="133"/>
                      </a:lnTo>
                      <a:lnTo>
                        <a:pt x="155" y="135"/>
                      </a:lnTo>
                      <a:lnTo>
                        <a:pt x="151" y="135"/>
                      </a:lnTo>
                      <a:lnTo>
                        <a:pt x="163" y="129"/>
                      </a:lnTo>
                      <a:lnTo>
                        <a:pt x="169" y="133"/>
                      </a:lnTo>
                      <a:lnTo>
                        <a:pt x="169" y="135"/>
                      </a:lnTo>
                      <a:lnTo>
                        <a:pt x="174" y="135"/>
                      </a:lnTo>
                      <a:lnTo>
                        <a:pt x="171" y="144"/>
                      </a:lnTo>
                      <a:lnTo>
                        <a:pt x="186" y="147"/>
                      </a:lnTo>
                      <a:lnTo>
                        <a:pt x="188" y="153"/>
                      </a:lnTo>
                      <a:lnTo>
                        <a:pt x="186" y="156"/>
                      </a:lnTo>
                      <a:lnTo>
                        <a:pt x="180" y="151"/>
                      </a:lnTo>
                      <a:lnTo>
                        <a:pt x="174" y="162"/>
                      </a:lnTo>
                      <a:lnTo>
                        <a:pt x="171" y="162"/>
                      </a:lnTo>
                      <a:lnTo>
                        <a:pt x="165" y="171"/>
                      </a:lnTo>
                      <a:lnTo>
                        <a:pt x="174" y="167"/>
                      </a:lnTo>
                      <a:lnTo>
                        <a:pt x="188" y="167"/>
                      </a:lnTo>
                      <a:lnTo>
                        <a:pt x="186" y="162"/>
                      </a:lnTo>
                      <a:lnTo>
                        <a:pt x="182" y="162"/>
                      </a:lnTo>
                      <a:lnTo>
                        <a:pt x="186" y="160"/>
                      </a:lnTo>
                      <a:lnTo>
                        <a:pt x="196" y="160"/>
                      </a:lnTo>
                      <a:lnTo>
                        <a:pt x="203" y="156"/>
                      </a:lnTo>
                      <a:lnTo>
                        <a:pt x="209" y="153"/>
                      </a:lnTo>
                      <a:lnTo>
                        <a:pt x="222" y="153"/>
                      </a:lnTo>
                      <a:lnTo>
                        <a:pt x="228" y="151"/>
                      </a:lnTo>
                      <a:lnTo>
                        <a:pt x="236" y="138"/>
                      </a:lnTo>
                      <a:lnTo>
                        <a:pt x="242" y="142"/>
                      </a:lnTo>
                      <a:lnTo>
                        <a:pt x="238" y="151"/>
                      </a:lnTo>
                      <a:lnTo>
                        <a:pt x="240" y="151"/>
                      </a:lnTo>
                      <a:lnTo>
                        <a:pt x="242" y="15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48725" name="Cameroon"/>
              <p:cNvSpPr>
                <a:spLocks/>
              </p:cNvSpPr>
              <p:nvPr/>
            </p:nvSpPr>
            <p:spPr bwMode="auto">
              <a:xfrm>
                <a:off x="4448040" y="4145703"/>
                <a:ext cx="213093" cy="374694"/>
              </a:xfrm>
              <a:custGeom>
                <a:avLst/>
                <a:gdLst>
                  <a:gd name="T0" fmla="*/ 2380387 w 586"/>
                  <a:gd name="T1" fmla="*/ 120658818 h 869"/>
                  <a:gd name="T2" fmla="*/ 264366 w 586"/>
                  <a:gd name="T3" fmla="*/ 118985415 h 869"/>
                  <a:gd name="T4" fmla="*/ 3041485 w 586"/>
                  <a:gd name="T5" fmla="*/ 113593962 h 869"/>
                  <a:gd name="T6" fmla="*/ 4628045 w 586"/>
                  <a:gd name="T7" fmla="*/ 102438923 h 869"/>
                  <a:gd name="T8" fmla="*/ 11768841 w 586"/>
                  <a:gd name="T9" fmla="*/ 93143151 h 869"/>
                  <a:gd name="T10" fmla="*/ 17983811 w 586"/>
                  <a:gd name="T11" fmla="*/ 87565861 h 869"/>
                  <a:gd name="T12" fmla="*/ 24331149 w 586"/>
                  <a:gd name="T13" fmla="*/ 87194185 h 869"/>
                  <a:gd name="T14" fmla="*/ 29488288 w 586"/>
                  <a:gd name="T15" fmla="*/ 93701096 h 869"/>
                  <a:gd name="T16" fmla="*/ 34380698 w 586"/>
                  <a:gd name="T17" fmla="*/ 84033649 h 869"/>
                  <a:gd name="T18" fmla="*/ 37554546 w 586"/>
                  <a:gd name="T19" fmla="*/ 73250312 h 869"/>
                  <a:gd name="T20" fmla="*/ 39802567 w 586"/>
                  <a:gd name="T21" fmla="*/ 65256267 h 869"/>
                  <a:gd name="T22" fmla="*/ 44959707 w 586"/>
                  <a:gd name="T23" fmla="*/ 54101241 h 869"/>
                  <a:gd name="T24" fmla="*/ 48133202 w 586"/>
                  <a:gd name="T25" fmla="*/ 44991307 h 869"/>
                  <a:gd name="T26" fmla="*/ 52364515 w 586"/>
                  <a:gd name="T27" fmla="*/ 32907106 h 869"/>
                  <a:gd name="T28" fmla="*/ 61356599 w 586"/>
                  <a:gd name="T29" fmla="*/ 23425058 h 869"/>
                  <a:gd name="T30" fmla="*/ 61224234 w 586"/>
                  <a:gd name="T31" fmla="*/ 13013825 h 869"/>
                  <a:gd name="T32" fmla="*/ 56463826 w 586"/>
                  <a:gd name="T33" fmla="*/ 1115459 h 869"/>
                  <a:gd name="T34" fmla="*/ 62811158 w 586"/>
                  <a:gd name="T35" fmla="*/ 6321075 h 869"/>
                  <a:gd name="T36" fmla="*/ 65984643 w 586"/>
                  <a:gd name="T37" fmla="*/ 15245176 h 869"/>
                  <a:gd name="T38" fmla="*/ 66117008 w 586"/>
                  <a:gd name="T39" fmla="*/ 24726786 h 869"/>
                  <a:gd name="T40" fmla="*/ 67174836 w 586"/>
                  <a:gd name="T41" fmla="*/ 37183101 h 869"/>
                  <a:gd name="T42" fmla="*/ 70877416 w 586"/>
                  <a:gd name="T43" fmla="*/ 44805470 h 869"/>
                  <a:gd name="T44" fmla="*/ 60166406 w 586"/>
                  <a:gd name="T45" fmla="*/ 44247525 h 869"/>
                  <a:gd name="T46" fmla="*/ 56463826 w 586"/>
                  <a:gd name="T47" fmla="*/ 50754867 h 869"/>
                  <a:gd name="T48" fmla="*/ 63736622 w 586"/>
                  <a:gd name="T49" fmla="*/ 60794004 h 869"/>
                  <a:gd name="T50" fmla="*/ 69819588 w 586"/>
                  <a:gd name="T51" fmla="*/ 73436150 h 869"/>
                  <a:gd name="T52" fmla="*/ 70745051 w 586"/>
                  <a:gd name="T53" fmla="*/ 78641765 h 869"/>
                  <a:gd name="T54" fmla="*/ 67174836 w 586"/>
                  <a:gd name="T55" fmla="*/ 85520782 h 869"/>
                  <a:gd name="T56" fmla="*/ 62282062 w 586"/>
                  <a:gd name="T57" fmla="*/ 97047470 h 869"/>
                  <a:gd name="T58" fmla="*/ 61620965 w 586"/>
                  <a:gd name="T59" fmla="*/ 107458700 h 869"/>
                  <a:gd name="T60" fmla="*/ 63207889 w 586"/>
                  <a:gd name="T61" fmla="*/ 120286711 h 869"/>
                  <a:gd name="T62" fmla="*/ 65984643 w 586"/>
                  <a:gd name="T63" fmla="*/ 128467025 h 869"/>
                  <a:gd name="T64" fmla="*/ 73786534 w 586"/>
                  <a:gd name="T65" fmla="*/ 140737495 h 869"/>
                  <a:gd name="T66" fmla="*/ 77224748 w 586"/>
                  <a:gd name="T67" fmla="*/ 152822128 h 869"/>
                  <a:gd name="T68" fmla="*/ 77489114 w 586"/>
                  <a:gd name="T69" fmla="*/ 153193804 h 869"/>
                  <a:gd name="T70" fmla="*/ 76960019 w 586"/>
                  <a:gd name="T71" fmla="*/ 159143201 h 869"/>
                  <a:gd name="T72" fmla="*/ 69290492 w 586"/>
                  <a:gd name="T73" fmla="*/ 157283961 h 869"/>
                  <a:gd name="T74" fmla="*/ 64530084 w 586"/>
                  <a:gd name="T75" fmla="*/ 156354340 h 869"/>
                  <a:gd name="T76" fmla="*/ 60166406 w 586"/>
                  <a:gd name="T77" fmla="*/ 154309262 h 869"/>
                  <a:gd name="T78" fmla="*/ 48529933 w 586"/>
                  <a:gd name="T79" fmla="*/ 154123424 h 869"/>
                  <a:gd name="T80" fmla="*/ 37686547 w 586"/>
                  <a:gd name="T81" fmla="*/ 152450021 h 869"/>
                  <a:gd name="T82" fmla="*/ 28694826 w 586"/>
                  <a:gd name="T83" fmla="*/ 153937586 h 869"/>
                  <a:gd name="T84" fmla="*/ 21818756 w 586"/>
                  <a:gd name="T85" fmla="*/ 154123424 h 869"/>
                  <a:gd name="T86" fmla="*/ 12826672 w 586"/>
                  <a:gd name="T87" fmla="*/ 150404943 h 869"/>
                  <a:gd name="T88" fmla="*/ 13884500 w 586"/>
                  <a:gd name="T89" fmla="*/ 142410898 h 869"/>
                  <a:gd name="T90" fmla="*/ 12959037 w 586"/>
                  <a:gd name="T91" fmla="*/ 136461501 h 869"/>
                  <a:gd name="T92" fmla="*/ 11636476 w 586"/>
                  <a:gd name="T93" fmla="*/ 131627561 h 869"/>
                  <a:gd name="T94" fmla="*/ 10446646 w 586"/>
                  <a:gd name="T95" fmla="*/ 127909511 h 869"/>
                  <a:gd name="T96" fmla="*/ 5553872 w 586"/>
                  <a:gd name="T97" fmla="*/ 126979891 h 869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86"/>
                  <a:gd name="T148" fmla="*/ 0 h 869"/>
                  <a:gd name="T149" fmla="*/ 586 w 586"/>
                  <a:gd name="T150" fmla="*/ 869 h 869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86" h="869">
                    <a:moveTo>
                      <a:pt x="29" y="653"/>
                    </a:moveTo>
                    <a:cubicBezTo>
                      <a:pt x="29" y="647"/>
                      <a:pt x="22" y="650"/>
                      <a:pt x="18" y="649"/>
                    </a:cubicBezTo>
                    <a:cubicBezTo>
                      <a:pt x="14" y="648"/>
                      <a:pt x="9" y="654"/>
                      <a:pt x="5" y="650"/>
                    </a:cubicBezTo>
                    <a:cubicBezTo>
                      <a:pt x="0" y="649"/>
                      <a:pt x="1" y="644"/>
                      <a:pt x="2" y="640"/>
                    </a:cubicBezTo>
                    <a:cubicBezTo>
                      <a:pt x="2" y="640"/>
                      <a:pt x="2" y="640"/>
                      <a:pt x="2" y="640"/>
                    </a:cubicBezTo>
                    <a:cubicBezTo>
                      <a:pt x="7" y="631"/>
                      <a:pt x="17" y="621"/>
                      <a:pt x="23" y="611"/>
                    </a:cubicBezTo>
                    <a:cubicBezTo>
                      <a:pt x="34" y="599"/>
                      <a:pt x="31" y="582"/>
                      <a:pt x="37" y="568"/>
                    </a:cubicBezTo>
                    <a:cubicBezTo>
                      <a:pt x="31" y="564"/>
                      <a:pt x="35" y="558"/>
                      <a:pt x="35" y="551"/>
                    </a:cubicBezTo>
                    <a:cubicBezTo>
                      <a:pt x="44" y="546"/>
                      <a:pt x="50" y="536"/>
                      <a:pt x="59" y="529"/>
                    </a:cubicBezTo>
                    <a:cubicBezTo>
                      <a:pt x="69" y="519"/>
                      <a:pt x="78" y="510"/>
                      <a:pt x="89" y="501"/>
                    </a:cubicBezTo>
                    <a:cubicBezTo>
                      <a:pt x="102" y="501"/>
                      <a:pt x="99" y="483"/>
                      <a:pt x="106" y="480"/>
                    </a:cubicBezTo>
                    <a:cubicBezTo>
                      <a:pt x="119" y="481"/>
                      <a:pt x="130" y="452"/>
                      <a:pt x="136" y="471"/>
                    </a:cubicBezTo>
                    <a:cubicBezTo>
                      <a:pt x="148" y="477"/>
                      <a:pt x="164" y="472"/>
                      <a:pt x="164" y="456"/>
                    </a:cubicBezTo>
                    <a:cubicBezTo>
                      <a:pt x="165" y="457"/>
                      <a:pt x="179" y="465"/>
                      <a:pt x="184" y="469"/>
                    </a:cubicBezTo>
                    <a:cubicBezTo>
                      <a:pt x="183" y="482"/>
                      <a:pt x="201" y="478"/>
                      <a:pt x="201" y="489"/>
                    </a:cubicBezTo>
                    <a:cubicBezTo>
                      <a:pt x="196" y="504"/>
                      <a:pt x="211" y="511"/>
                      <a:pt x="223" y="504"/>
                    </a:cubicBezTo>
                    <a:cubicBezTo>
                      <a:pt x="226" y="495"/>
                      <a:pt x="236" y="493"/>
                      <a:pt x="239" y="484"/>
                    </a:cubicBezTo>
                    <a:cubicBezTo>
                      <a:pt x="230" y="466"/>
                      <a:pt x="260" y="465"/>
                      <a:pt x="260" y="452"/>
                    </a:cubicBezTo>
                    <a:cubicBezTo>
                      <a:pt x="252" y="446"/>
                      <a:pt x="252" y="441"/>
                      <a:pt x="259" y="434"/>
                    </a:cubicBezTo>
                    <a:cubicBezTo>
                      <a:pt x="276" y="425"/>
                      <a:pt x="269" y="405"/>
                      <a:pt x="284" y="394"/>
                    </a:cubicBezTo>
                    <a:cubicBezTo>
                      <a:pt x="286" y="386"/>
                      <a:pt x="287" y="377"/>
                      <a:pt x="289" y="368"/>
                    </a:cubicBezTo>
                    <a:cubicBezTo>
                      <a:pt x="284" y="357"/>
                      <a:pt x="296" y="357"/>
                      <a:pt x="301" y="351"/>
                    </a:cubicBezTo>
                    <a:cubicBezTo>
                      <a:pt x="296" y="334"/>
                      <a:pt x="321" y="348"/>
                      <a:pt x="323" y="335"/>
                    </a:cubicBezTo>
                    <a:cubicBezTo>
                      <a:pt x="339" y="326"/>
                      <a:pt x="330" y="304"/>
                      <a:pt x="340" y="291"/>
                    </a:cubicBezTo>
                    <a:cubicBezTo>
                      <a:pt x="331" y="285"/>
                      <a:pt x="344" y="280"/>
                      <a:pt x="349" y="275"/>
                    </a:cubicBezTo>
                    <a:cubicBezTo>
                      <a:pt x="368" y="277"/>
                      <a:pt x="366" y="254"/>
                      <a:pt x="364" y="242"/>
                    </a:cubicBezTo>
                    <a:cubicBezTo>
                      <a:pt x="360" y="227"/>
                      <a:pt x="378" y="233"/>
                      <a:pt x="380" y="223"/>
                    </a:cubicBezTo>
                    <a:cubicBezTo>
                      <a:pt x="384" y="207"/>
                      <a:pt x="384" y="189"/>
                      <a:pt x="396" y="177"/>
                    </a:cubicBezTo>
                    <a:cubicBezTo>
                      <a:pt x="405" y="165"/>
                      <a:pt x="408" y="150"/>
                      <a:pt x="421" y="142"/>
                    </a:cubicBezTo>
                    <a:cubicBezTo>
                      <a:pt x="438" y="150"/>
                      <a:pt x="449" y="131"/>
                      <a:pt x="464" y="126"/>
                    </a:cubicBezTo>
                    <a:cubicBezTo>
                      <a:pt x="477" y="119"/>
                      <a:pt x="458" y="109"/>
                      <a:pt x="467" y="100"/>
                    </a:cubicBezTo>
                    <a:cubicBezTo>
                      <a:pt x="466" y="90"/>
                      <a:pt x="476" y="75"/>
                      <a:pt x="463" y="70"/>
                    </a:cubicBezTo>
                    <a:cubicBezTo>
                      <a:pt x="460" y="54"/>
                      <a:pt x="441" y="66"/>
                      <a:pt x="435" y="57"/>
                    </a:cubicBezTo>
                    <a:cubicBezTo>
                      <a:pt x="437" y="40"/>
                      <a:pt x="429" y="23"/>
                      <a:pt x="427" y="6"/>
                    </a:cubicBezTo>
                    <a:cubicBezTo>
                      <a:pt x="438" y="8"/>
                      <a:pt x="456" y="0"/>
                      <a:pt x="459" y="15"/>
                    </a:cubicBezTo>
                    <a:cubicBezTo>
                      <a:pt x="459" y="26"/>
                      <a:pt x="465" y="33"/>
                      <a:pt x="475" y="34"/>
                    </a:cubicBezTo>
                    <a:cubicBezTo>
                      <a:pt x="475" y="40"/>
                      <a:pt x="487" y="41"/>
                      <a:pt x="485" y="50"/>
                    </a:cubicBezTo>
                    <a:cubicBezTo>
                      <a:pt x="491" y="62"/>
                      <a:pt x="483" y="80"/>
                      <a:pt x="499" y="82"/>
                    </a:cubicBezTo>
                    <a:cubicBezTo>
                      <a:pt x="501" y="90"/>
                      <a:pt x="497" y="97"/>
                      <a:pt x="502" y="103"/>
                    </a:cubicBezTo>
                    <a:cubicBezTo>
                      <a:pt x="497" y="115"/>
                      <a:pt x="509" y="123"/>
                      <a:pt x="500" y="133"/>
                    </a:cubicBezTo>
                    <a:cubicBezTo>
                      <a:pt x="497" y="144"/>
                      <a:pt x="495" y="155"/>
                      <a:pt x="499" y="166"/>
                    </a:cubicBezTo>
                    <a:cubicBezTo>
                      <a:pt x="500" y="178"/>
                      <a:pt x="505" y="189"/>
                      <a:pt x="508" y="200"/>
                    </a:cubicBezTo>
                    <a:cubicBezTo>
                      <a:pt x="517" y="209"/>
                      <a:pt x="523" y="222"/>
                      <a:pt x="534" y="230"/>
                    </a:cubicBezTo>
                    <a:cubicBezTo>
                      <a:pt x="540" y="234"/>
                      <a:pt x="549" y="241"/>
                      <a:pt x="536" y="241"/>
                    </a:cubicBezTo>
                    <a:cubicBezTo>
                      <a:pt x="522" y="245"/>
                      <a:pt x="510" y="235"/>
                      <a:pt x="496" y="241"/>
                    </a:cubicBezTo>
                    <a:cubicBezTo>
                      <a:pt x="482" y="243"/>
                      <a:pt x="469" y="241"/>
                      <a:pt x="455" y="238"/>
                    </a:cubicBezTo>
                    <a:cubicBezTo>
                      <a:pt x="443" y="237"/>
                      <a:pt x="432" y="239"/>
                      <a:pt x="428" y="252"/>
                    </a:cubicBezTo>
                    <a:cubicBezTo>
                      <a:pt x="417" y="256"/>
                      <a:pt x="418" y="268"/>
                      <a:pt x="427" y="273"/>
                    </a:cubicBezTo>
                    <a:cubicBezTo>
                      <a:pt x="437" y="283"/>
                      <a:pt x="445" y="295"/>
                      <a:pt x="454" y="305"/>
                    </a:cubicBezTo>
                    <a:cubicBezTo>
                      <a:pt x="463" y="313"/>
                      <a:pt x="473" y="320"/>
                      <a:pt x="482" y="327"/>
                    </a:cubicBezTo>
                    <a:cubicBezTo>
                      <a:pt x="495" y="334"/>
                      <a:pt x="508" y="346"/>
                      <a:pt x="514" y="361"/>
                    </a:cubicBezTo>
                    <a:cubicBezTo>
                      <a:pt x="519" y="372"/>
                      <a:pt x="525" y="383"/>
                      <a:pt x="528" y="395"/>
                    </a:cubicBezTo>
                    <a:cubicBezTo>
                      <a:pt x="531" y="406"/>
                      <a:pt x="546" y="409"/>
                      <a:pt x="535" y="421"/>
                    </a:cubicBezTo>
                    <a:cubicBezTo>
                      <a:pt x="535" y="422"/>
                      <a:pt x="535" y="422"/>
                      <a:pt x="535" y="423"/>
                    </a:cubicBezTo>
                    <a:cubicBezTo>
                      <a:pt x="533" y="424"/>
                      <a:pt x="533" y="424"/>
                      <a:pt x="533" y="424"/>
                    </a:cubicBezTo>
                    <a:cubicBezTo>
                      <a:pt x="528" y="439"/>
                      <a:pt x="509" y="443"/>
                      <a:pt x="508" y="460"/>
                    </a:cubicBezTo>
                    <a:cubicBezTo>
                      <a:pt x="505" y="474"/>
                      <a:pt x="495" y="482"/>
                      <a:pt x="489" y="492"/>
                    </a:cubicBezTo>
                    <a:cubicBezTo>
                      <a:pt x="482" y="502"/>
                      <a:pt x="483" y="517"/>
                      <a:pt x="471" y="522"/>
                    </a:cubicBezTo>
                    <a:cubicBezTo>
                      <a:pt x="457" y="522"/>
                      <a:pt x="443" y="543"/>
                      <a:pt x="463" y="546"/>
                    </a:cubicBezTo>
                    <a:cubicBezTo>
                      <a:pt x="473" y="550"/>
                      <a:pt x="463" y="569"/>
                      <a:pt x="466" y="578"/>
                    </a:cubicBezTo>
                    <a:cubicBezTo>
                      <a:pt x="464" y="587"/>
                      <a:pt x="456" y="596"/>
                      <a:pt x="469" y="599"/>
                    </a:cubicBezTo>
                    <a:cubicBezTo>
                      <a:pt x="475" y="614"/>
                      <a:pt x="470" y="633"/>
                      <a:pt x="478" y="647"/>
                    </a:cubicBezTo>
                    <a:cubicBezTo>
                      <a:pt x="491" y="655"/>
                      <a:pt x="505" y="664"/>
                      <a:pt x="504" y="681"/>
                    </a:cubicBezTo>
                    <a:cubicBezTo>
                      <a:pt x="513" y="693"/>
                      <a:pt x="501" y="685"/>
                      <a:pt x="499" y="691"/>
                    </a:cubicBezTo>
                    <a:cubicBezTo>
                      <a:pt x="504" y="704"/>
                      <a:pt x="515" y="715"/>
                      <a:pt x="525" y="725"/>
                    </a:cubicBezTo>
                    <a:cubicBezTo>
                      <a:pt x="537" y="735"/>
                      <a:pt x="546" y="750"/>
                      <a:pt x="558" y="757"/>
                    </a:cubicBezTo>
                    <a:cubicBezTo>
                      <a:pt x="569" y="757"/>
                      <a:pt x="573" y="768"/>
                      <a:pt x="579" y="775"/>
                    </a:cubicBezTo>
                    <a:cubicBezTo>
                      <a:pt x="576" y="790"/>
                      <a:pt x="577" y="808"/>
                      <a:pt x="584" y="822"/>
                    </a:cubicBezTo>
                    <a:cubicBezTo>
                      <a:pt x="585" y="824"/>
                      <a:pt x="585" y="824"/>
                      <a:pt x="585" y="824"/>
                    </a:cubicBezTo>
                    <a:cubicBezTo>
                      <a:pt x="586" y="824"/>
                      <a:pt x="586" y="824"/>
                      <a:pt x="586" y="824"/>
                    </a:cubicBezTo>
                    <a:cubicBezTo>
                      <a:pt x="586" y="825"/>
                      <a:pt x="585" y="826"/>
                      <a:pt x="585" y="827"/>
                    </a:cubicBezTo>
                    <a:cubicBezTo>
                      <a:pt x="571" y="827"/>
                      <a:pt x="577" y="847"/>
                      <a:pt x="582" y="856"/>
                    </a:cubicBezTo>
                    <a:cubicBezTo>
                      <a:pt x="585" y="866"/>
                      <a:pt x="572" y="869"/>
                      <a:pt x="570" y="860"/>
                    </a:cubicBezTo>
                    <a:cubicBezTo>
                      <a:pt x="556" y="852"/>
                      <a:pt x="541" y="839"/>
                      <a:pt x="524" y="846"/>
                    </a:cubicBezTo>
                    <a:cubicBezTo>
                      <a:pt x="516" y="848"/>
                      <a:pt x="512" y="833"/>
                      <a:pt x="503" y="842"/>
                    </a:cubicBezTo>
                    <a:cubicBezTo>
                      <a:pt x="498" y="841"/>
                      <a:pt x="491" y="841"/>
                      <a:pt x="488" y="841"/>
                    </a:cubicBezTo>
                    <a:cubicBezTo>
                      <a:pt x="488" y="836"/>
                      <a:pt x="485" y="831"/>
                      <a:pt x="481" y="837"/>
                    </a:cubicBezTo>
                    <a:cubicBezTo>
                      <a:pt x="472" y="833"/>
                      <a:pt x="466" y="824"/>
                      <a:pt x="455" y="830"/>
                    </a:cubicBezTo>
                    <a:cubicBezTo>
                      <a:pt x="441" y="828"/>
                      <a:pt x="426" y="830"/>
                      <a:pt x="411" y="829"/>
                    </a:cubicBezTo>
                    <a:cubicBezTo>
                      <a:pt x="396" y="829"/>
                      <a:pt x="381" y="829"/>
                      <a:pt x="367" y="829"/>
                    </a:cubicBezTo>
                    <a:cubicBezTo>
                      <a:pt x="364" y="812"/>
                      <a:pt x="343" y="826"/>
                      <a:pt x="331" y="823"/>
                    </a:cubicBezTo>
                    <a:cubicBezTo>
                      <a:pt x="316" y="825"/>
                      <a:pt x="301" y="815"/>
                      <a:pt x="285" y="820"/>
                    </a:cubicBezTo>
                    <a:cubicBezTo>
                      <a:pt x="273" y="819"/>
                      <a:pt x="260" y="821"/>
                      <a:pt x="247" y="819"/>
                    </a:cubicBezTo>
                    <a:cubicBezTo>
                      <a:pt x="237" y="817"/>
                      <a:pt x="221" y="815"/>
                      <a:pt x="217" y="828"/>
                    </a:cubicBezTo>
                    <a:cubicBezTo>
                      <a:pt x="217" y="828"/>
                      <a:pt x="217" y="829"/>
                      <a:pt x="217" y="829"/>
                    </a:cubicBezTo>
                    <a:cubicBezTo>
                      <a:pt x="200" y="829"/>
                      <a:pt x="182" y="828"/>
                      <a:pt x="165" y="829"/>
                    </a:cubicBezTo>
                    <a:cubicBezTo>
                      <a:pt x="147" y="827"/>
                      <a:pt x="125" y="832"/>
                      <a:pt x="108" y="826"/>
                    </a:cubicBezTo>
                    <a:cubicBezTo>
                      <a:pt x="102" y="824"/>
                      <a:pt x="99" y="813"/>
                      <a:pt x="97" y="809"/>
                    </a:cubicBezTo>
                    <a:cubicBezTo>
                      <a:pt x="96" y="809"/>
                      <a:pt x="96" y="809"/>
                      <a:pt x="96" y="809"/>
                    </a:cubicBezTo>
                    <a:cubicBezTo>
                      <a:pt x="97" y="794"/>
                      <a:pt x="100" y="780"/>
                      <a:pt x="105" y="766"/>
                    </a:cubicBezTo>
                    <a:cubicBezTo>
                      <a:pt x="107" y="760"/>
                      <a:pt x="105" y="753"/>
                      <a:pt x="110" y="748"/>
                    </a:cubicBezTo>
                    <a:cubicBezTo>
                      <a:pt x="106" y="743"/>
                      <a:pt x="103" y="738"/>
                      <a:pt x="98" y="734"/>
                    </a:cubicBezTo>
                    <a:cubicBezTo>
                      <a:pt x="93" y="730"/>
                      <a:pt x="91" y="723"/>
                      <a:pt x="86" y="718"/>
                    </a:cubicBezTo>
                    <a:cubicBezTo>
                      <a:pt x="83" y="715"/>
                      <a:pt x="82" y="708"/>
                      <a:pt x="88" y="708"/>
                    </a:cubicBezTo>
                    <a:cubicBezTo>
                      <a:pt x="93" y="704"/>
                      <a:pt x="91" y="696"/>
                      <a:pt x="91" y="690"/>
                    </a:cubicBezTo>
                    <a:cubicBezTo>
                      <a:pt x="88" y="686"/>
                      <a:pt x="83" y="687"/>
                      <a:pt x="79" y="688"/>
                    </a:cubicBezTo>
                    <a:cubicBezTo>
                      <a:pt x="76" y="690"/>
                      <a:pt x="76" y="695"/>
                      <a:pt x="70" y="694"/>
                    </a:cubicBezTo>
                    <a:cubicBezTo>
                      <a:pt x="60" y="692"/>
                      <a:pt x="51" y="688"/>
                      <a:pt x="42" y="683"/>
                    </a:cubicBezTo>
                    <a:cubicBezTo>
                      <a:pt x="36" y="674"/>
                      <a:pt x="33" y="663"/>
                      <a:pt x="29" y="653"/>
                    </a:cubicBez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48726" name="Cambodia"/>
              <p:cNvSpPr>
                <a:spLocks/>
              </p:cNvSpPr>
              <p:nvPr>
                <p:custDataLst>
                  <p:tags r:id="rId113"/>
                </p:custDataLst>
              </p:nvPr>
            </p:nvSpPr>
            <p:spPr bwMode="auto">
              <a:xfrm>
                <a:off x="6896555" y="4095152"/>
                <a:ext cx="149783" cy="139336"/>
              </a:xfrm>
              <a:custGeom>
                <a:avLst/>
                <a:gdLst>
                  <a:gd name="T0" fmla="*/ 0 w 27"/>
                  <a:gd name="T1" fmla="*/ 61308 h 25"/>
                  <a:gd name="T2" fmla="*/ 22190 w 27"/>
                  <a:gd name="T3" fmla="*/ 22294 h 25"/>
                  <a:gd name="T4" fmla="*/ 83213 w 27"/>
                  <a:gd name="T5" fmla="*/ 22294 h 25"/>
                  <a:gd name="T6" fmla="*/ 94308 w 27"/>
                  <a:gd name="T7" fmla="*/ 22294 h 25"/>
                  <a:gd name="T8" fmla="*/ 116498 w 27"/>
                  <a:gd name="T9" fmla="*/ 22294 h 25"/>
                  <a:gd name="T10" fmla="*/ 149783 w 27"/>
                  <a:gd name="T11" fmla="*/ 0 h 25"/>
                  <a:gd name="T12" fmla="*/ 149783 w 27"/>
                  <a:gd name="T13" fmla="*/ 72455 h 25"/>
                  <a:gd name="T14" fmla="*/ 116498 w 27"/>
                  <a:gd name="T15" fmla="*/ 111469 h 25"/>
                  <a:gd name="T16" fmla="*/ 94308 w 27"/>
                  <a:gd name="T17" fmla="*/ 122616 h 25"/>
                  <a:gd name="T18" fmla="*/ 66570 w 27"/>
                  <a:gd name="T19" fmla="*/ 139336 h 25"/>
                  <a:gd name="T20" fmla="*/ 33285 w 27"/>
                  <a:gd name="T21" fmla="*/ 122616 h 25"/>
                  <a:gd name="T22" fmla="*/ 22190 w 27"/>
                  <a:gd name="T23" fmla="*/ 89175 h 25"/>
                  <a:gd name="T24" fmla="*/ 11095 w 27"/>
                  <a:gd name="T25" fmla="*/ 72455 h 25"/>
                  <a:gd name="T26" fmla="*/ 0 w 27"/>
                  <a:gd name="T27" fmla="*/ 61308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7"/>
                  <a:gd name="T43" fmla="*/ 0 h 25"/>
                  <a:gd name="T44" fmla="*/ 27 w 27"/>
                  <a:gd name="T45" fmla="*/ 25 h 2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7" h="25">
                    <a:moveTo>
                      <a:pt x="0" y="11"/>
                    </a:moveTo>
                    <a:lnTo>
                      <a:pt x="4" y="4"/>
                    </a:lnTo>
                    <a:lnTo>
                      <a:pt x="15" y="4"/>
                    </a:lnTo>
                    <a:lnTo>
                      <a:pt x="17" y="4"/>
                    </a:lnTo>
                    <a:lnTo>
                      <a:pt x="21" y="4"/>
                    </a:lnTo>
                    <a:lnTo>
                      <a:pt x="27" y="0"/>
                    </a:lnTo>
                    <a:lnTo>
                      <a:pt x="27" y="13"/>
                    </a:lnTo>
                    <a:lnTo>
                      <a:pt x="21" y="20"/>
                    </a:lnTo>
                    <a:lnTo>
                      <a:pt x="17" y="22"/>
                    </a:lnTo>
                    <a:lnTo>
                      <a:pt x="12" y="25"/>
                    </a:lnTo>
                    <a:lnTo>
                      <a:pt x="6" y="22"/>
                    </a:lnTo>
                    <a:lnTo>
                      <a:pt x="4" y="16"/>
                    </a:lnTo>
                    <a:lnTo>
                      <a:pt x="2" y="1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EE8B8B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51" name="Burkina Faso"/>
              <p:cNvSpPr>
                <a:spLocks/>
              </p:cNvSpPr>
              <p:nvPr/>
            </p:nvSpPr>
            <p:spPr bwMode="auto">
              <a:xfrm>
                <a:off x="4075716" y="4078641"/>
                <a:ext cx="212297" cy="189348"/>
              </a:xfrm>
              <a:custGeom>
                <a:avLst/>
                <a:gdLst>
                  <a:gd name="T0" fmla="*/ 203 w 587"/>
                  <a:gd name="T1" fmla="*/ 425 h 440"/>
                  <a:gd name="T2" fmla="*/ 166 w 587"/>
                  <a:gd name="T3" fmla="*/ 393 h 440"/>
                  <a:gd name="T4" fmla="*/ 166 w 587"/>
                  <a:gd name="T5" fmla="*/ 393 h 440"/>
                  <a:gd name="T6" fmla="*/ 108 w 587"/>
                  <a:gd name="T7" fmla="*/ 398 h 440"/>
                  <a:gd name="T8" fmla="*/ 74 w 587"/>
                  <a:gd name="T9" fmla="*/ 410 h 440"/>
                  <a:gd name="T10" fmla="*/ 52 w 587"/>
                  <a:gd name="T11" fmla="*/ 402 h 440"/>
                  <a:gd name="T12" fmla="*/ 38 w 587"/>
                  <a:gd name="T13" fmla="*/ 383 h 440"/>
                  <a:gd name="T14" fmla="*/ 14 w 587"/>
                  <a:gd name="T15" fmla="*/ 359 h 440"/>
                  <a:gd name="T16" fmla="*/ 3 w 587"/>
                  <a:gd name="T17" fmla="*/ 334 h 440"/>
                  <a:gd name="T18" fmla="*/ 21 w 587"/>
                  <a:gd name="T19" fmla="*/ 287 h 440"/>
                  <a:gd name="T20" fmla="*/ 19 w 587"/>
                  <a:gd name="T21" fmla="*/ 242 h 440"/>
                  <a:gd name="T22" fmla="*/ 77 w 587"/>
                  <a:gd name="T23" fmla="*/ 215 h 440"/>
                  <a:gd name="T24" fmla="*/ 88 w 587"/>
                  <a:gd name="T25" fmla="*/ 206 h 440"/>
                  <a:gd name="T26" fmla="*/ 85 w 587"/>
                  <a:gd name="T27" fmla="*/ 180 h 440"/>
                  <a:gd name="T28" fmla="*/ 105 w 587"/>
                  <a:gd name="T29" fmla="*/ 140 h 440"/>
                  <a:gd name="T30" fmla="*/ 130 w 587"/>
                  <a:gd name="T31" fmla="*/ 127 h 440"/>
                  <a:gd name="T32" fmla="*/ 177 w 587"/>
                  <a:gd name="T33" fmla="*/ 126 h 440"/>
                  <a:gd name="T34" fmla="*/ 204 w 587"/>
                  <a:gd name="T35" fmla="*/ 104 h 440"/>
                  <a:gd name="T36" fmla="*/ 266 w 587"/>
                  <a:gd name="T37" fmla="*/ 70 h 440"/>
                  <a:gd name="T38" fmla="*/ 322 w 587"/>
                  <a:gd name="T39" fmla="*/ 29 h 440"/>
                  <a:gd name="T40" fmla="*/ 395 w 587"/>
                  <a:gd name="T41" fmla="*/ 7 h 440"/>
                  <a:gd name="T42" fmla="*/ 437 w 587"/>
                  <a:gd name="T43" fmla="*/ 16 h 440"/>
                  <a:gd name="T44" fmla="*/ 444 w 587"/>
                  <a:gd name="T45" fmla="*/ 75 h 440"/>
                  <a:gd name="T46" fmla="*/ 473 w 587"/>
                  <a:gd name="T47" fmla="*/ 112 h 440"/>
                  <a:gd name="T48" fmla="*/ 496 w 587"/>
                  <a:gd name="T49" fmla="*/ 137 h 440"/>
                  <a:gd name="T50" fmla="*/ 509 w 587"/>
                  <a:gd name="T51" fmla="*/ 173 h 440"/>
                  <a:gd name="T52" fmla="*/ 576 w 587"/>
                  <a:gd name="T53" fmla="*/ 198 h 440"/>
                  <a:gd name="T54" fmla="*/ 585 w 587"/>
                  <a:gd name="T55" fmla="*/ 244 h 440"/>
                  <a:gd name="T56" fmla="*/ 587 w 587"/>
                  <a:gd name="T57" fmla="*/ 247 h 440"/>
                  <a:gd name="T58" fmla="*/ 524 w 587"/>
                  <a:gd name="T59" fmla="*/ 282 h 440"/>
                  <a:gd name="T60" fmla="*/ 495 w 587"/>
                  <a:gd name="T61" fmla="*/ 293 h 440"/>
                  <a:gd name="T62" fmla="*/ 479 w 587"/>
                  <a:gd name="T63" fmla="*/ 308 h 440"/>
                  <a:gd name="T64" fmla="*/ 448 w 587"/>
                  <a:gd name="T65" fmla="*/ 316 h 440"/>
                  <a:gd name="T66" fmla="*/ 396 w 587"/>
                  <a:gd name="T67" fmla="*/ 301 h 440"/>
                  <a:gd name="T68" fmla="*/ 363 w 587"/>
                  <a:gd name="T69" fmla="*/ 315 h 440"/>
                  <a:gd name="T70" fmla="*/ 311 w 587"/>
                  <a:gd name="T71" fmla="*/ 311 h 440"/>
                  <a:gd name="T72" fmla="*/ 207 w 587"/>
                  <a:gd name="T73" fmla="*/ 310 h 440"/>
                  <a:gd name="T74" fmla="*/ 200 w 587"/>
                  <a:gd name="T75" fmla="*/ 355 h 440"/>
                  <a:gd name="T76" fmla="*/ 197 w 587"/>
                  <a:gd name="T77" fmla="*/ 407 h 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87" h="440">
                    <a:moveTo>
                      <a:pt x="205" y="426"/>
                    </a:moveTo>
                    <a:cubicBezTo>
                      <a:pt x="204" y="426"/>
                      <a:pt x="204" y="426"/>
                      <a:pt x="203" y="425"/>
                    </a:cubicBezTo>
                    <a:cubicBezTo>
                      <a:pt x="195" y="440"/>
                      <a:pt x="187" y="417"/>
                      <a:pt x="184" y="409"/>
                    </a:cubicBezTo>
                    <a:cubicBezTo>
                      <a:pt x="178" y="407"/>
                      <a:pt x="168" y="396"/>
                      <a:pt x="166" y="393"/>
                    </a:cubicBezTo>
                    <a:cubicBezTo>
                      <a:pt x="166" y="393"/>
                      <a:pt x="167" y="393"/>
                      <a:pt x="167" y="393"/>
                    </a:cubicBezTo>
                    <a:cubicBezTo>
                      <a:pt x="166" y="392"/>
                      <a:pt x="166" y="392"/>
                      <a:pt x="166" y="393"/>
                    </a:cubicBezTo>
                    <a:cubicBezTo>
                      <a:pt x="159" y="399"/>
                      <a:pt x="151" y="386"/>
                      <a:pt x="141" y="390"/>
                    </a:cubicBezTo>
                    <a:cubicBezTo>
                      <a:pt x="130" y="387"/>
                      <a:pt x="118" y="392"/>
                      <a:pt x="108" y="398"/>
                    </a:cubicBezTo>
                    <a:cubicBezTo>
                      <a:pt x="98" y="397"/>
                      <a:pt x="87" y="403"/>
                      <a:pt x="84" y="413"/>
                    </a:cubicBezTo>
                    <a:cubicBezTo>
                      <a:pt x="78" y="415"/>
                      <a:pt x="81" y="414"/>
                      <a:pt x="74" y="410"/>
                    </a:cubicBezTo>
                    <a:cubicBezTo>
                      <a:pt x="68" y="410"/>
                      <a:pt x="72" y="399"/>
                      <a:pt x="65" y="406"/>
                    </a:cubicBezTo>
                    <a:cubicBezTo>
                      <a:pt x="57" y="407"/>
                      <a:pt x="59" y="410"/>
                      <a:pt x="52" y="402"/>
                    </a:cubicBezTo>
                    <a:cubicBezTo>
                      <a:pt x="52" y="402"/>
                      <a:pt x="51" y="401"/>
                      <a:pt x="51" y="401"/>
                    </a:cubicBezTo>
                    <a:cubicBezTo>
                      <a:pt x="51" y="391"/>
                      <a:pt x="33" y="395"/>
                      <a:pt x="38" y="383"/>
                    </a:cubicBezTo>
                    <a:cubicBezTo>
                      <a:pt x="32" y="371"/>
                      <a:pt x="35" y="380"/>
                      <a:pt x="30" y="370"/>
                    </a:cubicBezTo>
                    <a:cubicBezTo>
                      <a:pt x="29" y="365"/>
                      <a:pt x="24" y="355"/>
                      <a:pt x="14" y="359"/>
                    </a:cubicBezTo>
                    <a:cubicBezTo>
                      <a:pt x="4" y="361"/>
                      <a:pt x="1" y="356"/>
                      <a:pt x="0" y="349"/>
                    </a:cubicBezTo>
                    <a:cubicBezTo>
                      <a:pt x="0" y="344"/>
                      <a:pt x="1" y="338"/>
                      <a:pt x="3" y="334"/>
                    </a:cubicBezTo>
                    <a:cubicBezTo>
                      <a:pt x="6" y="324"/>
                      <a:pt x="9" y="314"/>
                      <a:pt x="3" y="303"/>
                    </a:cubicBezTo>
                    <a:cubicBezTo>
                      <a:pt x="7" y="296"/>
                      <a:pt x="21" y="299"/>
                      <a:pt x="21" y="287"/>
                    </a:cubicBezTo>
                    <a:cubicBezTo>
                      <a:pt x="23" y="276"/>
                      <a:pt x="30" y="266"/>
                      <a:pt x="21" y="256"/>
                    </a:cubicBezTo>
                    <a:cubicBezTo>
                      <a:pt x="23" y="253"/>
                      <a:pt x="21" y="246"/>
                      <a:pt x="19" y="242"/>
                    </a:cubicBezTo>
                    <a:cubicBezTo>
                      <a:pt x="28" y="240"/>
                      <a:pt x="34" y="229"/>
                      <a:pt x="45" y="231"/>
                    </a:cubicBezTo>
                    <a:cubicBezTo>
                      <a:pt x="57" y="231"/>
                      <a:pt x="74" y="227"/>
                      <a:pt x="77" y="215"/>
                    </a:cubicBezTo>
                    <a:cubicBezTo>
                      <a:pt x="78" y="213"/>
                      <a:pt x="85" y="206"/>
                      <a:pt x="88" y="205"/>
                    </a:cubicBezTo>
                    <a:cubicBezTo>
                      <a:pt x="88" y="205"/>
                      <a:pt x="88" y="206"/>
                      <a:pt x="88" y="206"/>
                    </a:cubicBezTo>
                    <a:cubicBezTo>
                      <a:pt x="89" y="204"/>
                      <a:pt x="89" y="204"/>
                      <a:pt x="88" y="205"/>
                    </a:cubicBezTo>
                    <a:cubicBezTo>
                      <a:pt x="85" y="195"/>
                      <a:pt x="95" y="188"/>
                      <a:pt x="85" y="180"/>
                    </a:cubicBezTo>
                    <a:cubicBezTo>
                      <a:pt x="86" y="169"/>
                      <a:pt x="108" y="182"/>
                      <a:pt x="105" y="167"/>
                    </a:cubicBezTo>
                    <a:cubicBezTo>
                      <a:pt x="107" y="156"/>
                      <a:pt x="88" y="143"/>
                      <a:pt x="105" y="140"/>
                    </a:cubicBezTo>
                    <a:cubicBezTo>
                      <a:pt x="108" y="133"/>
                      <a:pt x="119" y="123"/>
                      <a:pt x="125" y="118"/>
                    </a:cubicBezTo>
                    <a:cubicBezTo>
                      <a:pt x="133" y="121"/>
                      <a:pt x="120" y="127"/>
                      <a:pt x="130" y="127"/>
                    </a:cubicBezTo>
                    <a:cubicBezTo>
                      <a:pt x="142" y="126"/>
                      <a:pt x="153" y="151"/>
                      <a:pt x="163" y="139"/>
                    </a:cubicBezTo>
                    <a:cubicBezTo>
                      <a:pt x="163" y="130"/>
                      <a:pt x="181" y="141"/>
                      <a:pt x="177" y="126"/>
                    </a:cubicBezTo>
                    <a:cubicBezTo>
                      <a:pt x="175" y="120"/>
                      <a:pt x="183" y="104"/>
                      <a:pt x="180" y="104"/>
                    </a:cubicBezTo>
                    <a:cubicBezTo>
                      <a:pt x="189" y="104"/>
                      <a:pt x="199" y="115"/>
                      <a:pt x="204" y="104"/>
                    </a:cubicBezTo>
                    <a:cubicBezTo>
                      <a:pt x="201" y="90"/>
                      <a:pt x="210" y="75"/>
                      <a:pt x="224" y="70"/>
                    </a:cubicBezTo>
                    <a:cubicBezTo>
                      <a:pt x="235" y="52"/>
                      <a:pt x="253" y="67"/>
                      <a:pt x="266" y="70"/>
                    </a:cubicBezTo>
                    <a:cubicBezTo>
                      <a:pt x="278" y="65"/>
                      <a:pt x="266" y="41"/>
                      <a:pt x="285" y="46"/>
                    </a:cubicBezTo>
                    <a:cubicBezTo>
                      <a:pt x="299" y="48"/>
                      <a:pt x="309" y="35"/>
                      <a:pt x="322" y="29"/>
                    </a:cubicBezTo>
                    <a:cubicBezTo>
                      <a:pt x="339" y="27"/>
                      <a:pt x="353" y="16"/>
                      <a:pt x="366" y="4"/>
                    </a:cubicBezTo>
                    <a:cubicBezTo>
                      <a:pt x="375" y="0"/>
                      <a:pt x="387" y="3"/>
                      <a:pt x="395" y="7"/>
                    </a:cubicBezTo>
                    <a:cubicBezTo>
                      <a:pt x="404" y="0"/>
                      <a:pt x="411" y="7"/>
                      <a:pt x="420" y="10"/>
                    </a:cubicBezTo>
                    <a:cubicBezTo>
                      <a:pt x="426" y="12"/>
                      <a:pt x="431" y="14"/>
                      <a:pt x="437" y="16"/>
                    </a:cubicBezTo>
                    <a:cubicBezTo>
                      <a:pt x="435" y="21"/>
                      <a:pt x="436" y="30"/>
                      <a:pt x="435" y="35"/>
                    </a:cubicBezTo>
                    <a:cubicBezTo>
                      <a:pt x="420" y="52"/>
                      <a:pt x="456" y="59"/>
                      <a:pt x="444" y="75"/>
                    </a:cubicBezTo>
                    <a:cubicBezTo>
                      <a:pt x="446" y="85"/>
                      <a:pt x="452" y="95"/>
                      <a:pt x="459" y="102"/>
                    </a:cubicBezTo>
                    <a:cubicBezTo>
                      <a:pt x="457" y="111"/>
                      <a:pt x="469" y="108"/>
                      <a:pt x="473" y="112"/>
                    </a:cubicBezTo>
                    <a:cubicBezTo>
                      <a:pt x="488" y="112"/>
                      <a:pt x="488" y="130"/>
                      <a:pt x="501" y="131"/>
                    </a:cubicBezTo>
                    <a:cubicBezTo>
                      <a:pt x="513" y="135"/>
                      <a:pt x="502" y="137"/>
                      <a:pt x="496" y="137"/>
                    </a:cubicBezTo>
                    <a:cubicBezTo>
                      <a:pt x="484" y="127"/>
                      <a:pt x="487" y="148"/>
                      <a:pt x="486" y="155"/>
                    </a:cubicBezTo>
                    <a:cubicBezTo>
                      <a:pt x="492" y="163"/>
                      <a:pt x="503" y="164"/>
                      <a:pt x="509" y="173"/>
                    </a:cubicBezTo>
                    <a:cubicBezTo>
                      <a:pt x="520" y="184"/>
                      <a:pt x="534" y="196"/>
                      <a:pt x="549" y="191"/>
                    </a:cubicBezTo>
                    <a:cubicBezTo>
                      <a:pt x="557" y="178"/>
                      <a:pt x="575" y="185"/>
                      <a:pt x="576" y="198"/>
                    </a:cubicBezTo>
                    <a:cubicBezTo>
                      <a:pt x="586" y="211"/>
                      <a:pt x="559" y="203"/>
                      <a:pt x="565" y="215"/>
                    </a:cubicBezTo>
                    <a:cubicBezTo>
                      <a:pt x="572" y="224"/>
                      <a:pt x="578" y="235"/>
                      <a:pt x="585" y="244"/>
                    </a:cubicBezTo>
                    <a:cubicBezTo>
                      <a:pt x="585" y="245"/>
                      <a:pt x="586" y="245"/>
                      <a:pt x="586" y="245"/>
                    </a:cubicBezTo>
                    <a:cubicBezTo>
                      <a:pt x="587" y="247"/>
                      <a:pt x="587" y="247"/>
                      <a:pt x="587" y="247"/>
                    </a:cubicBezTo>
                    <a:cubicBezTo>
                      <a:pt x="583" y="263"/>
                      <a:pt x="568" y="271"/>
                      <a:pt x="557" y="281"/>
                    </a:cubicBezTo>
                    <a:cubicBezTo>
                      <a:pt x="546" y="280"/>
                      <a:pt x="535" y="284"/>
                      <a:pt x="524" y="282"/>
                    </a:cubicBezTo>
                    <a:cubicBezTo>
                      <a:pt x="517" y="272"/>
                      <a:pt x="504" y="297"/>
                      <a:pt x="505" y="291"/>
                    </a:cubicBezTo>
                    <a:cubicBezTo>
                      <a:pt x="500" y="288"/>
                      <a:pt x="502" y="299"/>
                      <a:pt x="495" y="293"/>
                    </a:cubicBezTo>
                    <a:cubicBezTo>
                      <a:pt x="489" y="294"/>
                      <a:pt x="495" y="302"/>
                      <a:pt x="486" y="303"/>
                    </a:cubicBezTo>
                    <a:cubicBezTo>
                      <a:pt x="491" y="316"/>
                      <a:pt x="484" y="307"/>
                      <a:pt x="479" y="308"/>
                    </a:cubicBezTo>
                    <a:cubicBezTo>
                      <a:pt x="478" y="311"/>
                      <a:pt x="476" y="312"/>
                      <a:pt x="475" y="313"/>
                    </a:cubicBezTo>
                    <a:cubicBezTo>
                      <a:pt x="468" y="316"/>
                      <a:pt x="455" y="310"/>
                      <a:pt x="448" y="316"/>
                    </a:cubicBezTo>
                    <a:cubicBezTo>
                      <a:pt x="436" y="308"/>
                      <a:pt x="419" y="308"/>
                      <a:pt x="405" y="303"/>
                    </a:cubicBezTo>
                    <a:cubicBezTo>
                      <a:pt x="402" y="303"/>
                      <a:pt x="399" y="302"/>
                      <a:pt x="396" y="301"/>
                    </a:cubicBezTo>
                    <a:cubicBezTo>
                      <a:pt x="391" y="300"/>
                      <a:pt x="386" y="298"/>
                      <a:pt x="384" y="305"/>
                    </a:cubicBezTo>
                    <a:cubicBezTo>
                      <a:pt x="375" y="302"/>
                      <a:pt x="372" y="314"/>
                      <a:pt x="363" y="315"/>
                    </a:cubicBezTo>
                    <a:cubicBezTo>
                      <a:pt x="359" y="322"/>
                      <a:pt x="355" y="305"/>
                      <a:pt x="346" y="312"/>
                    </a:cubicBezTo>
                    <a:cubicBezTo>
                      <a:pt x="335" y="309"/>
                      <a:pt x="323" y="311"/>
                      <a:pt x="311" y="311"/>
                    </a:cubicBezTo>
                    <a:cubicBezTo>
                      <a:pt x="295" y="306"/>
                      <a:pt x="280" y="312"/>
                      <a:pt x="263" y="310"/>
                    </a:cubicBezTo>
                    <a:cubicBezTo>
                      <a:pt x="245" y="310"/>
                      <a:pt x="226" y="309"/>
                      <a:pt x="207" y="310"/>
                    </a:cubicBezTo>
                    <a:cubicBezTo>
                      <a:pt x="195" y="306"/>
                      <a:pt x="198" y="322"/>
                      <a:pt x="192" y="329"/>
                    </a:cubicBezTo>
                    <a:cubicBezTo>
                      <a:pt x="187" y="338"/>
                      <a:pt x="193" y="349"/>
                      <a:pt x="200" y="355"/>
                    </a:cubicBezTo>
                    <a:cubicBezTo>
                      <a:pt x="189" y="361"/>
                      <a:pt x="206" y="367"/>
                      <a:pt x="198" y="375"/>
                    </a:cubicBezTo>
                    <a:cubicBezTo>
                      <a:pt x="199" y="386"/>
                      <a:pt x="203" y="397"/>
                      <a:pt x="197" y="407"/>
                    </a:cubicBezTo>
                    <a:cubicBezTo>
                      <a:pt x="200" y="412"/>
                      <a:pt x="206" y="426"/>
                      <a:pt x="205" y="426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728" name="Brunai"/>
              <p:cNvSpPr>
                <a:spLocks/>
              </p:cNvSpPr>
              <p:nvPr>
                <p:custDataLst>
                  <p:tags r:id="rId114"/>
                </p:custDataLst>
              </p:nvPr>
            </p:nvSpPr>
            <p:spPr bwMode="auto">
              <a:xfrm>
                <a:off x="7229404" y="4418412"/>
                <a:ext cx="38833" cy="27867"/>
              </a:xfrm>
              <a:custGeom>
                <a:avLst/>
                <a:gdLst>
                  <a:gd name="T0" fmla="*/ 38833 w 7"/>
                  <a:gd name="T1" fmla="*/ 0 h 5"/>
                  <a:gd name="T2" fmla="*/ 38833 w 7"/>
                  <a:gd name="T3" fmla="*/ 27867 h 5"/>
                  <a:gd name="T4" fmla="*/ 16643 w 7"/>
                  <a:gd name="T5" fmla="*/ 27867 h 5"/>
                  <a:gd name="T6" fmla="*/ 0 w 7"/>
                  <a:gd name="T7" fmla="*/ 0 h 5"/>
                  <a:gd name="T8" fmla="*/ 16643 w 7"/>
                  <a:gd name="T9" fmla="*/ 0 h 5"/>
                  <a:gd name="T10" fmla="*/ 38833 w 7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5"/>
                  <a:gd name="T20" fmla="*/ 7 w 7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5">
                    <a:moveTo>
                      <a:pt x="7" y="0"/>
                    </a:moveTo>
                    <a:lnTo>
                      <a:pt x="7" y="5"/>
                    </a:lnTo>
                    <a:lnTo>
                      <a:pt x="3" y="5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bg2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 lIns="71120" tIns="71120" rIns="71120" bIns="71120"/>
              <a:lstStyle/>
              <a:p>
                <a:endParaRPr lang="it-IT"/>
              </a:p>
            </p:txBody>
          </p:sp>
          <p:sp>
            <p:nvSpPr>
              <p:cNvPr id="653" name="Burundi"/>
              <p:cNvSpPr>
                <a:spLocks/>
              </p:cNvSpPr>
              <p:nvPr/>
            </p:nvSpPr>
            <p:spPr bwMode="auto">
              <a:xfrm>
                <a:off x="5010970" y="4648596"/>
                <a:ext cx="53552" cy="72679"/>
              </a:xfrm>
              <a:custGeom>
                <a:avLst/>
                <a:gdLst>
                  <a:gd name="T0" fmla="*/ 4 w 149"/>
                  <a:gd name="T1" fmla="*/ 34 h 168"/>
                  <a:gd name="T2" fmla="*/ 9 w 149"/>
                  <a:gd name="T3" fmla="*/ 25 h 168"/>
                  <a:gd name="T4" fmla="*/ 32 w 149"/>
                  <a:gd name="T5" fmla="*/ 41 h 168"/>
                  <a:gd name="T6" fmla="*/ 73 w 149"/>
                  <a:gd name="T7" fmla="*/ 30 h 168"/>
                  <a:gd name="T8" fmla="*/ 77 w 149"/>
                  <a:gd name="T9" fmla="*/ 4 h 168"/>
                  <a:gd name="T10" fmla="*/ 97 w 149"/>
                  <a:gd name="T11" fmla="*/ 6 h 168"/>
                  <a:gd name="T12" fmla="*/ 118 w 149"/>
                  <a:gd name="T13" fmla="*/ 9 h 168"/>
                  <a:gd name="T14" fmla="*/ 122 w 149"/>
                  <a:gd name="T15" fmla="*/ 9 h 168"/>
                  <a:gd name="T16" fmla="*/ 122 w 149"/>
                  <a:gd name="T17" fmla="*/ 10 h 168"/>
                  <a:gd name="T18" fmla="*/ 120 w 149"/>
                  <a:gd name="T19" fmla="*/ 11 h 168"/>
                  <a:gd name="T20" fmla="*/ 120 w 149"/>
                  <a:gd name="T21" fmla="*/ 12 h 168"/>
                  <a:gd name="T22" fmla="*/ 120 w 149"/>
                  <a:gd name="T23" fmla="*/ 12 h 168"/>
                  <a:gd name="T24" fmla="*/ 116 w 149"/>
                  <a:gd name="T25" fmla="*/ 30 h 168"/>
                  <a:gd name="T26" fmla="*/ 113 w 149"/>
                  <a:gd name="T27" fmla="*/ 49 h 168"/>
                  <a:gd name="T28" fmla="*/ 135 w 149"/>
                  <a:gd name="T29" fmla="*/ 55 h 168"/>
                  <a:gd name="T30" fmla="*/ 141 w 149"/>
                  <a:gd name="T31" fmla="*/ 64 h 168"/>
                  <a:gd name="T32" fmla="*/ 127 w 149"/>
                  <a:gd name="T33" fmla="*/ 85 h 168"/>
                  <a:gd name="T34" fmla="*/ 108 w 149"/>
                  <a:gd name="T35" fmla="*/ 112 h 168"/>
                  <a:gd name="T36" fmla="*/ 87 w 149"/>
                  <a:gd name="T37" fmla="*/ 141 h 168"/>
                  <a:gd name="T38" fmla="*/ 60 w 149"/>
                  <a:gd name="T39" fmla="*/ 164 h 168"/>
                  <a:gd name="T40" fmla="*/ 35 w 149"/>
                  <a:gd name="T41" fmla="*/ 164 h 168"/>
                  <a:gd name="T42" fmla="*/ 32 w 149"/>
                  <a:gd name="T43" fmla="*/ 157 h 168"/>
                  <a:gd name="T44" fmla="*/ 20 w 149"/>
                  <a:gd name="T45" fmla="*/ 118 h 168"/>
                  <a:gd name="T46" fmla="*/ 20 w 149"/>
                  <a:gd name="T47" fmla="*/ 83 h 168"/>
                  <a:gd name="T48" fmla="*/ 12 w 149"/>
                  <a:gd name="T49" fmla="*/ 51 h 168"/>
                  <a:gd name="T50" fmla="*/ 5 w 149"/>
                  <a:gd name="T51" fmla="*/ 36 h 168"/>
                  <a:gd name="T52" fmla="*/ 4 w 149"/>
                  <a:gd name="T53" fmla="*/ 34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9" h="168">
                    <a:moveTo>
                      <a:pt x="4" y="34"/>
                    </a:moveTo>
                    <a:cubicBezTo>
                      <a:pt x="7" y="34"/>
                      <a:pt x="8" y="30"/>
                      <a:pt x="9" y="25"/>
                    </a:cubicBezTo>
                    <a:cubicBezTo>
                      <a:pt x="21" y="23"/>
                      <a:pt x="31" y="30"/>
                      <a:pt x="32" y="41"/>
                    </a:cubicBezTo>
                    <a:cubicBezTo>
                      <a:pt x="45" y="39"/>
                      <a:pt x="65" y="44"/>
                      <a:pt x="73" y="30"/>
                    </a:cubicBezTo>
                    <a:cubicBezTo>
                      <a:pt x="77" y="15"/>
                      <a:pt x="67" y="4"/>
                      <a:pt x="77" y="4"/>
                    </a:cubicBezTo>
                    <a:cubicBezTo>
                      <a:pt x="84" y="9"/>
                      <a:pt x="91" y="16"/>
                      <a:pt x="97" y="6"/>
                    </a:cubicBezTo>
                    <a:cubicBezTo>
                      <a:pt x="104" y="5"/>
                      <a:pt x="113" y="0"/>
                      <a:pt x="118" y="9"/>
                    </a:cubicBezTo>
                    <a:cubicBezTo>
                      <a:pt x="119" y="9"/>
                      <a:pt x="120" y="9"/>
                      <a:pt x="122" y="9"/>
                    </a:cubicBezTo>
                    <a:cubicBezTo>
                      <a:pt x="122" y="10"/>
                      <a:pt x="122" y="10"/>
                      <a:pt x="122" y="10"/>
                    </a:cubicBezTo>
                    <a:cubicBezTo>
                      <a:pt x="120" y="11"/>
                      <a:pt x="120" y="11"/>
                      <a:pt x="120" y="11"/>
                    </a:cubicBezTo>
                    <a:cubicBezTo>
                      <a:pt x="120" y="12"/>
                      <a:pt x="120" y="12"/>
                      <a:pt x="120" y="12"/>
                    </a:cubicBezTo>
                    <a:cubicBezTo>
                      <a:pt x="120" y="12"/>
                      <a:pt x="120" y="12"/>
                      <a:pt x="120" y="12"/>
                    </a:cubicBezTo>
                    <a:cubicBezTo>
                      <a:pt x="120" y="13"/>
                      <a:pt x="107" y="32"/>
                      <a:pt x="116" y="30"/>
                    </a:cubicBezTo>
                    <a:cubicBezTo>
                      <a:pt x="114" y="31"/>
                      <a:pt x="108" y="41"/>
                      <a:pt x="113" y="49"/>
                    </a:cubicBezTo>
                    <a:cubicBezTo>
                      <a:pt x="106" y="49"/>
                      <a:pt x="127" y="50"/>
                      <a:pt x="135" y="55"/>
                    </a:cubicBezTo>
                    <a:cubicBezTo>
                      <a:pt x="144" y="52"/>
                      <a:pt x="137" y="58"/>
                      <a:pt x="141" y="64"/>
                    </a:cubicBezTo>
                    <a:cubicBezTo>
                      <a:pt x="149" y="78"/>
                      <a:pt x="126" y="77"/>
                      <a:pt x="127" y="85"/>
                    </a:cubicBezTo>
                    <a:cubicBezTo>
                      <a:pt x="123" y="95"/>
                      <a:pt x="105" y="97"/>
                      <a:pt x="108" y="112"/>
                    </a:cubicBezTo>
                    <a:cubicBezTo>
                      <a:pt x="99" y="115"/>
                      <a:pt x="94" y="132"/>
                      <a:pt x="87" y="141"/>
                    </a:cubicBezTo>
                    <a:cubicBezTo>
                      <a:pt x="81" y="153"/>
                      <a:pt x="69" y="157"/>
                      <a:pt x="60" y="164"/>
                    </a:cubicBezTo>
                    <a:cubicBezTo>
                      <a:pt x="54" y="166"/>
                      <a:pt x="41" y="168"/>
                      <a:pt x="35" y="164"/>
                    </a:cubicBezTo>
                    <a:cubicBezTo>
                      <a:pt x="34" y="163"/>
                      <a:pt x="32" y="160"/>
                      <a:pt x="32" y="157"/>
                    </a:cubicBezTo>
                    <a:cubicBezTo>
                      <a:pt x="36" y="142"/>
                      <a:pt x="22" y="132"/>
                      <a:pt x="20" y="118"/>
                    </a:cubicBezTo>
                    <a:cubicBezTo>
                      <a:pt x="21" y="107"/>
                      <a:pt x="23" y="95"/>
                      <a:pt x="20" y="83"/>
                    </a:cubicBezTo>
                    <a:cubicBezTo>
                      <a:pt x="18" y="72"/>
                      <a:pt x="26" y="57"/>
                      <a:pt x="12" y="51"/>
                    </a:cubicBezTo>
                    <a:cubicBezTo>
                      <a:pt x="10" y="45"/>
                      <a:pt x="0" y="41"/>
                      <a:pt x="5" y="36"/>
                    </a:cubicBezTo>
                    <a:lnTo>
                      <a:pt x="4" y="34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54" name="Bulgaria"/>
              <p:cNvSpPr>
                <a:spLocks/>
              </p:cNvSpPr>
              <p:nvPr>
                <p:custDataLst>
                  <p:tags r:id="rId115"/>
                </p:custDataLst>
              </p:nvPr>
            </p:nvSpPr>
            <p:spPr bwMode="auto">
              <a:xfrm>
                <a:off x="4800586" y="3141467"/>
                <a:ext cx="149181" cy="112844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3" y="4"/>
                  </a:cxn>
                  <a:cxn ang="0">
                    <a:pos x="4" y="4"/>
                  </a:cxn>
                  <a:cxn ang="0">
                    <a:pos x="2" y="0"/>
                  </a:cxn>
                  <a:cxn ang="0">
                    <a:pos x="0" y="4"/>
                  </a:cxn>
                  <a:cxn ang="0">
                    <a:pos x="0" y="11"/>
                  </a:cxn>
                  <a:cxn ang="0">
                    <a:pos x="0" y="13"/>
                  </a:cxn>
                  <a:cxn ang="0">
                    <a:pos x="2" y="20"/>
                  </a:cxn>
                  <a:cxn ang="0">
                    <a:pos x="9" y="15"/>
                  </a:cxn>
                  <a:cxn ang="0">
                    <a:pos x="13" y="20"/>
                  </a:cxn>
                  <a:cxn ang="0">
                    <a:pos x="17" y="15"/>
                  </a:cxn>
                  <a:cxn ang="0">
                    <a:pos x="25" y="15"/>
                  </a:cxn>
                  <a:cxn ang="0">
                    <a:pos x="21" y="11"/>
                  </a:cxn>
                  <a:cxn ang="0">
                    <a:pos x="25" y="6"/>
                  </a:cxn>
                  <a:cxn ang="0">
                    <a:pos x="27" y="4"/>
                  </a:cxn>
                  <a:cxn ang="0">
                    <a:pos x="23" y="2"/>
                  </a:cxn>
                  <a:cxn ang="0">
                    <a:pos x="19" y="0"/>
                  </a:cxn>
                </a:cxnLst>
                <a:rect l="0" t="0" r="r" b="b"/>
                <a:pathLst>
                  <a:path w="27" h="20">
                    <a:moveTo>
                      <a:pt x="19" y="0"/>
                    </a:moveTo>
                    <a:lnTo>
                      <a:pt x="13" y="4"/>
                    </a:lnTo>
                    <a:lnTo>
                      <a:pt x="4" y="4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2" y="20"/>
                    </a:lnTo>
                    <a:lnTo>
                      <a:pt x="9" y="15"/>
                    </a:lnTo>
                    <a:lnTo>
                      <a:pt x="13" y="20"/>
                    </a:lnTo>
                    <a:lnTo>
                      <a:pt x="17" y="15"/>
                    </a:lnTo>
                    <a:lnTo>
                      <a:pt x="25" y="15"/>
                    </a:lnTo>
                    <a:lnTo>
                      <a:pt x="21" y="11"/>
                    </a:lnTo>
                    <a:lnTo>
                      <a:pt x="25" y="6"/>
                    </a:lnTo>
                    <a:lnTo>
                      <a:pt x="27" y="4"/>
                    </a:lnTo>
                    <a:lnTo>
                      <a:pt x="23" y="2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55" name="Brazil"/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auto">
              <a:xfrm>
                <a:off x="2314229" y="4407608"/>
                <a:ext cx="1004105" cy="1252754"/>
              </a:xfrm>
              <a:custGeom>
                <a:avLst/>
                <a:gdLst/>
                <a:ahLst/>
                <a:cxnLst>
                  <a:cxn ang="0">
                    <a:pos x="96" y="18"/>
                  </a:cxn>
                  <a:cxn ang="0">
                    <a:pos x="83" y="16"/>
                  </a:cxn>
                  <a:cxn ang="0">
                    <a:pos x="79" y="18"/>
                  </a:cxn>
                  <a:cxn ang="0">
                    <a:pos x="68" y="20"/>
                  </a:cxn>
                  <a:cxn ang="0">
                    <a:pos x="62" y="16"/>
                  </a:cxn>
                  <a:cxn ang="0">
                    <a:pos x="62" y="0"/>
                  </a:cxn>
                  <a:cxn ang="0">
                    <a:pos x="60" y="2"/>
                  </a:cxn>
                  <a:cxn ang="0">
                    <a:pos x="39" y="7"/>
                  </a:cxn>
                  <a:cxn ang="0">
                    <a:pos x="43" y="16"/>
                  </a:cxn>
                  <a:cxn ang="0">
                    <a:pos x="37" y="25"/>
                  </a:cxn>
                  <a:cxn ang="0">
                    <a:pos x="31" y="20"/>
                  </a:cxn>
                  <a:cxn ang="0">
                    <a:pos x="16" y="20"/>
                  </a:cxn>
                  <a:cxn ang="0">
                    <a:pos x="20" y="27"/>
                  </a:cxn>
                  <a:cxn ang="0">
                    <a:pos x="16" y="36"/>
                  </a:cxn>
                  <a:cxn ang="0">
                    <a:pos x="6" y="59"/>
                  </a:cxn>
                  <a:cxn ang="0">
                    <a:pos x="0" y="72"/>
                  </a:cxn>
                  <a:cxn ang="0">
                    <a:pos x="8" y="88"/>
                  </a:cxn>
                  <a:cxn ang="0">
                    <a:pos x="14" y="92"/>
                  </a:cxn>
                  <a:cxn ang="0">
                    <a:pos x="25" y="95"/>
                  </a:cxn>
                  <a:cxn ang="0">
                    <a:pos x="39" y="86"/>
                  </a:cxn>
                  <a:cxn ang="0">
                    <a:pos x="43" y="101"/>
                  </a:cxn>
                  <a:cxn ang="0">
                    <a:pos x="64" y="115"/>
                  </a:cxn>
                  <a:cxn ang="0">
                    <a:pos x="64" y="122"/>
                  </a:cxn>
                  <a:cxn ang="0">
                    <a:pos x="75" y="129"/>
                  </a:cxn>
                  <a:cxn ang="0">
                    <a:pos x="77" y="147"/>
                  </a:cxn>
                  <a:cxn ang="0">
                    <a:pos x="87" y="158"/>
                  </a:cxn>
                  <a:cxn ang="0">
                    <a:pos x="91" y="167"/>
                  </a:cxn>
                  <a:cxn ang="0">
                    <a:pos x="96" y="178"/>
                  </a:cxn>
                  <a:cxn ang="0">
                    <a:pos x="102" y="187"/>
                  </a:cxn>
                  <a:cxn ang="0">
                    <a:pos x="87" y="205"/>
                  </a:cxn>
                  <a:cxn ang="0">
                    <a:pos x="96" y="210"/>
                  </a:cxn>
                  <a:cxn ang="0">
                    <a:pos x="108" y="214"/>
                  </a:cxn>
                  <a:cxn ang="0">
                    <a:pos x="110" y="225"/>
                  </a:cxn>
                  <a:cxn ang="0">
                    <a:pos x="118" y="210"/>
                  </a:cxn>
                  <a:cxn ang="0">
                    <a:pos x="127" y="196"/>
                  </a:cxn>
                  <a:cxn ang="0">
                    <a:pos x="133" y="171"/>
                  </a:cxn>
                  <a:cxn ang="0">
                    <a:pos x="139" y="167"/>
                  </a:cxn>
                  <a:cxn ang="0">
                    <a:pos x="141" y="165"/>
                  </a:cxn>
                  <a:cxn ang="0">
                    <a:pos x="152" y="162"/>
                  </a:cxn>
                  <a:cxn ang="0">
                    <a:pos x="158" y="156"/>
                  </a:cxn>
                  <a:cxn ang="0">
                    <a:pos x="164" y="144"/>
                  </a:cxn>
                  <a:cxn ang="0">
                    <a:pos x="164" y="131"/>
                  </a:cxn>
                  <a:cxn ang="0">
                    <a:pos x="179" y="86"/>
                  </a:cxn>
                  <a:cxn ang="0">
                    <a:pos x="181" y="70"/>
                  </a:cxn>
                  <a:cxn ang="0">
                    <a:pos x="173" y="59"/>
                  </a:cxn>
                  <a:cxn ang="0">
                    <a:pos x="150" y="50"/>
                  </a:cxn>
                  <a:cxn ang="0">
                    <a:pos x="135" y="45"/>
                  </a:cxn>
                  <a:cxn ang="0">
                    <a:pos x="135" y="38"/>
                  </a:cxn>
                  <a:cxn ang="0">
                    <a:pos x="131" y="36"/>
                  </a:cxn>
                  <a:cxn ang="0">
                    <a:pos x="118" y="34"/>
                  </a:cxn>
                  <a:cxn ang="0">
                    <a:pos x="118" y="29"/>
                  </a:cxn>
                  <a:cxn ang="0">
                    <a:pos x="108" y="34"/>
                  </a:cxn>
                  <a:cxn ang="0">
                    <a:pos x="104" y="36"/>
                  </a:cxn>
                  <a:cxn ang="0">
                    <a:pos x="110" y="25"/>
                  </a:cxn>
                  <a:cxn ang="0">
                    <a:pos x="108" y="18"/>
                  </a:cxn>
                  <a:cxn ang="0">
                    <a:pos x="102" y="9"/>
                  </a:cxn>
                </a:cxnLst>
                <a:rect l="0" t="0" r="r" b="b"/>
                <a:pathLst>
                  <a:path w="181" h="225">
                    <a:moveTo>
                      <a:pt x="102" y="7"/>
                    </a:moveTo>
                    <a:lnTo>
                      <a:pt x="96" y="18"/>
                    </a:lnTo>
                    <a:lnTo>
                      <a:pt x="91" y="18"/>
                    </a:lnTo>
                    <a:lnTo>
                      <a:pt x="83" y="16"/>
                    </a:lnTo>
                    <a:lnTo>
                      <a:pt x="83" y="18"/>
                    </a:lnTo>
                    <a:lnTo>
                      <a:pt x="79" y="18"/>
                    </a:lnTo>
                    <a:lnTo>
                      <a:pt x="77" y="18"/>
                    </a:lnTo>
                    <a:lnTo>
                      <a:pt x="68" y="20"/>
                    </a:lnTo>
                    <a:lnTo>
                      <a:pt x="64" y="20"/>
                    </a:lnTo>
                    <a:lnTo>
                      <a:pt x="62" y="16"/>
                    </a:lnTo>
                    <a:lnTo>
                      <a:pt x="64" y="7"/>
                    </a:lnTo>
                    <a:lnTo>
                      <a:pt x="62" y="0"/>
                    </a:lnTo>
                    <a:lnTo>
                      <a:pt x="60" y="0"/>
                    </a:lnTo>
                    <a:lnTo>
                      <a:pt x="60" y="2"/>
                    </a:lnTo>
                    <a:lnTo>
                      <a:pt x="48" y="9"/>
                    </a:lnTo>
                    <a:lnTo>
                      <a:pt x="39" y="7"/>
                    </a:lnTo>
                    <a:lnTo>
                      <a:pt x="43" y="9"/>
                    </a:lnTo>
                    <a:lnTo>
                      <a:pt x="43" y="16"/>
                    </a:lnTo>
                    <a:lnTo>
                      <a:pt x="45" y="18"/>
                    </a:lnTo>
                    <a:lnTo>
                      <a:pt x="37" y="25"/>
                    </a:lnTo>
                    <a:lnTo>
                      <a:pt x="31" y="25"/>
                    </a:lnTo>
                    <a:lnTo>
                      <a:pt x="31" y="20"/>
                    </a:lnTo>
                    <a:lnTo>
                      <a:pt x="29" y="18"/>
                    </a:lnTo>
                    <a:lnTo>
                      <a:pt x="16" y="20"/>
                    </a:lnTo>
                    <a:lnTo>
                      <a:pt x="16" y="25"/>
                    </a:lnTo>
                    <a:lnTo>
                      <a:pt x="20" y="27"/>
                    </a:lnTo>
                    <a:lnTo>
                      <a:pt x="14" y="27"/>
                    </a:lnTo>
                    <a:lnTo>
                      <a:pt x="16" y="36"/>
                    </a:lnTo>
                    <a:lnTo>
                      <a:pt x="16" y="54"/>
                    </a:lnTo>
                    <a:lnTo>
                      <a:pt x="6" y="59"/>
                    </a:lnTo>
                    <a:lnTo>
                      <a:pt x="4" y="63"/>
                    </a:lnTo>
                    <a:lnTo>
                      <a:pt x="0" y="72"/>
                    </a:lnTo>
                    <a:lnTo>
                      <a:pt x="4" y="81"/>
                    </a:lnTo>
                    <a:lnTo>
                      <a:pt x="8" y="88"/>
                    </a:lnTo>
                    <a:lnTo>
                      <a:pt x="14" y="86"/>
                    </a:lnTo>
                    <a:lnTo>
                      <a:pt x="14" y="92"/>
                    </a:lnTo>
                    <a:lnTo>
                      <a:pt x="20" y="92"/>
                    </a:lnTo>
                    <a:lnTo>
                      <a:pt x="25" y="95"/>
                    </a:lnTo>
                    <a:lnTo>
                      <a:pt x="31" y="86"/>
                    </a:lnTo>
                    <a:lnTo>
                      <a:pt x="39" y="86"/>
                    </a:lnTo>
                    <a:lnTo>
                      <a:pt x="39" y="95"/>
                    </a:lnTo>
                    <a:lnTo>
                      <a:pt x="43" y="101"/>
                    </a:lnTo>
                    <a:lnTo>
                      <a:pt x="62" y="110"/>
                    </a:lnTo>
                    <a:lnTo>
                      <a:pt x="64" y="115"/>
                    </a:lnTo>
                    <a:lnTo>
                      <a:pt x="64" y="119"/>
                    </a:lnTo>
                    <a:lnTo>
                      <a:pt x="64" y="122"/>
                    </a:lnTo>
                    <a:lnTo>
                      <a:pt x="75" y="124"/>
                    </a:lnTo>
                    <a:lnTo>
                      <a:pt x="75" y="129"/>
                    </a:lnTo>
                    <a:lnTo>
                      <a:pt x="79" y="135"/>
                    </a:lnTo>
                    <a:lnTo>
                      <a:pt x="77" y="147"/>
                    </a:lnTo>
                    <a:lnTo>
                      <a:pt x="79" y="156"/>
                    </a:lnTo>
                    <a:lnTo>
                      <a:pt x="87" y="158"/>
                    </a:lnTo>
                    <a:lnTo>
                      <a:pt x="91" y="158"/>
                    </a:lnTo>
                    <a:lnTo>
                      <a:pt x="91" y="167"/>
                    </a:lnTo>
                    <a:lnTo>
                      <a:pt x="96" y="167"/>
                    </a:lnTo>
                    <a:lnTo>
                      <a:pt x="96" y="178"/>
                    </a:lnTo>
                    <a:lnTo>
                      <a:pt x="100" y="178"/>
                    </a:lnTo>
                    <a:lnTo>
                      <a:pt x="102" y="187"/>
                    </a:lnTo>
                    <a:lnTo>
                      <a:pt x="100" y="189"/>
                    </a:lnTo>
                    <a:lnTo>
                      <a:pt x="87" y="205"/>
                    </a:lnTo>
                    <a:lnTo>
                      <a:pt x="91" y="205"/>
                    </a:lnTo>
                    <a:lnTo>
                      <a:pt x="96" y="210"/>
                    </a:lnTo>
                    <a:lnTo>
                      <a:pt x="96" y="207"/>
                    </a:lnTo>
                    <a:lnTo>
                      <a:pt x="108" y="214"/>
                    </a:lnTo>
                    <a:lnTo>
                      <a:pt x="110" y="221"/>
                    </a:lnTo>
                    <a:lnTo>
                      <a:pt x="110" y="225"/>
                    </a:lnTo>
                    <a:lnTo>
                      <a:pt x="114" y="216"/>
                    </a:lnTo>
                    <a:lnTo>
                      <a:pt x="118" y="210"/>
                    </a:lnTo>
                    <a:lnTo>
                      <a:pt x="123" y="201"/>
                    </a:lnTo>
                    <a:lnTo>
                      <a:pt x="127" y="196"/>
                    </a:lnTo>
                    <a:lnTo>
                      <a:pt x="125" y="180"/>
                    </a:lnTo>
                    <a:lnTo>
                      <a:pt x="133" y="171"/>
                    </a:lnTo>
                    <a:lnTo>
                      <a:pt x="135" y="167"/>
                    </a:lnTo>
                    <a:lnTo>
                      <a:pt x="139" y="167"/>
                    </a:lnTo>
                    <a:lnTo>
                      <a:pt x="139" y="165"/>
                    </a:lnTo>
                    <a:lnTo>
                      <a:pt x="141" y="165"/>
                    </a:lnTo>
                    <a:lnTo>
                      <a:pt x="141" y="162"/>
                    </a:lnTo>
                    <a:lnTo>
                      <a:pt x="152" y="162"/>
                    </a:lnTo>
                    <a:lnTo>
                      <a:pt x="152" y="158"/>
                    </a:lnTo>
                    <a:lnTo>
                      <a:pt x="158" y="156"/>
                    </a:lnTo>
                    <a:lnTo>
                      <a:pt x="158" y="153"/>
                    </a:lnTo>
                    <a:lnTo>
                      <a:pt x="164" y="144"/>
                    </a:lnTo>
                    <a:lnTo>
                      <a:pt x="164" y="135"/>
                    </a:lnTo>
                    <a:lnTo>
                      <a:pt x="164" y="131"/>
                    </a:lnTo>
                    <a:lnTo>
                      <a:pt x="164" y="106"/>
                    </a:lnTo>
                    <a:lnTo>
                      <a:pt x="179" y="86"/>
                    </a:lnTo>
                    <a:lnTo>
                      <a:pt x="181" y="77"/>
                    </a:lnTo>
                    <a:lnTo>
                      <a:pt x="181" y="70"/>
                    </a:lnTo>
                    <a:lnTo>
                      <a:pt x="179" y="61"/>
                    </a:lnTo>
                    <a:lnTo>
                      <a:pt x="173" y="59"/>
                    </a:lnTo>
                    <a:lnTo>
                      <a:pt x="158" y="45"/>
                    </a:lnTo>
                    <a:lnTo>
                      <a:pt x="150" y="50"/>
                    </a:lnTo>
                    <a:lnTo>
                      <a:pt x="141" y="43"/>
                    </a:lnTo>
                    <a:lnTo>
                      <a:pt x="135" y="45"/>
                    </a:lnTo>
                    <a:lnTo>
                      <a:pt x="135" y="43"/>
                    </a:lnTo>
                    <a:lnTo>
                      <a:pt x="135" y="38"/>
                    </a:lnTo>
                    <a:lnTo>
                      <a:pt x="133" y="38"/>
                    </a:lnTo>
                    <a:lnTo>
                      <a:pt x="131" y="36"/>
                    </a:lnTo>
                    <a:lnTo>
                      <a:pt x="123" y="34"/>
                    </a:lnTo>
                    <a:lnTo>
                      <a:pt x="118" y="34"/>
                    </a:lnTo>
                    <a:lnTo>
                      <a:pt x="116" y="38"/>
                    </a:lnTo>
                    <a:lnTo>
                      <a:pt x="118" y="29"/>
                    </a:lnTo>
                    <a:lnTo>
                      <a:pt x="116" y="29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04" y="36"/>
                    </a:lnTo>
                    <a:lnTo>
                      <a:pt x="104" y="29"/>
                    </a:lnTo>
                    <a:lnTo>
                      <a:pt x="110" y="25"/>
                    </a:lnTo>
                    <a:lnTo>
                      <a:pt x="110" y="20"/>
                    </a:lnTo>
                    <a:lnTo>
                      <a:pt x="108" y="18"/>
                    </a:lnTo>
                    <a:lnTo>
                      <a:pt x="104" y="9"/>
                    </a:lnTo>
                    <a:lnTo>
                      <a:pt x="102" y="9"/>
                    </a:lnTo>
                    <a:lnTo>
                      <a:pt x="102" y="7"/>
                    </a:lnTo>
                    <a:close/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56" name="Botswana"/>
              <p:cNvSpPr>
                <a:spLocks/>
              </p:cNvSpPr>
              <p:nvPr/>
            </p:nvSpPr>
            <p:spPr bwMode="auto">
              <a:xfrm>
                <a:off x="4756596" y="5153522"/>
                <a:ext cx="242899" cy="292628"/>
              </a:xfrm>
              <a:custGeom>
                <a:avLst/>
                <a:gdLst>
                  <a:gd name="T0" fmla="*/ 399 w 673"/>
                  <a:gd name="T1" fmla="*/ 4 h 680"/>
                  <a:gd name="T2" fmla="*/ 396 w 673"/>
                  <a:gd name="T3" fmla="*/ 16 h 680"/>
                  <a:gd name="T4" fmla="*/ 420 w 673"/>
                  <a:gd name="T5" fmla="*/ 54 h 680"/>
                  <a:gd name="T6" fmla="*/ 443 w 673"/>
                  <a:gd name="T7" fmla="*/ 87 h 680"/>
                  <a:gd name="T8" fmla="*/ 452 w 673"/>
                  <a:gd name="T9" fmla="*/ 122 h 680"/>
                  <a:gd name="T10" fmla="*/ 468 w 673"/>
                  <a:gd name="T11" fmla="*/ 140 h 680"/>
                  <a:gd name="T12" fmla="*/ 475 w 673"/>
                  <a:gd name="T13" fmla="*/ 148 h 680"/>
                  <a:gd name="T14" fmla="*/ 515 w 673"/>
                  <a:gd name="T15" fmla="*/ 169 h 680"/>
                  <a:gd name="T16" fmla="*/ 515 w 673"/>
                  <a:gd name="T17" fmla="*/ 169 h 680"/>
                  <a:gd name="T18" fmla="*/ 534 w 673"/>
                  <a:gd name="T19" fmla="*/ 194 h 680"/>
                  <a:gd name="T20" fmla="*/ 559 w 673"/>
                  <a:gd name="T21" fmla="*/ 207 h 680"/>
                  <a:gd name="T22" fmla="*/ 559 w 673"/>
                  <a:gd name="T23" fmla="*/ 251 h 680"/>
                  <a:gd name="T24" fmla="*/ 579 w 673"/>
                  <a:gd name="T25" fmla="*/ 287 h 680"/>
                  <a:gd name="T26" fmla="*/ 621 w 673"/>
                  <a:gd name="T27" fmla="*/ 294 h 680"/>
                  <a:gd name="T28" fmla="*/ 652 w 673"/>
                  <a:gd name="T29" fmla="*/ 307 h 680"/>
                  <a:gd name="T30" fmla="*/ 663 w 673"/>
                  <a:gd name="T31" fmla="*/ 328 h 680"/>
                  <a:gd name="T32" fmla="*/ 673 w 673"/>
                  <a:gd name="T33" fmla="*/ 335 h 680"/>
                  <a:gd name="T34" fmla="*/ 672 w 673"/>
                  <a:gd name="T35" fmla="*/ 337 h 680"/>
                  <a:gd name="T36" fmla="*/ 640 w 673"/>
                  <a:gd name="T37" fmla="*/ 353 h 680"/>
                  <a:gd name="T38" fmla="*/ 605 w 673"/>
                  <a:gd name="T39" fmla="*/ 364 h 680"/>
                  <a:gd name="T40" fmla="*/ 574 w 673"/>
                  <a:gd name="T41" fmla="*/ 386 h 680"/>
                  <a:gd name="T42" fmla="*/ 555 w 673"/>
                  <a:gd name="T43" fmla="*/ 405 h 680"/>
                  <a:gd name="T44" fmla="*/ 538 w 673"/>
                  <a:gd name="T45" fmla="*/ 419 h 680"/>
                  <a:gd name="T46" fmla="*/ 511 w 673"/>
                  <a:gd name="T47" fmla="*/ 432 h 680"/>
                  <a:gd name="T48" fmla="*/ 496 w 673"/>
                  <a:gd name="T49" fmla="*/ 443 h 680"/>
                  <a:gd name="T50" fmla="*/ 483 w 673"/>
                  <a:gd name="T51" fmla="*/ 486 h 680"/>
                  <a:gd name="T52" fmla="*/ 452 w 673"/>
                  <a:gd name="T53" fmla="*/ 511 h 680"/>
                  <a:gd name="T54" fmla="*/ 413 w 673"/>
                  <a:gd name="T55" fmla="*/ 522 h 680"/>
                  <a:gd name="T56" fmla="*/ 397 w 673"/>
                  <a:gd name="T57" fmla="*/ 571 h 680"/>
                  <a:gd name="T58" fmla="*/ 354 w 673"/>
                  <a:gd name="T59" fmla="*/ 594 h 680"/>
                  <a:gd name="T60" fmla="*/ 315 w 673"/>
                  <a:gd name="T61" fmla="*/ 594 h 680"/>
                  <a:gd name="T62" fmla="*/ 291 w 673"/>
                  <a:gd name="T63" fmla="*/ 584 h 680"/>
                  <a:gd name="T64" fmla="*/ 251 w 673"/>
                  <a:gd name="T65" fmla="*/ 565 h 680"/>
                  <a:gd name="T66" fmla="*/ 210 w 673"/>
                  <a:gd name="T67" fmla="*/ 559 h 680"/>
                  <a:gd name="T68" fmla="*/ 194 w 673"/>
                  <a:gd name="T69" fmla="*/ 587 h 680"/>
                  <a:gd name="T70" fmla="*/ 183 w 673"/>
                  <a:gd name="T71" fmla="*/ 615 h 680"/>
                  <a:gd name="T72" fmla="*/ 156 w 673"/>
                  <a:gd name="T73" fmla="*/ 635 h 680"/>
                  <a:gd name="T74" fmla="*/ 124 w 673"/>
                  <a:gd name="T75" fmla="*/ 658 h 680"/>
                  <a:gd name="T76" fmla="*/ 108 w 673"/>
                  <a:gd name="T77" fmla="*/ 672 h 680"/>
                  <a:gd name="T78" fmla="*/ 63 w 673"/>
                  <a:gd name="T79" fmla="*/ 668 h 680"/>
                  <a:gd name="T80" fmla="*/ 40 w 673"/>
                  <a:gd name="T81" fmla="*/ 664 h 680"/>
                  <a:gd name="T82" fmla="*/ 51 w 673"/>
                  <a:gd name="T83" fmla="*/ 630 h 680"/>
                  <a:gd name="T84" fmla="*/ 48 w 673"/>
                  <a:gd name="T85" fmla="*/ 585 h 680"/>
                  <a:gd name="T86" fmla="*/ 37 w 673"/>
                  <a:gd name="T87" fmla="*/ 555 h 680"/>
                  <a:gd name="T88" fmla="*/ 18 w 673"/>
                  <a:gd name="T89" fmla="*/ 528 h 680"/>
                  <a:gd name="T90" fmla="*/ 3 w 673"/>
                  <a:gd name="T91" fmla="*/ 515 h 680"/>
                  <a:gd name="T92" fmla="*/ 2 w 673"/>
                  <a:gd name="T93" fmla="*/ 483 h 680"/>
                  <a:gd name="T94" fmla="*/ 7 w 673"/>
                  <a:gd name="T95" fmla="*/ 311 h 680"/>
                  <a:gd name="T96" fmla="*/ 78 w 673"/>
                  <a:gd name="T97" fmla="*/ 312 h 680"/>
                  <a:gd name="T98" fmla="*/ 83 w 673"/>
                  <a:gd name="T99" fmla="*/ 163 h 680"/>
                  <a:gd name="T100" fmla="*/ 82 w 673"/>
                  <a:gd name="T101" fmla="*/ 163 h 680"/>
                  <a:gd name="T102" fmla="*/ 85 w 673"/>
                  <a:gd name="T103" fmla="*/ 52 h 680"/>
                  <a:gd name="T104" fmla="*/ 113 w 673"/>
                  <a:gd name="T105" fmla="*/ 37 h 680"/>
                  <a:gd name="T106" fmla="*/ 202 w 673"/>
                  <a:gd name="T107" fmla="*/ 22 h 680"/>
                  <a:gd name="T108" fmla="*/ 254 w 673"/>
                  <a:gd name="T109" fmla="*/ 17 h 680"/>
                  <a:gd name="T110" fmla="*/ 271 w 673"/>
                  <a:gd name="T111" fmla="*/ 43 h 680"/>
                  <a:gd name="T112" fmla="*/ 298 w 673"/>
                  <a:gd name="T113" fmla="*/ 32 h 680"/>
                  <a:gd name="T114" fmla="*/ 336 w 673"/>
                  <a:gd name="T115" fmla="*/ 14 h 680"/>
                  <a:gd name="T116" fmla="*/ 355 w 673"/>
                  <a:gd name="T117" fmla="*/ 11 h 680"/>
                  <a:gd name="T118" fmla="*/ 388 w 673"/>
                  <a:gd name="T119" fmla="*/ 2 h 680"/>
                  <a:gd name="T120" fmla="*/ 395 w 673"/>
                  <a:gd name="T121" fmla="*/ 2 h 680"/>
                  <a:gd name="T122" fmla="*/ 399 w 673"/>
                  <a:gd name="T123" fmla="*/ 4 h 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73" h="680">
                    <a:moveTo>
                      <a:pt x="399" y="4"/>
                    </a:moveTo>
                    <a:cubicBezTo>
                      <a:pt x="395" y="5"/>
                      <a:pt x="393" y="11"/>
                      <a:pt x="396" y="16"/>
                    </a:cubicBezTo>
                    <a:cubicBezTo>
                      <a:pt x="407" y="27"/>
                      <a:pt x="410" y="42"/>
                      <a:pt x="420" y="54"/>
                    </a:cubicBezTo>
                    <a:cubicBezTo>
                      <a:pt x="434" y="62"/>
                      <a:pt x="429" y="79"/>
                      <a:pt x="443" y="87"/>
                    </a:cubicBezTo>
                    <a:cubicBezTo>
                      <a:pt x="442" y="100"/>
                      <a:pt x="448" y="110"/>
                      <a:pt x="452" y="122"/>
                    </a:cubicBezTo>
                    <a:cubicBezTo>
                      <a:pt x="451" y="134"/>
                      <a:pt x="463" y="134"/>
                      <a:pt x="468" y="140"/>
                    </a:cubicBezTo>
                    <a:cubicBezTo>
                      <a:pt x="472" y="143"/>
                      <a:pt x="473" y="145"/>
                      <a:pt x="475" y="148"/>
                    </a:cubicBezTo>
                    <a:cubicBezTo>
                      <a:pt x="488" y="155"/>
                      <a:pt x="499" y="169"/>
                      <a:pt x="515" y="169"/>
                    </a:cubicBezTo>
                    <a:cubicBezTo>
                      <a:pt x="515" y="169"/>
                      <a:pt x="515" y="169"/>
                      <a:pt x="515" y="169"/>
                    </a:cubicBezTo>
                    <a:cubicBezTo>
                      <a:pt x="526" y="175"/>
                      <a:pt x="535" y="179"/>
                      <a:pt x="534" y="194"/>
                    </a:cubicBezTo>
                    <a:cubicBezTo>
                      <a:pt x="526" y="213"/>
                      <a:pt x="549" y="202"/>
                      <a:pt x="559" y="207"/>
                    </a:cubicBezTo>
                    <a:cubicBezTo>
                      <a:pt x="568" y="218"/>
                      <a:pt x="558" y="236"/>
                      <a:pt x="559" y="251"/>
                    </a:cubicBezTo>
                    <a:cubicBezTo>
                      <a:pt x="569" y="261"/>
                      <a:pt x="575" y="274"/>
                      <a:pt x="579" y="287"/>
                    </a:cubicBezTo>
                    <a:cubicBezTo>
                      <a:pt x="594" y="289"/>
                      <a:pt x="607" y="295"/>
                      <a:pt x="621" y="294"/>
                    </a:cubicBezTo>
                    <a:cubicBezTo>
                      <a:pt x="631" y="300"/>
                      <a:pt x="643" y="303"/>
                      <a:pt x="652" y="307"/>
                    </a:cubicBezTo>
                    <a:cubicBezTo>
                      <a:pt x="647" y="317"/>
                      <a:pt x="650" y="329"/>
                      <a:pt x="663" y="328"/>
                    </a:cubicBezTo>
                    <a:cubicBezTo>
                      <a:pt x="665" y="332"/>
                      <a:pt x="669" y="334"/>
                      <a:pt x="673" y="335"/>
                    </a:cubicBezTo>
                    <a:cubicBezTo>
                      <a:pt x="672" y="337"/>
                      <a:pt x="672" y="337"/>
                      <a:pt x="672" y="337"/>
                    </a:cubicBezTo>
                    <a:cubicBezTo>
                      <a:pt x="659" y="335"/>
                      <a:pt x="642" y="338"/>
                      <a:pt x="640" y="353"/>
                    </a:cubicBezTo>
                    <a:cubicBezTo>
                      <a:pt x="629" y="358"/>
                      <a:pt x="617" y="364"/>
                      <a:pt x="605" y="364"/>
                    </a:cubicBezTo>
                    <a:cubicBezTo>
                      <a:pt x="590" y="363"/>
                      <a:pt x="583" y="377"/>
                      <a:pt x="574" y="386"/>
                    </a:cubicBezTo>
                    <a:cubicBezTo>
                      <a:pt x="567" y="392"/>
                      <a:pt x="564" y="401"/>
                      <a:pt x="555" y="405"/>
                    </a:cubicBezTo>
                    <a:cubicBezTo>
                      <a:pt x="553" y="414"/>
                      <a:pt x="537" y="406"/>
                      <a:pt x="538" y="419"/>
                    </a:cubicBezTo>
                    <a:cubicBezTo>
                      <a:pt x="530" y="426"/>
                      <a:pt x="518" y="423"/>
                      <a:pt x="511" y="432"/>
                    </a:cubicBezTo>
                    <a:cubicBezTo>
                      <a:pt x="504" y="433"/>
                      <a:pt x="503" y="444"/>
                      <a:pt x="496" y="443"/>
                    </a:cubicBezTo>
                    <a:cubicBezTo>
                      <a:pt x="490" y="457"/>
                      <a:pt x="488" y="472"/>
                      <a:pt x="483" y="486"/>
                    </a:cubicBezTo>
                    <a:cubicBezTo>
                      <a:pt x="471" y="492"/>
                      <a:pt x="460" y="501"/>
                      <a:pt x="452" y="511"/>
                    </a:cubicBezTo>
                    <a:cubicBezTo>
                      <a:pt x="439" y="514"/>
                      <a:pt x="426" y="518"/>
                      <a:pt x="413" y="522"/>
                    </a:cubicBezTo>
                    <a:cubicBezTo>
                      <a:pt x="412" y="539"/>
                      <a:pt x="402" y="555"/>
                      <a:pt x="397" y="571"/>
                    </a:cubicBezTo>
                    <a:cubicBezTo>
                      <a:pt x="391" y="589"/>
                      <a:pt x="371" y="600"/>
                      <a:pt x="354" y="594"/>
                    </a:cubicBezTo>
                    <a:cubicBezTo>
                      <a:pt x="342" y="595"/>
                      <a:pt x="327" y="605"/>
                      <a:pt x="315" y="594"/>
                    </a:cubicBezTo>
                    <a:cubicBezTo>
                      <a:pt x="304" y="595"/>
                      <a:pt x="297" y="591"/>
                      <a:pt x="291" y="584"/>
                    </a:cubicBezTo>
                    <a:cubicBezTo>
                      <a:pt x="273" y="591"/>
                      <a:pt x="264" y="573"/>
                      <a:pt x="251" y="565"/>
                    </a:cubicBezTo>
                    <a:cubicBezTo>
                      <a:pt x="239" y="553"/>
                      <a:pt x="224" y="556"/>
                      <a:pt x="210" y="559"/>
                    </a:cubicBezTo>
                    <a:cubicBezTo>
                      <a:pt x="201" y="566"/>
                      <a:pt x="196" y="577"/>
                      <a:pt x="194" y="587"/>
                    </a:cubicBezTo>
                    <a:cubicBezTo>
                      <a:pt x="188" y="597"/>
                      <a:pt x="191" y="606"/>
                      <a:pt x="183" y="615"/>
                    </a:cubicBezTo>
                    <a:cubicBezTo>
                      <a:pt x="176" y="626"/>
                      <a:pt x="165" y="627"/>
                      <a:pt x="156" y="635"/>
                    </a:cubicBezTo>
                    <a:cubicBezTo>
                      <a:pt x="145" y="641"/>
                      <a:pt x="142" y="663"/>
                      <a:pt x="124" y="658"/>
                    </a:cubicBezTo>
                    <a:cubicBezTo>
                      <a:pt x="117" y="661"/>
                      <a:pt x="121" y="675"/>
                      <a:pt x="108" y="672"/>
                    </a:cubicBezTo>
                    <a:cubicBezTo>
                      <a:pt x="93" y="665"/>
                      <a:pt x="77" y="677"/>
                      <a:pt x="63" y="668"/>
                    </a:cubicBezTo>
                    <a:cubicBezTo>
                      <a:pt x="55" y="664"/>
                      <a:pt x="42" y="680"/>
                      <a:pt x="40" y="664"/>
                    </a:cubicBezTo>
                    <a:cubicBezTo>
                      <a:pt x="40" y="651"/>
                      <a:pt x="38" y="638"/>
                      <a:pt x="51" y="630"/>
                    </a:cubicBezTo>
                    <a:cubicBezTo>
                      <a:pt x="62" y="617"/>
                      <a:pt x="56" y="598"/>
                      <a:pt x="48" y="585"/>
                    </a:cubicBezTo>
                    <a:cubicBezTo>
                      <a:pt x="46" y="572"/>
                      <a:pt x="45" y="566"/>
                      <a:pt x="37" y="555"/>
                    </a:cubicBezTo>
                    <a:cubicBezTo>
                      <a:pt x="32" y="546"/>
                      <a:pt x="28" y="534"/>
                      <a:pt x="18" y="528"/>
                    </a:cubicBezTo>
                    <a:cubicBezTo>
                      <a:pt x="9" y="526"/>
                      <a:pt x="5" y="521"/>
                      <a:pt x="3" y="515"/>
                    </a:cubicBezTo>
                    <a:cubicBezTo>
                      <a:pt x="0" y="506"/>
                      <a:pt x="2" y="493"/>
                      <a:pt x="2" y="483"/>
                    </a:cubicBezTo>
                    <a:cubicBezTo>
                      <a:pt x="4" y="426"/>
                      <a:pt x="5" y="368"/>
                      <a:pt x="7" y="311"/>
                    </a:cubicBezTo>
                    <a:cubicBezTo>
                      <a:pt x="31" y="311"/>
                      <a:pt x="55" y="312"/>
                      <a:pt x="78" y="312"/>
                    </a:cubicBezTo>
                    <a:cubicBezTo>
                      <a:pt x="80" y="262"/>
                      <a:pt x="81" y="213"/>
                      <a:pt x="83" y="163"/>
                    </a:cubicBezTo>
                    <a:cubicBezTo>
                      <a:pt x="82" y="163"/>
                      <a:pt x="82" y="163"/>
                      <a:pt x="82" y="163"/>
                    </a:cubicBezTo>
                    <a:cubicBezTo>
                      <a:pt x="83" y="126"/>
                      <a:pt x="84" y="89"/>
                      <a:pt x="85" y="52"/>
                    </a:cubicBezTo>
                    <a:cubicBezTo>
                      <a:pt x="79" y="32"/>
                      <a:pt x="101" y="38"/>
                      <a:pt x="113" y="37"/>
                    </a:cubicBezTo>
                    <a:cubicBezTo>
                      <a:pt x="143" y="34"/>
                      <a:pt x="172" y="27"/>
                      <a:pt x="202" y="22"/>
                    </a:cubicBezTo>
                    <a:cubicBezTo>
                      <a:pt x="219" y="21"/>
                      <a:pt x="237" y="12"/>
                      <a:pt x="254" y="17"/>
                    </a:cubicBezTo>
                    <a:cubicBezTo>
                      <a:pt x="256" y="28"/>
                      <a:pt x="270" y="31"/>
                      <a:pt x="271" y="43"/>
                    </a:cubicBezTo>
                    <a:cubicBezTo>
                      <a:pt x="274" y="62"/>
                      <a:pt x="292" y="38"/>
                      <a:pt x="298" y="32"/>
                    </a:cubicBezTo>
                    <a:cubicBezTo>
                      <a:pt x="311" y="25"/>
                      <a:pt x="322" y="14"/>
                      <a:pt x="336" y="14"/>
                    </a:cubicBezTo>
                    <a:cubicBezTo>
                      <a:pt x="339" y="26"/>
                      <a:pt x="350" y="18"/>
                      <a:pt x="355" y="11"/>
                    </a:cubicBezTo>
                    <a:cubicBezTo>
                      <a:pt x="364" y="1"/>
                      <a:pt x="377" y="5"/>
                      <a:pt x="388" y="2"/>
                    </a:cubicBezTo>
                    <a:cubicBezTo>
                      <a:pt x="391" y="0"/>
                      <a:pt x="395" y="2"/>
                      <a:pt x="395" y="2"/>
                    </a:cubicBezTo>
                    <a:lnTo>
                      <a:pt x="399" y="4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57" name="Bosnia and Herzegovina"/>
              <p:cNvSpPr>
                <a:spLocks/>
              </p:cNvSpPr>
              <p:nvPr>
                <p:custDataLst>
                  <p:tags r:id="rId117"/>
                </p:custDataLst>
              </p:nvPr>
            </p:nvSpPr>
            <p:spPr bwMode="auto">
              <a:xfrm>
                <a:off x="4639929" y="3114690"/>
                <a:ext cx="93716" cy="87980"/>
              </a:xfrm>
              <a:custGeom>
                <a:avLst/>
                <a:gdLst/>
                <a:ahLst/>
                <a:cxnLst>
                  <a:cxn ang="0">
                    <a:pos x="15" y="2"/>
                  </a:cxn>
                  <a:cxn ang="0">
                    <a:pos x="15" y="5"/>
                  </a:cxn>
                  <a:cxn ang="0">
                    <a:pos x="17" y="9"/>
                  </a:cxn>
                  <a:cxn ang="0">
                    <a:pos x="15" y="9"/>
                  </a:cxn>
                  <a:cxn ang="0">
                    <a:pos x="10" y="11"/>
                  </a:cxn>
                  <a:cxn ang="0">
                    <a:pos x="10" y="16"/>
                  </a:cxn>
                  <a:cxn ang="0">
                    <a:pos x="2" y="5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10" y="2"/>
                  </a:cxn>
                  <a:cxn ang="0">
                    <a:pos x="12" y="2"/>
                  </a:cxn>
                  <a:cxn ang="0">
                    <a:pos x="15" y="2"/>
                  </a:cxn>
                </a:cxnLst>
                <a:rect l="0" t="0" r="r" b="b"/>
                <a:pathLst>
                  <a:path w="17" h="16">
                    <a:moveTo>
                      <a:pt x="15" y="2"/>
                    </a:moveTo>
                    <a:lnTo>
                      <a:pt x="15" y="5"/>
                    </a:lnTo>
                    <a:lnTo>
                      <a:pt x="17" y="9"/>
                    </a:lnTo>
                    <a:lnTo>
                      <a:pt x="15" y="9"/>
                    </a:lnTo>
                    <a:lnTo>
                      <a:pt x="10" y="11"/>
                    </a:lnTo>
                    <a:lnTo>
                      <a:pt x="10" y="16"/>
                    </a:lnTo>
                    <a:lnTo>
                      <a:pt x="2" y="5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5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734" name="Bolivia"/>
              <p:cNvSpPr>
                <a:spLocks/>
              </p:cNvSpPr>
              <p:nvPr>
                <p:custDataLst>
                  <p:tags r:id="rId118"/>
                </p:custDataLst>
              </p:nvPr>
            </p:nvSpPr>
            <p:spPr bwMode="auto">
              <a:xfrm>
                <a:off x="2425269" y="4886581"/>
                <a:ext cx="327302" cy="423581"/>
              </a:xfrm>
              <a:custGeom>
                <a:avLst/>
                <a:gdLst>
                  <a:gd name="T0" fmla="*/ 0 w 59"/>
                  <a:gd name="T1" fmla="*/ 33441 h 76"/>
                  <a:gd name="T2" fmla="*/ 27737 w 59"/>
                  <a:gd name="T3" fmla="*/ 50161 h 76"/>
                  <a:gd name="T4" fmla="*/ 61022 w 59"/>
                  <a:gd name="T5" fmla="*/ 0 h 76"/>
                  <a:gd name="T6" fmla="*/ 105402 w 59"/>
                  <a:gd name="T7" fmla="*/ 0 h 76"/>
                  <a:gd name="T8" fmla="*/ 105402 w 59"/>
                  <a:gd name="T9" fmla="*/ 50161 h 76"/>
                  <a:gd name="T10" fmla="*/ 127592 w 59"/>
                  <a:gd name="T11" fmla="*/ 83602 h 76"/>
                  <a:gd name="T12" fmla="*/ 232995 w 59"/>
                  <a:gd name="T13" fmla="*/ 133762 h 76"/>
                  <a:gd name="T14" fmla="*/ 244090 w 59"/>
                  <a:gd name="T15" fmla="*/ 161630 h 76"/>
                  <a:gd name="T16" fmla="*/ 244090 w 59"/>
                  <a:gd name="T17" fmla="*/ 183923 h 76"/>
                  <a:gd name="T18" fmla="*/ 244090 w 59"/>
                  <a:gd name="T19" fmla="*/ 200644 h 76"/>
                  <a:gd name="T20" fmla="*/ 305112 w 59"/>
                  <a:gd name="T21" fmla="*/ 211791 h 76"/>
                  <a:gd name="T22" fmla="*/ 305112 w 59"/>
                  <a:gd name="T23" fmla="*/ 239658 h 76"/>
                  <a:gd name="T24" fmla="*/ 327302 w 59"/>
                  <a:gd name="T25" fmla="*/ 273098 h 76"/>
                  <a:gd name="T26" fmla="*/ 316207 w 59"/>
                  <a:gd name="T27" fmla="*/ 339979 h 76"/>
                  <a:gd name="T28" fmla="*/ 305112 w 59"/>
                  <a:gd name="T29" fmla="*/ 300965 h 76"/>
                  <a:gd name="T30" fmla="*/ 221900 w 59"/>
                  <a:gd name="T31" fmla="*/ 323259 h 76"/>
                  <a:gd name="T32" fmla="*/ 199710 w 59"/>
                  <a:gd name="T33" fmla="*/ 401287 h 76"/>
                  <a:gd name="T34" fmla="*/ 177520 w 59"/>
                  <a:gd name="T35" fmla="*/ 401287 h 76"/>
                  <a:gd name="T36" fmla="*/ 127592 w 59"/>
                  <a:gd name="T37" fmla="*/ 390140 h 76"/>
                  <a:gd name="T38" fmla="*/ 94307 w 59"/>
                  <a:gd name="T39" fmla="*/ 423581 h 76"/>
                  <a:gd name="T40" fmla="*/ 83212 w 59"/>
                  <a:gd name="T41" fmla="*/ 423581 h 76"/>
                  <a:gd name="T42" fmla="*/ 49927 w 59"/>
                  <a:gd name="T43" fmla="*/ 339979 h 76"/>
                  <a:gd name="T44" fmla="*/ 49927 w 59"/>
                  <a:gd name="T45" fmla="*/ 300965 h 76"/>
                  <a:gd name="T46" fmla="*/ 11095 w 59"/>
                  <a:gd name="T47" fmla="*/ 250805 h 76"/>
                  <a:gd name="T48" fmla="*/ 27737 w 59"/>
                  <a:gd name="T49" fmla="*/ 211791 h 76"/>
                  <a:gd name="T50" fmla="*/ 11095 w 59"/>
                  <a:gd name="T51" fmla="*/ 200644 h 76"/>
                  <a:gd name="T52" fmla="*/ 11095 w 59"/>
                  <a:gd name="T53" fmla="*/ 83602 h 76"/>
                  <a:gd name="T54" fmla="*/ 0 w 59"/>
                  <a:gd name="T55" fmla="*/ 61308 h 76"/>
                  <a:gd name="T56" fmla="*/ 0 w 59"/>
                  <a:gd name="T57" fmla="*/ 33441 h 7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59"/>
                  <a:gd name="T88" fmla="*/ 0 h 76"/>
                  <a:gd name="T89" fmla="*/ 59 w 59"/>
                  <a:gd name="T90" fmla="*/ 76 h 7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59" h="76">
                    <a:moveTo>
                      <a:pt x="0" y="6"/>
                    </a:moveTo>
                    <a:lnTo>
                      <a:pt x="5" y="9"/>
                    </a:lnTo>
                    <a:lnTo>
                      <a:pt x="11" y="0"/>
                    </a:lnTo>
                    <a:lnTo>
                      <a:pt x="19" y="0"/>
                    </a:lnTo>
                    <a:lnTo>
                      <a:pt x="19" y="9"/>
                    </a:lnTo>
                    <a:lnTo>
                      <a:pt x="23" y="15"/>
                    </a:lnTo>
                    <a:lnTo>
                      <a:pt x="42" y="24"/>
                    </a:lnTo>
                    <a:lnTo>
                      <a:pt x="44" y="29"/>
                    </a:lnTo>
                    <a:lnTo>
                      <a:pt x="44" y="33"/>
                    </a:lnTo>
                    <a:lnTo>
                      <a:pt x="44" y="36"/>
                    </a:lnTo>
                    <a:lnTo>
                      <a:pt x="55" y="38"/>
                    </a:lnTo>
                    <a:lnTo>
                      <a:pt x="55" y="43"/>
                    </a:lnTo>
                    <a:lnTo>
                      <a:pt x="59" y="49"/>
                    </a:lnTo>
                    <a:lnTo>
                      <a:pt x="57" y="61"/>
                    </a:lnTo>
                    <a:lnTo>
                      <a:pt x="55" y="54"/>
                    </a:lnTo>
                    <a:lnTo>
                      <a:pt x="40" y="58"/>
                    </a:lnTo>
                    <a:lnTo>
                      <a:pt x="36" y="72"/>
                    </a:lnTo>
                    <a:lnTo>
                      <a:pt x="32" y="72"/>
                    </a:lnTo>
                    <a:lnTo>
                      <a:pt x="23" y="70"/>
                    </a:lnTo>
                    <a:lnTo>
                      <a:pt x="17" y="76"/>
                    </a:lnTo>
                    <a:lnTo>
                      <a:pt x="15" y="76"/>
                    </a:lnTo>
                    <a:lnTo>
                      <a:pt x="9" y="61"/>
                    </a:lnTo>
                    <a:lnTo>
                      <a:pt x="9" y="54"/>
                    </a:lnTo>
                    <a:lnTo>
                      <a:pt x="2" y="45"/>
                    </a:lnTo>
                    <a:lnTo>
                      <a:pt x="5" y="38"/>
                    </a:lnTo>
                    <a:lnTo>
                      <a:pt x="2" y="36"/>
                    </a:lnTo>
                    <a:lnTo>
                      <a:pt x="2" y="15"/>
                    </a:lnTo>
                    <a:lnTo>
                      <a:pt x="0" y="11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778025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59" name="Bhutan"/>
              <p:cNvSpPr>
                <a:spLocks/>
              </p:cNvSpPr>
              <p:nvPr>
                <p:custDataLst>
                  <p:tags r:id="rId119"/>
                </p:custDataLst>
              </p:nvPr>
            </p:nvSpPr>
            <p:spPr bwMode="auto">
              <a:xfrm>
                <a:off x="6502784" y="3654044"/>
                <a:ext cx="84154" cy="51641"/>
              </a:xfrm>
              <a:custGeom>
                <a:avLst/>
                <a:gdLst/>
                <a:ahLst/>
                <a:cxnLst>
                  <a:cxn ang="0">
                    <a:pos x="12" y="5"/>
                  </a:cxn>
                  <a:cxn ang="0">
                    <a:pos x="4" y="0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4" y="9"/>
                  </a:cxn>
                  <a:cxn ang="0">
                    <a:pos x="15" y="9"/>
                  </a:cxn>
                  <a:cxn ang="0">
                    <a:pos x="15" y="7"/>
                  </a:cxn>
                  <a:cxn ang="0">
                    <a:pos x="12" y="7"/>
                  </a:cxn>
                  <a:cxn ang="0">
                    <a:pos x="12" y="5"/>
                  </a:cxn>
                </a:cxnLst>
                <a:rect l="0" t="0" r="r" b="b"/>
                <a:pathLst>
                  <a:path w="15" h="9">
                    <a:moveTo>
                      <a:pt x="12" y="5"/>
                    </a:moveTo>
                    <a:lnTo>
                      <a:pt x="4" y="0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15" y="9"/>
                    </a:lnTo>
                    <a:lnTo>
                      <a:pt x="15" y="7"/>
                    </a:lnTo>
                    <a:lnTo>
                      <a:pt x="12" y="7"/>
                    </a:lnTo>
                    <a:lnTo>
                      <a:pt x="12" y="5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60" name="Benin"/>
              <p:cNvSpPr>
                <a:spLocks/>
              </p:cNvSpPr>
              <p:nvPr/>
            </p:nvSpPr>
            <p:spPr bwMode="auto">
              <a:xfrm>
                <a:off x="4242111" y="4166621"/>
                <a:ext cx="86066" cy="204649"/>
              </a:xfrm>
              <a:custGeom>
                <a:avLst/>
                <a:gdLst>
                  <a:gd name="T0" fmla="*/ 60 w 231"/>
                  <a:gd name="T1" fmla="*/ 469 h 474"/>
                  <a:gd name="T2" fmla="*/ 59 w 231"/>
                  <a:gd name="T3" fmla="*/ 445 h 474"/>
                  <a:gd name="T4" fmla="*/ 52 w 231"/>
                  <a:gd name="T5" fmla="*/ 413 h 474"/>
                  <a:gd name="T6" fmla="*/ 58 w 231"/>
                  <a:gd name="T7" fmla="*/ 393 h 474"/>
                  <a:gd name="T8" fmla="*/ 59 w 231"/>
                  <a:gd name="T9" fmla="*/ 348 h 474"/>
                  <a:gd name="T10" fmla="*/ 60 w 231"/>
                  <a:gd name="T11" fmla="*/ 301 h 474"/>
                  <a:gd name="T12" fmla="*/ 60 w 231"/>
                  <a:gd name="T13" fmla="*/ 262 h 474"/>
                  <a:gd name="T14" fmla="*/ 43 w 231"/>
                  <a:gd name="T15" fmla="*/ 222 h 474"/>
                  <a:gd name="T16" fmla="*/ 35 w 231"/>
                  <a:gd name="T17" fmla="*/ 179 h 474"/>
                  <a:gd name="T18" fmla="*/ 1 w 231"/>
                  <a:gd name="T19" fmla="*/ 153 h 474"/>
                  <a:gd name="T20" fmla="*/ 13 w 231"/>
                  <a:gd name="T21" fmla="*/ 107 h 474"/>
                  <a:gd name="T22" fmla="*/ 13 w 231"/>
                  <a:gd name="T23" fmla="*/ 107 h 474"/>
                  <a:gd name="T24" fmla="*/ 17 w 231"/>
                  <a:gd name="T25" fmla="*/ 102 h 474"/>
                  <a:gd name="T26" fmla="*/ 24 w 231"/>
                  <a:gd name="T27" fmla="*/ 97 h 474"/>
                  <a:gd name="T28" fmla="*/ 33 w 231"/>
                  <a:gd name="T29" fmla="*/ 87 h 474"/>
                  <a:gd name="T30" fmla="*/ 43 w 231"/>
                  <a:gd name="T31" fmla="*/ 85 h 474"/>
                  <a:gd name="T32" fmla="*/ 62 w 231"/>
                  <a:gd name="T33" fmla="*/ 76 h 474"/>
                  <a:gd name="T34" fmla="*/ 95 w 231"/>
                  <a:gd name="T35" fmla="*/ 75 h 474"/>
                  <a:gd name="T36" fmla="*/ 125 w 231"/>
                  <a:gd name="T37" fmla="*/ 41 h 474"/>
                  <a:gd name="T38" fmla="*/ 124 w 231"/>
                  <a:gd name="T39" fmla="*/ 39 h 474"/>
                  <a:gd name="T40" fmla="*/ 126 w 231"/>
                  <a:gd name="T41" fmla="*/ 28 h 474"/>
                  <a:gd name="T42" fmla="*/ 145 w 231"/>
                  <a:gd name="T43" fmla="*/ 10 h 474"/>
                  <a:gd name="T44" fmla="*/ 171 w 231"/>
                  <a:gd name="T45" fmla="*/ 15 h 474"/>
                  <a:gd name="T46" fmla="*/ 206 w 231"/>
                  <a:gd name="T47" fmla="*/ 47 h 474"/>
                  <a:gd name="T48" fmla="*/ 214 w 231"/>
                  <a:gd name="T49" fmla="*/ 55 h 474"/>
                  <a:gd name="T50" fmla="*/ 213 w 231"/>
                  <a:gd name="T51" fmla="*/ 57 h 474"/>
                  <a:gd name="T52" fmla="*/ 209 w 231"/>
                  <a:gd name="T53" fmla="*/ 85 h 474"/>
                  <a:gd name="T54" fmla="*/ 222 w 231"/>
                  <a:gd name="T55" fmla="*/ 123 h 474"/>
                  <a:gd name="T56" fmla="*/ 224 w 231"/>
                  <a:gd name="T57" fmla="*/ 153 h 474"/>
                  <a:gd name="T58" fmla="*/ 209 w 231"/>
                  <a:gd name="T59" fmla="*/ 164 h 474"/>
                  <a:gd name="T60" fmla="*/ 211 w 231"/>
                  <a:gd name="T61" fmla="*/ 183 h 474"/>
                  <a:gd name="T62" fmla="*/ 189 w 231"/>
                  <a:gd name="T63" fmla="*/ 202 h 474"/>
                  <a:gd name="T64" fmla="*/ 182 w 231"/>
                  <a:gd name="T65" fmla="*/ 217 h 474"/>
                  <a:gd name="T66" fmla="*/ 174 w 231"/>
                  <a:gd name="T67" fmla="*/ 243 h 474"/>
                  <a:gd name="T68" fmla="*/ 146 w 231"/>
                  <a:gd name="T69" fmla="*/ 262 h 474"/>
                  <a:gd name="T70" fmla="*/ 144 w 231"/>
                  <a:gd name="T71" fmla="*/ 297 h 474"/>
                  <a:gd name="T72" fmla="*/ 138 w 231"/>
                  <a:gd name="T73" fmla="*/ 341 h 474"/>
                  <a:gd name="T74" fmla="*/ 145 w 231"/>
                  <a:gd name="T75" fmla="*/ 375 h 474"/>
                  <a:gd name="T76" fmla="*/ 140 w 231"/>
                  <a:gd name="T77" fmla="*/ 414 h 474"/>
                  <a:gd name="T78" fmla="*/ 138 w 231"/>
                  <a:gd name="T79" fmla="*/ 463 h 474"/>
                  <a:gd name="T80" fmla="*/ 138 w 231"/>
                  <a:gd name="T81" fmla="*/ 464 h 474"/>
                  <a:gd name="T82" fmla="*/ 100 w 231"/>
                  <a:gd name="T83" fmla="*/ 467 h 474"/>
                  <a:gd name="T84" fmla="*/ 58 w 231"/>
                  <a:gd name="T85" fmla="*/ 474 h 474"/>
                  <a:gd name="T86" fmla="*/ 58 w 231"/>
                  <a:gd name="T87" fmla="*/ 473 h 474"/>
                  <a:gd name="T88" fmla="*/ 57 w 231"/>
                  <a:gd name="T89" fmla="*/ 470 h 474"/>
                  <a:gd name="T90" fmla="*/ 60 w 231"/>
                  <a:gd name="T91" fmla="*/ 469 h 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31" h="474">
                    <a:moveTo>
                      <a:pt x="60" y="469"/>
                    </a:moveTo>
                    <a:cubicBezTo>
                      <a:pt x="74" y="467"/>
                      <a:pt x="67" y="452"/>
                      <a:pt x="59" y="445"/>
                    </a:cubicBezTo>
                    <a:cubicBezTo>
                      <a:pt x="48" y="437"/>
                      <a:pt x="60" y="424"/>
                      <a:pt x="52" y="413"/>
                    </a:cubicBezTo>
                    <a:cubicBezTo>
                      <a:pt x="61" y="412"/>
                      <a:pt x="58" y="400"/>
                      <a:pt x="58" y="393"/>
                    </a:cubicBezTo>
                    <a:cubicBezTo>
                      <a:pt x="60" y="378"/>
                      <a:pt x="59" y="363"/>
                      <a:pt x="59" y="348"/>
                    </a:cubicBezTo>
                    <a:cubicBezTo>
                      <a:pt x="60" y="333"/>
                      <a:pt x="59" y="316"/>
                      <a:pt x="60" y="301"/>
                    </a:cubicBezTo>
                    <a:cubicBezTo>
                      <a:pt x="59" y="288"/>
                      <a:pt x="60" y="275"/>
                      <a:pt x="60" y="262"/>
                    </a:cubicBezTo>
                    <a:cubicBezTo>
                      <a:pt x="63" y="245"/>
                      <a:pt x="42" y="239"/>
                      <a:pt x="43" y="222"/>
                    </a:cubicBezTo>
                    <a:cubicBezTo>
                      <a:pt x="38" y="210"/>
                      <a:pt x="51" y="187"/>
                      <a:pt x="35" y="179"/>
                    </a:cubicBezTo>
                    <a:cubicBezTo>
                      <a:pt x="24" y="170"/>
                      <a:pt x="10" y="164"/>
                      <a:pt x="1" y="153"/>
                    </a:cubicBezTo>
                    <a:cubicBezTo>
                      <a:pt x="0" y="136"/>
                      <a:pt x="9" y="123"/>
                      <a:pt x="13" y="107"/>
                    </a:cubicBezTo>
                    <a:cubicBezTo>
                      <a:pt x="13" y="107"/>
                      <a:pt x="13" y="107"/>
                      <a:pt x="13" y="107"/>
                    </a:cubicBezTo>
                    <a:cubicBezTo>
                      <a:pt x="14" y="106"/>
                      <a:pt x="16" y="105"/>
                      <a:pt x="17" y="102"/>
                    </a:cubicBezTo>
                    <a:cubicBezTo>
                      <a:pt x="22" y="101"/>
                      <a:pt x="29" y="110"/>
                      <a:pt x="24" y="97"/>
                    </a:cubicBezTo>
                    <a:cubicBezTo>
                      <a:pt x="33" y="96"/>
                      <a:pt x="27" y="88"/>
                      <a:pt x="33" y="87"/>
                    </a:cubicBezTo>
                    <a:cubicBezTo>
                      <a:pt x="40" y="93"/>
                      <a:pt x="38" y="82"/>
                      <a:pt x="43" y="85"/>
                    </a:cubicBezTo>
                    <a:cubicBezTo>
                      <a:pt x="42" y="91"/>
                      <a:pt x="55" y="66"/>
                      <a:pt x="62" y="76"/>
                    </a:cubicBezTo>
                    <a:cubicBezTo>
                      <a:pt x="73" y="78"/>
                      <a:pt x="84" y="74"/>
                      <a:pt x="95" y="75"/>
                    </a:cubicBezTo>
                    <a:cubicBezTo>
                      <a:pt x="106" y="65"/>
                      <a:pt x="121" y="57"/>
                      <a:pt x="125" y="41"/>
                    </a:cubicBezTo>
                    <a:cubicBezTo>
                      <a:pt x="124" y="39"/>
                      <a:pt x="124" y="39"/>
                      <a:pt x="124" y="39"/>
                    </a:cubicBezTo>
                    <a:cubicBezTo>
                      <a:pt x="127" y="39"/>
                      <a:pt x="131" y="31"/>
                      <a:pt x="126" y="28"/>
                    </a:cubicBezTo>
                    <a:cubicBezTo>
                      <a:pt x="117" y="13"/>
                      <a:pt x="135" y="11"/>
                      <a:pt x="145" y="10"/>
                    </a:cubicBezTo>
                    <a:cubicBezTo>
                      <a:pt x="154" y="0"/>
                      <a:pt x="165" y="5"/>
                      <a:pt x="171" y="15"/>
                    </a:cubicBezTo>
                    <a:cubicBezTo>
                      <a:pt x="185" y="25"/>
                      <a:pt x="189" y="43"/>
                      <a:pt x="206" y="47"/>
                    </a:cubicBezTo>
                    <a:cubicBezTo>
                      <a:pt x="206" y="52"/>
                      <a:pt x="210" y="54"/>
                      <a:pt x="214" y="55"/>
                    </a:cubicBezTo>
                    <a:cubicBezTo>
                      <a:pt x="213" y="57"/>
                      <a:pt x="213" y="57"/>
                      <a:pt x="213" y="57"/>
                    </a:cubicBezTo>
                    <a:cubicBezTo>
                      <a:pt x="207" y="65"/>
                      <a:pt x="199" y="77"/>
                      <a:pt x="209" y="85"/>
                    </a:cubicBezTo>
                    <a:cubicBezTo>
                      <a:pt x="218" y="96"/>
                      <a:pt x="226" y="109"/>
                      <a:pt x="222" y="123"/>
                    </a:cubicBezTo>
                    <a:cubicBezTo>
                      <a:pt x="230" y="132"/>
                      <a:pt x="231" y="143"/>
                      <a:pt x="224" y="153"/>
                    </a:cubicBezTo>
                    <a:cubicBezTo>
                      <a:pt x="217" y="149"/>
                      <a:pt x="210" y="156"/>
                      <a:pt x="209" y="164"/>
                    </a:cubicBezTo>
                    <a:cubicBezTo>
                      <a:pt x="215" y="170"/>
                      <a:pt x="217" y="177"/>
                      <a:pt x="211" y="183"/>
                    </a:cubicBezTo>
                    <a:cubicBezTo>
                      <a:pt x="212" y="199"/>
                      <a:pt x="194" y="193"/>
                      <a:pt x="189" y="202"/>
                    </a:cubicBezTo>
                    <a:cubicBezTo>
                      <a:pt x="195" y="210"/>
                      <a:pt x="183" y="210"/>
                      <a:pt x="182" y="217"/>
                    </a:cubicBezTo>
                    <a:cubicBezTo>
                      <a:pt x="172" y="223"/>
                      <a:pt x="177" y="233"/>
                      <a:pt x="174" y="243"/>
                    </a:cubicBezTo>
                    <a:cubicBezTo>
                      <a:pt x="174" y="262"/>
                      <a:pt x="149" y="248"/>
                      <a:pt x="146" y="262"/>
                    </a:cubicBezTo>
                    <a:cubicBezTo>
                      <a:pt x="144" y="274"/>
                      <a:pt x="143" y="285"/>
                      <a:pt x="144" y="297"/>
                    </a:cubicBezTo>
                    <a:cubicBezTo>
                      <a:pt x="138" y="312"/>
                      <a:pt x="144" y="327"/>
                      <a:pt x="138" y="341"/>
                    </a:cubicBezTo>
                    <a:cubicBezTo>
                      <a:pt x="144" y="353"/>
                      <a:pt x="137" y="365"/>
                      <a:pt x="145" y="375"/>
                    </a:cubicBezTo>
                    <a:cubicBezTo>
                      <a:pt x="138" y="387"/>
                      <a:pt x="147" y="403"/>
                      <a:pt x="140" y="414"/>
                    </a:cubicBezTo>
                    <a:cubicBezTo>
                      <a:pt x="145" y="430"/>
                      <a:pt x="140" y="447"/>
                      <a:pt x="138" y="463"/>
                    </a:cubicBezTo>
                    <a:cubicBezTo>
                      <a:pt x="138" y="464"/>
                      <a:pt x="138" y="464"/>
                      <a:pt x="138" y="464"/>
                    </a:cubicBezTo>
                    <a:cubicBezTo>
                      <a:pt x="125" y="465"/>
                      <a:pt x="113" y="467"/>
                      <a:pt x="100" y="467"/>
                    </a:cubicBezTo>
                    <a:cubicBezTo>
                      <a:pt x="86" y="467"/>
                      <a:pt x="72" y="470"/>
                      <a:pt x="58" y="474"/>
                    </a:cubicBezTo>
                    <a:cubicBezTo>
                      <a:pt x="58" y="473"/>
                      <a:pt x="58" y="473"/>
                      <a:pt x="58" y="473"/>
                    </a:cubicBezTo>
                    <a:cubicBezTo>
                      <a:pt x="57" y="470"/>
                      <a:pt x="57" y="470"/>
                      <a:pt x="57" y="470"/>
                    </a:cubicBezTo>
                    <a:lnTo>
                      <a:pt x="60" y="469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61" name="Belize"/>
              <p:cNvSpPr>
                <a:spLocks/>
              </p:cNvSpPr>
              <p:nvPr>
                <p:custDataLst>
                  <p:tags r:id="rId120"/>
                </p:custDataLst>
              </p:nvPr>
            </p:nvSpPr>
            <p:spPr bwMode="auto">
              <a:xfrm rot="5400000">
                <a:off x="1913541" y="4010744"/>
                <a:ext cx="43990" cy="114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8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2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348738" name="Belgium"/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auto">
              <a:xfrm>
                <a:off x="4339157" y="2924731"/>
                <a:ext cx="77665" cy="50161"/>
              </a:xfrm>
              <a:custGeom>
                <a:avLst/>
                <a:gdLst>
                  <a:gd name="T0" fmla="*/ 22190 w 14"/>
                  <a:gd name="T1" fmla="*/ 0 h 9"/>
                  <a:gd name="T2" fmla="*/ 44380 w 14"/>
                  <a:gd name="T3" fmla="*/ 0 h 9"/>
                  <a:gd name="T4" fmla="*/ 77665 w 14"/>
                  <a:gd name="T5" fmla="*/ 16720 h 9"/>
                  <a:gd name="T6" fmla="*/ 77665 w 14"/>
                  <a:gd name="T7" fmla="*/ 39014 h 9"/>
                  <a:gd name="T8" fmla="*/ 66570 w 14"/>
                  <a:gd name="T9" fmla="*/ 50161 h 9"/>
                  <a:gd name="T10" fmla="*/ 44380 w 14"/>
                  <a:gd name="T11" fmla="*/ 50161 h 9"/>
                  <a:gd name="T12" fmla="*/ 44380 w 14"/>
                  <a:gd name="T13" fmla="*/ 39014 h 9"/>
                  <a:gd name="T14" fmla="*/ 33285 w 14"/>
                  <a:gd name="T15" fmla="*/ 50161 h 9"/>
                  <a:gd name="T16" fmla="*/ 0 w 14"/>
                  <a:gd name="T17" fmla="*/ 16720 h 9"/>
                  <a:gd name="T18" fmla="*/ 11095 w 14"/>
                  <a:gd name="T19" fmla="*/ 16720 h 9"/>
                  <a:gd name="T20" fmla="*/ 22190 w 14"/>
                  <a:gd name="T21" fmla="*/ 0 h 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4"/>
                  <a:gd name="T34" fmla="*/ 0 h 9"/>
                  <a:gd name="T35" fmla="*/ 14 w 14"/>
                  <a:gd name="T36" fmla="*/ 9 h 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4" h="9">
                    <a:moveTo>
                      <a:pt x="4" y="0"/>
                    </a:moveTo>
                    <a:lnTo>
                      <a:pt x="8" y="0"/>
                    </a:lnTo>
                    <a:lnTo>
                      <a:pt x="14" y="3"/>
                    </a:lnTo>
                    <a:lnTo>
                      <a:pt x="14" y="7"/>
                    </a:lnTo>
                    <a:lnTo>
                      <a:pt x="12" y="9"/>
                    </a:lnTo>
                    <a:lnTo>
                      <a:pt x="8" y="9"/>
                    </a:lnTo>
                    <a:lnTo>
                      <a:pt x="8" y="7"/>
                    </a:lnTo>
                    <a:lnTo>
                      <a:pt x="6" y="9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63" name="Belarus"/>
              <p:cNvSpPr>
                <a:spLocks/>
              </p:cNvSpPr>
              <p:nvPr>
                <p:custDataLst>
                  <p:tags r:id="rId122"/>
                </p:custDataLst>
              </p:nvPr>
            </p:nvSpPr>
            <p:spPr bwMode="auto">
              <a:xfrm>
                <a:off x="4800586" y="2774247"/>
                <a:ext cx="198909" cy="151096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0" y="25"/>
                  </a:cxn>
                  <a:cxn ang="0">
                    <a:pos x="2" y="27"/>
                  </a:cxn>
                  <a:cxn ang="0">
                    <a:pos x="11" y="25"/>
                  </a:cxn>
                  <a:cxn ang="0">
                    <a:pos x="19" y="27"/>
                  </a:cxn>
                  <a:cxn ang="0">
                    <a:pos x="25" y="27"/>
                  </a:cxn>
                  <a:cxn ang="0">
                    <a:pos x="29" y="27"/>
                  </a:cxn>
                  <a:cxn ang="0">
                    <a:pos x="29" y="25"/>
                  </a:cxn>
                  <a:cxn ang="0">
                    <a:pos x="34" y="25"/>
                  </a:cxn>
                  <a:cxn ang="0">
                    <a:pos x="29" y="18"/>
                  </a:cxn>
                  <a:cxn ang="0">
                    <a:pos x="36" y="18"/>
                  </a:cxn>
                  <a:cxn ang="0">
                    <a:pos x="36" y="14"/>
                  </a:cxn>
                  <a:cxn ang="0">
                    <a:pos x="34" y="14"/>
                  </a:cxn>
                  <a:cxn ang="0">
                    <a:pos x="29" y="9"/>
                  </a:cxn>
                  <a:cxn ang="0">
                    <a:pos x="27" y="3"/>
                  </a:cxn>
                  <a:cxn ang="0">
                    <a:pos x="19" y="0"/>
                  </a:cxn>
                  <a:cxn ang="0">
                    <a:pos x="13" y="3"/>
                  </a:cxn>
                  <a:cxn ang="0">
                    <a:pos x="13" y="5"/>
                  </a:cxn>
                  <a:cxn ang="0">
                    <a:pos x="9" y="9"/>
                  </a:cxn>
                  <a:cxn ang="0">
                    <a:pos x="11" y="12"/>
                  </a:cxn>
                  <a:cxn ang="0">
                    <a:pos x="0" y="12"/>
                  </a:cxn>
                  <a:cxn ang="0">
                    <a:pos x="0" y="16"/>
                  </a:cxn>
                  <a:cxn ang="0">
                    <a:pos x="2" y="18"/>
                  </a:cxn>
                </a:cxnLst>
                <a:rect l="0" t="0" r="r" b="b"/>
                <a:pathLst>
                  <a:path w="36" h="27">
                    <a:moveTo>
                      <a:pt x="2" y="18"/>
                    </a:moveTo>
                    <a:lnTo>
                      <a:pt x="0" y="25"/>
                    </a:lnTo>
                    <a:lnTo>
                      <a:pt x="2" y="27"/>
                    </a:lnTo>
                    <a:lnTo>
                      <a:pt x="11" y="25"/>
                    </a:lnTo>
                    <a:lnTo>
                      <a:pt x="19" y="27"/>
                    </a:lnTo>
                    <a:lnTo>
                      <a:pt x="25" y="27"/>
                    </a:lnTo>
                    <a:lnTo>
                      <a:pt x="29" y="27"/>
                    </a:lnTo>
                    <a:lnTo>
                      <a:pt x="29" y="25"/>
                    </a:lnTo>
                    <a:lnTo>
                      <a:pt x="34" y="25"/>
                    </a:lnTo>
                    <a:lnTo>
                      <a:pt x="29" y="18"/>
                    </a:lnTo>
                    <a:lnTo>
                      <a:pt x="36" y="18"/>
                    </a:lnTo>
                    <a:lnTo>
                      <a:pt x="36" y="14"/>
                    </a:lnTo>
                    <a:lnTo>
                      <a:pt x="34" y="14"/>
                    </a:lnTo>
                    <a:lnTo>
                      <a:pt x="29" y="9"/>
                    </a:lnTo>
                    <a:lnTo>
                      <a:pt x="27" y="3"/>
                    </a:lnTo>
                    <a:lnTo>
                      <a:pt x="19" y="0"/>
                    </a:lnTo>
                    <a:lnTo>
                      <a:pt x="13" y="3"/>
                    </a:lnTo>
                    <a:lnTo>
                      <a:pt x="13" y="5"/>
                    </a:lnTo>
                    <a:lnTo>
                      <a:pt x="9" y="9"/>
                    </a:lnTo>
                    <a:lnTo>
                      <a:pt x="11" y="12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18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664" name="Barbados"/>
              <p:cNvGrpSpPr/>
              <p:nvPr/>
            </p:nvGrpSpPr>
            <p:grpSpPr>
              <a:xfrm>
                <a:off x="3239852" y="4451133"/>
                <a:ext cx="66570" cy="222546"/>
                <a:chOff x="3239852" y="4432044"/>
                <a:chExt cx="66570" cy="222546"/>
              </a:xfrm>
              <a:solidFill>
                <a:schemeClr val="accent3"/>
              </a:solidFill>
            </p:grpSpPr>
            <p:sp>
              <p:nvSpPr>
                <p:cNvPr id="708" name="Barbados"/>
                <p:cNvSpPr>
                  <a:spLocks/>
                </p:cNvSpPr>
                <p:nvPr/>
              </p:nvSpPr>
              <p:spPr bwMode="auto">
                <a:xfrm>
                  <a:off x="3239852" y="4432044"/>
                  <a:ext cx="44380" cy="11147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8" y="0"/>
                    </a:cxn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8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09" name="Barbados"/>
                <p:cNvSpPr>
                  <a:spLocks/>
                </p:cNvSpPr>
                <p:nvPr/>
              </p:nvSpPr>
              <p:spPr bwMode="auto">
                <a:xfrm>
                  <a:off x="3259514" y="4643443"/>
                  <a:ext cx="44380" cy="11147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8" y="0"/>
                    </a:cxn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8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10" name="Barbados"/>
                <p:cNvSpPr>
                  <a:spLocks/>
                </p:cNvSpPr>
                <p:nvPr/>
              </p:nvSpPr>
              <p:spPr bwMode="auto">
                <a:xfrm>
                  <a:off x="3262042" y="4556083"/>
                  <a:ext cx="44380" cy="11147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8" y="0"/>
                    </a:cxn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8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48741" name="Bangladesch"/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auto">
              <a:xfrm>
                <a:off x="6491587" y="3732879"/>
                <a:ext cx="127592" cy="161630"/>
              </a:xfrm>
              <a:custGeom>
                <a:avLst/>
                <a:gdLst>
                  <a:gd name="T0" fmla="*/ 11095 w 23"/>
                  <a:gd name="T1" fmla="*/ 61308 h 29"/>
                  <a:gd name="T2" fmla="*/ 0 w 23"/>
                  <a:gd name="T3" fmla="*/ 50161 h 29"/>
                  <a:gd name="T4" fmla="*/ 11095 w 23"/>
                  <a:gd name="T5" fmla="*/ 22294 h 29"/>
                  <a:gd name="T6" fmla="*/ 0 w 23"/>
                  <a:gd name="T7" fmla="*/ 11147 h 29"/>
                  <a:gd name="T8" fmla="*/ 0 w 23"/>
                  <a:gd name="T9" fmla="*/ 0 h 29"/>
                  <a:gd name="T10" fmla="*/ 11095 w 23"/>
                  <a:gd name="T11" fmla="*/ 0 h 29"/>
                  <a:gd name="T12" fmla="*/ 33285 w 23"/>
                  <a:gd name="T13" fmla="*/ 0 h 29"/>
                  <a:gd name="T14" fmla="*/ 44380 w 23"/>
                  <a:gd name="T15" fmla="*/ 22294 h 29"/>
                  <a:gd name="T16" fmla="*/ 116497 w 23"/>
                  <a:gd name="T17" fmla="*/ 22294 h 29"/>
                  <a:gd name="T18" fmla="*/ 77665 w 23"/>
                  <a:gd name="T19" fmla="*/ 61308 h 29"/>
                  <a:gd name="T20" fmla="*/ 77665 w 23"/>
                  <a:gd name="T21" fmla="*/ 72455 h 29"/>
                  <a:gd name="T22" fmla="*/ 116497 w 23"/>
                  <a:gd name="T23" fmla="*/ 100322 h 29"/>
                  <a:gd name="T24" fmla="*/ 116497 w 23"/>
                  <a:gd name="T25" fmla="*/ 72455 h 29"/>
                  <a:gd name="T26" fmla="*/ 127592 w 23"/>
                  <a:gd name="T27" fmla="*/ 122616 h 29"/>
                  <a:gd name="T28" fmla="*/ 127592 w 23"/>
                  <a:gd name="T29" fmla="*/ 161630 h 29"/>
                  <a:gd name="T30" fmla="*/ 94307 w 23"/>
                  <a:gd name="T31" fmla="*/ 111469 h 29"/>
                  <a:gd name="T32" fmla="*/ 77665 w 23"/>
                  <a:gd name="T33" fmla="*/ 150483 h 29"/>
                  <a:gd name="T34" fmla="*/ 33285 w 23"/>
                  <a:gd name="T35" fmla="*/ 150483 h 29"/>
                  <a:gd name="T36" fmla="*/ 22190 w 23"/>
                  <a:gd name="T37" fmla="*/ 111469 h 29"/>
                  <a:gd name="T38" fmla="*/ 11095 w 23"/>
                  <a:gd name="T39" fmla="*/ 61308 h 29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3"/>
                  <a:gd name="T61" fmla="*/ 0 h 29"/>
                  <a:gd name="T62" fmla="*/ 23 w 23"/>
                  <a:gd name="T63" fmla="*/ 29 h 29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3" h="29">
                    <a:moveTo>
                      <a:pt x="2" y="11"/>
                    </a:moveTo>
                    <a:lnTo>
                      <a:pt x="0" y="9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8" y="4"/>
                    </a:lnTo>
                    <a:lnTo>
                      <a:pt x="21" y="4"/>
                    </a:lnTo>
                    <a:lnTo>
                      <a:pt x="14" y="11"/>
                    </a:lnTo>
                    <a:lnTo>
                      <a:pt x="14" y="13"/>
                    </a:lnTo>
                    <a:lnTo>
                      <a:pt x="21" y="18"/>
                    </a:lnTo>
                    <a:lnTo>
                      <a:pt x="21" y="13"/>
                    </a:lnTo>
                    <a:lnTo>
                      <a:pt x="23" y="22"/>
                    </a:lnTo>
                    <a:lnTo>
                      <a:pt x="23" y="29"/>
                    </a:lnTo>
                    <a:lnTo>
                      <a:pt x="17" y="20"/>
                    </a:lnTo>
                    <a:lnTo>
                      <a:pt x="14" y="27"/>
                    </a:lnTo>
                    <a:lnTo>
                      <a:pt x="6" y="27"/>
                    </a:lnTo>
                    <a:lnTo>
                      <a:pt x="4" y="20"/>
                    </a:lnTo>
                    <a:lnTo>
                      <a:pt x="2" y="11"/>
                    </a:lnTo>
                    <a:close/>
                  </a:path>
                </a:pathLst>
              </a:custGeom>
              <a:solidFill>
                <a:srgbClr val="EE8B8B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66" name="Bahrain"/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auto">
              <a:xfrm>
                <a:off x="5533104" y="3743936"/>
                <a:ext cx="32515" cy="4972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4" y="0"/>
                  </a:cxn>
                  <a:cxn ang="0">
                    <a:pos x="6" y="0"/>
                  </a:cxn>
                  <a:cxn ang="0">
                    <a:pos x="6" y="7"/>
                  </a:cxn>
                  <a:cxn ang="0">
                    <a:pos x="4" y="9"/>
                  </a:cxn>
                  <a:cxn ang="0">
                    <a:pos x="2" y="7"/>
                  </a:cxn>
                  <a:cxn ang="0">
                    <a:pos x="0" y="2"/>
                  </a:cxn>
                </a:cxnLst>
                <a:rect l="0" t="0" r="r" b="b"/>
                <a:pathLst>
                  <a:path w="6" h="9">
                    <a:moveTo>
                      <a:pt x="0" y="2"/>
                    </a:moveTo>
                    <a:lnTo>
                      <a:pt x="4" y="0"/>
                    </a:lnTo>
                    <a:lnTo>
                      <a:pt x="6" y="0"/>
                    </a:lnTo>
                    <a:lnTo>
                      <a:pt x="6" y="7"/>
                    </a:lnTo>
                    <a:lnTo>
                      <a:pt x="4" y="9"/>
                    </a:lnTo>
                    <a:lnTo>
                      <a:pt x="2" y="7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667" name="Bahamas"/>
              <p:cNvGrpSpPr/>
              <p:nvPr/>
            </p:nvGrpSpPr>
            <p:grpSpPr>
              <a:xfrm>
                <a:off x="2231107" y="3716159"/>
                <a:ext cx="88761" cy="117043"/>
                <a:chOff x="2231107" y="3697070"/>
                <a:chExt cx="88761" cy="117043"/>
              </a:xfrm>
              <a:solidFill>
                <a:schemeClr val="accent3"/>
              </a:solidFill>
            </p:grpSpPr>
            <p:sp>
              <p:nvSpPr>
                <p:cNvPr id="699" name="Bahamas"/>
                <p:cNvSpPr>
                  <a:spLocks/>
                </p:cNvSpPr>
                <p:nvPr/>
              </p:nvSpPr>
              <p:spPr bwMode="auto">
                <a:xfrm>
                  <a:off x="2231107" y="3736084"/>
                  <a:ext cx="22190" cy="5016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5"/>
                    </a:cxn>
                    <a:cxn ang="0">
                      <a:pos x="4" y="9"/>
                    </a:cxn>
                    <a:cxn ang="0">
                      <a:pos x="4" y="5"/>
                    </a:cxn>
                    <a:cxn ang="0">
                      <a:pos x="4" y="2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9">
                      <a:moveTo>
                        <a:pt x="4" y="0"/>
                      </a:moveTo>
                      <a:lnTo>
                        <a:pt x="0" y="5"/>
                      </a:lnTo>
                      <a:lnTo>
                        <a:pt x="4" y="9"/>
                      </a:lnTo>
                      <a:lnTo>
                        <a:pt x="4" y="5"/>
                      </a:lnTo>
                      <a:lnTo>
                        <a:pt x="4" y="2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00" name="Bahamas"/>
                <p:cNvSpPr>
                  <a:spLocks noChangeShapeType="1"/>
                </p:cNvSpPr>
                <p:nvPr/>
              </p:nvSpPr>
              <p:spPr bwMode="auto">
                <a:xfrm>
                  <a:off x="2231107" y="3697070"/>
                  <a:ext cx="33285" cy="27867"/>
                </a:xfrm>
                <a:prstGeom prst="line">
                  <a:avLst/>
                </a:pr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01" name="Bahamas"/>
                <p:cNvSpPr>
                  <a:spLocks noChangeShapeType="1"/>
                </p:cNvSpPr>
                <p:nvPr/>
              </p:nvSpPr>
              <p:spPr bwMode="auto">
                <a:xfrm>
                  <a:off x="2264392" y="3697070"/>
                  <a:ext cx="22190" cy="27867"/>
                </a:xfrm>
                <a:prstGeom prst="line">
                  <a:avLst/>
                </a:pr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02" name="Bahamas"/>
                <p:cNvSpPr>
                  <a:spLocks noChangeShapeType="1"/>
                </p:cNvSpPr>
                <p:nvPr/>
              </p:nvSpPr>
              <p:spPr bwMode="auto">
                <a:xfrm>
                  <a:off x="2286582" y="3724937"/>
                  <a:ext cx="5548" cy="11147"/>
                </a:xfrm>
                <a:prstGeom prst="line">
                  <a:avLst/>
                </a:pr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03" name="Bahamas"/>
                <p:cNvSpPr>
                  <a:spLocks noChangeShapeType="1"/>
                </p:cNvSpPr>
                <p:nvPr/>
              </p:nvSpPr>
              <p:spPr bwMode="auto">
                <a:xfrm>
                  <a:off x="2286582" y="3747230"/>
                  <a:ext cx="11095" cy="5574"/>
                </a:xfrm>
                <a:prstGeom prst="line">
                  <a:avLst/>
                </a:pr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04" name="Bahamas"/>
                <p:cNvSpPr>
                  <a:spLocks noChangeShapeType="1"/>
                </p:cNvSpPr>
                <p:nvPr/>
              </p:nvSpPr>
              <p:spPr bwMode="auto">
                <a:xfrm>
                  <a:off x="2297676" y="3747230"/>
                  <a:ext cx="5548" cy="27867"/>
                </a:xfrm>
                <a:prstGeom prst="line">
                  <a:avLst/>
                </a:pr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05" name="Bahamas"/>
                <p:cNvSpPr>
                  <a:spLocks noChangeShapeType="1"/>
                </p:cNvSpPr>
                <p:nvPr/>
              </p:nvSpPr>
              <p:spPr bwMode="auto">
                <a:xfrm>
                  <a:off x="2314320" y="3775098"/>
                  <a:ext cx="5548" cy="11147"/>
                </a:xfrm>
                <a:prstGeom prst="line">
                  <a:avLst/>
                </a:pr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06" name="Bahamas"/>
                <p:cNvSpPr>
                  <a:spLocks/>
                </p:cNvSpPr>
                <p:nvPr/>
              </p:nvSpPr>
              <p:spPr bwMode="auto">
                <a:xfrm>
                  <a:off x="2264392" y="3763952"/>
                  <a:ext cx="22190" cy="5016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5"/>
                    </a:cxn>
                    <a:cxn ang="0">
                      <a:pos x="4" y="9"/>
                    </a:cxn>
                    <a:cxn ang="0">
                      <a:pos x="4" y="5"/>
                    </a:cxn>
                    <a:cxn ang="0">
                      <a:pos x="4" y="2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9">
                      <a:moveTo>
                        <a:pt x="4" y="0"/>
                      </a:moveTo>
                      <a:lnTo>
                        <a:pt x="0" y="5"/>
                      </a:lnTo>
                      <a:lnTo>
                        <a:pt x="4" y="9"/>
                      </a:lnTo>
                      <a:lnTo>
                        <a:pt x="4" y="5"/>
                      </a:lnTo>
                      <a:lnTo>
                        <a:pt x="4" y="2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707" name="Bahamas"/>
                <p:cNvSpPr>
                  <a:spLocks/>
                </p:cNvSpPr>
                <p:nvPr/>
              </p:nvSpPr>
              <p:spPr bwMode="auto">
                <a:xfrm>
                  <a:off x="2253297" y="3750016"/>
                  <a:ext cx="22190" cy="5016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5"/>
                    </a:cxn>
                    <a:cxn ang="0">
                      <a:pos x="4" y="9"/>
                    </a:cxn>
                    <a:cxn ang="0">
                      <a:pos x="4" y="5"/>
                    </a:cxn>
                    <a:cxn ang="0">
                      <a:pos x="4" y="2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9">
                      <a:moveTo>
                        <a:pt x="4" y="0"/>
                      </a:moveTo>
                      <a:lnTo>
                        <a:pt x="0" y="5"/>
                      </a:lnTo>
                      <a:lnTo>
                        <a:pt x="4" y="9"/>
                      </a:lnTo>
                      <a:lnTo>
                        <a:pt x="4" y="5"/>
                      </a:lnTo>
                      <a:lnTo>
                        <a:pt x="4" y="2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668" name="Azerbaijan"/>
              <p:cNvSpPr>
                <a:spLocks/>
              </p:cNvSpPr>
              <p:nvPr>
                <p:custDataLst>
                  <p:tags r:id="rId125"/>
                </p:custDataLst>
              </p:nvPr>
            </p:nvSpPr>
            <p:spPr bwMode="auto">
              <a:xfrm>
                <a:off x="5343759" y="3225621"/>
                <a:ext cx="128142" cy="99455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7" y="5"/>
                  </a:cxn>
                  <a:cxn ang="0">
                    <a:pos x="23" y="7"/>
                  </a:cxn>
                  <a:cxn ang="0">
                    <a:pos x="21" y="9"/>
                  </a:cxn>
                  <a:cxn ang="0">
                    <a:pos x="21" y="16"/>
                  </a:cxn>
                  <a:cxn ang="0">
                    <a:pos x="17" y="16"/>
                  </a:cxn>
                  <a:cxn ang="0">
                    <a:pos x="21" y="18"/>
                  </a:cxn>
                  <a:cxn ang="0">
                    <a:pos x="15" y="16"/>
                  </a:cxn>
                  <a:cxn ang="0">
                    <a:pos x="15" y="14"/>
                  </a:cxn>
                  <a:cxn ang="0">
                    <a:pos x="9" y="16"/>
                  </a:cxn>
                  <a:cxn ang="0">
                    <a:pos x="7" y="9"/>
                  </a:cxn>
                  <a:cxn ang="0">
                    <a:pos x="2" y="9"/>
                  </a:cxn>
                  <a:cxn ang="0">
                    <a:pos x="2" y="7"/>
                  </a:cxn>
                  <a:cxn ang="0">
                    <a:pos x="0" y="5"/>
                  </a:cxn>
                  <a:cxn ang="0">
                    <a:pos x="0" y="0"/>
                  </a:cxn>
                  <a:cxn ang="0">
                    <a:pos x="7" y="0"/>
                  </a:cxn>
                  <a:cxn ang="0">
                    <a:pos x="9" y="5"/>
                  </a:cxn>
                  <a:cxn ang="0">
                    <a:pos x="11" y="5"/>
                  </a:cxn>
                  <a:cxn ang="0">
                    <a:pos x="13" y="3"/>
                  </a:cxn>
                  <a:cxn ang="0">
                    <a:pos x="15" y="0"/>
                  </a:cxn>
                </a:cxnLst>
                <a:rect l="0" t="0" r="r" b="b"/>
                <a:pathLst>
                  <a:path w="23" h="18">
                    <a:moveTo>
                      <a:pt x="15" y="0"/>
                    </a:moveTo>
                    <a:lnTo>
                      <a:pt x="17" y="5"/>
                    </a:lnTo>
                    <a:lnTo>
                      <a:pt x="23" y="7"/>
                    </a:lnTo>
                    <a:lnTo>
                      <a:pt x="21" y="9"/>
                    </a:lnTo>
                    <a:lnTo>
                      <a:pt x="21" y="16"/>
                    </a:lnTo>
                    <a:lnTo>
                      <a:pt x="17" y="16"/>
                    </a:lnTo>
                    <a:lnTo>
                      <a:pt x="21" y="18"/>
                    </a:lnTo>
                    <a:lnTo>
                      <a:pt x="15" y="16"/>
                    </a:lnTo>
                    <a:lnTo>
                      <a:pt x="15" y="14"/>
                    </a:lnTo>
                    <a:lnTo>
                      <a:pt x="9" y="16"/>
                    </a:lnTo>
                    <a:lnTo>
                      <a:pt x="7" y="9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9" y="5"/>
                    </a:lnTo>
                    <a:lnTo>
                      <a:pt x="11" y="5"/>
                    </a:lnTo>
                    <a:lnTo>
                      <a:pt x="13" y="3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69" name="Austria"/>
              <p:cNvSpPr>
                <a:spLocks/>
              </p:cNvSpPr>
              <p:nvPr>
                <p:custDataLst>
                  <p:tags r:id="rId126"/>
                </p:custDataLst>
              </p:nvPr>
            </p:nvSpPr>
            <p:spPr bwMode="auto">
              <a:xfrm>
                <a:off x="4500309" y="2992284"/>
                <a:ext cx="172132" cy="82242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0" y="13"/>
                  </a:cxn>
                  <a:cxn ang="0">
                    <a:pos x="2" y="13"/>
                  </a:cxn>
                  <a:cxn ang="0">
                    <a:pos x="8" y="13"/>
                  </a:cxn>
                  <a:cxn ang="0">
                    <a:pos x="10" y="13"/>
                  </a:cxn>
                  <a:cxn ang="0">
                    <a:pos x="17" y="15"/>
                  </a:cxn>
                  <a:cxn ang="0">
                    <a:pos x="25" y="13"/>
                  </a:cxn>
                  <a:cxn ang="0">
                    <a:pos x="31" y="6"/>
                  </a:cxn>
                  <a:cxn ang="0">
                    <a:pos x="27" y="4"/>
                  </a:cxn>
                  <a:cxn ang="0">
                    <a:pos x="23" y="0"/>
                  </a:cxn>
                  <a:cxn ang="0">
                    <a:pos x="19" y="4"/>
                  </a:cxn>
                  <a:cxn ang="0">
                    <a:pos x="17" y="4"/>
                  </a:cxn>
                  <a:cxn ang="0">
                    <a:pos x="10" y="6"/>
                  </a:cxn>
                  <a:cxn ang="0">
                    <a:pos x="15" y="9"/>
                  </a:cxn>
                  <a:cxn ang="0">
                    <a:pos x="6" y="9"/>
                  </a:cxn>
                  <a:cxn ang="0">
                    <a:pos x="0" y="9"/>
                  </a:cxn>
                </a:cxnLst>
                <a:rect l="0" t="0" r="r" b="b"/>
                <a:pathLst>
                  <a:path w="31" h="15">
                    <a:moveTo>
                      <a:pt x="0" y="9"/>
                    </a:moveTo>
                    <a:lnTo>
                      <a:pt x="0" y="13"/>
                    </a:lnTo>
                    <a:lnTo>
                      <a:pt x="2" y="13"/>
                    </a:lnTo>
                    <a:lnTo>
                      <a:pt x="8" y="13"/>
                    </a:lnTo>
                    <a:lnTo>
                      <a:pt x="10" y="13"/>
                    </a:lnTo>
                    <a:lnTo>
                      <a:pt x="17" y="15"/>
                    </a:lnTo>
                    <a:lnTo>
                      <a:pt x="25" y="13"/>
                    </a:lnTo>
                    <a:lnTo>
                      <a:pt x="31" y="6"/>
                    </a:lnTo>
                    <a:lnTo>
                      <a:pt x="27" y="4"/>
                    </a:lnTo>
                    <a:lnTo>
                      <a:pt x="23" y="0"/>
                    </a:lnTo>
                    <a:lnTo>
                      <a:pt x="19" y="4"/>
                    </a:lnTo>
                    <a:lnTo>
                      <a:pt x="17" y="4"/>
                    </a:lnTo>
                    <a:lnTo>
                      <a:pt x="10" y="6"/>
                    </a:lnTo>
                    <a:lnTo>
                      <a:pt x="15" y="9"/>
                    </a:lnTo>
                    <a:lnTo>
                      <a:pt x="6" y="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grpSp>
            <p:nvGrpSpPr>
              <p:cNvPr id="670" name="Australia"/>
              <p:cNvGrpSpPr/>
              <p:nvPr/>
            </p:nvGrpSpPr>
            <p:grpSpPr>
              <a:xfrm>
                <a:off x="7118455" y="4797406"/>
                <a:ext cx="1577472" cy="1181568"/>
                <a:chOff x="7118455" y="4778317"/>
                <a:chExt cx="1577472" cy="1181568"/>
              </a:xfrm>
              <a:solidFill>
                <a:srgbClr val="EE8B8B"/>
              </a:solidFill>
            </p:grpSpPr>
            <p:sp>
              <p:nvSpPr>
                <p:cNvPr id="684" name="Australia"/>
                <p:cNvSpPr>
                  <a:spLocks noChangeShapeType="1"/>
                </p:cNvSpPr>
                <p:nvPr/>
              </p:nvSpPr>
              <p:spPr bwMode="auto">
                <a:xfrm>
                  <a:off x="8333357" y="4778317"/>
                  <a:ext cx="33285" cy="22294"/>
                </a:xfrm>
                <a:prstGeom prst="line">
                  <a:avLst/>
                </a:pr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85" name="Australia"/>
                <p:cNvSpPr>
                  <a:spLocks noChangeShapeType="1"/>
                </p:cNvSpPr>
                <p:nvPr/>
              </p:nvSpPr>
              <p:spPr bwMode="auto">
                <a:xfrm>
                  <a:off x="8366642" y="4828477"/>
                  <a:ext cx="5548" cy="11147"/>
                </a:xfrm>
                <a:prstGeom prst="line">
                  <a:avLst/>
                </a:pr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86" name="Australia"/>
                <p:cNvSpPr>
                  <a:spLocks noChangeShapeType="1"/>
                </p:cNvSpPr>
                <p:nvPr/>
              </p:nvSpPr>
              <p:spPr bwMode="auto">
                <a:xfrm>
                  <a:off x="8388832" y="4800611"/>
                  <a:ext cx="33285" cy="39014"/>
                </a:xfrm>
                <a:prstGeom prst="line">
                  <a:avLst/>
                </a:pr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87" name="Australia"/>
                <p:cNvSpPr>
                  <a:spLocks noChangeShapeType="1"/>
                </p:cNvSpPr>
                <p:nvPr/>
              </p:nvSpPr>
              <p:spPr bwMode="auto">
                <a:xfrm>
                  <a:off x="8433212" y="4839625"/>
                  <a:ext cx="27737" cy="39014"/>
                </a:xfrm>
                <a:prstGeom prst="line">
                  <a:avLst/>
                </a:pr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88" name="Australia"/>
                <p:cNvSpPr>
                  <a:spLocks/>
                </p:cNvSpPr>
                <p:nvPr/>
              </p:nvSpPr>
              <p:spPr bwMode="auto">
                <a:xfrm>
                  <a:off x="8411022" y="4839625"/>
                  <a:ext cx="22190" cy="3901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4" y="7"/>
                    </a:cxn>
                    <a:cxn ang="0">
                      <a:pos x="4" y="5"/>
                    </a:cxn>
                    <a:cxn ang="0">
                      <a:pos x="2" y="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" h="7">
                      <a:moveTo>
                        <a:pt x="0" y="0"/>
                      </a:moveTo>
                      <a:lnTo>
                        <a:pt x="0" y="5"/>
                      </a:lnTo>
                      <a:lnTo>
                        <a:pt x="4" y="7"/>
                      </a:lnTo>
                      <a:lnTo>
                        <a:pt x="4" y="5"/>
                      </a:lnTo>
                      <a:lnTo>
                        <a:pt x="2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89" name="Australia"/>
                <p:cNvSpPr>
                  <a:spLocks/>
                </p:cNvSpPr>
                <p:nvPr/>
              </p:nvSpPr>
              <p:spPr bwMode="auto">
                <a:xfrm>
                  <a:off x="8460949" y="4878638"/>
                  <a:ext cx="22190" cy="2229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" y="4"/>
                    </a:cxn>
                    <a:cxn ang="0">
                      <a:pos x="4" y="4"/>
                    </a:cxn>
                    <a:cxn ang="0">
                      <a:pos x="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" h="4">
                      <a:moveTo>
                        <a:pt x="0" y="0"/>
                      </a:move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90" name="Australia"/>
                <p:cNvSpPr>
                  <a:spLocks noChangeShapeType="1"/>
                </p:cNvSpPr>
                <p:nvPr/>
              </p:nvSpPr>
              <p:spPr bwMode="auto">
                <a:xfrm flipV="1">
                  <a:off x="8571899" y="5040269"/>
                  <a:ext cx="5548" cy="27867"/>
                </a:xfrm>
                <a:prstGeom prst="line">
                  <a:avLst/>
                </a:pr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91" name="Australia"/>
                <p:cNvSpPr>
                  <a:spLocks/>
                </p:cNvSpPr>
                <p:nvPr/>
              </p:nvSpPr>
              <p:spPr bwMode="auto">
                <a:xfrm>
                  <a:off x="8571899" y="5068135"/>
                  <a:ext cx="27737" cy="1114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3" y="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5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92" name="New Caledonie"/>
                <p:cNvSpPr>
                  <a:spLocks/>
                </p:cNvSpPr>
                <p:nvPr/>
              </p:nvSpPr>
              <p:spPr bwMode="auto">
                <a:xfrm>
                  <a:off x="8472045" y="5207471"/>
                  <a:ext cx="55475" cy="6130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" y="6"/>
                    </a:cxn>
                    <a:cxn ang="0">
                      <a:pos x="8" y="11"/>
                    </a:cxn>
                    <a:cxn ang="0">
                      <a:pos x="10" y="11"/>
                    </a:cxn>
                    <a:cxn ang="0">
                      <a:pos x="6" y="2"/>
                    </a:cxn>
                    <a:cxn ang="0">
                      <a:pos x="2" y="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" h="11">
                      <a:moveTo>
                        <a:pt x="0" y="0"/>
                      </a:moveTo>
                      <a:lnTo>
                        <a:pt x="2" y="6"/>
                      </a:lnTo>
                      <a:lnTo>
                        <a:pt x="8" y="11"/>
                      </a:lnTo>
                      <a:lnTo>
                        <a:pt x="10" y="11"/>
                      </a:lnTo>
                      <a:lnTo>
                        <a:pt x="6" y="2"/>
                      </a:lnTo>
                      <a:lnTo>
                        <a:pt x="2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93" name="Timor-Leste"/>
                <p:cNvSpPr>
                  <a:spLocks/>
                </p:cNvSpPr>
                <p:nvPr/>
              </p:nvSpPr>
              <p:spPr bwMode="auto">
                <a:xfrm>
                  <a:off x="7634372" y="4917653"/>
                  <a:ext cx="38833" cy="33441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3" y="6"/>
                    </a:cxn>
                    <a:cxn ang="0">
                      <a:pos x="7" y="2"/>
                    </a:cxn>
                    <a:cxn ang="0">
                      <a:pos x="7" y="0"/>
                    </a:cxn>
                    <a:cxn ang="0">
                      <a:pos x="0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7" h="6">
                      <a:moveTo>
                        <a:pt x="0" y="2"/>
                      </a:moveTo>
                      <a:lnTo>
                        <a:pt x="3" y="6"/>
                      </a:ln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94" name="Tasmania"/>
                <p:cNvSpPr>
                  <a:spLocks/>
                </p:cNvSpPr>
                <p:nvPr/>
              </p:nvSpPr>
              <p:spPr bwMode="auto">
                <a:xfrm>
                  <a:off x="7728680" y="5870710"/>
                  <a:ext cx="94308" cy="89175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11"/>
                    </a:cxn>
                    <a:cxn ang="0">
                      <a:pos x="0" y="16"/>
                    </a:cxn>
                    <a:cxn ang="0">
                      <a:pos x="4" y="16"/>
                    </a:cxn>
                    <a:cxn ang="0">
                      <a:pos x="8" y="11"/>
                    </a:cxn>
                    <a:cxn ang="0">
                      <a:pos x="17" y="0"/>
                    </a:cxn>
                    <a:cxn ang="0">
                      <a:pos x="8" y="2"/>
                    </a:cxn>
                    <a:cxn ang="0">
                      <a:pos x="6" y="2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17" h="16">
                      <a:moveTo>
                        <a:pt x="4" y="0"/>
                      </a:moveTo>
                      <a:lnTo>
                        <a:pt x="0" y="11"/>
                      </a:lnTo>
                      <a:lnTo>
                        <a:pt x="0" y="16"/>
                      </a:lnTo>
                      <a:lnTo>
                        <a:pt x="4" y="16"/>
                      </a:lnTo>
                      <a:lnTo>
                        <a:pt x="8" y="11"/>
                      </a:lnTo>
                      <a:lnTo>
                        <a:pt x="17" y="0"/>
                      </a:lnTo>
                      <a:lnTo>
                        <a:pt x="8" y="2"/>
                      </a:lnTo>
                      <a:lnTo>
                        <a:pt x="6" y="2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95" name="Samoa"/>
                <p:cNvSpPr>
                  <a:spLocks/>
                </p:cNvSpPr>
                <p:nvPr/>
              </p:nvSpPr>
              <p:spPr bwMode="auto">
                <a:xfrm>
                  <a:off x="8640452" y="4810119"/>
                  <a:ext cx="16176" cy="18359"/>
                </a:xfrm>
                <a:custGeom>
                  <a:avLst/>
                  <a:gdLst>
                    <a:gd name="T0" fmla="*/ 37 w 43"/>
                    <a:gd name="T1" fmla="*/ 22 h 43"/>
                    <a:gd name="T2" fmla="*/ 41 w 43"/>
                    <a:gd name="T3" fmla="*/ 28 h 43"/>
                    <a:gd name="T4" fmla="*/ 37 w 43"/>
                    <a:gd name="T5" fmla="*/ 35 h 43"/>
                    <a:gd name="T6" fmla="*/ 34 w 43"/>
                    <a:gd name="T7" fmla="*/ 42 h 43"/>
                    <a:gd name="T8" fmla="*/ 23 w 43"/>
                    <a:gd name="T9" fmla="*/ 43 h 43"/>
                    <a:gd name="T10" fmla="*/ 16 w 43"/>
                    <a:gd name="T11" fmla="*/ 40 h 43"/>
                    <a:gd name="T12" fmla="*/ 10 w 43"/>
                    <a:gd name="T13" fmla="*/ 36 h 43"/>
                    <a:gd name="T14" fmla="*/ 5 w 43"/>
                    <a:gd name="T15" fmla="*/ 31 h 43"/>
                    <a:gd name="T16" fmla="*/ 4 w 43"/>
                    <a:gd name="T17" fmla="*/ 24 h 43"/>
                    <a:gd name="T18" fmla="*/ 1 w 43"/>
                    <a:gd name="T19" fmla="*/ 17 h 43"/>
                    <a:gd name="T20" fmla="*/ 4 w 43"/>
                    <a:gd name="T21" fmla="*/ 11 h 43"/>
                    <a:gd name="T22" fmla="*/ 8 w 43"/>
                    <a:gd name="T23" fmla="*/ 5 h 43"/>
                    <a:gd name="T24" fmla="*/ 13 w 43"/>
                    <a:gd name="T25" fmla="*/ 3 h 43"/>
                    <a:gd name="T26" fmla="*/ 21 w 43"/>
                    <a:gd name="T27" fmla="*/ 3 h 43"/>
                    <a:gd name="T28" fmla="*/ 27 w 43"/>
                    <a:gd name="T29" fmla="*/ 4 h 43"/>
                    <a:gd name="T30" fmla="*/ 33 w 43"/>
                    <a:gd name="T31" fmla="*/ 7 h 43"/>
                    <a:gd name="T32" fmla="*/ 34 w 43"/>
                    <a:gd name="T33" fmla="*/ 14 h 43"/>
                    <a:gd name="T34" fmla="*/ 35 w 43"/>
                    <a:gd name="T35" fmla="*/ 15 h 43"/>
                    <a:gd name="T36" fmla="*/ 37 w 43"/>
                    <a:gd name="T37" fmla="*/ 22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3" h="43">
                      <a:moveTo>
                        <a:pt x="37" y="22"/>
                      </a:moveTo>
                      <a:cubicBezTo>
                        <a:pt x="38" y="24"/>
                        <a:pt x="43" y="24"/>
                        <a:pt x="41" y="28"/>
                      </a:cubicBezTo>
                      <a:cubicBezTo>
                        <a:pt x="40" y="30"/>
                        <a:pt x="38" y="33"/>
                        <a:pt x="37" y="35"/>
                      </a:cubicBezTo>
                      <a:cubicBezTo>
                        <a:pt x="37" y="37"/>
                        <a:pt x="38" y="41"/>
                        <a:pt x="34" y="42"/>
                      </a:cubicBezTo>
                      <a:cubicBezTo>
                        <a:pt x="31" y="42"/>
                        <a:pt x="27" y="43"/>
                        <a:pt x="23" y="43"/>
                      </a:cubicBezTo>
                      <a:cubicBezTo>
                        <a:pt x="21" y="42"/>
                        <a:pt x="18" y="43"/>
                        <a:pt x="16" y="40"/>
                      </a:cubicBezTo>
                      <a:cubicBezTo>
                        <a:pt x="14" y="38"/>
                        <a:pt x="11" y="38"/>
                        <a:pt x="10" y="36"/>
                      </a:cubicBezTo>
                      <a:cubicBezTo>
                        <a:pt x="8" y="34"/>
                        <a:pt x="5" y="34"/>
                        <a:pt x="5" y="31"/>
                      </a:cubicBezTo>
                      <a:cubicBezTo>
                        <a:pt x="3" y="29"/>
                        <a:pt x="3" y="27"/>
                        <a:pt x="4" y="24"/>
                      </a:cubicBezTo>
                      <a:cubicBezTo>
                        <a:pt x="4" y="22"/>
                        <a:pt x="2" y="19"/>
                        <a:pt x="1" y="17"/>
                      </a:cubicBezTo>
                      <a:cubicBezTo>
                        <a:pt x="0" y="15"/>
                        <a:pt x="1" y="12"/>
                        <a:pt x="4" y="11"/>
                      </a:cubicBezTo>
                      <a:cubicBezTo>
                        <a:pt x="7" y="10"/>
                        <a:pt x="6" y="6"/>
                        <a:pt x="8" y="5"/>
                      </a:cubicBezTo>
                      <a:cubicBezTo>
                        <a:pt x="10" y="5"/>
                        <a:pt x="12" y="4"/>
                        <a:pt x="13" y="3"/>
                      </a:cubicBezTo>
                      <a:cubicBezTo>
                        <a:pt x="16" y="2"/>
                        <a:pt x="19" y="0"/>
                        <a:pt x="21" y="3"/>
                      </a:cubicBezTo>
                      <a:cubicBezTo>
                        <a:pt x="23" y="4"/>
                        <a:pt x="25" y="3"/>
                        <a:pt x="27" y="4"/>
                      </a:cubicBezTo>
                      <a:cubicBezTo>
                        <a:pt x="29" y="5"/>
                        <a:pt x="31" y="6"/>
                        <a:pt x="33" y="7"/>
                      </a:cubicBezTo>
                      <a:cubicBezTo>
                        <a:pt x="35" y="9"/>
                        <a:pt x="34" y="12"/>
                        <a:pt x="34" y="14"/>
                      </a:cubicBezTo>
                      <a:cubicBezTo>
                        <a:pt x="34" y="14"/>
                        <a:pt x="35" y="14"/>
                        <a:pt x="35" y="15"/>
                      </a:cubicBezTo>
                      <a:cubicBezTo>
                        <a:pt x="35" y="17"/>
                        <a:pt x="36" y="20"/>
                        <a:pt x="37" y="22"/>
                      </a:cubicBez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96" name="Fiji"/>
                <p:cNvSpPr>
                  <a:spLocks/>
                </p:cNvSpPr>
                <p:nvPr/>
              </p:nvSpPr>
              <p:spPr bwMode="auto">
                <a:xfrm>
                  <a:off x="8640452" y="4974790"/>
                  <a:ext cx="55475" cy="6130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" y="6"/>
                    </a:cxn>
                    <a:cxn ang="0">
                      <a:pos x="8" y="11"/>
                    </a:cxn>
                    <a:cxn ang="0">
                      <a:pos x="10" y="11"/>
                    </a:cxn>
                    <a:cxn ang="0">
                      <a:pos x="6" y="2"/>
                    </a:cxn>
                    <a:cxn ang="0">
                      <a:pos x="2" y="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" h="11">
                      <a:moveTo>
                        <a:pt x="0" y="0"/>
                      </a:moveTo>
                      <a:lnTo>
                        <a:pt x="2" y="6"/>
                      </a:lnTo>
                      <a:lnTo>
                        <a:pt x="8" y="11"/>
                      </a:lnTo>
                      <a:lnTo>
                        <a:pt x="10" y="11"/>
                      </a:lnTo>
                      <a:lnTo>
                        <a:pt x="6" y="2"/>
                      </a:lnTo>
                      <a:lnTo>
                        <a:pt x="2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97" name="Australia"/>
                <p:cNvSpPr>
                  <a:spLocks/>
                </p:cNvSpPr>
                <p:nvPr/>
              </p:nvSpPr>
              <p:spPr bwMode="auto">
                <a:xfrm>
                  <a:off x="7623277" y="5692361"/>
                  <a:ext cx="27737" cy="27867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2" y="5"/>
                    </a:cxn>
                    <a:cxn ang="0">
                      <a:pos x="5" y="5"/>
                    </a:cxn>
                    <a:cxn ang="0">
                      <a:pos x="5" y="0"/>
                    </a:cxn>
                    <a:cxn ang="0">
                      <a:pos x="2" y="3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5" h="5">
                      <a:moveTo>
                        <a:pt x="0" y="5"/>
                      </a:moveTo>
                      <a:lnTo>
                        <a:pt x="2" y="5"/>
                      </a:lnTo>
                      <a:lnTo>
                        <a:pt x="5" y="5"/>
                      </a:lnTo>
                      <a:lnTo>
                        <a:pt x="5" y="0"/>
                      </a:lnTo>
                      <a:lnTo>
                        <a:pt x="2" y="3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98" name="Australia"/>
                <p:cNvSpPr>
                  <a:spLocks/>
                </p:cNvSpPr>
                <p:nvPr/>
              </p:nvSpPr>
              <p:spPr bwMode="auto">
                <a:xfrm>
                  <a:off x="7118455" y="4900932"/>
                  <a:ext cx="1026288" cy="919617"/>
                </a:xfrm>
                <a:custGeom>
                  <a:avLst/>
                  <a:gdLst/>
                  <a:ahLst/>
                  <a:cxnLst>
                    <a:cxn ang="0">
                      <a:pos x="4" y="140"/>
                    </a:cxn>
                    <a:cxn ang="0">
                      <a:pos x="23" y="133"/>
                    </a:cxn>
                    <a:cxn ang="0">
                      <a:pos x="39" y="129"/>
                    </a:cxn>
                    <a:cxn ang="0">
                      <a:pos x="77" y="122"/>
                    </a:cxn>
                    <a:cxn ang="0">
                      <a:pos x="87" y="140"/>
                    </a:cxn>
                    <a:cxn ang="0">
                      <a:pos x="102" y="131"/>
                    </a:cxn>
                    <a:cxn ang="0">
                      <a:pos x="102" y="138"/>
                    </a:cxn>
                    <a:cxn ang="0">
                      <a:pos x="100" y="142"/>
                    </a:cxn>
                    <a:cxn ang="0">
                      <a:pos x="102" y="147"/>
                    </a:cxn>
                    <a:cxn ang="0">
                      <a:pos x="102" y="151"/>
                    </a:cxn>
                    <a:cxn ang="0">
                      <a:pos x="114" y="160"/>
                    </a:cxn>
                    <a:cxn ang="0">
                      <a:pos x="123" y="160"/>
                    </a:cxn>
                    <a:cxn ang="0">
                      <a:pos x="125" y="160"/>
                    </a:cxn>
                    <a:cxn ang="0">
                      <a:pos x="146" y="156"/>
                    </a:cxn>
                    <a:cxn ang="0">
                      <a:pos x="175" y="118"/>
                    </a:cxn>
                    <a:cxn ang="0">
                      <a:pos x="185" y="88"/>
                    </a:cxn>
                    <a:cxn ang="0">
                      <a:pos x="179" y="73"/>
                    </a:cxn>
                    <a:cxn ang="0">
                      <a:pos x="175" y="66"/>
                    </a:cxn>
                    <a:cxn ang="0">
                      <a:pos x="166" y="52"/>
                    </a:cxn>
                    <a:cxn ang="0">
                      <a:pos x="164" y="39"/>
                    </a:cxn>
                    <a:cxn ang="0">
                      <a:pos x="162" y="23"/>
                    </a:cxn>
                    <a:cxn ang="0">
                      <a:pos x="156" y="21"/>
                    </a:cxn>
                    <a:cxn ang="0">
                      <a:pos x="150" y="0"/>
                    </a:cxn>
                    <a:cxn ang="0">
                      <a:pos x="146" y="30"/>
                    </a:cxn>
                    <a:cxn ang="0">
                      <a:pos x="135" y="39"/>
                    </a:cxn>
                    <a:cxn ang="0">
                      <a:pos x="131" y="37"/>
                    </a:cxn>
                    <a:cxn ang="0">
                      <a:pos x="118" y="30"/>
                    </a:cxn>
                    <a:cxn ang="0">
                      <a:pos x="116" y="23"/>
                    </a:cxn>
                    <a:cxn ang="0">
                      <a:pos x="118" y="14"/>
                    </a:cxn>
                    <a:cxn ang="0">
                      <a:pos x="125" y="9"/>
                    </a:cxn>
                    <a:cxn ang="0">
                      <a:pos x="118" y="12"/>
                    </a:cxn>
                    <a:cxn ang="0">
                      <a:pos x="116" y="9"/>
                    </a:cxn>
                    <a:cxn ang="0">
                      <a:pos x="106" y="5"/>
                    </a:cxn>
                    <a:cxn ang="0">
                      <a:pos x="96" y="9"/>
                    </a:cxn>
                    <a:cxn ang="0">
                      <a:pos x="93" y="18"/>
                    </a:cxn>
                    <a:cxn ang="0">
                      <a:pos x="87" y="21"/>
                    </a:cxn>
                    <a:cxn ang="0">
                      <a:pos x="87" y="27"/>
                    </a:cxn>
                    <a:cxn ang="0">
                      <a:pos x="83" y="27"/>
                    </a:cxn>
                    <a:cxn ang="0">
                      <a:pos x="79" y="18"/>
                    </a:cxn>
                    <a:cxn ang="0">
                      <a:pos x="70" y="23"/>
                    </a:cxn>
                    <a:cxn ang="0">
                      <a:pos x="62" y="32"/>
                    </a:cxn>
                    <a:cxn ang="0">
                      <a:pos x="60" y="37"/>
                    </a:cxn>
                    <a:cxn ang="0">
                      <a:pos x="56" y="32"/>
                    </a:cxn>
                    <a:cxn ang="0">
                      <a:pos x="52" y="43"/>
                    </a:cxn>
                    <a:cxn ang="0">
                      <a:pos x="20" y="57"/>
                    </a:cxn>
                    <a:cxn ang="0">
                      <a:pos x="12" y="64"/>
                    </a:cxn>
                    <a:cxn ang="0">
                      <a:pos x="8" y="73"/>
                    </a:cxn>
                    <a:cxn ang="0">
                      <a:pos x="6" y="91"/>
                    </a:cxn>
                    <a:cxn ang="0">
                      <a:pos x="4" y="91"/>
                    </a:cxn>
                    <a:cxn ang="0">
                      <a:pos x="6" y="122"/>
                    </a:cxn>
                    <a:cxn ang="0">
                      <a:pos x="0" y="131"/>
                    </a:cxn>
                    <a:cxn ang="0">
                      <a:pos x="0" y="138"/>
                    </a:cxn>
                  </a:cxnLst>
                  <a:rect l="0" t="0" r="r" b="b"/>
                  <a:pathLst>
                    <a:path w="185" h="165">
                      <a:moveTo>
                        <a:pt x="0" y="138"/>
                      </a:moveTo>
                      <a:lnTo>
                        <a:pt x="4" y="140"/>
                      </a:lnTo>
                      <a:lnTo>
                        <a:pt x="12" y="140"/>
                      </a:lnTo>
                      <a:lnTo>
                        <a:pt x="23" y="133"/>
                      </a:lnTo>
                      <a:lnTo>
                        <a:pt x="37" y="133"/>
                      </a:lnTo>
                      <a:lnTo>
                        <a:pt x="39" y="129"/>
                      </a:lnTo>
                      <a:lnTo>
                        <a:pt x="52" y="124"/>
                      </a:lnTo>
                      <a:lnTo>
                        <a:pt x="77" y="122"/>
                      </a:lnTo>
                      <a:lnTo>
                        <a:pt x="87" y="129"/>
                      </a:lnTo>
                      <a:lnTo>
                        <a:pt x="87" y="140"/>
                      </a:lnTo>
                      <a:lnTo>
                        <a:pt x="102" y="129"/>
                      </a:lnTo>
                      <a:lnTo>
                        <a:pt x="102" y="131"/>
                      </a:lnTo>
                      <a:lnTo>
                        <a:pt x="93" y="142"/>
                      </a:lnTo>
                      <a:lnTo>
                        <a:pt x="102" y="138"/>
                      </a:lnTo>
                      <a:lnTo>
                        <a:pt x="102" y="140"/>
                      </a:lnTo>
                      <a:lnTo>
                        <a:pt x="100" y="142"/>
                      </a:lnTo>
                      <a:lnTo>
                        <a:pt x="102" y="142"/>
                      </a:lnTo>
                      <a:lnTo>
                        <a:pt x="102" y="147"/>
                      </a:lnTo>
                      <a:lnTo>
                        <a:pt x="106" y="149"/>
                      </a:lnTo>
                      <a:lnTo>
                        <a:pt x="102" y="151"/>
                      </a:lnTo>
                      <a:lnTo>
                        <a:pt x="106" y="160"/>
                      </a:lnTo>
                      <a:lnTo>
                        <a:pt x="114" y="160"/>
                      </a:lnTo>
                      <a:lnTo>
                        <a:pt x="123" y="156"/>
                      </a:lnTo>
                      <a:lnTo>
                        <a:pt x="123" y="160"/>
                      </a:lnTo>
                      <a:lnTo>
                        <a:pt x="125" y="158"/>
                      </a:lnTo>
                      <a:lnTo>
                        <a:pt x="125" y="160"/>
                      </a:lnTo>
                      <a:lnTo>
                        <a:pt x="125" y="165"/>
                      </a:lnTo>
                      <a:lnTo>
                        <a:pt x="146" y="156"/>
                      </a:lnTo>
                      <a:lnTo>
                        <a:pt x="154" y="147"/>
                      </a:lnTo>
                      <a:lnTo>
                        <a:pt x="175" y="118"/>
                      </a:lnTo>
                      <a:lnTo>
                        <a:pt x="185" y="104"/>
                      </a:lnTo>
                      <a:lnTo>
                        <a:pt x="185" y="88"/>
                      </a:lnTo>
                      <a:lnTo>
                        <a:pt x="181" y="75"/>
                      </a:lnTo>
                      <a:lnTo>
                        <a:pt x="179" y="73"/>
                      </a:lnTo>
                      <a:lnTo>
                        <a:pt x="179" y="70"/>
                      </a:lnTo>
                      <a:lnTo>
                        <a:pt x="175" y="66"/>
                      </a:lnTo>
                      <a:lnTo>
                        <a:pt x="173" y="55"/>
                      </a:lnTo>
                      <a:lnTo>
                        <a:pt x="166" y="52"/>
                      </a:lnTo>
                      <a:lnTo>
                        <a:pt x="164" y="48"/>
                      </a:lnTo>
                      <a:lnTo>
                        <a:pt x="164" y="39"/>
                      </a:lnTo>
                      <a:lnTo>
                        <a:pt x="162" y="32"/>
                      </a:lnTo>
                      <a:lnTo>
                        <a:pt x="162" y="23"/>
                      </a:lnTo>
                      <a:lnTo>
                        <a:pt x="158" y="21"/>
                      </a:lnTo>
                      <a:lnTo>
                        <a:pt x="156" y="21"/>
                      </a:lnTo>
                      <a:lnTo>
                        <a:pt x="154" y="3"/>
                      </a:lnTo>
                      <a:lnTo>
                        <a:pt x="150" y="0"/>
                      </a:lnTo>
                      <a:lnTo>
                        <a:pt x="150" y="3"/>
                      </a:lnTo>
                      <a:lnTo>
                        <a:pt x="146" y="30"/>
                      </a:lnTo>
                      <a:lnTo>
                        <a:pt x="139" y="39"/>
                      </a:lnTo>
                      <a:lnTo>
                        <a:pt x="135" y="39"/>
                      </a:lnTo>
                      <a:lnTo>
                        <a:pt x="133" y="43"/>
                      </a:lnTo>
                      <a:lnTo>
                        <a:pt x="131" y="37"/>
                      </a:lnTo>
                      <a:lnTo>
                        <a:pt x="125" y="30"/>
                      </a:lnTo>
                      <a:lnTo>
                        <a:pt x="118" y="30"/>
                      </a:lnTo>
                      <a:lnTo>
                        <a:pt x="118" y="27"/>
                      </a:lnTo>
                      <a:lnTo>
                        <a:pt x="116" y="23"/>
                      </a:lnTo>
                      <a:lnTo>
                        <a:pt x="118" y="21"/>
                      </a:lnTo>
                      <a:lnTo>
                        <a:pt x="118" y="14"/>
                      </a:lnTo>
                      <a:lnTo>
                        <a:pt x="123" y="14"/>
                      </a:lnTo>
                      <a:lnTo>
                        <a:pt x="125" y="9"/>
                      </a:lnTo>
                      <a:lnTo>
                        <a:pt x="123" y="9"/>
                      </a:lnTo>
                      <a:lnTo>
                        <a:pt x="118" y="12"/>
                      </a:lnTo>
                      <a:lnTo>
                        <a:pt x="118" y="9"/>
                      </a:lnTo>
                      <a:lnTo>
                        <a:pt x="116" y="9"/>
                      </a:lnTo>
                      <a:lnTo>
                        <a:pt x="106" y="3"/>
                      </a:lnTo>
                      <a:lnTo>
                        <a:pt x="106" y="5"/>
                      </a:lnTo>
                      <a:lnTo>
                        <a:pt x="102" y="9"/>
                      </a:lnTo>
                      <a:lnTo>
                        <a:pt x="96" y="9"/>
                      </a:lnTo>
                      <a:lnTo>
                        <a:pt x="93" y="12"/>
                      </a:lnTo>
                      <a:lnTo>
                        <a:pt x="93" y="18"/>
                      </a:lnTo>
                      <a:lnTo>
                        <a:pt x="91" y="18"/>
                      </a:lnTo>
                      <a:lnTo>
                        <a:pt x="87" y="21"/>
                      </a:lnTo>
                      <a:lnTo>
                        <a:pt x="91" y="23"/>
                      </a:lnTo>
                      <a:lnTo>
                        <a:pt x="87" y="27"/>
                      </a:lnTo>
                      <a:lnTo>
                        <a:pt x="85" y="23"/>
                      </a:lnTo>
                      <a:lnTo>
                        <a:pt x="83" y="27"/>
                      </a:lnTo>
                      <a:lnTo>
                        <a:pt x="79" y="21"/>
                      </a:lnTo>
                      <a:lnTo>
                        <a:pt x="79" y="18"/>
                      </a:lnTo>
                      <a:lnTo>
                        <a:pt x="77" y="18"/>
                      </a:lnTo>
                      <a:lnTo>
                        <a:pt x="70" y="23"/>
                      </a:lnTo>
                      <a:lnTo>
                        <a:pt x="68" y="23"/>
                      </a:lnTo>
                      <a:lnTo>
                        <a:pt x="62" y="32"/>
                      </a:lnTo>
                      <a:lnTo>
                        <a:pt x="60" y="30"/>
                      </a:lnTo>
                      <a:lnTo>
                        <a:pt x="60" y="37"/>
                      </a:lnTo>
                      <a:lnTo>
                        <a:pt x="56" y="39"/>
                      </a:lnTo>
                      <a:lnTo>
                        <a:pt x="56" y="32"/>
                      </a:lnTo>
                      <a:lnTo>
                        <a:pt x="52" y="39"/>
                      </a:lnTo>
                      <a:lnTo>
                        <a:pt x="52" y="43"/>
                      </a:lnTo>
                      <a:lnTo>
                        <a:pt x="43" y="52"/>
                      </a:lnTo>
                      <a:lnTo>
                        <a:pt x="20" y="57"/>
                      </a:lnTo>
                      <a:lnTo>
                        <a:pt x="12" y="66"/>
                      </a:lnTo>
                      <a:lnTo>
                        <a:pt x="12" y="64"/>
                      </a:lnTo>
                      <a:lnTo>
                        <a:pt x="8" y="70"/>
                      </a:lnTo>
                      <a:lnTo>
                        <a:pt x="8" y="73"/>
                      </a:lnTo>
                      <a:lnTo>
                        <a:pt x="6" y="75"/>
                      </a:lnTo>
                      <a:lnTo>
                        <a:pt x="6" y="91"/>
                      </a:lnTo>
                      <a:lnTo>
                        <a:pt x="4" y="86"/>
                      </a:lnTo>
                      <a:lnTo>
                        <a:pt x="4" y="91"/>
                      </a:lnTo>
                      <a:lnTo>
                        <a:pt x="6" y="106"/>
                      </a:lnTo>
                      <a:lnTo>
                        <a:pt x="6" y="122"/>
                      </a:lnTo>
                      <a:lnTo>
                        <a:pt x="4" y="131"/>
                      </a:lnTo>
                      <a:lnTo>
                        <a:pt x="0" y="131"/>
                      </a:lnTo>
                      <a:lnTo>
                        <a:pt x="0" y="136"/>
                      </a:lnTo>
                      <a:lnTo>
                        <a:pt x="0" y="138"/>
                      </a:lnTo>
                      <a:close/>
                    </a:path>
                  </a:pathLst>
                </a:custGeom>
                <a:solidFill>
                  <a:schemeClr val="bg2">
                    <a:lumMod val="40000"/>
                    <a:lumOff val="60000"/>
                  </a:schemeClr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grpSp>
            <p:nvGrpSpPr>
              <p:cNvPr id="3348747" name="Armenia"/>
              <p:cNvGrpSpPr>
                <a:grpSpLocks/>
              </p:cNvGrpSpPr>
              <p:nvPr/>
            </p:nvGrpSpPr>
            <p:grpSpPr bwMode="auto">
              <a:xfrm>
                <a:off x="5298874" y="3278769"/>
                <a:ext cx="94308" cy="61308"/>
                <a:chOff x="5298874" y="3234474"/>
                <a:chExt cx="94308" cy="61308"/>
              </a:xfrm>
            </p:grpSpPr>
            <p:sp>
              <p:nvSpPr>
                <p:cNvPr id="682" name="Armenia"/>
                <p:cNvSpPr>
                  <a:spLocks/>
                </p:cNvSpPr>
                <p:nvPr>
                  <p:custDataLst>
                    <p:tags r:id="rId131"/>
                  </p:custDataLst>
                </p:nvPr>
              </p:nvSpPr>
              <p:spPr bwMode="auto">
                <a:xfrm>
                  <a:off x="5343759" y="3257830"/>
                  <a:ext cx="38252" cy="38252"/>
                </a:xfrm>
                <a:custGeom>
                  <a:avLst/>
                  <a:gdLst/>
                  <a:ahLst/>
                  <a:cxnLst>
                    <a:cxn ang="0">
                      <a:pos x="7" y="7"/>
                    </a:cxn>
                    <a:cxn ang="0">
                      <a:pos x="2" y="7"/>
                    </a:cxn>
                    <a:cxn ang="0">
                      <a:pos x="0" y="0"/>
                    </a:cxn>
                    <a:cxn ang="0">
                      <a:pos x="2" y="5"/>
                    </a:cxn>
                    <a:cxn ang="0">
                      <a:pos x="4" y="7"/>
                    </a:cxn>
                    <a:cxn ang="0">
                      <a:pos x="7" y="7"/>
                    </a:cxn>
                  </a:cxnLst>
                  <a:rect l="0" t="0" r="r" b="b"/>
                  <a:pathLst>
                    <a:path w="7" h="7">
                      <a:moveTo>
                        <a:pt x="7" y="7"/>
                      </a:moveTo>
                      <a:lnTo>
                        <a:pt x="2" y="7"/>
                      </a:lnTo>
                      <a:lnTo>
                        <a:pt x="0" y="0"/>
                      </a:lnTo>
                      <a:lnTo>
                        <a:pt x="2" y="5"/>
                      </a:lnTo>
                      <a:lnTo>
                        <a:pt x="4" y="7"/>
                      </a:lnTo>
                      <a:lnTo>
                        <a:pt x="7" y="7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83" name="Armenia"/>
                <p:cNvSpPr>
                  <a:spLocks/>
                </p:cNvSpPr>
                <p:nvPr>
                  <p:custDataLst>
                    <p:tags r:id="rId132"/>
                  </p:custDataLst>
                </p:nvPr>
              </p:nvSpPr>
              <p:spPr bwMode="auto">
                <a:xfrm>
                  <a:off x="5299769" y="3234879"/>
                  <a:ext cx="93718" cy="61203"/>
                </a:xfrm>
                <a:custGeom>
                  <a:avLst/>
                  <a:gdLst/>
                  <a:ahLst/>
                  <a:cxnLst>
                    <a:cxn ang="0">
                      <a:pos x="8" y="4"/>
                    </a:cxn>
                    <a:cxn ang="0">
                      <a:pos x="2" y="4"/>
                    </a:cxn>
                    <a:cxn ang="0">
                      <a:pos x="0" y="0"/>
                    </a:cxn>
                    <a:cxn ang="0">
                      <a:pos x="8" y="0"/>
                    </a:cxn>
                    <a:cxn ang="0">
                      <a:pos x="10" y="2"/>
                    </a:cxn>
                    <a:cxn ang="0">
                      <a:pos x="10" y="4"/>
                    </a:cxn>
                    <a:cxn ang="0">
                      <a:pos x="15" y="4"/>
                    </a:cxn>
                    <a:cxn ang="0">
                      <a:pos x="17" y="11"/>
                    </a:cxn>
                    <a:cxn ang="0">
                      <a:pos x="15" y="11"/>
                    </a:cxn>
                    <a:cxn ang="0">
                      <a:pos x="10" y="9"/>
                    </a:cxn>
                    <a:cxn ang="0">
                      <a:pos x="8" y="7"/>
                    </a:cxn>
                    <a:cxn ang="0">
                      <a:pos x="8" y="4"/>
                    </a:cxn>
                  </a:cxnLst>
                  <a:rect l="0" t="0" r="r" b="b"/>
                  <a:pathLst>
                    <a:path w="17" h="11">
                      <a:moveTo>
                        <a:pt x="8" y="4"/>
                      </a:moveTo>
                      <a:lnTo>
                        <a:pt x="2" y="4"/>
                      </a:ln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0" y="2"/>
                      </a:lnTo>
                      <a:lnTo>
                        <a:pt x="10" y="4"/>
                      </a:lnTo>
                      <a:lnTo>
                        <a:pt x="15" y="4"/>
                      </a:lnTo>
                      <a:lnTo>
                        <a:pt x="17" y="11"/>
                      </a:lnTo>
                      <a:lnTo>
                        <a:pt x="15" y="11"/>
                      </a:lnTo>
                      <a:lnTo>
                        <a:pt x="10" y="9"/>
                      </a:lnTo>
                      <a:lnTo>
                        <a:pt x="8" y="7"/>
                      </a:lnTo>
                      <a:lnTo>
                        <a:pt x="8" y="4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grpSp>
            <p:nvGrpSpPr>
              <p:cNvPr id="672" name="Argentina"/>
              <p:cNvGrpSpPr/>
              <p:nvPr/>
            </p:nvGrpSpPr>
            <p:grpSpPr>
              <a:xfrm>
                <a:off x="2486292" y="5276721"/>
                <a:ext cx="393872" cy="1064527"/>
                <a:chOff x="2486292" y="5257632"/>
                <a:chExt cx="393872" cy="1064527"/>
              </a:xfrm>
              <a:solidFill>
                <a:srgbClr val="778025"/>
              </a:solidFill>
            </p:grpSpPr>
            <p:sp>
              <p:nvSpPr>
                <p:cNvPr id="679" name="Argentina"/>
                <p:cNvSpPr>
                  <a:spLocks/>
                </p:cNvSpPr>
                <p:nvPr/>
              </p:nvSpPr>
              <p:spPr bwMode="auto">
                <a:xfrm>
                  <a:off x="2741477" y="6244131"/>
                  <a:ext cx="105402" cy="7802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6" y="5"/>
                    </a:cxn>
                    <a:cxn ang="0">
                      <a:pos x="19" y="12"/>
                    </a:cxn>
                    <a:cxn ang="0">
                      <a:pos x="10" y="14"/>
                    </a:cxn>
                    <a:cxn ang="0">
                      <a:pos x="8" y="14"/>
                    </a:cxn>
                    <a:cxn ang="0">
                      <a:pos x="4" y="7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9" h="14">
                      <a:moveTo>
                        <a:pt x="0" y="0"/>
                      </a:moveTo>
                      <a:lnTo>
                        <a:pt x="6" y="5"/>
                      </a:lnTo>
                      <a:lnTo>
                        <a:pt x="19" y="12"/>
                      </a:lnTo>
                      <a:lnTo>
                        <a:pt x="10" y="14"/>
                      </a:lnTo>
                      <a:lnTo>
                        <a:pt x="8" y="14"/>
                      </a:lnTo>
                      <a:lnTo>
                        <a:pt x="4" y="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80" name="Argentina"/>
                <p:cNvSpPr>
                  <a:spLocks/>
                </p:cNvSpPr>
                <p:nvPr/>
              </p:nvSpPr>
              <p:spPr bwMode="auto">
                <a:xfrm>
                  <a:off x="2647169" y="6244131"/>
                  <a:ext cx="138687" cy="78028"/>
                </a:xfrm>
                <a:custGeom>
                  <a:avLst/>
                  <a:gdLst/>
                  <a:ahLst/>
                  <a:cxnLst>
                    <a:cxn ang="0">
                      <a:pos x="17" y="0"/>
                    </a:cxn>
                    <a:cxn ang="0">
                      <a:pos x="10" y="0"/>
                    </a:cxn>
                    <a:cxn ang="0">
                      <a:pos x="15" y="3"/>
                    </a:cxn>
                    <a:cxn ang="0">
                      <a:pos x="17" y="3"/>
                    </a:cxn>
                    <a:cxn ang="0">
                      <a:pos x="15" y="5"/>
                    </a:cxn>
                    <a:cxn ang="0">
                      <a:pos x="15" y="9"/>
                    </a:cxn>
                    <a:cxn ang="0">
                      <a:pos x="0" y="3"/>
                    </a:cxn>
                    <a:cxn ang="0">
                      <a:pos x="0" y="5"/>
                    </a:cxn>
                    <a:cxn ang="0">
                      <a:pos x="2" y="9"/>
                    </a:cxn>
                    <a:cxn ang="0">
                      <a:pos x="4" y="9"/>
                    </a:cxn>
                    <a:cxn ang="0">
                      <a:pos x="15" y="12"/>
                    </a:cxn>
                    <a:cxn ang="0">
                      <a:pos x="19" y="12"/>
                    </a:cxn>
                    <a:cxn ang="0">
                      <a:pos x="19" y="14"/>
                    </a:cxn>
                    <a:cxn ang="0">
                      <a:pos x="25" y="14"/>
                    </a:cxn>
                    <a:cxn ang="0">
                      <a:pos x="21" y="7"/>
                    </a:cxn>
                    <a:cxn ang="0">
                      <a:pos x="17" y="0"/>
                    </a:cxn>
                  </a:cxnLst>
                  <a:rect l="0" t="0" r="r" b="b"/>
                  <a:pathLst>
                    <a:path w="25" h="14">
                      <a:moveTo>
                        <a:pt x="17" y="0"/>
                      </a:moveTo>
                      <a:lnTo>
                        <a:pt x="10" y="0"/>
                      </a:lnTo>
                      <a:lnTo>
                        <a:pt x="15" y="3"/>
                      </a:lnTo>
                      <a:lnTo>
                        <a:pt x="17" y="3"/>
                      </a:lnTo>
                      <a:lnTo>
                        <a:pt x="15" y="5"/>
                      </a:lnTo>
                      <a:lnTo>
                        <a:pt x="15" y="9"/>
                      </a:lnTo>
                      <a:lnTo>
                        <a:pt x="0" y="3"/>
                      </a:lnTo>
                      <a:lnTo>
                        <a:pt x="0" y="5"/>
                      </a:lnTo>
                      <a:lnTo>
                        <a:pt x="2" y="9"/>
                      </a:lnTo>
                      <a:lnTo>
                        <a:pt x="4" y="9"/>
                      </a:lnTo>
                      <a:lnTo>
                        <a:pt x="15" y="12"/>
                      </a:lnTo>
                      <a:lnTo>
                        <a:pt x="19" y="12"/>
                      </a:lnTo>
                      <a:lnTo>
                        <a:pt x="19" y="14"/>
                      </a:lnTo>
                      <a:lnTo>
                        <a:pt x="25" y="14"/>
                      </a:lnTo>
                      <a:lnTo>
                        <a:pt x="21" y="7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  <p:sp>
              <p:nvSpPr>
                <p:cNvPr id="681" name="Argentina"/>
                <p:cNvSpPr>
                  <a:spLocks/>
                </p:cNvSpPr>
                <p:nvPr/>
              </p:nvSpPr>
              <p:spPr bwMode="auto">
                <a:xfrm>
                  <a:off x="2486292" y="5257632"/>
                  <a:ext cx="393872" cy="964205"/>
                </a:xfrm>
                <a:custGeom>
                  <a:avLst/>
                  <a:gdLst/>
                  <a:ahLst/>
                  <a:cxnLst>
                    <a:cxn ang="0">
                      <a:pos x="56" y="69"/>
                    </a:cxn>
                    <a:cxn ang="0">
                      <a:pos x="65" y="78"/>
                    </a:cxn>
                    <a:cxn ang="0">
                      <a:pos x="69" y="85"/>
                    </a:cxn>
                    <a:cxn ang="0">
                      <a:pos x="65" y="94"/>
                    </a:cxn>
                    <a:cxn ang="0">
                      <a:pos x="48" y="101"/>
                    </a:cxn>
                    <a:cxn ang="0">
                      <a:pos x="44" y="112"/>
                    </a:cxn>
                    <a:cxn ang="0">
                      <a:pos x="39" y="117"/>
                    </a:cxn>
                    <a:cxn ang="0">
                      <a:pos x="46" y="117"/>
                    </a:cxn>
                    <a:cxn ang="0">
                      <a:pos x="48" y="121"/>
                    </a:cxn>
                    <a:cxn ang="0">
                      <a:pos x="44" y="119"/>
                    </a:cxn>
                    <a:cxn ang="0">
                      <a:pos x="46" y="121"/>
                    </a:cxn>
                    <a:cxn ang="0">
                      <a:pos x="44" y="130"/>
                    </a:cxn>
                    <a:cxn ang="0">
                      <a:pos x="37" y="135"/>
                    </a:cxn>
                    <a:cxn ang="0">
                      <a:pos x="37" y="144"/>
                    </a:cxn>
                    <a:cxn ang="0">
                      <a:pos x="46" y="146"/>
                    </a:cxn>
                    <a:cxn ang="0">
                      <a:pos x="44" y="155"/>
                    </a:cxn>
                    <a:cxn ang="0">
                      <a:pos x="39" y="164"/>
                    </a:cxn>
                    <a:cxn ang="0">
                      <a:pos x="48" y="173"/>
                    </a:cxn>
                    <a:cxn ang="0">
                      <a:pos x="31" y="173"/>
                    </a:cxn>
                    <a:cxn ang="0">
                      <a:pos x="23" y="164"/>
                    </a:cxn>
                    <a:cxn ang="0">
                      <a:pos x="21" y="144"/>
                    </a:cxn>
                    <a:cxn ang="0">
                      <a:pos x="17" y="135"/>
                    </a:cxn>
                    <a:cxn ang="0">
                      <a:pos x="12" y="121"/>
                    </a:cxn>
                    <a:cxn ang="0">
                      <a:pos x="8" y="112"/>
                    </a:cxn>
                    <a:cxn ang="0">
                      <a:pos x="4" y="87"/>
                    </a:cxn>
                    <a:cxn ang="0">
                      <a:pos x="4" y="78"/>
                    </a:cxn>
                    <a:cxn ang="0">
                      <a:pos x="0" y="54"/>
                    </a:cxn>
                    <a:cxn ang="0">
                      <a:pos x="4" y="27"/>
                    </a:cxn>
                    <a:cxn ang="0">
                      <a:pos x="6" y="11"/>
                    </a:cxn>
                    <a:cxn ang="0">
                      <a:pos x="12" y="0"/>
                    </a:cxn>
                    <a:cxn ang="0">
                      <a:pos x="25" y="2"/>
                    </a:cxn>
                    <a:cxn ang="0">
                      <a:pos x="44" y="15"/>
                    </a:cxn>
                    <a:cxn ang="0">
                      <a:pos x="52" y="24"/>
                    </a:cxn>
                    <a:cxn ang="0">
                      <a:pos x="60" y="33"/>
                    </a:cxn>
                    <a:cxn ang="0">
                      <a:pos x="65" y="27"/>
                    </a:cxn>
                    <a:cxn ang="0">
                      <a:pos x="69" y="22"/>
                    </a:cxn>
                    <a:cxn ang="0">
                      <a:pos x="69" y="33"/>
                    </a:cxn>
                    <a:cxn ang="0">
                      <a:pos x="56" y="49"/>
                    </a:cxn>
                  </a:cxnLst>
                  <a:rect l="0" t="0" r="r" b="b"/>
                  <a:pathLst>
                    <a:path w="71" h="173">
                      <a:moveTo>
                        <a:pt x="56" y="49"/>
                      </a:moveTo>
                      <a:lnTo>
                        <a:pt x="56" y="69"/>
                      </a:lnTo>
                      <a:lnTo>
                        <a:pt x="56" y="74"/>
                      </a:lnTo>
                      <a:lnTo>
                        <a:pt x="65" y="78"/>
                      </a:lnTo>
                      <a:lnTo>
                        <a:pt x="62" y="83"/>
                      </a:lnTo>
                      <a:lnTo>
                        <a:pt x="69" y="85"/>
                      </a:lnTo>
                      <a:lnTo>
                        <a:pt x="69" y="87"/>
                      </a:lnTo>
                      <a:lnTo>
                        <a:pt x="65" y="94"/>
                      </a:lnTo>
                      <a:lnTo>
                        <a:pt x="54" y="96"/>
                      </a:lnTo>
                      <a:lnTo>
                        <a:pt x="48" y="101"/>
                      </a:lnTo>
                      <a:lnTo>
                        <a:pt x="48" y="110"/>
                      </a:lnTo>
                      <a:lnTo>
                        <a:pt x="44" y="112"/>
                      </a:lnTo>
                      <a:lnTo>
                        <a:pt x="37" y="110"/>
                      </a:lnTo>
                      <a:lnTo>
                        <a:pt x="39" y="117"/>
                      </a:lnTo>
                      <a:lnTo>
                        <a:pt x="44" y="119"/>
                      </a:lnTo>
                      <a:lnTo>
                        <a:pt x="46" y="117"/>
                      </a:lnTo>
                      <a:lnTo>
                        <a:pt x="48" y="119"/>
                      </a:lnTo>
                      <a:lnTo>
                        <a:pt x="48" y="121"/>
                      </a:lnTo>
                      <a:lnTo>
                        <a:pt x="46" y="121"/>
                      </a:lnTo>
                      <a:lnTo>
                        <a:pt x="44" y="119"/>
                      </a:lnTo>
                      <a:lnTo>
                        <a:pt x="44" y="121"/>
                      </a:lnTo>
                      <a:lnTo>
                        <a:pt x="46" y="121"/>
                      </a:lnTo>
                      <a:lnTo>
                        <a:pt x="44" y="126"/>
                      </a:lnTo>
                      <a:lnTo>
                        <a:pt x="44" y="130"/>
                      </a:lnTo>
                      <a:lnTo>
                        <a:pt x="44" y="135"/>
                      </a:lnTo>
                      <a:lnTo>
                        <a:pt x="37" y="135"/>
                      </a:lnTo>
                      <a:lnTo>
                        <a:pt x="37" y="139"/>
                      </a:lnTo>
                      <a:lnTo>
                        <a:pt x="37" y="144"/>
                      </a:lnTo>
                      <a:lnTo>
                        <a:pt x="44" y="146"/>
                      </a:lnTo>
                      <a:lnTo>
                        <a:pt x="46" y="146"/>
                      </a:lnTo>
                      <a:lnTo>
                        <a:pt x="48" y="148"/>
                      </a:lnTo>
                      <a:lnTo>
                        <a:pt x="44" y="155"/>
                      </a:lnTo>
                      <a:lnTo>
                        <a:pt x="44" y="162"/>
                      </a:lnTo>
                      <a:lnTo>
                        <a:pt x="39" y="164"/>
                      </a:lnTo>
                      <a:lnTo>
                        <a:pt x="39" y="168"/>
                      </a:lnTo>
                      <a:lnTo>
                        <a:pt x="48" y="173"/>
                      </a:lnTo>
                      <a:lnTo>
                        <a:pt x="44" y="173"/>
                      </a:lnTo>
                      <a:lnTo>
                        <a:pt x="31" y="173"/>
                      </a:lnTo>
                      <a:lnTo>
                        <a:pt x="25" y="164"/>
                      </a:lnTo>
                      <a:lnTo>
                        <a:pt x="23" y="164"/>
                      </a:lnTo>
                      <a:lnTo>
                        <a:pt x="21" y="162"/>
                      </a:lnTo>
                      <a:lnTo>
                        <a:pt x="21" y="144"/>
                      </a:lnTo>
                      <a:lnTo>
                        <a:pt x="17" y="130"/>
                      </a:lnTo>
                      <a:lnTo>
                        <a:pt x="17" y="135"/>
                      </a:lnTo>
                      <a:lnTo>
                        <a:pt x="14" y="130"/>
                      </a:lnTo>
                      <a:lnTo>
                        <a:pt x="12" y="121"/>
                      </a:lnTo>
                      <a:lnTo>
                        <a:pt x="12" y="117"/>
                      </a:lnTo>
                      <a:lnTo>
                        <a:pt x="8" y="112"/>
                      </a:lnTo>
                      <a:lnTo>
                        <a:pt x="8" y="96"/>
                      </a:lnTo>
                      <a:lnTo>
                        <a:pt x="4" y="87"/>
                      </a:lnTo>
                      <a:lnTo>
                        <a:pt x="6" y="83"/>
                      </a:lnTo>
                      <a:lnTo>
                        <a:pt x="4" y="78"/>
                      </a:lnTo>
                      <a:lnTo>
                        <a:pt x="6" y="69"/>
                      </a:lnTo>
                      <a:lnTo>
                        <a:pt x="0" y="54"/>
                      </a:lnTo>
                      <a:lnTo>
                        <a:pt x="0" y="36"/>
                      </a:lnTo>
                      <a:lnTo>
                        <a:pt x="4" y="27"/>
                      </a:lnTo>
                      <a:lnTo>
                        <a:pt x="0" y="15"/>
                      </a:lnTo>
                      <a:lnTo>
                        <a:pt x="6" y="11"/>
                      </a:lnTo>
                      <a:lnTo>
                        <a:pt x="6" y="6"/>
                      </a:lnTo>
                      <a:lnTo>
                        <a:pt x="12" y="0"/>
                      </a:lnTo>
                      <a:lnTo>
                        <a:pt x="21" y="2"/>
                      </a:lnTo>
                      <a:lnTo>
                        <a:pt x="25" y="2"/>
                      </a:lnTo>
                      <a:lnTo>
                        <a:pt x="37" y="11"/>
                      </a:lnTo>
                      <a:lnTo>
                        <a:pt x="44" y="15"/>
                      </a:lnTo>
                      <a:lnTo>
                        <a:pt x="52" y="18"/>
                      </a:lnTo>
                      <a:lnTo>
                        <a:pt x="52" y="24"/>
                      </a:lnTo>
                      <a:lnTo>
                        <a:pt x="48" y="31"/>
                      </a:lnTo>
                      <a:lnTo>
                        <a:pt x="60" y="33"/>
                      </a:lnTo>
                      <a:lnTo>
                        <a:pt x="62" y="33"/>
                      </a:lnTo>
                      <a:lnTo>
                        <a:pt x="65" y="27"/>
                      </a:lnTo>
                      <a:lnTo>
                        <a:pt x="65" y="22"/>
                      </a:lnTo>
                      <a:lnTo>
                        <a:pt x="69" y="22"/>
                      </a:lnTo>
                      <a:lnTo>
                        <a:pt x="71" y="31"/>
                      </a:lnTo>
                      <a:lnTo>
                        <a:pt x="69" y="33"/>
                      </a:lnTo>
                      <a:lnTo>
                        <a:pt x="62" y="42"/>
                      </a:lnTo>
                      <a:lnTo>
                        <a:pt x="56" y="4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_tradnl" dirty="0">
                    <a:solidFill>
                      <a:srgbClr val="000000"/>
                    </a:solidFill>
                    <a:latin typeface="Arial"/>
                    <a:cs typeface="+mn-cs"/>
                  </a:endParaRPr>
                </a:p>
              </p:txBody>
            </p:sp>
          </p:grpSp>
          <p:sp>
            <p:nvSpPr>
              <p:cNvPr id="3348749" name="Antigua and Barbuda"/>
              <p:cNvSpPr>
                <a:spLocks/>
              </p:cNvSpPr>
              <p:nvPr>
                <p:custDataLst>
                  <p:tags r:id="rId127"/>
                </p:custDataLst>
              </p:nvPr>
            </p:nvSpPr>
            <p:spPr bwMode="auto">
              <a:xfrm>
                <a:off x="2508482" y="3983684"/>
                <a:ext cx="44380" cy="11147"/>
              </a:xfrm>
              <a:custGeom>
                <a:avLst/>
                <a:gdLst>
                  <a:gd name="T0" fmla="*/ 0 w 8"/>
                  <a:gd name="T1" fmla="*/ 11147 h 2"/>
                  <a:gd name="T2" fmla="*/ 22190 w 8"/>
                  <a:gd name="T3" fmla="*/ 11147 h 2"/>
                  <a:gd name="T4" fmla="*/ 44380 w 8"/>
                  <a:gd name="T5" fmla="*/ 0 h 2"/>
                  <a:gd name="T6" fmla="*/ 22190 w 8"/>
                  <a:gd name="T7" fmla="*/ 0 h 2"/>
                  <a:gd name="T8" fmla="*/ 0 w 8"/>
                  <a:gd name="T9" fmla="*/ 0 h 2"/>
                  <a:gd name="T10" fmla="*/ 0 w 8"/>
                  <a:gd name="T11" fmla="*/ 11147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2"/>
                  <a:gd name="T20" fmla="*/ 8 w 8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2">
                    <a:moveTo>
                      <a:pt x="0" y="2"/>
                    </a:moveTo>
                    <a:lnTo>
                      <a:pt x="4" y="2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F7A04"/>
              </a:solidFill>
              <a:ln w="635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48750" name="Angola"/>
              <p:cNvSpPr>
                <a:spLocks/>
              </p:cNvSpPr>
              <p:nvPr/>
            </p:nvSpPr>
            <p:spPr bwMode="auto">
              <a:xfrm>
                <a:off x="4535950" y="4763240"/>
                <a:ext cx="336870" cy="397226"/>
              </a:xfrm>
              <a:custGeom>
                <a:avLst/>
                <a:gdLst>
                  <a:gd name="T0" fmla="*/ 264840 w 926"/>
                  <a:gd name="T1" fmla="*/ 152349339 h 921"/>
                  <a:gd name="T2" fmla="*/ 1191050 w 926"/>
                  <a:gd name="T3" fmla="*/ 152349339 h 921"/>
                  <a:gd name="T4" fmla="*/ 2646940 w 926"/>
                  <a:gd name="T5" fmla="*/ 139328007 h 921"/>
                  <a:gd name="T6" fmla="*/ 4764201 w 926"/>
                  <a:gd name="T7" fmla="*/ 127236554 h 921"/>
                  <a:gd name="T8" fmla="*/ 6617350 w 926"/>
                  <a:gd name="T9" fmla="*/ 116819833 h 921"/>
                  <a:gd name="T10" fmla="*/ 8205295 w 926"/>
                  <a:gd name="T11" fmla="*/ 110681135 h 921"/>
                  <a:gd name="T12" fmla="*/ 11910864 w 926"/>
                  <a:gd name="T13" fmla="*/ 101938284 h 921"/>
                  <a:gd name="T14" fmla="*/ 15881276 w 926"/>
                  <a:gd name="T15" fmla="*/ 96171392 h 921"/>
                  <a:gd name="T16" fmla="*/ 20380999 w 926"/>
                  <a:gd name="T17" fmla="*/ 83894481 h 921"/>
                  <a:gd name="T18" fmla="*/ 20645475 w 926"/>
                  <a:gd name="T19" fmla="*/ 73849539 h 921"/>
                  <a:gd name="T20" fmla="*/ 20777894 w 926"/>
                  <a:gd name="T21" fmla="*/ 66966878 h 921"/>
                  <a:gd name="T22" fmla="*/ 17998900 w 926"/>
                  <a:gd name="T23" fmla="*/ 62874287 h 921"/>
                  <a:gd name="T24" fmla="*/ 15087121 w 926"/>
                  <a:gd name="T25" fmla="*/ 52457122 h 921"/>
                  <a:gd name="T26" fmla="*/ 15219541 w 926"/>
                  <a:gd name="T27" fmla="*/ 44086481 h 921"/>
                  <a:gd name="T28" fmla="*/ 15881276 w 926"/>
                  <a:gd name="T29" fmla="*/ 35529519 h 921"/>
                  <a:gd name="T30" fmla="*/ 12837441 w 926"/>
                  <a:gd name="T31" fmla="*/ 24740581 h 921"/>
                  <a:gd name="T32" fmla="*/ 8734610 w 926"/>
                  <a:gd name="T33" fmla="*/ 12649125 h 921"/>
                  <a:gd name="T34" fmla="*/ 6220091 w 926"/>
                  <a:gd name="T35" fmla="*/ 5022472 h 921"/>
                  <a:gd name="T36" fmla="*/ 8602191 w 926"/>
                  <a:gd name="T37" fmla="*/ 3720382 h 921"/>
                  <a:gd name="T38" fmla="*/ 10587395 w 926"/>
                  <a:gd name="T39" fmla="*/ 3162281 h 921"/>
                  <a:gd name="T40" fmla="*/ 12969497 w 926"/>
                  <a:gd name="T41" fmla="*/ 1860191 h 921"/>
                  <a:gd name="T42" fmla="*/ 14690226 w 926"/>
                  <a:gd name="T43" fmla="*/ 1487980 h 921"/>
                  <a:gd name="T44" fmla="*/ 17998900 w 926"/>
                  <a:gd name="T45" fmla="*/ 743990 h 921"/>
                  <a:gd name="T46" fmla="*/ 29248032 w 926"/>
                  <a:gd name="T47" fmla="*/ 1487980 h 921"/>
                  <a:gd name="T48" fmla="*/ 44467567 w 926"/>
                  <a:gd name="T49" fmla="*/ 743990 h 921"/>
                  <a:gd name="T50" fmla="*/ 50687667 w 926"/>
                  <a:gd name="T51" fmla="*/ 10230834 h 921"/>
                  <a:gd name="T52" fmla="*/ 54128396 w 926"/>
                  <a:gd name="T53" fmla="*/ 22322291 h 921"/>
                  <a:gd name="T54" fmla="*/ 58231225 w 926"/>
                  <a:gd name="T55" fmla="*/ 30879259 h 921"/>
                  <a:gd name="T56" fmla="*/ 65245467 w 926"/>
                  <a:gd name="T57" fmla="*/ 30879259 h 921"/>
                  <a:gd name="T58" fmla="*/ 75038705 w 926"/>
                  <a:gd name="T59" fmla="*/ 30879259 h 921"/>
                  <a:gd name="T60" fmla="*/ 78347379 w 926"/>
                  <a:gd name="T61" fmla="*/ 23252170 h 921"/>
                  <a:gd name="T62" fmla="*/ 84567467 w 926"/>
                  <a:gd name="T63" fmla="*/ 16927609 h 921"/>
                  <a:gd name="T64" fmla="*/ 88405456 w 926"/>
                  <a:gd name="T65" fmla="*/ 21020200 h 921"/>
                  <a:gd name="T66" fmla="*/ 101375334 w 926"/>
                  <a:gd name="T67" fmla="*/ 23066280 h 921"/>
                  <a:gd name="T68" fmla="*/ 101904649 w 926"/>
                  <a:gd name="T69" fmla="*/ 39622110 h 921"/>
                  <a:gd name="T70" fmla="*/ 102698439 w 926"/>
                  <a:gd name="T71" fmla="*/ 56735616 h 921"/>
                  <a:gd name="T72" fmla="*/ 104551588 w 926"/>
                  <a:gd name="T73" fmla="*/ 70500938 h 921"/>
                  <a:gd name="T74" fmla="*/ 104816063 w 926"/>
                  <a:gd name="T75" fmla="*/ 76267399 h 921"/>
                  <a:gd name="T76" fmla="*/ 107595422 w 926"/>
                  <a:gd name="T77" fmla="*/ 74035429 h 921"/>
                  <a:gd name="T78" fmla="*/ 116726925 w 926"/>
                  <a:gd name="T79" fmla="*/ 72733339 h 921"/>
                  <a:gd name="T80" fmla="*/ 122153222 w 926"/>
                  <a:gd name="T81" fmla="*/ 71989349 h 921"/>
                  <a:gd name="T82" fmla="*/ 122417698 w 926"/>
                  <a:gd name="T83" fmla="*/ 79616000 h 921"/>
                  <a:gd name="T84" fmla="*/ 122153222 w 926"/>
                  <a:gd name="T85" fmla="*/ 92637332 h 921"/>
                  <a:gd name="T86" fmla="*/ 116065190 w 926"/>
                  <a:gd name="T87" fmla="*/ 101380184 h 921"/>
                  <a:gd name="T88" fmla="*/ 101242914 w 926"/>
                  <a:gd name="T89" fmla="*/ 145466678 h 921"/>
                  <a:gd name="T90" fmla="*/ 110241997 w 926"/>
                  <a:gd name="T91" fmla="*/ 160534090 h 921"/>
                  <a:gd name="T92" fmla="*/ 115006560 w 926"/>
                  <a:gd name="T93" fmla="*/ 165742451 h 921"/>
                  <a:gd name="T94" fmla="*/ 94757964 w 926"/>
                  <a:gd name="T95" fmla="*/ 171137132 h 921"/>
                  <a:gd name="T96" fmla="*/ 83376417 w 926"/>
                  <a:gd name="T97" fmla="*/ 169276942 h 921"/>
                  <a:gd name="T98" fmla="*/ 71068660 w 926"/>
                  <a:gd name="T99" fmla="*/ 167974852 h 921"/>
                  <a:gd name="T100" fmla="*/ 62466109 w 926"/>
                  <a:gd name="T101" fmla="*/ 162207960 h 921"/>
                  <a:gd name="T102" fmla="*/ 23689673 w 926"/>
                  <a:gd name="T103" fmla="*/ 162580170 h 921"/>
                  <a:gd name="T104" fmla="*/ 13631232 w 926"/>
                  <a:gd name="T105" fmla="*/ 156813710 h 921"/>
                  <a:gd name="T106" fmla="*/ 2514520 w 926"/>
                  <a:gd name="T107" fmla="*/ 160534090 h 921"/>
                  <a:gd name="T108" fmla="*/ 926575 w 926"/>
                  <a:gd name="T109" fmla="*/ 160347769 h 921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926"/>
                  <a:gd name="T166" fmla="*/ 0 h 921"/>
                  <a:gd name="T167" fmla="*/ 926 w 926"/>
                  <a:gd name="T168" fmla="*/ 921 h 921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926" h="921">
                    <a:moveTo>
                      <a:pt x="6" y="862"/>
                    </a:moveTo>
                    <a:cubicBezTo>
                      <a:pt x="5" y="847"/>
                      <a:pt x="1" y="833"/>
                      <a:pt x="2" y="819"/>
                    </a:cubicBezTo>
                    <a:cubicBezTo>
                      <a:pt x="0" y="813"/>
                      <a:pt x="10" y="819"/>
                      <a:pt x="9" y="823"/>
                    </a:cubicBezTo>
                    <a:cubicBezTo>
                      <a:pt x="11" y="832"/>
                      <a:pt x="10" y="824"/>
                      <a:pt x="9" y="819"/>
                    </a:cubicBezTo>
                    <a:cubicBezTo>
                      <a:pt x="8" y="801"/>
                      <a:pt x="7" y="782"/>
                      <a:pt x="9" y="763"/>
                    </a:cubicBezTo>
                    <a:cubicBezTo>
                      <a:pt x="12" y="758"/>
                      <a:pt x="18" y="755"/>
                      <a:pt x="20" y="749"/>
                    </a:cubicBezTo>
                    <a:cubicBezTo>
                      <a:pt x="25" y="737"/>
                      <a:pt x="25" y="724"/>
                      <a:pt x="31" y="713"/>
                    </a:cubicBezTo>
                    <a:cubicBezTo>
                      <a:pt x="36" y="704"/>
                      <a:pt x="33" y="693"/>
                      <a:pt x="36" y="684"/>
                    </a:cubicBezTo>
                    <a:cubicBezTo>
                      <a:pt x="41" y="673"/>
                      <a:pt x="39" y="661"/>
                      <a:pt x="44" y="651"/>
                    </a:cubicBezTo>
                    <a:cubicBezTo>
                      <a:pt x="46" y="643"/>
                      <a:pt x="46" y="635"/>
                      <a:pt x="50" y="628"/>
                    </a:cubicBezTo>
                    <a:cubicBezTo>
                      <a:pt x="53" y="621"/>
                      <a:pt x="58" y="614"/>
                      <a:pt x="57" y="606"/>
                    </a:cubicBezTo>
                    <a:cubicBezTo>
                      <a:pt x="56" y="601"/>
                      <a:pt x="59" y="598"/>
                      <a:pt x="62" y="595"/>
                    </a:cubicBezTo>
                    <a:cubicBezTo>
                      <a:pt x="62" y="584"/>
                      <a:pt x="67" y="575"/>
                      <a:pt x="71" y="566"/>
                    </a:cubicBezTo>
                    <a:cubicBezTo>
                      <a:pt x="78" y="561"/>
                      <a:pt x="85" y="555"/>
                      <a:pt x="90" y="548"/>
                    </a:cubicBezTo>
                    <a:cubicBezTo>
                      <a:pt x="92" y="542"/>
                      <a:pt x="92" y="536"/>
                      <a:pt x="93" y="530"/>
                    </a:cubicBezTo>
                    <a:cubicBezTo>
                      <a:pt x="102" y="526"/>
                      <a:pt x="111" y="521"/>
                      <a:pt x="120" y="517"/>
                    </a:cubicBezTo>
                    <a:cubicBezTo>
                      <a:pt x="130" y="506"/>
                      <a:pt x="142" y="495"/>
                      <a:pt x="146" y="481"/>
                    </a:cubicBezTo>
                    <a:cubicBezTo>
                      <a:pt x="151" y="471"/>
                      <a:pt x="152" y="461"/>
                      <a:pt x="154" y="451"/>
                    </a:cubicBezTo>
                    <a:cubicBezTo>
                      <a:pt x="155" y="442"/>
                      <a:pt x="153" y="434"/>
                      <a:pt x="155" y="426"/>
                    </a:cubicBezTo>
                    <a:cubicBezTo>
                      <a:pt x="159" y="416"/>
                      <a:pt x="158" y="406"/>
                      <a:pt x="156" y="397"/>
                    </a:cubicBezTo>
                    <a:cubicBezTo>
                      <a:pt x="156" y="392"/>
                      <a:pt x="160" y="389"/>
                      <a:pt x="162" y="385"/>
                    </a:cubicBezTo>
                    <a:cubicBezTo>
                      <a:pt x="160" y="377"/>
                      <a:pt x="158" y="368"/>
                      <a:pt x="157" y="360"/>
                    </a:cubicBezTo>
                    <a:cubicBezTo>
                      <a:pt x="153" y="355"/>
                      <a:pt x="148" y="352"/>
                      <a:pt x="144" y="349"/>
                    </a:cubicBezTo>
                    <a:cubicBezTo>
                      <a:pt x="139" y="346"/>
                      <a:pt x="138" y="342"/>
                      <a:pt x="136" y="338"/>
                    </a:cubicBezTo>
                    <a:cubicBezTo>
                      <a:pt x="134" y="331"/>
                      <a:pt x="130" y="325"/>
                      <a:pt x="125" y="319"/>
                    </a:cubicBezTo>
                    <a:cubicBezTo>
                      <a:pt x="121" y="307"/>
                      <a:pt x="116" y="295"/>
                      <a:pt x="114" y="282"/>
                    </a:cubicBezTo>
                    <a:cubicBezTo>
                      <a:pt x="112" y="271"/>
                      <a:pt x="107" y="260"/>
                      <a:pt x="107" y="248"/>
                    </a:cubicBezTo>
                    <a:cubicBezTo>
                      <a:pt x="109" y="244"/>
                      <a:pt x="112" y="240"/>
                      <a:pt x="115" y="237"/>
                    </a:cubicBezTo>
                    <a:cubicBezTo>
                      <a:pt x="118" y="233"/>
                      <a:pt x="125" y="230"/>
                      <a:pt x="124" y="224"/>
                    </a:cubicBezTo>
                    <a:cubicBezTo>
                      <a:pt x="125" y="213"/>
                      <a:pt x="124" y="202"/>
                      <a:pt x="120" y="191"/>
                    </a:cubicBezTo>
                    <a:cubicBezTo>
                      <a:pt x="120" y="185"/>
                      <a:pt x="113" y="181"/>
                      <a:pt x="111" y="175"/>
                    </a:cubicBezTo>
                    <a:cubicBezTo>
                      <a:pt x="105" y="162"/>
                      <a:pt x="101" y="147"/>
                      <a:pt x="97" y="133"/>
                    </a:cubicBezTo>
                    <a:cubicBezTo>
                      <a:pt x="92" y="121"/>
                      <a:pt x="92" y="108"/>
                      <a:pt x="87" y="96"/>
                    </a:cubicBezTo>
                    <a:cubicBezTo>
                      <a:pt x="81" y="87"/>
                      <a:pt x="72" y="78"/>
                      <a:pt x="66" y="68"/>
                    </a:cubicBezTo>
                    <a:cubicBezTo>
                      <a:pt x="62" y="58"/>
                      <a:pt x="54" y="50"/>
                      <a:pt x="49" y="40"/>
                    </a:cubicBezTo>
                    <a:cubicBezTo>
                      <a:pt x="49" y="36"/>
                      <a:pt x="47" y="31"/>
                      <a:pt x="47" y="27"/>
                    </a:cubicBezTo>
                    <a:cubicBezTo>
                      <a:pt x="48" y="24"/>
                      <a:pt x="51" y="23"/>
                      <a:pt x="53" y="22"/>
                    </a:cubicBezTo>
                    <a:cubicBezTo>
                      <a:pt x="57" y="21"/>
                      <a:pt x="62" y="23"/>
                      <a:pt x="65" y="20"/>
                    </a:cubicBezTo>
                    <a:cubicBezTo>
                      <a:pt x="68" y="20"/>
                      <a:pt x="69" y="19"/>
                      <a:pt x="72" y="19"/>
                    </a:cubicBezTo>
                    <a:cubicBezTo>
                      <a:pt x="75" y="20"/>
                      <a:pt x="77" y="14"/>
                      <a:pt x="80" y="17"/>
                    </a:cubicBezTo>
                    <a:cubicBezTo>
                      <a:pt x="83" y="16"/>
                      <a:pt x="86" y="17"/>
                      <a:pt x="88" y="16"/>
                    </a:cubicBezTo>
                    <a:cubicBezTo>
                      <a:pt x="91" y="14"/>
                      <a:pt x="96" y="14"/>
                      <a:pt x="98" y="10"/>
                    </a:cubicBezTo>
                    <a:cubicBezTo>
                      <a:pt x="98" y="7"/>
                      <a:pt x="101" y="7"/>
                      <a:pt x="104" y="7"/>
                    </a:cubicBezTo>
                    <a:cubicBezTo>
                      <a:pt x="106" y="4"/>
                      <a:pt x="108" y="9"/>
                      <a:pt x="111" y="8"/>
                    </a:cubicBezTo>
                    <a:cubicBezTo>
                      <a:pt x="111" y="7"/>
                      <a:pt x="115" y="6"/>
                      <a:pt x="115" y="5"/>
                    </a:cubicBezTo>
                    <a:cubicBezTo>
                      <a:pt x="122" y="6"/>
                      <a:pt x="129" y="6"/>
                      <a:pt x="136" y="4"/>
                    </a:cubicBezTo>
                    <a:cubicBezTo>
                      <a:pt x="148" y="5"/>
                      <a:pt x="160" y="5"/>
                      <a:pt x="172" y="3"/>
                    </a:cubicBezTo>
                    <a:cubicBezTo>
                      <a:pt x="187" y="6"/>
                      <a:pt x="205" y="7"/>
                      <a:pt x="221" y="8"/>
                    </a:cubicBezTo>
                    <a:cubicBezTo>
                      <a:pt x="234" y="5"/>
                      <a:pt x="249" y="5"/>
                      <a:pt x="263" y="5"/>
                    </a:cubicBezTo>
                    <a:cubicBezTo>
                      <a:pt x="287" y="4"/>
                      <a:pt x="311" y="5"/>
                      <a:pt x="336" y="4"/>
                    </a:cubicBezTo>
                    <a:cubicBezTo>
                      <a:pt x="349" y="5"/>
                      <a:pt x="374" y="0"/>
                      <a:pt x="373" y="19"/>
                    </a:cubicBezTo>
                    <a:cubicBezTo>
                      <a:pt x="387" y="28"/>
                      <a:pt x="377" y="43"/>
                      <a:pt x="383" y="55"/>
                    </a:cubicBezTo>
                    <a:cubicBezTo>
                      <a:pt x="385" y="70"/>
                      <a:pt x="399" y="81"/>
                      <a:pt x="400" y="95"/>
                    </a:cubicBezTo>
                    <a:cubicBezTo>
                      <a:pt x="392" y="103"/>
                      <a:pt x="405" y="114"/>
                      <a:pt x="409" y="120"/>
                    </a:cubicBezTo>
                    <a:cubicBezTo>
                      <a:pt x="416" y="123"/>
                      <a:pt x="413" y="124"/>
                      <a:pt x="416" y="130"/>
                    </a:cubicBezTo>
                    <a:cubicBezTo>
                      <a:pt x="425" y="141"/>
                      <a:pt x="431" y="155"/>
                      <a:pt x="440" y="166"/>
                    </a:cubicBezTo>
                    <a:cubicBezTo>
                      <a:pt x="445" y="181"/>
                      <a:pt x="464" y="166"/>
                      <a:pt x="474" y="171"/>
                    </a:cubicBezTo>
                    <a:cubicBezTo>
                      <a:pt x="483" y="181"/>
                      <a:pt x="485" y="167"/>
                      <a:pt x="493" y="166"/>
                    </a:cubicBezTo>
                    <a:cubicBezTo>
                      <a:pt x="506" y="170"/>
                      <a:pt x="516" y="163"/>
                      <a:pt x="528" y="161"/>
                    </a:cubicBezTo>
                    <a:cubicBezTo>
                      <a:pt x="539" y="168"/>
                      <a:pt x="553" y="166"/>
                      <a:pt x="567" y="166"/>
                    </a:cubicBezTo>
                    <a:cubicBezTo>
                      <a:pt x="584" y="172"/>
                      <a:pt x="578" y="154"/>
                      <a:pt x="582" y="144"/>
                    </a:cubicBezTo>
                    <a:cubicBezTo>
                      <a:pt x="575" y="133"/>
                      <a:pt x="593" y="135"/>
                      <a:pt x="592" y="125"/>
                    </a:cubicBezTo>
                    <a:cubicBezTo>
                      <a:pt x="586" y="113"/>
                      <a:pt x="592" y="102"/>
                      <a:pt x="593" y="91"/>
                    </a:cubicBezTo>
                    <a:cubicBezTo>
                      <a:pt x="609" y="91"/>
                      <a:pt x="624" y="91"/>
                      <a:pt x="639" y="91"/>
                    </a:cubicBezTo>
                    <a:cubicBezTo>
                      <a:pt x="650" y="96"/>
                      <a:pt x="652" y="81"/>
                      <a:pt x="662" y="85"/>
                    </a:cubicBezTo>
                    <a:cubicBezTo>
                      <a:pt x="685" y="80"/>
                      <a:pt x="663" y="102"/>
                      <a:pt x="668" y="113"/>
                    </a:cubicBezTo>
                    <a:cubicBezTo>
                      <a:pt x="693" y="113"/>
                      <a:pt x="718" y="112"/>
                      <a:pt x="743" y="113"/>
                    </a:cubicBezTo>
                    <a:cubicBezTo>
                      <a:pt x="752" y="112"/>
                      <a:pt x="767" y="111"/>
                      <a:pt x="766" y="124"/>
                    </a:cubicBezTo>
                    <a:cubicBezTo>
                      <a:pt x="768" y="137"/>
                      <a:pt x="759" y="148"/>
                      <a:pt x="759" y="161"/>
                    </a:cubicBezTo>
                    <a:cubicBezTo>
                      <a:pt x="762" y="178"/>
                      <a:pt x="776" y="195"/>
                      <a:pt x="770" y="213"/>
                    </a:cubicBezTo>
                    <a:cubicBezTo>
                      <a:pt x="763" y="231"/>
                      <a:pt x="766" y="250"/>
                      <a:pt x="762" y="268"/>
                    </a:cubicBezTo>
                    <a:cubicBezTo>
                      <a:pt x="758" y="282"/>
                      <a:pt x="767" y="294"/>
                      <a:pt x="776" y="305"/>
                    </a:cubicBezTo>
                    <a:cubicBezTo>
                      <a:pt x="793" y="311"/>
                      <a:pt x="788" y="331"/>
                      <a:pt x="797" y="344"/>
                    </a:cubicBezTo>
                    <a:cubicBezTo>
                      <a:pt x="791" y="355"/>
                      <a:pt x="806" y="373"/>
                      <a:pt x="790" y="379"/>
                    </a:cubicBezTo>
                    <a:cubicBezTo>
                      <a:pt x="781" y="387"/>
                      <a:pt x="794" y="398"/>
                      <a:pt x="792" y="408"/>
                    </a:cubicBezTo>
                    <a:cubicBezTo>
                      <a:pt x="791" y="409"/>
                      <a:pt x="790" y="410"/>
                      <a:pt x="792" y="410"/>
                    </a:cubicBezTo>
                    <a:cubicBezTo>
                      <a:pt x="792" y="409"/>
                      <a:pt x="792" y="409"/>
                      <a:pt x="792" y="408"/>
                    </a:cubicBezTo>
                    <a:cubicBezTo>
                      <a:pt x="797" y="406"/>
                      <a:pt x="809" y="403"/>
                      <a:pt x="813" y="398"/>
                    </a:cubicBezTo>
                    <a:cubicBezTo>
                      <a:pt x="816" y="400"/>
                      <a:pt x="833" y="402"/>
                      <a:pt x="839" y="399"/>
                    </a:cubicBezTo>
                    <a:cubicBezTo>
                      <a:pt x="854" y="406"/>
                      <a:pt x="868" y="396"/>
                      <a:pt x="882" y="391"/>
                    </a:cubicBezTo>
                    <a:cubicBezTo>
                      <a:pt x="895" y="392"/>
                      <a:pt x="914" y="403"/>
                      <a:pt x="921" y="386"/>
                    </a:cubicBezTo>
                    <a:cubicBezTo>
                      <a:pt x="923" y="387"/>
                      <a:pt x="923" y="387"/>
                      <a:pt x="923" y="387"/>
                    </a:cubicBezTo>
                    <a:cubicBezTo>
                      <a:pt x="922" y="388"/>
                      <a:pt x="922" y="389"/>
                      <a:pt x="923" y="391"/>
                    </a:cubicBezTo>
                    <a:cubicBezTo>
                      <a:pt x="923" y="403"/>
                      <a:pt x="926" y="416"/>
                      <a:pt x="925" y="428"/>
                    </a:cubicBezTo>
                    <a:cubicBezTo>
                      <a:pt x="917" y="439"/>
                      <a:pt x="922" y="451"/>
                      <a:pt x="920" y="463"/>
                    </a:cubicBezTo>
                    <a:cubicBezTo>
                      <a:pt x="916" y="475"/>
                      <a:pt x="921" y="487"/>
                      <a:pt x="923" y="498"/>
                    </a:cubicBezTo>
                    <a:cubicBezTo>
                      <a:pt x="915" y="512"/>
                      <a:pt x="904" y="531"/>
                      <a:pt x="919" y="543"/>
                    </a:cubicBezTo>
                    <a:cubicBezTo>
                      <a:pt x="909" y="549"/>
                      <a:pt x="891" y="544"/>
                      <a:pt x="877" y="545"/>
                    </a:cubicBezTo>
                    <a:cubicBezTo>
                      <a:pt x="842" y="545"/>
                      <a:pt x="806" y="544"/>
                      <a:pt x="771" y="544"/>
                    </a:cubicBezTo>
                    <a:cubicBezTo>
                      <a:pt x="769" y="623"/>
                      <a:pt x="767" y="702"/>
                      <a:pt x="765" y="782"/>
                    </a:cubicBezTo>
                    <a:cubicBezTo>
                      <a:pt x="776" y="793"/>
                      <a:pt x="771" y="812"/>
                      <a:pt x="788" y="818"/>
                    </a:cubicBezTo>
                    <a:cubicBezTo>
                      <a:pt x="805" y="831"/>
                      <a:pt x="816" y="850"/>
                      <a:pt x="833" y="863"/>
                    </a:cubicBezTo>
                    <a:cubicBezTo>
                      <a:pt x="843" y="873"/>
                      <a:pt x="851" y="885"/>
                      <a:pt x="865" y="890"/>
                    </a:cubicBezTo>
                    <a:cubicBezTo>
                      <a:pt x="866" y="890"/>
                      <a:pt x="868" y="891"/>
                      <a:pt x="869" y="891"/>
                    </a:cubicBezTo>
                    <a:cubicBezTo>
                      <a:pt x="869" y="893"/>
                      <a:pt x="869" y="893"/>
                      <a:pt x="869" y="893"/>
                    </a:cubicBezTo>
                    <a:cubicBezTo>
                      <a:pt x="818" y="902"/>
                      <a:pt x="767" y="911"/>
                      <a:pt x="716" y="920"/>
                    </a:cubicBezTo>
                    <a:cubicBezTo>
                      <a:pt x="703" y="906"/>
                      <a:pt x="685" y="921"/>
                      <a:pt x="671" y="919"/>
                    </a:cubicBezTo>
                    <a:cubicBezTo>
                      <a:pt x="656" y="920"/>
                      <a:pt x="645" y="904"/>
                      <a:pt x="630" y="910"/>
                    </a:cubicBezTo>
                    <a:cubicBezTo>
                      <a:pt x="613" y="910"/>
                      <a:pt x="596" y="906"/>
                      <a:pt x="579" y="908"/>
                    </a:cubicBezTo>
                    <a:cubicBezTo>
                      <a:pt x="565" y="903"/>
                      <a:pt x="551" y="905"/>
                      <a:pt x="537" y="903"/>
                    </a:cubicBezTo>
                    <a:cubicBezTo>
                      <a:pt x="523" y="899"/>
                      <a:pt x="514" y="887"/>
                      <a:pt x="506" y="876"/>
                    </a:cubicBezTo>
                    <a:cubicBezTo>
                      <a:pt x="497" y="867"/>
                      <a:pt x="483" y="873"/>
                      <a:pt x="472" y="872"/>
                    </a:cubicBezTo>
                    <a:cubicBezTo>
                      <a:pt x="387" y="872"/>
                      <a:pt x="303" y="871"/>
                      <a:pt x="219" y="871"/>
                    </a:cubicBezTo>
                    <a:cubicBezTo>
                      <a:pt x="205" y="869"/>
                      <a:pt x="193" y="874"/>
                      <a:pt x="179" y="874"/>
                    </a:cubicBezTo>
                    <a:cubicBezTo>
                      <a:pt x="168" y="865"/>
                      <a:pt x="152" y="862"/>
                      <a:pt x="144" y="850"/>
                    </a:cubicBezTo>
                    <a:cubicBezTo>
                      <a:pt x="133" y="838"/>
                      <a:pt x="116" y="839"/>
                      <a:pt x="103" y="843"/>
                    </a:cubicBezTo>
                    <a:cubicBezTo>
                      <a:pt x="87" y="852"/>
                      <a:pt x="72" y="864"/>
                      <a:pt x="55" y="859"/>
                    </a:cubicBezTo>
                    <a:cubicBezTo>
                      <a:pt x="39" y="853"/>
                      <a:pt x="30" y="853"/>
                      <a:pt x="19" y="863"/>
                    </a:cubicBezTo>
                    <a:cubicBezTo>
                      <a:pt x="17" y="863"/>
                      <a:pt x="17" y="863"/>
                      <a:pt x="17" y="863"/>
                    </a:cubicBezTo>
                    <a:cubicBezTo>
                      <a:pt x="7" y="862"/>
                      <a:pt x="7" y="862"/>
                      <a:pt x="7" y="862"/>
                    </a:cubicBezTo>
                    <a:lnTo>
                      <a:pt x="6" y="862"/>
                    </a:lnTo>
                    <a:close/>
                  </a:path>
                </a:pathLst>
              </a:custGeom>
              <a:solidFill>
                <a:srgbClr val="5DD4F1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48751" name="Andorra"/>
              <p:cNvSpPr>
                <a:spLocks/>
              </p:cNvSpPr>
              <p:nvPr>
                <p:custDataLst>
                  <p:tags r:id="rId128"/>
                </p:custDataLst>
              </p:nvPr>
            </p:nvSpPr>
            <p:spPr bwMode="auto">
              <a:xfrm>
                <a:off x="4250931" y="3183894"/>
                <a:ext cx="36000" cy="36000"/>
              </a:xfrm>
              <a:custGeom>
                <a:avLst/>
                <a:gdLst>
                  <a:gd name="T0" fmla="*/ 0 w 10"/>
                  <a:gd name="T1" fmla="*/ 25714 h 7"/>
                  <a:gd name="T2" fmla="*/ 14400 w 10"/>
                  <a:gd name="T3" fmla="*/ 36000 h 7"/>
                  <a:gd name="T4" fmla="*/ 36000 w 10"/>
                  <a:gd name="T5" fmla="*/ 36000 h 7"/>
                  <a:gd name="T6" fmla="*/ 36000 w 10"/>
                  <a:gd name="T7" fmla="*/ 25714 h 7"/>
                  <a:gd name="T8" fmla="*/ 28800 w 10"/>
                  <a:gd name="T9" fmla="*/ 25714 h 7"/>
                  <a:gd name="T10" fmla="*/ 0 w 10"/>
                  <a:gd name="T11" fmla="*/ 0 h 7"/>
                  <a:gd name="T12" fmla="*/ 0 w 10"/>
                  <a:gd name="T13" fmla="*/ 10286 h 7"/>
                  <a:gd name="T14" fmla="*/ 0 w 10"/>
                  <a:gd name="T15" fmla="*/ 25714 h 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"/>
                  <a:gd name="T25" fmla="*/ 0 h 7"/>
                  <a:gd name="T26" fmla="*/ 10 w 10"/>
                  <a:gd name="T27" fmla="*/ 7 h 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" h="7">
                    <a:moveTo>
                      <a:pt x="0" y="5"/>
                    </a:moveTo>
                    <a:lnTo>
                      <a:pt x="4" y="7"/>
                    </a:lnTo>
                    <a:lnTo>
                      <a:pt x="10" y="7"/>
                    </a:lnTo>
                    <a:lnTo>
                      <a:pt x="10" y="5"/>
                    </a:lnTo>
                    <a:lnTo>
                      <a:pt x="8" y="5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3348752" name="Algeria"/>
              <p:cNvSpPr>
                <a:spLocks/>
              </p:cNvSpPr>
              <p:nvPr/>
            </p:nvSpPr>
            <p:spPr bwMode="auto">
              <a:xfrm>
                <a:off x="4038733" y="3381292"/>
                <a:ext cx="511985" cy="574977"/>
              </a:xfrm>
              <a:custGeom>
                <a:avLst/>
                <a:gdLst>
                  <a:gd name="T0" fmla="*/ 159858579 w 1408"/>
                  <a:gd name="T1" fmla="*/ 2976681 h 1333"/>
                  <a:gd name="T2" fmla="*/ 160784006 w 1408"/>
                  <a:gd name="T3" fmla="*/ 2976681 h 1333"/>
                  <a:gd name="T4" fmla="*/ 157346290 w 1408"/>
                  <a:gd name="T5" fmla="*/ 7814167 h 1333"/>
                  <a:gd name="T6" fmla="*/ 157081571 w 1408"/>
                  <a:gd name="T7" fmla="*/ 18605445 h 1333"/>
                  <a:gd name="T8" fmla="*/ 156949575 w 1408"/>
                  <a:gd name="T9" fmla="*/ 29024479 h 1333"/>
                  <a:gd name="T10" fmla="*/ 152718427 w 1408"/>
                  <a:gd name="T11" fmla="*/ 36838643 h 1333"/>
                  <a:gd name="T12" fmla="*/ 150999569 w 1408"/>
                  <a:gd name="T13" fmla="*/ 52095154 h 1333"/>
                  <a:gd name="T14" fmla="*/ 156023784 w 1408"/>
                  <a:gd name="T15" fmla="*/ 62142380 h 1333"/>
                  <a:gd name="T16" fmla="*/ 165279509 w 1408"/>
                  <a:gd name="T17" fmla="*/ 91725000 h 1333"/>
                  <a:gd name="T18" fmla="*/ 165543865 w 1408"/>
                  <a:gd name="T19" fmla="*/ 93585371 h 1333"/>
                  <a:gd name="T20" fmla="*/ 167659439 w 1408"/>
                  <a:gd name="T21" fmla="*/ 116656504 h 1333"/>
                  <a:gd name="T22" fmla="*/ 167263087 w 1408"/>
                  <a:gd name="T23" fmla="*/ 129679965 h 1333"/>
                  <a:gd name="T24" fmla="*/ 166469656 w 1408"/>
                  <a:gd name="T25" fmla="*/ 144936476 h 1333"/>
                  <a:gd name="T26" fmla="*/ 168452870 w 1408"/>
                  <a:gd name="T27" fmla="*/ 160565234 h 1333"/>
                  <a:gd name="T28" fmla="*/ 172684017 w 1408"/>
                  <a:gd name="T29" fmla="*/ 172286479 h 1333"/>
                  <a:gd name="T30" fmla="*/ 182336458 w 1408"/>
                  <a:gd name="T31" fmla="*/ 174891344 h 1333"/>
                  <a:gd name="T32" fmla="*/ 142669271 w 1408"/>
                  <a:gd name="T33" fmla="*/ 222149432 h 1333"/>
                  <a:gd name="T34" fmla="*/ 111596737 w 1408"/>
                  <a:gd name="T35" fmla="*/ 245220160 h 1333"/>
                  <a:gd name="T36" fmla="*/ 101415584 w 1408"/>
                  <a:gd name="T37" fmla="*/ 243359357 h 1333"/>
                  <a:gd name="T38" fmla="*/ 96787722 w 1408"/>
                  <a:gd name="T39" fmla="*/ 232754422 h 1333"/>
                  <a:gd name="T40" fmla="*/ 88193045 w 1408"/>
                  <a:gd name="T41" fmla="*/ 227358784 h 1333"/>
                  <a:gd name="T42" fmla="*/ 83565182 w 1408"/>
                  <a:gd name="T43" fmla="*/ 217125610 h 1333"/>
                  <a:gd name="T44" fmla="*/ 31733616 w 1408"/>
                  <a:gd name="T45" fmla="*/ 160565234 h 1333"/>
                  <a:gd name="T46" fmla="*/ 0 w 1408"/>
                  <a:gd name="T47" fmla="*/ 126331038 h 1333"/>
                  <a:gd name="T48" fmla="*/ 2115574 w 1408"/>
                  <a:gd name="T49" fmla="*/ 106609264 h 1333"/>
                  <a:gd name="T50" fmla="*/ 9916800 w 1408"/>
                  <a:gd name="T51" fmla="*/ 100283657 h 1333"/>
                  <a:gd name="T52" fmla="*/ 19304524 w 1408"/>
                  <a:gd name="T53" fmla="*/ 95446174 h 1333"/>
                  <a:gd name="T54" fmla="*/ 29353687 w 1408"/>
                  <a:gd name="T55" fmla="*/ 92469062 h 1333"/>
                  <a:gd name="T56" fmla="*/ 40063915 w 1408"/>
                  <a:gd name="T57" fmla="*/ 83352682 h 1333"/>
                  <a:gd name="T58" fmla="*/ 48658217 w 1408"/>
                  <a:gd name="T59" fmla="*/ 79073354 h 1333"/>
                  <a:gd name="T60" fmla="*/ 48658217 w 1408"/>
                  <a:gd name="T61" fmla="*/ 71631006 h 1333"/>
                  <a:gd name="T62" fmla="*/ 56988515 w 1408"/>
                  <a:gd name="T63" fmla="*/ 65119060 h 1333"/>
                  <a:gd name="T64" fmla="*/ 69417601 w 1408"/>
                  <a:gd name="T65" fmla="*/ 64374998 h 1333"/>
                  <a:gd name="T66" fmla="*/ 73119673 w 1408"/>
                  <a:gd name="T67" fmla="*/ 60281577 h 1333"/>
                  <a:gd name="T68" fmla="*/ 71004100 w 1408"/>
                  <a:gd name="T69" fmla="*/ 51723338 h 1333"/>
                  <a:gd name="T70" fmla="*/ 70078673 w 1408"/>
                  <a:gd name="T71" fmla="*/ 41117971 h 1333"/>
                  <a:gd name="T72" fmla="*/ 70210669 w 1408"/>
                  <a:gd name="T73" fmla="*/ 30885282 h 1333"/>
                  <a:gd name="T74" fmla="*/ 67566383 w 1408"/>
                  <a:gd name="T75" fmla="*/ 23257020 h 1333"/>
                  <a:gd name="T76" fmla="*/ 71268455 w 1408"/>
                  <a:gd name="T77" fmla="*/ 23442928 h 1333"/>
                  <a:gd name="T78" fmla="*/ 78144252 w 1408"/>
                  <a:gd name="T79" fmla="*/ 17675043 h 1333"/>
                  <a:gd name="T80" fmla="*/ 82904111 w 1408"/>
                  <a:gd name="T81" fmla="*/ 15256518 h 1333"/>
                  <a:gd name="T82" fmla="*/ 85945475 w 1408"/>
                  <a:gd name="T83" fmla="*/ 14140209 h 1333"/>
                  <a:gd name="T84" fmla="*/ 88986476 w 1408"/>
                  <a:gd name="T85" fmla="*/ 12837989 h 1333"/>
                  <a:gd name="T86" fmla="*/ 94804485 w 1408"/>
                  <a:gd name="T87" fmla="*/ 7814167 h 1333"/>
                  <a:gd name="T88" fmla="*/ 104985660 w 1408"/>
                  <a:gd name="T89" fmla="*/ 5395639 h 1333"/>
                  <a:gd name="T90" fmla="*/ 112918880 w 1408"/>
                  <a:gd name="T91" fmla="*/ 4092991 h 1333"/>
                  <a:gd name="T92" fmla="*/ 117150027 w 1408"/>
                  <a:gd name="T93" fmla="*/ 3163020 h 1333"/>
                  <a:gd name="T94" fmla="*/ 122042609 w 1408"/>
                  <a:gd name="T95" fmla="*/ 1860372 h 1333"/>
                  <a:gd name="T96" fmla="*/ 130240185 w 1408"/>
                  <a:gd name="T97" fmla="*/ 2604866 h 1333"/>
                  <a:gd name="T98" fmla="*/ 133810261 w 1408"/>
                  <a:gd name="T99" fmla="*/ 5023392 h 1333"/>
                  <a:gd name="T100" fmla="*/ 140421701 w 1408"/>
                  <a:gd name="T101" fmla="*/ 2418527 h 1333"/>
                  <a:gd name="T102" fmla="*/ 144917204 w 1408"/>
                  <a:gd name="T103" fmla="*/ 1860372 h 1333"/>
                  <a:gd name="T104" fmla="*/ 148487280 w 1408"/>
                  <a:gd name="T105" fmla="*/ 2232619 h 1333"/>
                  <a:gd name="T106" fmla="*/ 152057356 w 1408"/>
                  <a:gd name="T107" fmla="*/ 1674464 h 1333"/>
                  <a:gd name="T108" fmla="*/ 157346290 w 1408"/>
                  <a:gd name="T109" fmla="*/ 2604866 h 133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408"/>
                  <a:gd name="T166" fmla="*/ 0 h 1333"/>
                  <a:gd name="T167" fmla="*/ 1408 w 1408"/>
                  <a:gd name="T168" fmla="*/ 1333 h 133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408" h="1333">
                    <a:moveTo>
                      <a:pt x="1190" y="14"/>
                    </a:moveTo>
                    <a:cubicBezTo>
                      <a:pt x="1196" y="15"/>
                      <a:pt x="1202" y="17"/>
                      <a:pt x="1209" y="16"/>
                    </a:cubicBezTo>
                    <a:cubicBezTo>
                      <a:pt x="1211" y="16"/>
                      <a:pt x="1213" y="16"/>
                      <a:pt x="1215" y="15"/>
                    </a:cubicBezTo>
                    <a:cubicBezTo>
                      <a:pt x="1216" y="16"/>
                      <a:pt x="1216" y="16"/>
                      <a:pt x="1216" y="16"/>
                    </a:cubicBezTo>
                    <a:cubicBezTo>
                      <a:pt x="1220" y="30"/>
                      <a:pt x="1210" y="23"/>
                      <a:pt x="1203" y="27"/>
                    </a:cubicBezTo>
                    <a:cubicBezTo>
                      <a:pt x="1209" y="36"/>
                      <a:pt x="1197" y="41"/>
                      <a:pt x="1190" y="42"/>
                    </a:cubicBezTo>
                    <a:cubicBezTo>
                      <a:pt x="1181" y="48"/>
                      <a:pt x="1194" y="48"/>
                      <a:pt x="1197" y="52"/>
                    </a:cubicBezTo>
                    <a:cubicBezTo>
                      <a:pt x="1196" y="68"/>
                      <a:pt x="1187" y="83"/>
                      <a:pt x="1188" y="100"/>
                    </a:cubicBezTo>
                    <a:cubicBezTo>
                      <a:pt x="1197" y="110"/>
                      <a:pt x="1189" y="121"/>
                      <a:pt x="1189" y="132"/>
                    </a:cubicBezTo>
                    <a:cubicBezTo>
                      <a:pt x="1204" y="137"/>
                      <a:pt x="1188" y="146"/>
                      <a:pt x="1187" y="156"/>
                    </a:cubicBezTo>
                    <a:cubicBezTo>
                      <a:pt x="1183" y="159"/>
                      <a:pt x="1184" y="164"/>
                      <a:pt x="1185" y="169"/>
                    </a:cubicBezTo>
                    <a:cubicBezTo>
                      <a:pt x="1185" y="187"/>
                      <a:pt x="1166" y="190"/>
                      <a:pt x="1155" y="198"/>
                    </a:cubicBezTo>
                    <a:cubicBezTo>
                      <a:pt x="1152" y="214"/>
                      <a:pt x="1129" y="212"/>
                      <a:pt x="1130" y="230"/>
                    </a:cubicBezTo>
                    <a:cubicBezTo>
                      <a:pt x="1127" y="249"/>
                      <a:pt x="1146" y="262"/>
                      <a:pt x="1142" y="280"/>
                    </a:cubicBezTo>
                    <a:cubicBezTo>
                      <a:pt x="1150" y="290"/>
                      <a:pt x="1169" y="289"/>
                      <a:pt x="1173" y="304"/>
                    </a:cubicBezTo>
                    <a:cubicBezTo>
                      <a:pt x="1181" y="312"/>
                      <a:pt x="1179" y="324"/>
                      <a:pt x="1180" y="334"/>
                    </a:cubicBezTo>
                    <a:cubicBezTo>
                      <a:pt x="1195" y="345"/>
                      <a:pt x="1211" y="356"/>
                      <a:pt x="1226" y="367"/>
                    </a:cubicBezTo>
                    <a:cubicBezTo>
                      <a:pt x="1234" y="409"/>
                      <a:pt x="1242" y="451"/>
                      <a:pt x="1250" y="493"/>
                    </a:cubicBezTo>
                    <a:cubicBezTo>
                      <a:pt x="1250" y="497"/>
                      <a:pt x="1251" y="500"/>
                      <a:pt x="1253" y="500"/>
                    </a:cubicBezTo>
                    <a:cubicBezTo>
                      <a:pt x="1252" y="503"/>
                      <a:pt x="1252" y="503"/>
                      <a:pt x="1252" y="503"/>
                    </a:cubicBezTo>
                    <a:cubicBezTo>
                      <a:pt x="1245" y="506"/>
                      <a:pt x="1231" y="511"/>
                      <a:pt x="1243" y="519"/>
                    </a:cubicBezTo>
                    <a:cubicBezTo>
                      <a:pt x="1266" y="549"/>
                      <a:pt x="1277" y="590"/>
                      <a:pt x="1268" y="627"/>
                    </a:cubicBezTo>
                    <a:cubicBezTo>
                      <a:pt x="1265" y="637"/>
                      <a:pt x="1262" y="649"/>
                      <a:pt x="1268" y="659"/>
                    </a:cubicBezTo>
                    <a:cubicBezTo>
                      <a:pt x="1274" y="671"/>
                      <a:pt x="1277" y="687"/>
                      <a:pt x="1265" y="697"/>
                    </a:cubicBezTo>
                    <a:cubicBezTo>
                      <a:pt x="1259" y="710"/>
                      <a:pt x="1256" y="724"/>
                      <a:pt x="1263" y="738"/>
                    </a:cubicBezTo>
                    <a:cubicBezTo>
                      <a:pt x="1269" y="750"/>
                      <a:pt x="1274" y="771"/>
                      <a:pt x="1259" y="779"/>
                    </a:cubicBezTo>
                    <a:cubicBezTo>
                      <a:pt x="1247" y="783"/>
                      <a:pt x="1233" y="789"/>
                      <a:pt x="1232" y="803"/>
                    </a:cubicBezTo>
                    <a:cubicBezTo>
                      <a:pt x="1246" y="823"/>
                      <a:pt x="1260" y="843"/>
                      <a:pt x="1274" y="863"/>
                    </a:cubicBezTo>
                    <a:cubicBezTo>
                      <a:pt x="1277" y="876"/>
                      <a:pt x="1268" y="895"/>
                      <a:pt x="1280" y="903"/>
                    </a:cubicBezTo>
                    <a:cubicBezTo>
                      <a:pt x="1290" y="910"/>
                      <a:pt x="1290" y="930"/>
                      <a:pt x="1306" y="926"/>
                    </a:cubicBezTo>
                    <a:cubicBezTo>
                      <a:pt x="1318" y="916"/>
                      <a:pt x="1331" y="926"/>
                      <a:pt x="1344" y="929"/>
                    </a:cubicBezTo>
                    <a:cubicBezTo>
                      <a:pt x="1355" y="933"/>
                      <a:pt x="1367" y="936"/>
                      <a:pt x="1379" y="940"/>
                    </a:cubicBezTo>
                    <a:cubicBezTo>
                      <a:pt x="1389" y="960"/>
                      <a:pt x="1398" y="979"/>
                      <a:pt x="1408" y="998"/>
                    </a:cubicBezTo>
                    <a:cubicBezTo>
                      <a:pt x="1298" y="1062"/>
                      <a:pt x="1188" y="1128"/>
                      <a:pt x="1079" y="1194"/>
                    </a:cubicBezTo>
                    <a:cubicBezTo>
                      <a:pt x="1038" y="1228"/>
                      <a:pt x="998" y="1263"/>
                      <a:pt x="957" y="1297"/>
                    </a:cubicBezTo>
                    <a:cubicBezTo>
                      <a:pt x="919" y="1304"/>
                      <a:pt x="882" y="1311"/>
                      <a:pt x="844" y="1318"/>
                    </a:cubicBezTo>
                    <a:cubicBezTo>
                      <a:pt x="827" y="1321"/>
                      <a:pt x="811" y="1324"/>
                      <a:pt x="794" y="1326"/>
                    </a:cubicBezTo>
                    <a:cubicBezTo>
                      <a:pt x="783" y="1333"/>
                      <a:pt x="757" y="1323"/>
                      <a:pt x="767" y="1308"/>
                    </a:cubicBezTo>
                    <a:cubicBezTo>
                      <a:pt x="781" y="1298"/>
                      <a:pt x="768" y="1282"/>
                      <a:pt x="773" y="1268"/>
                    </a:cubicBezTo>
                    <a:cubicBezTo>
                      <a:pt x="763" y="1256"/>
                      <a:pt x="747" y="1254"/>
                      <a:pt x="732" y="1251"/>
                    </a:cubicBezTo>
                    <a:cubicBezTo>
                      <a:pt x="715" y="1255"/>
                      <a:pt x="714" y="1232"/>
                      <a:pt x="701" y="1231"/>
                    </a:cubicBezTo>
                    <a:cubicBezTo>
                      <a:pt x="688" y="1237"/>
                      <a:pt x="677" y="1230"/>
                      <a:pt x="667" y="1222"/>
                    </a:cubicBezTo>
                    <a:cubicBezTo>
                      <a:pt x="667" y="1205"/>
                      <a:pt x="650" y="1204"/>
                      <a:pt x="640" y="1195"/>
                    </a:cubicBezTo>
                    <a:cubicBezTo>
                      <a:pt x="621" y="1198"/>
                      <a:pt x="639" y="1176"/>
                      <a:pt x="632" y="1167"/>
                    </a:cubicBezTo>
                    <a:cubicBezTo>
                      <a:pt x="606" y="1148"/>
                      <a:pt x="579" y="1130"/>
                      <a:pt x="553" y="1111"/>
                    </a:cubicBezTo>
                    <a:cubicBezTo>
                      <a:pt x="450" y="1027"/>
                      <a:pt x="345" y="944"/>
                      <a:pt x="240" y="863"/>
                    </a:cubicBezTo>
                    <a:cubicBezTo>
                      <a:pt x="239" y="862"/>
                      <a:pt x="239" y="862"/>
                      <a:pt x="239" y="862"/>
                    </a:cubicBezTo>
                    <a:cubicBezTo>
                      <a:pt x="160" y="801"/>
                      <a:pt x="80" y="740"/>
                      <a:pt x="0" y="679"/>
                    </a:cubicBezTo>
                    <a:cubicBezTo>
                      <a:pt x="1" y="670"/>
                      <a:pt x="3" y="660"/>
                      <a:pt x="4" y="651"/>
                    </a:cubicBezTo>
                    <a:cubicBezTo>
                      <a:pt x="8" y="625"/>
                      <a:pt x="12" y="599"/>
                      <a:pt x="16" y="573"/>
                    </a:cubicBezTo>
                    <a:cubicBezTo>
                      <a:pt x="27" y="569"/>
                      <a:pt x="36" y="563"/>
                      <a:pt x="44" y="556"/>
                    </a:cubicBezTo>
                    <a:cubicBezTo>
                      <a:pt x="54" y="549"/>
                      <a:pt x="66" y="547"/>
                      <a:pt x="75" y="539"/>
                    </a:cubicBezTo>
                    <a:cubicBezTo>
                      <a:pt x="86" y="532"/>
                      <a:pt x="94" y="524"/>
                      <a:pt x="106" y="526"/>
                    </a:cubicBezTo>
                    <a:cubicBezTo>
                      <a:pt x="117" y="516"/>
                      <a:pt x="130" y="506"/>
                      <a:pt x="146" y="513"/>
                    </a:cubicBezTo>
                    <a:cubicBezTo>
                      <a:pt x="160" y="521"/>
                      <a:pt x="173" y="514"/>
                      <a:pt x="176" y="499"/>
                    </a:cubicBezTo>
                    <a:cubicBezTo>
                      <a:pt x="191" y="502"/>
                      <a:pt x="207" y="499"/>
                      <a:pt x="222" y="497"/>
                    </a:cubicBezTo>
                    <a:cubicBezTo>
                      <a:pt x="239" y="498"/>
                      <a:pt x="255" y="489"/>
                      <a:pt x="266" y="477"/>
                    </a:cubicBezTo>
                    <a:cubicBezTo>
                      <a:pt x="277" y="464"/>
                      <a:pt x="284" y="449"/>
                      <a:pt x="303" y="448"/>
                    </a:cubicBezTo>
                    <a:cubicBezTo>
                      <a:pt x="315" y="446"/>
                      <a:pt x="327" y="443"/>
                      <a:pt x="338" y="436"/>
                    </a:cubicBezTo>
                    <a:cubicBezTo>
                      <a:pt x="345" y="427"/>
                      <a:pt x="356" y="423"/>
                      <a:pt x="368" y="425"/>
                    </a:cubicBezTo>
                    <a:cubicBezTo>
                      <a:pt x="385" y="427"/>
                      <a:pt x="377" y="405"/>
                      <a:pt x="366" y="407"/>
                    </a:cubicBezTo>
                    <a:cubicBezTo>
                      <a:pt x="365" y="398"/>
                      <a:pt x="377" y="391"/>
                      <a:pt x="368" y="385"/>
                    </a:cubicBezTo>
                    <a:cubicBezTo>
                      <a:pt x="364" y="371"/>
                      <a:pt x="378" y="363"/>
                      <a:pt x="389" y="371"/>
                    </a:cubicBezTo>
                    <a:cubicBezTo>
                      <a:pt x="403" y="365"/>
                      <a:pt x="430" y="370"/>
                      <a:pt x="431" y="350"/>
                    </a:cubicBezTo>
                    <a:cubicBezTo>
                      <a:pt x="440" y="338"/>
                      <a:pt x="459" y="344"/>
                      <a:pt x="473" y="340"/>
                    </a:cubicBezTo>
                    <a:cubicBezTo>
                      <a:pt x="490" y="342"/>
                      <a:pt x="508" y="345"/>
                      <a:pt x="525" y="346"/>
                    </a:cubicBezTo>
                    <a:cubicBezTo>
                      <a:pt x="532" y="344"/>
                      <a:pt x="548" y="354"/>
                      <a:pt x="548" y="342"/>
                    </a:cubicBezTo>
                    <a:cubicBezTo>
                      <a:pt x="535" y="345"/>
                      <a:pt x="549" y="329"/>
                      <a:pt x="553" y="324"/>
                    </a:cubicBezTo>
                    <a:cubicBezTo>
                      <a:pt x="567" y="324"/>
                      <a:pt x="559" y="311"/>
                      <a:pt x="551" y="308"/>
                    </a:cubicBezTo>
                    <a:cubicBezTo>
                      <a:pt x="541" y="302"/>
                      <a:pt x="529" y="289"/>
                      <a:pt x="537" y="278"/>
                    </a:cubicBezTo>
                    <a:cubicBezTo>
                      <a:pt x="529" y="267"/>
                      <a:pt x="524" y="254"/>
                      <a:pt x="534" y="243"/>
                    </a:cubicBezTo>
                    <a:cubicBezTo>
                      <a:pt x="538" y="234"/>
                      <a:pt x="523" y="230"/>
                      <a:pt x="530" y="221"/>
                    </a:cubicBezTo>
                    <a:cubicBezTo>
                      <a:pt x="532" y="209"/>
                      <a:pt x="539" y="197"/>
                      <a:pt x="533" y="185"/>
                    </a:cubicBezTo>
                    <a:cubicBezTo>
                      <a:pt x="527" y="178"/>
                      <a:pt x="544" y="171"/>
                      <a:pt x="531" y="166"/>
                    </a:cubicBezTo>
                    <a:cubicBezTo>
                      <a:pt x="526" y="159"/>
                      <a:pt x="543" y="152"/>
                      <a:pt x="530" y="147"/>
                    </a:cubicBezTo>
                    <a:cubicBezTo>
                      <a:pt x="525" y="140"/>
                      <a:pt x="512" y="134"/>
                      <a:pt x="511" y="125"/>
                    </a:cubicBezTo>
                    <a:cubicBezTo>
                      <a:pt x="511" y="124"/>
                      <a:pt x="511" y="124"/>
                      <a:pt x="511" y="124"/>
                    </a:cubicBezTo>
                    <a:cubicBezTo>
                      <a:pt x="520" y="125"/>
                      <a:pt x="530" y="129"/>
                      <a:pt x="539" y="126"/>
                    </a:cubicBezTo>
                    <a:cubicBezTo>
                      <a:pt x="550" y="124"/>
                      <a:pt x="560" y="119"/>
                      <a:pt x="570" y="115"/>
                    </a:cubicBezTo>
                    <a:cubicBezTo>
                      <a:pt x="578" y="109"/>
                      <a:pt x="584" y="102"/>
                      <a:pt x="591" y="95"/>
                    </a:cubicBezTo>
                    <a:cubicBezTo>
                      <a:pt x="595" y="88"/>
                      <a:pt x="602" y="86"/>
                      <a:pt x="609" y="83"/>
                    </a:cubicBezTo>
                    <a:cubicBezTo>
                      <a:pt x="615" y="81"/>
                      <a:pt x="621" y="80"/>
                      <a:pt x="627" y="82"/>
                    </a:cubicBezTo>
                    <a:cubicBezTo>
                      <a:pt x="631" y="83"/>
                      <a:pt x="634" y="79"/>
                      <a:pt x="638" y="77"/>
                    </a:cubicBezTo>
                    <a:cubicBezTo>
                      <a:pt x="642" y="73"/>
                      <a:pt x="646" y="73"/>
                      <a:pt x="650" y="76"/>
                    </a:cubicBezTo>
                    <a:cubicBezTo>
                      <a:pt x="654" y="79"/>
                      <a:pt x="658" y="78"/>
                      <a:pt x="662" y="76"/>
                    </a:cubicBezTo>
                    <a:cubicBezTo>
                      <a:pt x="667" y="75"/>
                      <a:pt x="671" y="73"/>
                      <a:pt x="673" y="69"/>
                    </a:cubicBezTo>
                    <a:cubicBezTo>
                      <a:pt x="680" y="61"/>
                      <a:pt x="688" y="53"/>
                      <a:pt x="698" y="52"/>
                    </a:cubicBezTo>
                    <a:cubicBezTo>
                      <a:pt x="705" y="52"/>
                      <a:pt x="711" y="46"/>
                      <a:pt x="717" y="42"/>
                    </a:cubicBezTo>
                    <a:cubicBezTo>
                      <a:pt x="731" y="37"/>
                      <a:pt x="746" y="34"/>
                      <a:pt x="761" y="30"/>
                    </a:cubicBezTo>
                    <a:cubicBezTo>
                      <a:pt x="772" y="29"/>
                      <a:pt x="783" y="30"/>
                      <a:pt x="794" y="29"/>
                    </a:cubicBezTo>
                    <a:cubicBezTo>
                      <a:pt x="809" y="29"/>
                      <a:pt x="824" y="26"/>
                      <a:pt x="839" y="28"/>
                    </a:cubicBezTo>
                    <a:cubicBezTo>
                      <a:pt x="844" y="27"/>
                      <a:pt x="849" y="24"/>
                      <a:pt x="854" y="22"/>
                    </a:cubicBezTo>
                    <a:cubicBezTo>
                      <a:pt x="858" y="20"/>
                      <a:pt x="862" y="15"/>
                      <a:pt x="866" y="16"/>
                    </a:cubicBezTo>
                    <a:cubicBezTo>
                      <a:pt x="872" y="20"/>
                      <a:pt x="879" y="17"/>
                      <a:pt x="886" y="17"/>
                    </a:cubicBezTo>
                    <a:cubicBezTo>
                      <a:pt x="890" y="20"/>
                      <a:pt x="896" y="19"/>
                      <a:pt x="901" y="18"/>
                    </a:cubicBezTo>
                    <a:cubicBezTo>
                      <a:pt x="908" y="16"/>
                      <a:pt x="915" y="11"/>
                      <a:pt x="923" y="10"/>
                    </a:cubicBezTo>
                    <a:cubicBezTo>
                      <a:pt x="935" y="12"/>
                      <a:pt x="947" y="11"/>
                      <a:pt x="959" y="11"/>
                    </a:cubicBezTo>
                    <a:cubicBezTo>
                      <a:pt x="967" y="13"/>
                      <a:pt x="977" y="11"/>
                      <a:pt x="985" y="14"/>
                    </a:cubicBezTo>
                    <a:cubicBezTo>
                      <a:pt x="988" y="18"/>
                      <a:pt x="992" y="20"/>
                      <a:pt x="995" y="23"/>
                    </a:cubicBezTo>
                    <a:cubicBezTo>
                      <a:pt x="1001" y="25"/>
                      <a:pt x="1006" y="29"/>
                      <a:pt x="1012" y="27"/>
                    </a:cubicBezTo>
                    <a:cubicBezTo>
                      <a:pt x="1021" y="26"/>
                      <a:pt x="1028" y="20"/>
                      <a:pt x="1037" y="19"/>
                    </a:cubicBezTo>
                    <a:cubicBezTo>
                      <a:pt x="1045" y="18"/>
                      <a:pt x="1054" y="17"/>
                      <a:pt x="1062" y="13"/>
                    </a:cubicBezTo>
                    <a:cubicBezTo>
                      <a:pt x="1067" y="10"/>
                      <a:pt x="1070" y="4"/>
                      <a:pt x="1074" y="0"/>
                    </a:cubicBezTo>
                    <a:cubicBezTo>
                      <a:pt x="1082" y="3"/>
                      <a:pt x="1090" y="5"/>
                      <a:pt x="1096" y="10"/>
                    </a:cubicBezTo>
                    <a:cubicBezTo>
                      <a:pt x="1100" y="12"/>
                      <a:pt x="1105" y="10"/>
                      <a:pt x="1109" y="13"/>
                    </a:cubicBezTo>
                    <a:cubicBezTo>
                      <a:pt x="1113" y="17"/>
                      <a:pt x="1118" y="14"/>
                      <a:pt x="1123" y="12"/>
                    </a:cubicBezTo>
                    <a:cubicBezTo>
                      <a:pt x="1128" y="12"/>
                      <a:pt x="1131" y="7"/>
                      <a:pt x="1134" y="3"/>
                    </a:cubicBezTo>
                    <a:cubicBezTo>
                      <a:pt x="1140" y="5"/>
                      <a:pt x="1145" y="7"/>
                      <a:pt x="1150" y="9"/>
                    </a:cubicBezTo>
                    <a:cubicBezTo>
                      <a:pt x="1157" y="10"/>
                      <a:pt x="1162" y="15"/>
                      <a:pt x="1167" y="19"/>
                    </a:cubicBezTo>
                    <a:cubicBezTo>
                      <a:pt x="1175" y="18"/>
                      <a:pt x="1182" y="18"/>
                      <a:pt x="1190" y="14"/>
                    </a:cubicBezTo>
                    <a:close/>
                  </a:path>
                </a:pathLst>
              </a:custGeom>
              <a:solidFill>
                <a:srgbClr val="D992FF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677" name="Albania"/>
              <p:cNvSpPr>
                <a:spLocks/>
              </p:cNvSpPr>
              <p:nvPr>
                <p:custDataLst>
                  <p:tags r:id="rId129"/>
                </p:custDataLst>
              </p:nvPr>
            </p:nvSpPr>
            <p:spPr bwMode="auto">
              <a:xfrm>
                <a:off x="4733645" y="3202670"/>
                <a:ext cx="32515" cy="101368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6" y="11"/>
                  </a:cxn>
                  <a:cxn ang="0">
                    <a:pos x="4" y="18"/>
                  </a:cxn>
                  <a:cxn ang="0">
                    <a:pos x="0" y="13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4" y="4"/>
                  </a:cxn>
                </a:cxnLst>
                <a:rect l="0" t="0" r="r" b="b"/>
                <a:pathLst>
                  <a:path w="6" h="18">
                    <a:moveTo>
                      <a:pt x="4" y="4"/>
                    </a:moveTo>
                    <a:lnTo>
                      <a:pt x="6" y="11"/>
                    </a:lnTo>
                    <a:lnTo>
                      <a:pt x="4" y="18"/>
                    </a:lnTo>
                    <a:lnTo>
                      <a:pt x="0" y="13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78" name="Afghanistan"/>
              <p:cNvSpPr>
                <a:spLocks/>
              </p:cNvSpPr>
              <p:nvPr>
                <p:custDataLst>
                  <p:tags r:id="rId130"/>
                </p:custDataLst>
              </p:nvPr>
            </p:nvSpPr>
            <p:spPr bwMode="auto">
              <a:xfrm>
                <a:off x="5749226" y="3325076"/>
                <a:ext cx="338526" cy="290715"/>
              </a:xfrm>
              <a:custGeom>
                <a:avLst/>
                <a:gdLst/>
                <a:ahLst/>
                <a:cxnLst>
                  <a:cxn ang="0">
                    <a:pos x="23" y="7"/>
                  </a:cxn>
                  <a:cxn ang="0">
                    <a:pos x="30" y="9"/>
                  </a:cxn>
                  <a:cxn ang="0">
                    <a:pos x="32" y="9"/>
                  </a:cxn>
                  <a:cxn ang="0">
                    <a:pos x="38" y="7"/>
                  </a:cxn>
                  <a:cxn ang="0">
                    <a:pos x="40" y="7"/>
                  </a:cxn>
                  <a:cxn ang="0">
                    <a:pos x="44" y="0"/>
                  </a:cxn>
                  <a:cxn ang="0">
                    <a:pos x="46" y="5"/>
                  </a:cxn>
                  <a:cxn ang="0">
                    <a:pos x="48" y="9"/>
                  </a:cxn>
                  <a:cxn ang="0">
                    <a:pos x="55" y="7"/>
                  </a:cxn>
                  <a:cxn ang="0">
                    <a:pos x="61" y="7"/>
                  </a:cxn>
                  <a:cxn ang="0">
                    <a:pos x="61" y="9"/>
                  </a:cxn>
                  <a:cxn ang="0">
                    <a:pos x="57" y="9"/>
                  </a:cxn>
                  <a:cxn ang="0">
                    <a:pos x="55" y="9"/>
                  </a:cxn>
                  <a:cxn ang="0">
                    <a:pos x="48" y="14"/>
                  </a:cxn>
                  <a:cxn ang="0">
                    <a:pos x="48" y="23"/>
                  </a:cxn>
                  <a:cxn ang="0">
                    <a:pos x="48" y="25"/>
                  </a:cxn>
                  <a:cxn ang="0">
                    <a:pos x="44" y="25"/>
                  </a:cxn>
                  <a:cxn ang="0">
                    <a:pos x="46" y="30"/>
                  </a:cxn>
                  <a:cxn ang="0">
                    <a:pos x="44" y="32"/>
                  </a:cxn>
                  <a:cxn ang="0">
                    <a:pos x="44" y="41"/>
                  </a:cxn>
                  <a:cxn ang="0">
                    <a:pos x="32" y="43"/>
                  </a:cxn>
                  <a:cxn ang="0">
                    <a:pos x="32" y="50"/>
                  </a:cxn>
                  <a:cxn ang="0">
                    <a:pos x="13" y="52"/>
                  </a:cxn>
                  <a:cxn ang="0">
                    <a:pos x="7" y="50"/>
                  </a:cxn>
                  <a:cxn ang="0">
                    <a:pos x="9" y="43"/>
                  </a:cxn>
                  <a:cxn ang="0">
                    <a:pos x="9" y="41"/>
                  </a:cxn>
                  <a:cxn ang="0">
                    <a:pos x="4" y="41"/>
                  </a:cxn>
                  <a:cxn ang="0">
                    <a:pos x="0" y="30"/>
                  </a:cxn>
                  <a:cxn ang="0">
                    <a:pos x="0" y="25"/>
                  </a:cxn>
                  <a:cxn ang="0">
                    <a:pos x="4" y="23"/>
                  </a:cxn>
                  <a:cxn ang="0">
                    <a:pos x="4" y="16"/>
                  </a:cxn>
                  <a:cxn ang="0">
                    <a:pos x="9" y="21"/>
                  </a:cxn>
                  <a:cxn ang="0">
                    <a:pos x="13" y="16"/>
                  </a:cxn>
                  <a:cxn ang="0">
                    <a:pos x="17" y="14"/>
                  </a:cxn>
                  <a:cxn ang="0">
                    <a:pos x="17" y="7"/>
                  </a:cxn>
                  <a:cxn ang="0">
                    <a:pos x="21" y="7"/>
                  </a:cxn>
                  <a:cxn ang="0">
                    <a:pos x="23" y="7"/>
                  </a:cxn>
                </a:cxnLst>
                <a:rect l="0" t="0" r="r" b="b"/>
                <a:pathLst>
                  <a:path w="61" h="52">
                    <a:moveTo>
                      <a:pt x="23" y="7"/>
                    </a:moveTo>
                    <a:lnTo>
                      <a:pt x="30" y="9"/>
                    </a:lnTo>
                    <a:lnTo>
                      <a:pt x="32" y="9"/>
                    </a:lnTo>
                    <a:lnTo>
                      <a:pt x="38" y="7"/>
                    </a:lnTo>
                    <a:lnTo>
                      <a:pt x="40" y="7"/>
                    </a:lnTo>
                    <a:lnTo>
                      <a:pt x="44" y="0"/>
                    </a:lnTo>
                    <a:lnTo>
                      <a:pt x="46" y="5"/>
                    </a:lnTo>
                    <a:lnTo>
                      <a:pt x="48" y="9"/>
                    </a:lnTo>
                    <a:lnTo>
                      <a:pt x="55" y="7"/>
                    </a:lnTo>
                    <a:lnTo>
                      <a:pt x="61" y="7"/>
                    </a:lnTo>
                    <a:lnTo>
                      <a:pt x="61" y="9"/>
                    </a:lnTo>
                    <a:lnTo>
                      <a:pt x="57" y="9"/>
                    </a:lnTo>
                    <a:lnTo>
                      <a:pt x="55" y="9"/>
                    </a:lnTo>
                    <a:lnTo>
                      <a:pt x="48" y="14"/>
                    </a:lnTo>
                    <a:lnTo>
                      <a:pt x="48" y="23"/>
                    </a:lnTo>
                    <a:lnTo>
                      <a:pt x="48" y="25"/>
                    </a:lnTo>
                    <a:lnTo>
                      <a:pt x="44" y="25"/>
                    </a:lnTo>
                    <a:lnTo>
                      <a:pt x="46" y="30"/>
                    </a:lnTo>
                    <a:lnTo>
                      <a:pt x="44" y="32"/>
                    </a:lnTo>
                    <a:lnTo>
                      <a:pt x="44" y="41"/>
                    </a:lnTo>
                    <a:lnTo>
                      <a:pt x="32" y="43"/>
                    </a:lnTo>
                    <a:lnTo>
                      <a:pt x="32" y="50"/>
                    </a:lnTo>
                    <a:lnTo>
                      <a:pt x="13" y="52"/>
                    </a:lnTo>
                    <a:lnTo>
                      <a:pt x="7" y="50"/>
                    </a:lnTo>
                    <a:lnTo>
                      <a:pt x="9" y="43"/>
                    </a:lnTo>
                    <a:lnTo>
                      <a:pt x="9" y="41"/>
                    </a:lnTo>
                    <a:lnTo>
                      <a:pt x="4" y="41"/>
                    </a:lnTo>
                    <a:lnTo>
                      <a:pt x="0" y="30"/>
                    </a:lnTo>
                    <a:lnTo>
                      <a:pt x="0" y="25"/>
                    </a:lnTo>
                    <a:lnTo>
                      <a:pt x="4" y="23"/>
                    </a:lnTo>
                    <a:lnTo>
                      <a:pt x="4" y="16"/>
                    </a:lnTo>
                    <a:lnTo>
                      <a:pt x="9" y="21"/>
                    </a:lnTo>
                    <a:lnTo>
                      <a:pt x="13" y="16"/>
                    </a:lnTo>
                    <a:lnTo>
                      <a:pt x="17" y="14"/>
                    </a:lnTo>
                    <a:lnTo>
                      <a:pt x="17" y="7"/>
                    </a:lnTo>
                    <a:lnTo>
                      <a:pt x="21" y="7"/>
                    </a:lnTo>
                    <a:lnTo>
                      <a:pt x="23" y="7"/>
                    </a:lnTo>
                    <a:close/>
                  </a:path>
                </a:pathLst>
              </a:custGeom>
              <a:solidFill>
                <a:schemeClr val="accent3"/>
              </a:solidFill>
              <a:ln w="63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ES_tradnl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</p:grpSp>
      <p:sp>
        <p:nvSpPr>
          <p:cNvPr id="3348483" name="RunningHead"/>
          <p:cNvSpPr txBox="1">
            <a:spLocks noChangeArrowheads="1"/>
          </p:cNvSpPr>
          <p:nvPr/>
        </p:nvSpPr>
        <p:spPr bwMode="gray">
          <a:xfrm>
            <a:off x="6862185" y="139700"/>
            <a:ext cx="2029403" cy="1661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es-ES" sz="1200" dirty="0">
                <a:solidFill>
                  <a:srgbClr val="000000"/>
                </a:solidFill>
              </a:rPr>
              <a:t>¿Estamos bien organizados? </a:t>
            </a:r>
          </a:p>
        </p:txBody>
      </p:sp>
      <p:grpSp>
        <p:nvGrpSpPr>
          <p:cNvPr id="3348484" name="Group 393"/>
          <p:cNvGrpSpPr>
            <a:grpSpLocks noChangeAspect="1"/>
          </p:cNvGrpSpPr>
          <p:nvPr/>
        </p:nvGrpSpPr>
        <p:grpSpPr bwMode="auto">
          <a:xfrm>
            <a:off x="1860550" y="2508250"/>
            <a:ext cx="496888" cy="171450"/>
            <a:chOff x="1456452" y="5013176"/>
            <a:chExt cx="673660" cy="252028"/>
          </a:xfrm>
        </p:grpSpPr>
        <p:sp>
          <p:nvSpPr>
            <p:cNvPr id="396" name="Rectangle 395"/>
            <p:cNvSpPr/>
            <p:nvPr/>
          </p:nvSpPr>
          <p:spPr>
            <a:xfrm>
              <a:off x="1456452" y="5013176"/>
              <a:ext cx="673660" cy="252028"/>
            </a:xfrm>
            <a:prstGeom prst="rect">
              <a:avLst/>
            </a:prstGeom>
            <a:solidFill>
              <a:schemeClr val="bg1"/>
            </a:solidFill>
            <a:ln w="1905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900" b="1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7" name="Rounded Rectangle 396"/>
            <p:cNvSpPr/>
            <p:nvPr/>
          </p:nvSpPr>
          <p:spPr>
            <a:xfrm>
              <a:off x="1490888" y="5048181"/>
              <a:ext cx="180790" cy="179686"/>
            </a:xfrm>
            <a:prstGeom prst="roundRect">
              <a:avLst>
                <a:gd name="adj" fmla="val 10221"/>
              </a:avLst>
            </a:prstGeom>
            <a:solidFill>
              <a:srgbClr val="FFC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3" name="Rounded Rectangle 402"/>
            <p:cNvSpPr/>
            <p:nvPr/>
          </p:nvSpPr>
          <p:spPr>
            <a:xfrm>
              <a:off x="1691050" y="5048181"/>
              <a:ext cx="180790" cy="179686"/>
            </a:xfrm>
            <a:prstGeom prst="roundRect">
              <a:avLst>
                <a:gd name="adj" fmla="val 10221"/>
              </a:avLst>
            </a:prstGeom>
            <a:solidFill>
              <a:srgbClr val="FF0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4" name="Rounded Rectangle 403"/>
            <p:cNvSpPr/>
            <p:nvPr/>
          </p:nvSpPr>
          <p:spPr>
            <a:xfrm>
              <a:off x="1908428" y="5048181"/>
              <a:ext cx="178639" cy="179686"/>
            </a:xfrm>
            <a:prstGeom prst="roundRect">
              <a:avLst>
                <a:gd name="adj" fmla="val 10221"/>
              </a:avLst>
            </a:prstGeom>
            <a:pattFill prst="wdUpDiag">
              <a:fgClr>
                <a:srgbClr val="0070C0"/>
              </a:fgClr>
              <a:bgClr>
                <a:srgbClr val="FFFFFF"/>
              </a:bgClr>
            </a:patt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3348485" name="Group 404"/>
          <p:cNvGrpSpPr>
            <a:grpSpLocks noChangeAspect="1"/>
          </p:cNvGrpSpPr>
          <p:nvPr/>
        </p:nvGrpSpPr>
        <p:grpSpPr bwMode="auto">
          <a:xfrm>
            <a:off x="2001838" y="2105025"/>
            <a:ext cx="496887" cy="171450"/>
            <a:chOff x="1456452" y="5013176"/>
            <a:chExt cx="673660" cy="252028"/>
          </a:xfrm>
        </p:grpSpPr>
        <p:sp>
          <p:nvSpPr>
            <p:cNvPr id="407" name="Rectangle 406"/>
            <p:cNvSpPr/>
            <p:nvPr/>
          </p:nvSpPr>
          <p:spPr>
            <a:xfrm>
              <a:off x="1456452" y="5013176"/>
              <a:ext cx="673660" cy="252028"/>
            </a:xfrm>
            <a:prstGeom prst="rect">
              <a:avLst/>
            </a:prstGeom>
            <a:solidFill>
              <a:schemeClr val="bg1"/>
            </a:solidFill>
            <a:ln w="1905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900" b="1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8" name="Rounded Rectangle 407"/>
            <p:cNvSpPr/>
            <p:nvPr/>
          </p:nvSpPr>
          <p:spPr>
            <a:xfrm>
              <a:off x="1490888" y="5048181"/>
              <a:ext cx="180791" cy="179686"/>
            </a:xfrm>
            <a:prstGeom prst="roundRect">
              <a:avLst>
                <a:gd name="adj" fmla="val 10221"/>
              </a:avLst>
            </a:prstGeom>
            <a:solidFill>
              <a:srgbClr val="FFC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2" name="Rounded Rectangle 411"/>
            <p:cNvSpPr/>
            <p:nvPr/>
          </p:nvSpPr>
          <p:spPr>
            <a:xfrm>
              <a:off x="1691049" y="5048181"/>
              <a:ext cx="180791" cy="179686"/>
            </a:xfrm>
            <a:prstGeom prst="roundRect">
              <a:avLst>
                <a:gd name="adj" fmla="val 10221"/>
              </a:avLst>
            </a:prstGeom>
            <a:solidFill>
              <a:srgbClr val="FF0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3" name="Rounded Rectangle 412"/>
            <p:cNvSpPr/>
            <p:nvPr/>
          </p:nvSpPr>
          <p:spPr>
            <a:xfrm>
              <a:off x="1908429" y="5048181"/>
              <a:ext cx="178638" cy="179686"/>
            </a:xfrm>
            <a:prstGeom prst="roundRect">
              <a:avLst>
                <a:gd name="adj" fmla="val 10221"/>
              </a:avLst>
            </a:prstGeom>
            <a:pattFill prst="wdUpDiag">
              <a:fgClr>
                <a:srgbClr val="0070C0"/>
              </a:fgClr>
              <a:bgClr>
                <a:srgbClr val="FFFFFF"/>
              </a:bgClr>
            </a:patt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3348486" name="Group 414"/>
          <p:cNvGrpSpPr>
            <a:grpSpLocks noChangeAspect="1"/>
          </p:cNvGrpSpPr>
          <p:nvPr/>
        </p:nvGrpSpPr>
        <p:grpSpPr bwMode="auto">
          <a:xfrm>
            <a:off x="1425575" y="2997200"/>
            <a:ext cx="495300" cy="171450"/>
            <a:chOff x="1456452" y="5013176"/>
            <a:chExt cx="673660" cy="252028"/>
          </a:xfrm>
        </p:grpSpPr>
        <p:sp>
          <p:nvSpPr>
            <p:cNvPr id="416" name="Rectangle 415"/>
            <p:cNvSpPr/>
            <p:nvPr/>
          </p:nvSpPr>
          <p:spPr>
            <a:xfrm>
              <a:off x="1456452" y="5013176"/>
              <a:ext cx="673660" cy="252028"/>
            </a:xfrm>
            <a:prstGeom prst="rect">
              <a:avLst/>
            </a:prstGeom>
            <a:solidFill>
              <a:schemeClr val="bg1"/>
            </a:solidFill>
            <a:ln w="1905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900" b="1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0" name="Rounded Rectangle 419"/>
            <p:cNvSpPr/>
            <p:nvPr/>
          </p:nvSpPr>
          <p:spPr>
            <a:xfrm>
              <a:off x="1490999" y="5048181"/>
              <a:ext cx="179212" cy="179686"/>
            </a:xfrm>
            <a:prstGeom prst="roundRect">
              <a:avLst>
                <a:gd name="adj" fmla="val 10221"/>
              </a:avLst>
            </a:prstGeom>
            <a:solidFill>
              <a:srgbClr val="FFC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1" name="Rounded Rectangle 420"/>
            <p:cNvSpPr/>
            <p:nvPr/>
          </p:nvSpPr>
          <p:spPr>
            <a:xfrm>
              <a:off x="1691802" y="5048181"/>
              <a:ext cx="179210" cy="179686"/>
            </a:xfrm>
            <a:prstGeom prst="roundRect">
              <a:avLst>
                <a:gd name="adj" fmla="val 10221"/>
              </a:avLst>
            </a:prstGeom>
            <a:solidFill>
              <a:srgbClr val="FF0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2" name="Rounded Rectangle 421"/>
            <p:cNvSpPr/>
            <p:nvPr/>
          </p:nvSpPr>
          <p:spPr>
            <a:xfrm>
              <a:off x="1907719" y="5048181"/>
              <a:ext cx="179210" cy="179686"/>
            </a:xfrm>
            <a:prstGeom prst="roundRect">
              <a:avLst>
                <a:gd name="adj" fmla="val 10221"/>
              </a:avLst>
            </a:prstGeom>
            <a:pattFill prst="wdUpDiag">
              <a:fgClr>
                <a:srgbClr val="0070C0"/>
              </a:fgClr>
              <a:bgClr>
                <a:srgbClr val="FFFFFF"/>
              </a:bgClr>
            </a:patt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3348487" name="Group 425"/>
          <p:cNvGrpSpPr>
            <a:grpSpLocks noChangeAspect="1"/>
          </p:cNvGrpSpPr>
          <p:nvPr/>
        </p:nvGrpSpPr>
        <p:grpSpPr bwMode="auto">
          <a:xfrm>
            <a:off x="2546350" y="3965575"/>
            <a:ext cx="496888" cy="171450"/>
            <a:chOff x="1456452" y="5013176"/>
            <a:chExt cx="673660" cy="252028"/>
          </a:xfrm>
        </p:grpSpPr>
        <p:sp>
          <p:nvSpPr>
            <p:cNvPr id="427" name="Rectangle 426"/>
            <p:cNvSpPr/>
            <p:nvPr/>
          </p:nvSpPr>
          <p:spPr>
            <a:xfrm>
              <a:off x="1456452" y="5013176"/>
              <a:ext cx="673660" cy="252028"/>
            </a:xfrm>
            <a:prstGeom prst="rect">
              <a:avLst/>
            </a:prstGeom>
            <a:solidFill>
              <a:schemeClr val="bg1"/>
            </a:solidFill>
            <a:ln w="1905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900" b="1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8" name="Rounded Rectangle 427"/>
            <p:cNvSpPr/>
            <p:nvPr/>
          </p:nvSpPr>
          <p:spPr>
            <a:xfrm>
              <a:off x="1490888" y="5048181"/>
              <a:ext cx="180790" cy="179686"/>
            </a:xfrm>
            <a:prstGeom prst="roundRect">
              <a:avLst>
                <a:gd name="adj" fmla="val 10221"/>
              </a:avLst>
            </a:prstGeom>
            <a:solidFill>
              <a:srgbClr val="FFC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9" name="Rounded Rectangle 428"/>
            <p:cNvSpPr/>
            <p:nvPr/>
          </p:nvSpPr>
          <p:spPr>
            <a:xfrm>
              <a:off x="1691050" y="5048181"/>
              <a:ext cx="180790" cy="179686"/>
            </a:xfrm>
            <a:prstGeom prst="roundRect">
              <a:avLst>
                <a:gd name="adj" fmla="val 10221"/>
              </a:avLst>
            </a:prstGeom>
            <a:solidFill>
              <a:srgbClr val="FF0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2" name="Rounded Rectangle 431"/>
            <p:cNvSpPr/>
            <p:nvPr/>
          </p:nvSpPr>
          <p:spPr>
            <a:xfrm>
              <a:off x="1908428" y="5048181"/>
              <a:ext cx="178639" cy="179686"/>
            </a:xfrm>
            <a:prstGeom prst="roundRect">
              <a:avLst>
                <a:gd name="adj" fmla="val 10221"/>
              </a:avLst>
            </a:prstGeom>
            <a:pattFill prst="wdUpDiag">
              <a:fgClr>
                <a:srgbClr val="0070C0"/>
              </a:fgClr>
              <a:bgClr>
                <a:srgbClr val="FFFFFF"/>
              </a:bgClr>
            </a:patt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3348488" name="Group 432"/>
          <p:cNvGrpSpPr>
            <a:grpSpLocks noChangeAspect="1"/>
          </p:cNvGrpSpPr>
          <p:nvPr/>
        </p:nvGrpSpPr>
        <p:grpSpPr bwMode="auto">
          <a:xfrm>
            <a:off x="1839913" y="3987800"/>
            <a:ext cx="495300" cy="171450"/>
            <a:chOff x="1456452" y="5013176"/>
            <a:chExt cx="673660" cy="252028"/>
          </a:xfrm>
        </p:grpSpPr>
        <p:sp>
          <p:nvSpPr>
            <p:cNvPr id="434" name="Rectangle 433"/>
            <p:cNvSpPr/>
            <p:nvPr/>
          </p:nvSpPr>
          <p:spPr>
            <a:xfrm>
              <a:off x="1456452" y="5013176"/>
              <a:ext cx="673660" cy="252028"/>
            </a:xfrm>
            <a:prstGeom prst="rect">
              <a:avLst/>
            </a:prstGeom>
            <a:solidFill>
              <a:schemeClr val="bg1"/>
            </a:solidFill>
            <a:ln w="1905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900" b="1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1" name="Rounded Rectangle 440"/>
            <p:cNvSpPr/>
            <p:nvPr/>
          </p:nvSpPr>
          <p:spPr>
            <a:xfrm>
              <a:off x="1490999" y="5048181"/>
              <a:ext cx="179210" cy="179686"/>
            </a:xfrm>
            <a:prstGeom prst="roundRect">
              <a:avLst>
                <a:gd name="adj" fmla="val 10221"/>
              </a:avLst>
            </a:prstGeom>
            <a:solidFill>
              <a:srgbClr val="FFC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2" name="Rounded Rectangle 441"/>
            <p:cNvSpPr/>
            <p:nvPr/>
          </p:nvSpPr>
          <p:spPr>
            <a:xfrm>
              <a:off x="1691800" y="5048181"/>
              <a:ext cx="179212" cy="179686"/>
            </a:xfrm>
            <a:prstGeom prst="roundRect">
              <a:avLst>
                <a:gd name="adj" fmla="val 10221"/>
              </a:avLst>
            </a:prstGeom>
            <a:solidFill>
              <a:srgbClr val="FF0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6" name="Rounded Rectangle 445"/>
            <p:cNvSpPr/>
            <p:nvPr/>
          </p:nvSpPr>
          <p:spPr>
            <a:xfrm>
              <a:off x="1907717" y="5048181"/>
              <a:ext cx="179212" cy="179686"/>
            </a:xfrm>
            <a:prstGeom prst="roundRect">
              <a:avLst>
                <a:gd name="adj" fmla="val 10221"/>
              </a:avLst>
            </a:prstGeom>
            <a:pattFill prst="wdUpDiag">
              <a:fgClr>
                <a:srgbClr val="0070C0"/>
              </a:fgClr>
              <a:bgClr>
                <a:srgbClr val="FFFFFF"/>
              </a:bgClr>
            </a:patt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3348489" name="Group 447"/>
          <p:cNvGrpSpPr>
            <a:grpSpLocks noChangeAspect="1"/>
          </p:cNvGrpSpPr>
          <p:nvPr/>
        </p:nvGrpSpPr>
        <p:grpSpPr bwMode="auto">
          <a:xfrm>
            <a:off x="3548063" y="2659063"/>
            <a:ext cx="496887" cy="171450"/>
            <a:chOff x="1456452" y="5013176"/>
            <a:chExt cx="673660" cy="252028"/>
          </a:xfrm>
        </p:grpSpPr>
        <p:sp>
          <p:nvSpPr>
            <p:cNvPr id="449" name="Rectangle 448"/>
            <p:cNvSpPr/>
            <p:nvPr/>
          </p:nvSpPr>
          <p:spPr>
            <a:xfrm>
              <a:off x="1456452" y="5013176"/>
              <a:ext cx="673660" cy="252028"/>
            </a:xfrm>
            <a:prstGeom prst="rect">
              <a:avLst/>
            </a:prstGeom>
            <a:solidFill>
              <a:schemeClr val="bg1"/>
            </a:solidFill>
            <a:ln w="1905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900" b="1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2" name="Rounded Rectangle 451"/>
            <p:cNvSpPr/>
            <p:nvPr/>
          </p:nvSpPr>
          <p:spPr>
            <a:xfrm>
              <a:off x="1490888" y="5048179"/>
              <a:ext cx="180791" cy="179687"/>
            </a:xfrm>
            <a:prstGeom prst="roundRect">
              <a:avLst>
                <a:gd name="adj" fmla="val 10221"/>
              </a:avLst>
            </a:prstGeom>
            <a:solidFill>
              <a:srgbClr val="FFC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3" name="Rounded Rectangle 452"/>
            <p:cNvSpPr/>
            <p:nvPr/>
          </p:nvSpPr>
          <p:spPr>
            <a:xfrm>
              <a:off x="1691049" y="5048179"/>
              <a:ext cx="180791" cy="179687"/>
            </a:xfrm>
            <a:prstGeom prst="roundRect">
              <a:avLst>
                <a:gd name="adj" fmla="val 10221"/>
              </a:avLst>
            </a:prstGeom>
            <a:solidFill>
              <a:srgbClr val="FF0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4" name="Rounded Rectangle 453"/>
            <p:cNvSpPr/>
            <p:nvPr/>
          </p:nvSpPr>
          <p:spPr>
            <a:xfrm>
              <a:off x="1908429" y="5048179"/>
              <a:ext cx="178638" cy="179687"/>
            </a:xfrm>
            <a:prstGeom prst="roundRect">
              <a:avLst>
                <a:gd name="adj" fmla="val 10221"/>
              </a:avLst>
            </a:prstGeom>
            <a:pattFill prst="wdUpDiag">
              <a:fgClr>
                <a:srgbClr val="0070C0"/>
              </a:fgClr>
              <a:bgClr>
                <a:srgbClr val="FFFFFF"/>
              </a:bgClr>
            </a:patt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3348490" name="Group 454"/>
          <p:cNvGrpSpPr>
            <a:grpSpLocks noChangeAspect="1"/>
          </p:cNvGrpSpPr>
          <p:nvPr/>
        </p:nvGrpSpPr>
        <p:grpSpPr bwMode="auto">
          <a:xfrm>
            <a:off x="3494088" y="3127375"/>
            <a:ext cx="495300" cy="171450"/>
            <a:chOff x="1456452" y="5013176"/>
            <a:chExt cx="673660" cy="252028"/>
          </a:xfrm>
        </p:grpSpPr>
        <p:sp>
          <p:nvSpPr>
            <p:cNvPr id="456" name="Rectangle 455"/>
            <p:cNvSpPr/>
            <p:nvPr/>
          </p:nvSpPr>
          <p:spPr>
            <a:xfrm>
              <a:off x="1456452" y="5013176"/>
              <a:ext cx="673660" cy="252028"/>
            </a:xfrm>
            <a:prstGeom prst="rect">
              <a:avLst/>
            </a:prstGeom>
            <a:solidFill>
              <a:schemeClr val="bg1"/>
            </a:solidFill>
            <a:ln w="1905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900" b="1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7" name="Rounded Rectangle 456"/>
            <p:cNvSpPr/>
            <p:nvPr/>
          </p:nvSpPr>
          <p:spPr>
            <a:xfrm>
              <a:off x="1490999" y="5048181"/>
              <a:ext cx="179210" cy="179686"/>
            </a:xfrm>
            <a:prstGeom prst="roundRect">
              <a:avLst>
                <a:gd name="adj" fmla="val 10221"/>
              </a:avLst>
            </a:prstGeom>
            <a:solidFill>
              <a:srgbClr val="FFC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8" name="Rounded Rectangle 457"/>
            <p:cNvSpPr/>
            <p:nvPr/>
          </p:nvSpPr>
          <p:spPr>
            <a:xfrm>
              <a:off x="1691800" y="5048181"/>
              <a:ext cx="179212" cy="179686"/>
            </a:xfrm>
            <a:prstGeom prst="roundRect">
              <a:avLst>
                <a:gd name="adj" fmla="val 10221"/>
              </a:avLst>
            </a:prstGeom>
            <a:solidFill>
              <a:srgbClr val="FF0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9" name="Rounded Rectangle 458"/>
            <p:cNvSpPr/>
            <p:nvPr/>
          </p:nvSpPr>
          <p:spPr>
            <a:xfrm>
              <a:off x="1907717" y="5048181"/>
              <a:ext cx="179212" cy="179686"/>
            </a:xfrm>
            <a:prstGeom prst="roundRect">
              <a:avLst>
                <a:gd name="adj" fmla="val 10221"/>
              </a:avLst>
            </a:prstGeom>
            <a:pattFill prst="wdUpDiag">
              <a:fgClr>
                <a:srgbClr val="0070C0"/>
              </a:fgClr>
              <a:bgClr>
                <a:srgbClr val="FFFFFF"/>
              </a:bgClr>
            </a:patt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3348491" name="Group 459"/>
          <p:cNvGrpSpPr>
            <a:grpSpLocks noChangeAspect="1"/>
          </p:cNvGrpSpPr>
          <p:nvPr/>
        </p:nvGrpSpPr>
        <p:grpSpPr bwMode="auto">
          <a:xfrm>
            <a:off x="3538538" y="2333625"/>
            <a:ext cx="495300" cy="171450"/>
            <a:chOff x="1456452" y="5013176"/>
            <a:chExt cx="673660" cy="252028"/>
          </a:xfrm>
        </p:grpSpPr>
        <p:sp>
          <p:nvSpPr>
            <p:cNvPr id="461" name="Rectangle 460"/>
            <p:cNvSpPr/>
            <p:nvPr/>
          </p:nvSpPr>
          <p:spPr>
            <a:xfrm>
              <a:off x="1456452" y="5013176"/>
              <a:ext cx="673660" cy="252028"/>
            </a:xfrm>
            <a:prstGeom prst="rect">
              <a:avLst/>
            </a:prstGeom>
            <a:solidFill>
              <a:schemeClr val="bg1"/>
            </a:solidFill>
            <a:ln w="1905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900" b="1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2" name="Rounded Rectangle 461"/>
            <p:cNvSpPr/>
            <p:nvPr/>
          </p:nvSpPr>
          <p:spPr>
            <a:xfrm>
              <a:off x="1490999" y="5048181"/>
              <a:ext cx="179210" cy="179686"/>
            </a:xfrm>
            <a:prstGeom prst="roundRect">
              <a:avLst>
                <a:gd name="adj" fmla="val 10221"/>
              </a:avLst>
            </a:prstGeom>
            <a:solidFill>
              <a:srgbClr val="FFC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3" name="Rounded Rectangle 462"/>
            <p:cNvSpPr/>
            <p:nvPr/>
          </p:nvSpPr>
          <p:spPr>
            <a:xfrm>
              <a:off x="1691800" y="5048181"/>
              <a:ext cx="179212" cy="179686"/>
            </a:xfrm>
            <a:prstGeom prst="roundRect">
              <a:avLst>
                <a:gd name="adj" fmla="val 10221"/>
              </a:avLst>
            </a:prstGeom>
            <a:solidFill>
              <a:srgbClr val="FF0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4" name="Rounded Rectangle 463"/>
            <p:cNvSpPr/>
            <p:nvPr/>
          </p:nvSpPr>
          <p:spPr>
            <a:xfrm>
              <a:off x="1907717" y="5048181"/>
              <a:ext cx="179212" cy="179686"/>
            </a:xfrm>
            <a:prstGeom prst="roundRect">
              <a:avLst>
                <a:gd name="adj" fmla="val 10221"/>
              </a:avLst>
            </a:prstGeom>
            <a:pattFill prst="wdUpDiag">
              <a:fgClr>
                <a:srgbClr val="0070C0"/>
              </a:fgClr>
              <a:bgClr>
                <a:srgbClr val="FFFFFF"/>
              </a:bgClr>
            </a:patt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3348492" name="Group 464"/>
          <p:cNvGrpSpPr>
            <a:grpSpLocks noChangeAspect="1"/>
          </p:cNvGrpSpPr>
          <p:nvPr/>
        </p:nvGrpSpPr>
        <p:grpSpPr bwMode="auto">
          <a:xfrm>
            <a:off x="5638800" y="3214688"/>
            <a:ext cx="496888" cy="171450"/>
            <a:chOff x="1456452" y="5013176"/>
            <a:chExt cx="673660" cy="252028"/>
          </a:xfrm>
        </p:grpSpPr>
        <p:sp>
          <p:nvSpPr>
            <p:cNvPr id="466" name="Rectangle 465"/>
            <p:cNvSpPr/>
            <p:nvPr/>
          </p:nvSpPr>
          <p:spPr>
            <a:xfrm>
              <a:off x="1456452" y="5013176"/>
              <a:ext cx="673660" cy="252028"/>
            </a:xfrm>
            <a:prstGeom prst="rect">
              <a:avLst/>
            </a:prstGeom>
            <a:solidFill>
              <a:schemeClr val="bg1"/>
            </a:solidFill>
            <a:ln w="1905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900" b="1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7" name="Rounded Rectangle 466"/>
            <p:cNvSpPr/>
            <p:nvPr/>
          </p:nvSpPr>
          <p:spPr>
            <a:xfrm>
              <a:off x="1490888" y="5048179"/>
              <a:ext cx="180790" cy="179687"/>
            </a:xfrm>
            <a:prstGeom prst="roundRect">
              <a:avLst>
                <a:gd name="adj" fmla="val 10221"/>
              </a:avLst>
            </a:prstGeom>
            <a:solidFill>
              <a:srgbClr val="FFC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8" name="Rounded Rectangle 467"/>
            <p:cNvSpPr/>
            <p:nvPr/>
          </p:nvSpPr>
          <p:spPr>
            <a:xfrm>
              <a:off x="1691050" y="5048179"/>
              <a:ext cx="180790" cy="179687"/>
            </a:xfrm>
            <a:prstGeom prst="roundRect">
              <a:avLst>
                <a:gd name="adj" fmla="val 10221"/>
              </a:avLst>
            </a:prstGeom>
            <a:solidFill>
              <a:srgbClr val="FF0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9" name="Rounded Rectangle 468"/>
            <p:cNvSpPr/>
            <p:nvPr/>
          </p:nvSpPr>
          <p:spPr>
            <a:xfrm>
              <a:off x="1908428" y="5048179"/>
              <a:ext cx="178639" cy="179687"/>
            </a:xfrm>
            <a:prstGeom prst="roundRect">
              <a:avLst>
                <a:gd name="adj" fmla="val 10221"/>
              </a:avLst>
            </a:prstGeom>
            <a:pattFill prst="wdUpDiag">
              <a:fgClr>
                <a:srgbClr val="0070C0"/>
              </a:fgClr>
              <a:bgClr>
                <a:srgbClr val="FFFFFF"/>
              </a:bgClr>
            </a:patt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3348493" name="Group 486"/>
          <p:cNvGrpSpPr>
            <a:grpSpLocks noChangeAspect="1"/>
          </p:cNvGrpSpPr>
          <p:nvPr/>
        </p:nvGrpSpPr>
        <p:grpSpPr bwMode="auto">
          <a:xfrm>
            <a:off x="6256338" y="4224338"/>
            <a:ext cx="496887" cy="171450"/>
            <a:chOff x="1456452" y="5013176"/>
            <a:chExt cx="673660" cy="252028"/>
          </a:xfrm>
        </p:grpSpPr>
        <p:sp>
          <p:nvSpPr>
            <p:cNvPr id="488" name="Rectangle 487"/>
            <p:cNvSpPr/>
            <p:nvPr/>
          </p:nvSpPr>
          <p:spPr>
            <a:xfrm>
              <a:off x="1456452" y="5013176"/>
              <a:ext cx="673660" cy="252028"/>
            </a:xfrm>
            <a:prstGeom prst="rect">
              <a:avLst/>
            </a:prstGeom>
            <a:solidFill>
              <a:schemeClr val="bg1"/>
            </a:solidFill>
            <a:ln w="1905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900" b="1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9" name="Rounded Rectangle 488"/>
            <p:cNvSpPr/>
            <p:nvPr/>
          </p:nvSpPr>
          <p:spPr>
            <a:xfrm>
              <a:off x="1490888" y="5048179"/>
              <a:ext cx="180791" cy="179687"/>
            </a:xfrm>
            <a:prstGeom prst="roundRect">
              <a:avLst>
                <a:gd name="adj" fmla="val 10221"/>
              </a:avLst>
            </a:prstGeom>
            <a:solidFill>
              <a:srgbClr val="FFC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0" name="Rounded Rectangle 489"/>
            <p:cNvSpPr/>
            <p:nvPr/>
          </p:nvSpPr>
          <p:spPr>
            <a:xfrm>
              <a:off x="1691049" y="5048179"/>
              <a:ext cx="180791" cy="179687"/>
            </a:xfrm>
            <a:prstGeom prst="roundRect">
              <a:avLst>
                <a:gd name="adj" fmla="val 10221"/>
              </a:avLst>
            </a:prstGeom>
            <a:solidFill>
              <a:srgbClr val="FF0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1" name="Rounded Rectangle 490"/>
            <p:cNvSpPr/>
            <p:nvPr/>
          </p:nvSpPr>
          <p:spPr>
            <a:xfrm>
              <a:off x="1908429" y="5048179"/>
              <a:ext cx="178638" cy="179687"/>
            </a:xfrm>
            <a:prstGeom prst="roundRect">
              <a:avLst>
                <a:gd name="adj" fmla="val 10221"/>
              </a:avLst>
            </a:prstGeom>
            <a:pattFill prst="wdUpDiag">
              <a:fgClr>
                <a:srgbClr val="0070C0"/>
              </a:fgClr>
              <a:bgClr>
                <a:srgbClr val="FFFFFF"/>
              </a:bgClr>
            </a:patt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3348494" name="Group 493"/>
          <p:cNvGrpSpPr>
            <a:grpSpLocks noChangeAspect="1"/>
          </p:cNvGrpSpPr>
          <p:nvPr/>
        </p:nvGrpSpPr>
        <p:grpSpPr bwMode="auto">
          <a:xfrm>
            <a:off x="3949700" y="3581400"/>
            <a:ext cx="495300" cy="171450"/>
            <a:chOff x="1456452" y="5013176"/>
            <a:chExt cx="673660" cy="252028"/>
          </a:xfrm>
        </p:grpSpPr>
        <p:sp>
          <p:nvSpPr>
            <p:cNvPr id="495" name="Rectangle 494"/>
            <p:cNvSpPr/>
            <p:nvPr/>
          </p:nvSpPr>
          <p:spPr>
            <a:xfrm>
              <a:off x="1456452" y="5013176"/>
              <a:ext cx="673660" cy="252028"/>
            </a:xfrm>
            <a:prstGeom prst="rect">
              <a:avLst/>
            </a:prstGeom>
            <a:solidFill>
              <a:schemeClr val="bg1"/>
            </a:solidFill>
            <a:ln w="1905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900" b="1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6" name="Rounded Rectangle 495"/>
            <p:cNvSpPr/>
            <p:nvPr/>
          </p:nvSpPr>
          <p:spPr>
            <a:xfrm>
              <a:off x="1490999" y="5048181"/>
              <a:ext cx="179212" cy="179686"/>
            </a:xfrm>
            <a:prstGeom prst="roundRect">
              <a:avLst>
                <a:gd name="adj" fmla="val 10221"/>
              </a:avLst>
            </a:prstGeom>
            <a:solidFill>
              <a:srgbClr val="FFC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7" name="Rounded Rectangle 496"/>
            <p:cNvSpPr/>
            <p:nvPr/>
          </p:nvSpPr>
          <p:spPr>
            <a:xfrm>
              <a:off x="1691802" y="5048181"/>
              <a:ext cx="179210" cy="179686"/>
            </a:xfrm>
            <a:prstGeom prst="roundRect">
              <a:avLst>
                <a:gd name="adj" fmla="val 10221"/>
              </a:avLst>
            </a:prstGeom>
            <a:solidFill>
              <a:srgbClr val="FF0000"/>
            </a:solid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8" name="Rounded Rectangle 497"/>
            <p:cNvSpPr/>
            <p:nvPr/>
          </p:nvSpPr>
          <p:spPr>
            <a:xfrm>
              <a:off x="1907719" y="5048181"/>
              <a:ext cx="179210" cy="179686"/>
            </a:xfrm>
            <a:prstGeom prst="roundRect">
              <a:avLst>
                <a:gd name="adj" fmla="val 10221"/>
              </a:avLst>
            </a:prstGeom>
            <a:pattFill prst="wdUpDiag">
              <a:fgClr>
                <a:srgbClr val="0070C0"/>
              </a:fgClr>
              <a:bgClr>
                <a:srgbClr val="FFFFFF"/>
              </a:bgClr>
            </a:pattFill>
            <a:ln w="6350" cap="rnd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68000" tIns="36000" rIns="36000" bIns="3600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endParaRPr lang="es-ES_tradnl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503" name="Rectangle 502"/>
          <p:cNvSpPr/>
          <p:nvPr/>
        </p:nvSpPr>
        <p:spPr>
          <a:xfrm>
            <a:off x="144463" y="5337175"/>
            <a:ext cx="9130166" cy="1547454"/>
          </a:xfrm>
          <a:prstGeom prst="rect">
            <a:avLst/>
          </a:prstGeom>
          <a:noFill/>
          <a:ln w="6350" cap="flat">
            <a:noFill/>
            <a:prstDash val="dot"/>
            <a:miter lim="800000"/>
          </a:ln>
        </p:spPr>
        <p:txBody>
          <a:bodyPr lIns="72000" tIns="72000" rIns="72000" bIns="72000"/>
          <a:lstStyle/>
          <a:p>
            <a:pPr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defRPr/>
            </a:pPr>
            <a:r>
              <a:rPr lang="es-ES_tradnl" sz="1400" kern="1700" dirty="0" smtClean="0">
                <a:solidFill>
                  <a:srgbClr val="000000"/>
                </a:solidFill>
                <a:latin typeface="Arial "/>
                <a:cs typeface="+mn-cs"/>
              </a:rPr>
              <a:t>Potenciales oportunidades </a:t>
            </a:r>
            <a:r>
              <a:rPr lang="es-ES_tradnl" sz="1400" kern="1700" dirty="0">
                <a:solidFill>
                  <a:srgbClr val="000000"/>
                </a:solidFill>
                <a:latin typeface="Arial "/>
                <a:cs typeface="+mn-cs"/>
              </a:rPr>
              <a:t>de </a:t>
            </a:r>
            <a:r>
              <a:rPr lang="es-ES_tradnl" sz="1400" kern="1700" dirty="0" smtClean="0">
                <a:solidFill>
                  <a:srgbClr val="000000"/>
                </a:solidFill>
                <a:latin typeface="Arial "/>
                <a:cs typeface="+mn-cs"/>
              </a:rPr>
              <a:t>red que se pueden explorar, </a:t>
            </a:r>
            <a:r>
              <a:rPr lang="es-ES_tradnl" sz="1400" kern="1700" dirty="0">
                <a:solidFill>
                  <a:srgbClr val="000000"/>
                </a:solidFill>
                <a:latin typeface="Arial "/>
                <a:cs typeface="+mn-cs"/>
              </a:rPr>
              <a:t>ej.</a:t>
            </a:r>
          </a:p>
          <a:p>
            <a:pPr marL="285750" indent="-285750" defTabSz="914400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Font typeface="Arial" panose="020B0604020202020204" pitchFamily="34" charset="0"/>
              <a:buChar char="•"/>
              <a:defRPr/>
            </a:pPr>
            <a:r>
              <a:rPr lang="es-ES_tradnl" sz="1400" kern="1700" dirty="0">
                <a:solidFill>
                  <a:srgbClr val="000000"/>
                </a:solidFill>
                <a:latin typeface="Arial "/>
                <a:cs typeface="+mn-cs"/>
              </a:rPr>
              <a:t>Educación </a:t>
            </a:r>
            <a:r>
              <a:rPr lang="es-ES_tradnl" sz="1400" kern="1700" dirty="0" smtClean="0">
                <a:solidFill>
                  <a:srgbClr val="000000"/>
                </a:solidFill>
                <a:latin typeface="Arial "/>
                <a:cs typeface="+mn-cs"/>
              </a:rPr>
              <a:t>(redes de centros educativos maristas de primaria, secundaria; </a:t>
            </a:r>
            <a:r>
              <a:rPr lang="es-ES_tradnl" sz="1400" kern="1700" dirty="0">
                <a:solidFill>
                  <a:srgbClr val="000000"/>
                </a:solidFill>
                <a:latin typeface="Arial "/>
                <a:cs typeface="+mn-cs"/>
              </a:rPr>
              <a:t>red de Universidades Maristas</a:t>
            </a:r>
            <a:r>
              <a:rPr lang="es-ES_tradnl" sz="1400" kern="1700" dirty="0" smtClean="0">
                <a:solidFill>
                  <a:srgbClr val="000000"/>
                </a:solidFill>
                <a:latin typeface="Arial "/>
                <a:cs typeface="+mn-cs"/>
              </a:rPr>
              <a:t>…).</a:t>
            </a:r>
            <a:endParaRPr lang="es-ES_tradnl" sz="1400" kern="1700" dirty="0">
              <a:solidFill>
                <a:srgbClr val="000000"/>
              </a:solidFill>
              <a:latin typeface="Arial "/>
              <a:cs typeface="+mn-cs"/>
            </a:endParaRPr>
          </a:p>
          <a:p>
            <a:pPr marL="285750" indent="-285750" defTabSz="914400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Font typeface="Arial" panose="020B0604020202020204" pitchFamily="34" charset="0"/>
              <a:buChar char="•"/>
              <a:defRPr/>
            </a:pPr>
            <a:r>
              <a:rPr lang="es-ES_tradnl" sz="1400" kern="1700" dirty="0">
                <a:solidFill>
                  <a:srgbClr val="000000"/>
                </a:solidFill>
                <a:latin typeface="Arial "/>
                <a:cs typeface="+mn-cs"/>
              </a:rPr>
              <a:t>Formación (redes de liderazgo Marista para la </a:t>
            </a:r>
            <a:r>
              <a:rPr lang="it-IT" sz="1400" dirty="0" err="1">
                <a:solidFill>
                  <a:srgbClr val="000000"/>
                </a:solidFill>
                <a:latin typeface="Arial"/>
                <a:cs typeface="+mn-cs"/>
              </a:rPr>
              <a:t>Misión</a:t>
            </a:r>
            <a:r>
              <a:rPr lang="it-IT" sz="1400" dirty="0">
                <a:solidFill>
                  <a:srgbClr val="000000"/>
                </a:solidFill>
                <a:latin typeface="Arial"/>
                <a:cs typeface="+mn-cs"/>
              </a:rPr>
              <a:t>…</a:t>
            </a:r>
            <a:r>
              <a:rPr lang="es-ES_tradnl" sz="1400" kern="1700" dirty="0" smtClean="0">
                <a:solidFill>
                  <a:srgbClr val="000000"/>
                </a:solidFill>
                <a:latin typeface="Arial "/>
                <a:cs typeface="+mn-cs"/>
              </a:rPr>
              <a:t>).</a:t>
            </a:r>
            <a:endParaRPr lang="es-ES_tradnl" sz="1400" kern="1700" dirty="0">
              <a:solidFill>
                <a:srgbClr val="000000"/>
              </a:solidFill>
              <a:latin typeface="Arial "/>
              <a:cs typeface="+mn-cs"/>
            </a:endParaRPr>
          </a:p>
          <a:p>
            <a:pPr marL="285750" indent="-285750" defTabSz="914400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Font typeface="Arial" panose="020B0604020202020204" pitchFamily="34" charset="0"/>
              <a:buChar char="•"/>
              <a:defRPr/>
            </a:pPr>
            <a:r>
              <a:rPr lang="es-ES_tradnl" sz="1400" kern="1700" dirty="0">
                <a:solidFill>
                  <a:srgbClr val="000000"/>
                </a:solidFill>
                <a:latin typeface="Arial "/>
                <a:cs typeface="+mn-cs"/>
              </a:rPr>
              <a:t>Obras sociales (personas que gestionan o que están implicadas en obras sociales</a:t>
            </a:r>
            <a:r>
              <a:rPr lang="es-ES_tradnl" sz="1400" kern="1700" dirty="0" smtClean="0">
                <a:solidFill>
                  <a:srgbClr val="000000"/>
                </a:solidFill>
                <a:latin typeface="Arial "/>
                <a:cs typeface="+mn-cs"/>
              </a:rPr>
              <a:t>…).</a:t>
            </a:r>
            <a:endParaRPr lang="es-ES_tradnl" sz="1400" kern="1700" dirty="0">
              <a:solidFill>
                <a:srgbClr val="000000"/>
              </a:solidFill>
              <a:latin typeface="Arial "/>
              <a:cs typeface="+mn-cs"/>
            </a:endParaRPr>
          </a:p>
          <a:p>
            <a:pPr marL="285750" indent="-285750" defTabSz="914400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Font typeface="Arial" panose="020B0604020202020204" pitchFamily="34" charset="0"/>
              <a:buChar char="•"/>
              <a:defRPr/>
            </a:pPr>
            <a:r>
              <a:rPr lang="es-ES_tradnl" sz="1400" kern="1700" dirty="0">
                <a:solidFill>
                  <a:srgbClr val="000000"/>
                </a:solidFill>
                <a:latin typeface="Arial "/>
                <a:cs typeface="+mn-cs"/>
              </a:rPr>
              <a:t>Finanzas (redes de Ecónomos, redes de auditores y supervisores</a:t>
            </a:r>
            <a:r>
              <a:rPr lang="es-ES_tradnl" sz="1400" kern="1700" dirty="0" smtClean="0">
                <a:solidFill>
                  <a:srgbClr val="000000"/>
                </a:solidFill>
                <a:latin typeface="Arial "/>
                <a:cs typeface="+mn-cs"/>
              </a:rPr>
              <a:t>…).</a:t>
            </a:r>
            <a:endParaRPr lang="es-ES_tradnl" sz="1400" kern="1700" dirty="0">
              <a:solidFill>
                <a:srgbClr val="000000"/>
              </a:solidFill>
              <a:latin typeface="Arial "/>
              <a:cs typeface="+mn-cs"/>
            </a:endParaRPr>
          </a:p>
          <a:p>
            <a:pPr marL="285750" indent="-285750" defTabSz="914400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Font typeface="Arial" panose="020B0604020202020204" pitchFamily="34" charset="0"/>
              <a:buChar char="•"/>
              <a:defRPr/>
            </a:pPr>
            <a:r>
              <a:rPr lang="es-ES_tradnl" sz="1400" kern="1700" dirty="0" smtClean="0">
                <a:solidFill>
                  <a:srgbClr val="000000"/>
                </a:solidFill>
                <a:latin typeface="Arial "/>
                <a:cs typeface="+mn-cs"/>
              </a:rPr>
              <a:t>Otras.</a:t>
            </a:r>
            <a:endParaRPr lang="es-ES_tradnl" sz="1400" kern="1700" dirty="0">
              <a:solidFill>
                <a:srgbClr val="000000"/>
              </a:solidFill>
              <a:latin typeface="Arial "/>
              <a:cs typeface="+mn-cs"/>
            </a:endParaRPr>
          </a:p>
        </p:txBody>
      </p:sp>
      <p:sp>
        <p:nvSpPr>
          <p:cNvPr id="5" name="Isosceles Triangle 4"/>
          <p:cNvSpPr/>
          <p:nvPr/>
        </p:nvSpPr>
        <p:spPr>
          <a:xfrm rot="10800000">
            <a:off x="3300413" y="5121275"/>
            <a:ext cx="2305050" cy="152400"/>
          </a:xfrm>
          <a:prstGeom prst="triangl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6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99" name="Rounded Rectangle 498"/>
          <p:cNvSpPr/>
          <p:nvPr/>
        </p:nvSpPr>
        <p:spPr>
          <a:xfrm>
            <a:off x="149225" y="5673725"/>
            <a:ext cx="217488" cy="138113"/>
          </a:xfrm>
          <a:prstGeom prst="roundRect">
            <a:avLst>
              <a:gd name="adj" fmla="val 10221"/>
            </a:avLst>
          </a:prstGeom>
          <a:solidFill>
            <a:srgbClr val="FFC000"/>
          </a:solidFill>
          <a:ln w="6350" cap="rnd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68000" tIns="36000" rIns="36000" bIns="36000" anchor="ctr"/>
          <a:lstStyle/>
          <a:p>
            <a:pPr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_tradnl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04" name="Rounded Rectangle 503"/>
          <p:cNvSpPr/>
          <p:nvPr/>
        </p:nvSpPr>
        <p:spPr>
          <a:xfrm>
            <a:off x="142875" y="5916613"/>
            <a:ext cx="215900" cy="138112"/>
          </a:xfrm>
          <a:prstGeom prst="roundRect">
            <a:avLst>
              <a:gd name="adj" fmla="val 10221"/>
            </a:avLst>
          </a:prstGeom>
          <a:solidFill>
            <a:srgbClr val="FF0000"/>
          </a:solidFill>
          <a:ln w="6350" cap="rnd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68000" tIns="36000" rIns="36000" bIns="36000" anchor="ctr"/>
          <a:lstStyle/>
          <a:p>
            <a:pPr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_tradnl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05" name="Rounded Rectangle 504"/>
          <p:cNvSpPr/>
          <p:nvPr/>
        </p:nvSpPr>
        <p:spPr>
          <a:xfrm>
            <a:off x="142875" y="6604000"/>
            <a:ext cx="215900" cy="138113"/>
          </a:xfrm>
          <a:prstGeom prst="roundRect">
            <a:avLst>
              <a:gd name="adj" fmla="val 10221"/>
            </a:avLst>
          </a:prstGeom>
          <a:pattFill prst="wdUpDiag">
            <a:fgClr>
              <a:srgbClr val="0070C0"/>
            </a:fgClr>
            <a:bgClr>
              <a:srgbClr val="FFFFFF"/>
            </a:bgClr>
          </a:pattFill>
          <a:ln w="6350" cap="rnd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68000" tIns="36000" rIns="36000" bIns="180000"/>
          <a:lstStyle/>
          <a:p>
            <a:pPr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_tradnl" sz="1000" dirty="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1553" name="Text Placeholder 8"/>
          <p:cNvSpPr>
            <a:spLocks noGrp="1"/>
          </p:cNvSpPr>
          <p:nvPr>
            <p:ph type="body" sz="quarter" idx="10"/>
            <p:custDataLst>
              <p:tags r:id="rId1"/>
            </p:custDataLst>
          </p:nvPr>
        </p:nvSpPr>
        <p:spPr>
          <a:xfrm>
            <a:off x="244475" y="2157413"/>
            <a:ext cx="8647113" cy="3473450"/>
          </a:xfrm>
        </p:spPr>
        <p:txBody>
          <a:bodyPr/>
          <a:lstStyle/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Descripción del proyecto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Principios y directrices clave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s person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 Misión – estructur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b="1" dirty="0" smtClean="0">
                <a:latin typeface="Arial" charset="0"/>
                <a:cs typeface="Arial" charset="0"/>
              </a:rPr>
              <a:t>Estatus canónico y civil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 Misión – procesos y herramient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Modelo de financiación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Hoja de Ruta</a:t>
            </a:r>
          </a:p>
        </p:txBody>
      </p:sp>
      <p:sp>
        <p:nvSpPr>
          <p:cNvPr id="3351554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44475" y="1627188"/>
            <a:ext cx="8647113" cy="338137"/>
          </a:xfrm>
        </p:spPr>
        <p:txBody>
          <a:bodyPr/>
          <a:lstStyle/>
          <a:p>
            <a:pPr eaLnBrk="1" hangingPunct="1"/>
            <a:r>
              <a:rPr lang="es-ES_tradnl" smtClean="0">
                <a:latin typeface="Arial" charset="0"/>
                <a:cs typeface="Arial" charset="0"/>
              </a:rPr>
              <a:t>Índice</a:t>
            </a:r>
            <a:endParaRPr lang="en-US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7881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80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val 4"/>
          <p:cNvSpPr/>
          <p:nvPr/>
        </p:nvSpPr>
        <p:spPr>
          <a:xfrm>
            <a:off x="179388" y="1808163"/>
            <a:ext cx="8683625" cy="3925887"/>
          </a:xfrm>
          <a:prstGeom prst="ellipse">
            <a:avLst/>
          </a:prstGeom>
          <a:solidFill>
            <a:schemeClr val="bg1">
              <a:lumMod val="95000"/>
            </a:schemeClr>
          </a:solidFill>
          <a:ln w="6350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47883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83625" cy="665162"/>
          </a:xfrm>
        </p:spPr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La corresponsabilidad con los laicos y su vinculación carismática con la Misión va más allá de los límites del Instituto</a:t>
            </a:r>
          </a:p>
        </p:txBody>
      </p:sp>
      <p:sp>
        <p:nvSpPr>
          <p:cNvPr id="847884" name="TextBox 11"/>
          <p:cNvSpPr txBox="1">
            <a:spLocks noChangeArrowheads="1"/>
          </p:cNvSpPr>
          <p:nvPr/>
        </p:nvSpPr>
        <p:spPr bwMode="auto">
          <a:xfrm>
            <a:off x="3962400" y="1873250"/>
            <a:ext cx="1014413" cy="4984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_tradnl" i="1">
                <a:solidFill>
                  <a:srgbClr val="000000"/>
                </a:solidFill>
                <a:latin typeface="Arial "/>
              </a:rPr>
              <a:t>Carisma Marista</a:t>
            </a:r>
          </a:p>
        </p:txBody>
      </p:sp>
      <p:sp>
        <p:nvSpPr>
          <p:cNvPr id="16" name="Oval 14"/>
          <p:cNvSpPr>
            <a:spLocks noChangeArrowheads="1"/>
          </p:cNvSpPr>
          <p:nvPr/>
        </p:nvSpPr>
        <p:spPr bwMode="gray">
          <a:xfrm rot="10800000">
            <a:off x="3956050" y="2463800"/>
            <a:ext cx="4648200" cy="2794000"/>
          </a:xfrm>
          <a:prstGeom prst="ellipse">
            <a:avLst/>
          </a:prstGeom>
          <a:solidFill>
            <a:schemeClr val="accent3"/>
          </a:solidFill>
          <a:ln w="6350" cap="flat">
            <a:noFill/>
            <a:miter lim="800000"/>
            <a:headEnd/>
            <a:tailEnd/>
          </a:ln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2" name="Oval 15"/>
          <p:cNvSpPr>
            <a:spLocks noChangeArrowheads="1"/>
          </p:cNvSpPr>
          <p:nvPr/>
        </p:nvSpPr>
        <p:spPr bwMode="gray">
          <a:xfrm rot="10800000">
            <a:off x="644525" y="2420938"/>
            <a:ext cx="4648200" cy="2795587"/>
          </a:xfrm>
          <a:prstGeom prst="ellipse">
            <a:avLst/>
          </a:prstGeom>
          <a:solidFill>
            <a:schemeClr val="accent3"/>
          </a:solidFill>
          <a:ln w="6350" cap="flat">
            <a:noFill/>
            <a:miter lim="800000"/>
            <a:headEnd/>
            <a:tailEnd/>
          </a:ln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847887" name="TextBox 5"/>
          <p:cNvSpPr txBox="1">
            <a:spLocks noChangeArrowheads="1"/>
          </p:cNvSpPr>
          <p:nvPr/>
        </p:nvSpPr>
        <p:spPr bwMode="auto">
          <a:xfrm>
            <a:off x="1758950" y="3648075"/>
            <a:ext cx="808038" cy="24923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_tradnl">
                <a:solidFill>
                  <a:srgbClr val="000000"/>
                </a:solidFill>
                <a:latin typeface="Arial "/>
              </a:rPr>
              <a:t>Instituto</a:t>
            </a:r>
          </a:p>
        </p:txBody>
      </p:sp>
      <p:sp>
        <p:nvSpPr>
          <p:cNvPr id="847888" name="TextBox 23"/>
          <p:cNvSpPr txBox="1">
            <a:spLocks noChangeArrowheads="1"/>
          </p:cNvSpPr>
          <p:nvPr/>
        </p:nvSpPr>
        <p:spPr bwMode="auto">
          <a:xfrm>
            <a:off x="6337300" y="3648075"/>
            <a:ext cx="1358900" cy="24923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_tradnl">
                <a:solidFill>
                  <a:srgbClr val="000000"/>
                </a:solidFill>
                <a:latin typeface="Arial "/>
              </a:rPr>
              <a:t>Asociaciones</a:t>
            </a:r>
            <a:endParaRPr lang="es-ES_tradnl" sz="1200">
              <a:solidFill>
                <a:srgbClr val="000000"/>
              </a:solidFill>
              <a:latin typeface="Arial "/>
            </a:endParaRPr>
          </a:p>
        </p:txBody>
      </p:sp>
      <p:sp>
        <p:nvSpPr>
          <p:cNvPr id="27" name="Freeform 13"/>
          <p:cNvSpPr>
            <a:spLocks/>
          </p:cNvSpPr>
          <p:nvPr/>
        </p:nvSpPr>
        <p:spPr bwMode="gray">
          <a:xfrm rot="16200000">
            <a:off x="3485357" y="2844006"/>
            <a:ext cx="2163762" cy="2016125"/>
          </a:xfrm>
          <a:custGeom>
            <a:avLst/>
            <a:gdLst>
              <a:gd name="T0" fmla="*/ 0 w 493"/>
              <a:gd name="T1" fmla="*/ 359 h 510"/>
              <a:gd name="T2" fmla="*/ 688 w 493"/>
              <a:gd name="T3" fmla="*/ 359 h 510"/>
              <a:gd name="T4" fmla="*/ 0 w 493"/>
              <a:gd name="T5" fmla="*/ 359 h 510"/>
              <a:gd name="T6" fmla="*/ 0 60000 65536"/>
              <a:gd name="T7" fmla="*/ 0 60000 65536"/>
              <a:gd name="T8" fmla="*/ 0 60000 65536"/>
              <a:gd name="T9" fmla="*/ 0 w 493"/>
              <a:gd name="T10" fmla="*/ 0 h 510"/>
              <a:gd name="T11" fmla="*/ 493 w 493"/>
              <a:gd name="T12" fmla="*/ 510 h 510"/>
              <a:gd name="connsiteX0" fmla="*/ 0 w 9956"/>
              <a:gd name="connsiteY0" fmla="*/ 2341 h 4606"/>
              <a:gd name="connsiteX1" fmla="*/ 9956 w 9956"/>
              <a:gd name="connsiteY1" fmla="*/ 2427 h 4606"/>
              <a:gd name="connsiteX2" fmla="*/ 0 w 9956"/>
              <a:gd name="connsiteY2" fmla="*/ 2341 h 4606"/>
              <a:gd name="connsiteX0" fmla="*/ 0 w 10000"/>
              <a:gd name="connsiteY0" fmla="*/ 4709 h 9627"/>
              <a:gd name="connsiteX1" fmla="*/ 10000 w 10000"/>
              <a:gd name="connsiteY1" fmla="*/ 4895 h 9627"/>
              <a:gd name="connsiteX2" fmla="*/ 0 w 10000"/>
              <a:gd name="connsiteY2" fmla="*/ 4709 h 9627"/>
              <a:gd name="connsiteX0" fmla="*/ 0 w 10000"/>
              <a:gd name="connsiteY0" fmla="*/ 4891 h 9936"/>
              <a:gd name="connsiteX1" fmla="*/ 10000 w 10000"/>
              <a:gd name="connsiteY1" fmla="*/ 5085 h 9936"/>
              <a:gd name="connsiteX2" fmla="*/ 0 w 10000"/>
              <a:gd name="connsiteY2" fmla="*/ 4891 h 9936"/>
              <a:gd name="connsiteX0" fmla="*/ 0 w 9869"/>
              <a:gd name="connsiteY0" fmla="*/ 4948 h 9998"/>
              <a:gd name="connsiteX1" fmla="*/ 9869 w 9869"/>
              <a:gd name="connsiteY1" fmla="*/ 5046 h 9998"/>
              <a:gd name="connsiteX2" fmla="*/ 0 w 9869"/>
              <a:gd name="connsiteY2" fmla="*/ 4948 h 9998"/>
              <a:gd name="connsiteX0" fmla="*/ 0 w 10000"/>
              <a:gd name="connsiteY0" fmla="*/ 5123 h 10174"/>
              <a:gd name="connsiteX1" fmla="*/ 10000 w 10000"/>
              <a:gd name="connsiteY1" fmla="*/ 5221 h 10174"/>
              <a:gd name="connsiteX2" fmla="*/ 0 w 10000"/>
              <a:gd name="connsiteY2" fmla="*/ 5123 h 10174"/>
              <a:gd name="connsiteX0" fmla="*/ 0 w 10000"/>
              <a:gd name="connsiteY0" fmla="*/ 5123 h 10524"/>
              <a:gd name="connsiteX1" fmla="*/ 10000 w 10000"/>
              <a:gd name="connsiteY1" fmla="*/ 5221 h 10524"/>
              <a:gd name="connsiteX2" fmla="*/ 0 w 10000"/>
              <a:gd name="connsiteY2" fmla="*/ 5123 h 10524"/>
              <a:gd name="connsiteX0" fmla="*/ 0 w 10000"/>
              <a:gd name="connsiteY0" fmla="*/ 5123 h 10310"/>
              <a:gd name="connsiteX1" fmla="*/ 10000 w 10000"/>
              <a:gd name="connsiteY1" fmla="*/ 5221 h 10310"/>
              <a:gd name="connsiteX2" fmla="*/ 0 w 10000"/>
              <a:gd name="connsiteY2" fmla="*/ 5123 h 10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0" h="10310">
                <a:moveTo>
                  <a:pt x="0" y="5123"/>
                </a:moveTo>
                <a:cubicBezTo>
                  <a:pt x="4684" y="-5662"/>
                  <a:pt x="9844" y="3689"/>
                  <a:pt x="10000" y="5221"/>
                </a:cubicBezTo>
                <a:cubicBezTo>
                  <a:pt x="9647" y="7435"/>
                  <a:pt x="4095" y="15528"/>
                  <a:pt x="0" y="5123"/>
                </a:cubicBezTo>
                <a:close/>
              </a:path>
            </a:pathLst>
          </a:custGeom>
          <a:solidFill>
            <a:schemeClr val="accent5"/>
          </a:solidFill>
          <a:ln w="6350" cap="flat">
            <a:solidFill>
              <a:schemeClr val="accent3"/>
            </a:solidFill>
            <a:prstDash val="dash"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847890" name="Group 27"/>
          <p:cNvGrpSpPr>
            <a:grpSpLocks/>
          </p:cNvGrpSpPr>
          <p:nvPr/>
        </p:nvGrpSpPr>
        <p:grpSpPr bwMode="auto">
          <a:xfrm>
            <a:off x="3962400" y="2770188"/>
            <a:ext cx="1179513" cy="2163762"/>
            <a:chOff x="3743908" y="3208248"/>
            <a:chExt cx="1620180" cy="2164968"/>
          </a:xfrm>
        </p:grpSpPr>
        <p:sp>
          <p:nvSpPr>
            <p:cNvPr id="29" name="Freeform 13"/>
            <p:cNvSpPr>
              <a:spLocks/>
            </p:cNvSpPr>
            <p:nvPr/>
          </p:nvSpPr>
          <p:spPr bwMode="gray">
            <a:xfrm rot="16200000">
              <a:off x="3471515" y="3480641"/>
              <a:ext cx="2164968" cy="1620180"/>
            </a:xfrm>
            <a:custGeom>
              <a:avLst/>
              <a:gdLst>
                <a:gd name="T0" fmla="*/ 0 w 493"/>
                <a:gd name="T1" fmla="*/ 359 h 510"/>
                <a:gd name="T2" fmla="*/ 688 w 493"/>
                <a:gd name="T3" fmla="*/ 359 h 510"/>
                <a:gd name="T4" fmla="*/ 0 w 493"/>
                <a:gd name="T5" fmla="*/ 359 h 510"/>
                <a:gd name="T6" fmla="*/ 0 60000 65536"/>
                <a:gd name="T7" fmla="*/ 0 60000 65536"/>
                <a:gd name="T8" fmla="*/ 0 60000 65536"/>
                <a:gd name="T9" fmla="*/ 0 w 493"/>
                <a:gd name="T10" fmla="*/ 0 h 510"/>
                <a:gd name="T11" fmla="*/ 493 w 493"/>
                <a:gd name="T12" fmla="*/ 510 h 510"/>
                <a:gd name="connsiteX0" fmla="*/ 0 w 9956"/>
                <a:gd name="connsiteY0" fmla="*/ 2341 h 4606"/>
                <a:gd name="connsiteX1" fmla="*/ 9956 w 9956"/>
                <a:gd name="connsiteY1" fmla="*/ 2427 h 4606"/>
                <a:gd name="connsiteX2" fmla="*/ 0 w 9956"/>
                <a:gd name="connsiteY2" fmla="*/ 2341 h 4606"/>
                <a:gd name="connsiteX0" fmla="*/ 0 w 10000"/>
                <a:gd name="connsiteY0" fmla="*/ 4709 h 9627"/>
                <a:gd name="connsiteX1" fmla="*/ 10000 w 10000"/>
                <a:gd name="connsiteY1" fmla="*/ 4895 h 9627"/>
                <a:gd name="connsiteX2" fmla="*/ 0 w 10000"/>
                <a:gd name="connsiteY2" fmla="*/ 4709 h 9627"/>
                <a:gd name="connsiteX0" fmla="*/ 0 w 10000"/>
                <a:gd name="connsiteY0" fmla="*/ 4891 h 9936"/>
                <a:gd name="connsiteX1" fmla="*/ 10000 w 10000"/>
                <a:gd name="connsiteY1" fmla="*/ 5085 h 9936"/>
                <a:gd name="connsiteX2" fmla="*/ 0 w 10000"/>
                <a:gd name="connsiteY2" fmla="*/ 4891 h 9936"/>
                <a:gd name="connsiteX0" fmla="*/ 0 w 9869"/>
                <a:gd name="connsiteY0" fmla="*/ 4948 h 9998"/>
                <a:gd name="connsiteX1" fmla="*/ 9869 w 9869"/>
                <a:gd name="connsiteY1" fmla="*/ 5046 h 9998"/>
                <a:gd name="connsiteX2" fmla="*/ 0 w 9869"/>
                <a:gd name="connsiteY2" fmla="*/ 4948 h 9998"/>
                <a:gd name="connsiteX0" fmla="*/ 0 w 10000"/>
                <a:gd name="connsiteY0" fmla="*/ 5123 h 10174"/>
                <a:gd name="connsiteX1" fmla="*/ 10000 w 10000"/>
                <a:gd name="connsiteY1" fmla="*/ 5221 h 10174"/>
                <a:gd name="connsiteX2" fmla="*/ 0 w 10000"/>
                <a:gd name="connsiteY2" fmla="*/ 5123 h 10174"/>
                <a:gd name="connsiteX0" fmla="*/ 0 w 10000"/>
                <a:gd name="connsiteY0" fmla="*/ 5123 h 10524"/>
                <a:gd name="connsiteX1" fmla="*/ 10000 w 10000"/>
                <a:gd name="connsiteY1" fmla="*/ 5221 h 10524"/>
                <a:gd name="connsiteX2" fmla="*/ 0 w 10000"/>
                <a:gd name="connsiteY2" fmla="*/ 5123 h 10524"/>
                <a:gd name="connsiteX0" fmla="*/ 0 w 10000"/>
                <a:gd name="connsiteY0" fmla="*/ 5123 h 10310"/>
                <a:gd name="connsiteX1" fmla="*/ 10000 w 10000"/>
                <a:gd name="connsiteY1" fmla="*/ 5221 h 10310"/>
                <a:gd name="connsiteX2" fmla="*/ 0 w 10000"/>
                <a:gd name="connsiteY2" fmla="*/ 5123 h 10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0310">
                  <a:moveTo>
                    <a:pt x="0" y="5123"/>
                  </a:moveTo>
                  <a:cubicBezTo>
                    <a:pt x="4684" y="-5662"/>
                    <a:pt x="9844" y="3689"/>
                    <a:pt x="10000" y="5221"/>
                  </a:cubicBezTo>
                  <a:cubicBezTo>
                    <a:pt x="9647" y="7435"/>
                    <a:pt x="4095" y="15528"/>
                    <a:pt x="0" y="5123"/>
                  </a:cubicBezTo>
                  <a:close/>
                </a:path>
              </a:pathLst>
            </a:custGeom>
            <a:solidFill>
              <a:schemeClr val="bg2"/>
            </a:solidFill>
            <a:ln w="6350" cap="flat">
              <a:solidFill>
                <a:schemeClr val="accent3"/>
              </a:solidFill>
              <a:prstDash val="dash"/>
              <a:miter lim="800000"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7900" name="TextBox 29"/>
            <p:cNvSpPr txBox="1">
              <a:spLocks noChangeArrowheads="1"/>
            </p:cNvSpPr>
            <p:nvPr/>
          </p:nvSpPr>
          <p:spPr bwMode="auto">
            <a:xfrm>
              <a:off x="4148349" y="4156190"/>
              <a:ext cx="915914" cy="249299"/>
            </a:xfrm>
            <a:prstGeom prst="rect">
              <a:avLst/>
            </a:prstGeom>
            <a:solidFill>
              <a:srgbClr val="FFFF00"/>
            </a:solidFill>
            <a:ln w="6350">
              <a:solidFill>
                <a:schemeClr val="tx1"/>
              </a:solidFill>
              <a:prstDash val="dash"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defTabSz="914400">
                <a:lnSpc>
                  <a:spcPct val="90000"/>
                </a:lnSpc>
                <a:spcBef>
                  <a:spcPts val="600"/>
                </a:spcBef>
                <a:buClr>
                  <a:srgbClr val="9B1717"/>
                </a:buClr>
              </a:pPr>
              <a:r>
                <a:rPr lang="es-ES_tradnl">
                  <a:solidFill>
                    <a:srgbClr val="000000"/>
                  </a:solidFill>
                  <a:latin typeface="Arial "/>
                </a:rPr>
                <a:t>Misión</a:t>
              </a:r>
            </a:p>
          </p:txBody>
        </p:sp>
      </p:grpSp>
      <p:sp>
        <p:nvSpPr>
          <p:cNvPr id="15" name="Rectangle 14"/>
          <p:cNvSpPr/>
          <p:nvPr/>
        </p:nvSpPr>
        <p:spPr>
          <a:xfrm>
            <a:off x="6948488" y="4076700"/>
            <a:ext cx="1292225" cy="449263"/>
          </a:xfrm>
          <a:prstGeom prst="rect">
            <a:avLst/>
          </a:prstGeom>
          <a:solidFill>
            <a:srgbClr val="778025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200" b="1" dirty="0">
                <a:solidFill>
                  <a:srgbClr val="FFFFFF"/>
                </a:solidFill>
                <a:cs typeface="Arial" pitchFamily="34" charset="0"/>
              </a:rPr>
              <a:t>Asociación </a:t>
            </a:r>
            <a:r>
              <a:rPr lang="es-ES_tradnl" sz="1200" b="1" dirty="0" smtClean="0">
                <a:solidFill>
                  <a:srgbClr val="FFFFFF"/>
                </a:solidFill>
                <a:cs typeface="Arial" pitchFamily="34" charset="0"/>
              </a:rPr>
              <a:t>laical 2</a:t>
            </a:r>
            <a:endParaRPr lang="es-ES_tradnl" sz="11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580063" y="4060825"/>
            <a:ext cx="1292225" cy="447675"/>
          </a:xfrm>
          <a:prstGeom prst="rect">
            <a:avLst/>
          </a:prstGeom>
          <a:solidFill>
            <a:srgbClr val="778025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200" b="1" dirty="0">
                <a:solidFill>
                  <a:srgbClr val="FFFFFF"/>
                </a:solidFill>
                <a:cs typeface="Arial" pitchFamily="34" charset="0"/>
              </a:rPr>
              <a:t>Asociación </a:t>
            </a:r>
            <a:r>
              <a:rPr lang="es-ES_tradnl" sz="1200" b="1" dirty="0" smtClean="0">
                <a:solidFill>
                  <a:srgbClr val="FFFFFF"/>
                </a:solidFill>
                <a:cs typeface="Arial" pitchFamily="34" charset="0"/>
              </a:rPr>
              <a:t>laical </a:t>
            </a:r>
            <a:r>
              <a:rPr lang="es-ES_tradnl" sz="1200" b="1" dirty="0">
                <a:solidFill>
                  <a:srgbClr val="FFFFFF"/>
                </a:solidFill>
                <a:cs typeface="Arial" pitchFamily="34" charset="0"/>
              </a:rPr>
              <a:t>1</a:t>
            </a:r>
            <a:endParaRPr lang="es-ES_tradnl" sz="11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595938" y="4635500"/>
            <a:ext cx="1292225" cy="581025"/>
          </a:xfrm>
          <a:prstGeom prst="rect">
            <a:avLst/>
          </a:prstGeom>
          <a:solidFill>
            <a:srgbClr val="778025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200" b="1" dirty="0">
                <a:solidFill>
                  <a:srgbClr val="FFFFFF"/>
                </a:solidFill>
                <a:cs typeface="Arial" pitchFamily="34" charset="0"/>
              </a:rPr>
              <a:t>Asociaciones de laicos y Hermanos</a:t>
            </a:r>
            <a:endParaRPr lang="es-ES_tradnl" sz="11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52413" y="5805488"/>
            <a:ext cx="215900" cy="215900"/>
          </a:xfrm>
          <a:prstGeom prst="rect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47895" name="TextBox 18"/>
          <p:cNvSpPr txBox="1">
            <a:spLocks noChangeArrowheads="1"/>
          </p:cNvSpPr>
          <p:nvPr/>
        </p:nvSpPr>
        <p:spPr bwMode="auto">
          <a:xfrm>
            <a:off x="252413" y="5670550"/>
            <a:ext cx="3381375" cy="40163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266700" lvl="1" defTabSz="914400">
              <a:lnSpc>
                <a:spcPct val="90000"/>
              </a:lnSpc>
            </a:pPr>
            <a:r>
              <a:rPr lang="es-ES_tradnl" sz="1200" dirty="0">
                <a:solidFill>
                  <a:srgbClr val="000000"/>
                </a:solidFill>
              </a:rPr>
              <a:t>Misión gestionada </a:t>
            </a:r>
            <a:r>
              <a:rPr lang="es-ES_tradnl" sz="1200" dirty="0" smtClean="0">
                <a:solidFill>
                  <a:srgbClr val="000000"/>
                </a:solidFill>
              </a:rPr>
              <a:t>conjuntamente por </a:t>
            </a:r>
            <a:r>
              <a:rPr lang="es-ES_tradnl" sz="1200" dirty="0">
                <a:solidFill>
                  <a:srgbClr val="000000"/>
                </a:solidFill>
              </a:rPr>
              <a:t>el Instituto y </a:t>
            </a:r>
            <a:r>
              <a:rPr lang="es-ES_tradnl" sz="1200" dirty="0" smtClean="0">
                <a:solidFill>
                  <a:srgbClr val="000000"/>
                </a:solidFill>
              </a:rPr>
              <a:t>las Asociaciones</a:t>
            </a:r>
            <a:endParaRPr lang="es-ES_tradnl" sz="1200" dirty="0">
              <a:solidFill>
                <a:srgbClr val="00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918268" y="5767387"/>
            <a:ext cx="215900" cy="215900"/>
          </a:xfrm>
          <a:prstGeom prst="rect">
            <a:avLst/>
          </a:prstGeom>
          <a:solidFill>
            <a:schemeClr val="accent5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47897" name="TextBox 24"/>
          <p:cNvSpPr txBox="1">
            <a:spLocks noChangeArrowheads="1"/>
          </p:cNvSpPr>
          <p:nvPr/>
        </p:nvSpPr>
        <p:spPr bwMode="auto">
          <a:xfrm>
            <a:off x="17463" y="6205538"/>
            <a:ext cx="9144000" cy="514350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180000" tIns="76200" rIns="180000" bIns="76200" anchor="ctr"/>
          <a:lstStyle/>
          <a:p>
            <a:pPr defTabSz="914400">
              <a:lnSpc>
                <a:spcPct val="90000"/>
              </a:lnSpc>
              <a:buClr>
                <a:srgbClr val="9B1717"/>
              </a:buClr>
            </a:pPr>
            <a:r>
              <a:rPr lang="es-ES" b="1" dirty="0">
                <a:solidFill>
                  <a:srgbClr val="FFFFFF"/>
                </a:solidFill>
              </a:rPr>
              <a:t>La Misión marista se lleva a cabo también fuera de las obras del Instituto y </a:t>
            </a:r>
            <a:r>
              <a:rPr lang="es-ES" b="1" dirty="0" smtClean="0">
                <a:solidFill>
                  <a:srgbClr val="FFFFFF"/>
                </a:solidFill>
              </a:rPr>
              <a:t>de las </a:t>
            </a:r>
            <a:r>
              <a:rPr lang="es-ES" b="1" dirty="0">
                <a:solidFill>
                  <a:srgbClr val="FFFFFF"/>
                </a:solidFill>
              </a:rPr>
              <a:t>Asociaciones</a:t>
            </a:r>
            <a:endParaRPr lang="es-ES_tradnl" b="1" dirty="0">
              <a:solidFill>
                <a:srgbClr val="FFFFFF"/>
              </a:solidFill>
            </a:endParaRPr>
          </a:p>
        </p:txBody>
      </p:sp>
      <p:sp>
        <p:nvSpPr>
          <p:cNvPr id="847898" name="RunningHead"/>
          <p:cNvSpPr txBox="1">
            <a:spLocks noChangeArrowheads="1"/>
          </p:cNvSpPr>
          <p:nvPr/>
        </p:nvSpPr>
        <p:spPr bwMode="gray">
          <a:xfrm>
            <a:off x="7037388" y="139700"/>
            <a:ext cx="1854200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>
                <a:solidFill>
                  <a:srgbClr val="000000"/>
                </a:solidFill>
              </a:rPr>
              <a:t>Vinculación canónica y civil</a:t>
            </a:r>
          </a:p>
        </p:txBody>
      </p:sp>
      <p:sp>
        <p:nvSpPr>
          <p:cNvPr id="24" name="TextBox 18"/>
          <p:cNvSpPr txBox="1">
            <a:spLocks noChangeArrowheads="1"/>
          </p:cNvSpPr>
          <p:nvPr/>
        </p:nvSpPr>
        <p:spPr bwMode="auto">
          <a:xfrm>
            <a:off x="4040961" y="5660231"/>
            <a:ext cx="4563289" cy="40163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266700" lvl="1" defTabSz="914400">
              <a:lnSpc>
                <a:spcPct val="90000"/>
              </a:lnSpc>
            </a:pPr>
            <a:r>
              <a:rPr lang="es-ES_tradnl" sz="1200" dirty="0" smtClean="0">
                <a:solidFill>
                  <a:srgbClr val="000000"/>
                </a:solidFill>
              </a:rPr>
              <a:t>Obras </a:t>
            </a:r>
            <a:r>
              <a:rPr lang="es-ES_tradnl" sz="1200" dirty="0">
                <a:solidFill>
                  <a:srgbClr val="000000"/>
                </a:solidFill>
              </a:rPr>
              <a:t>de la misión gestionadas de forma independiente </a:t>
            </a:r>
            <a:endParaRPr lang="es-ES_tradnl" sz="1200" dirty="0" smtClean="0">
              <a:solidFill>
                <a:srgbClr val="000000"/>
              </a:solidFill>
            </a:endParaRPr>
          </a:p>
          <a:p>
            <a:pPr marL="266700" lvl="1" defTabSz="914400">
              <a:lnSpc>
                <a:spcPct val="90000"/>
              </a:lnSpc>
            </a:pPr>
            <a:r>
              <a:rPr lang="es-ES_tradnl" sz="1200" dirty="0" smtClean="0">
                <a:solidFill>
                  <a:srgbClr val="000000"/>
                </a:solidFill>
              </a:rPr>
              <a:t>por </a:t>
            </a:r>
            <a:r>
              <a:rPr lang="es-ES_tradnl" sz="1200" dirty="0">
                <a:solidFill>
                  <a:srgbClr val="000000"/>
                </a:solidFill>
              </a:rPr>
              <a:t>el Instituto o por las Asociaciones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4625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83625" cy="665162"/>
          </a:xfrm>
        </p:spPr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Las entidades jurídicas (canónicas y civiles) garantizarán la participación tanto de hermanos como de laicos…</a:t>
            </a:r>
          </a:p>
        </p:txBody>
      </p:sp>
      <p:sp>
        <p:nvSpPr>
          <p:cNvPr id="3" name="Rectangle 2"/>
          <p:cNvSpPr/>
          <p:nvPr/>
        </p:nvSpPr>
        <p:spPr>
          <a:xfrm>
            <a:off x="179388" y="1773238"/>
            <a:ext cx="1944687" cy="2843212"/>
          </a:xfrm>
          <a:prstGeom prst="rect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600" b="1" dirty="0">
                <a:solidFill>
                  <a:srgbClr val="FFFFFF"/>
                </a:solidFill>
                <a:cs typeface="Arial" pitchFamily="34" charset="0"/>
              </a:rPr>
              <a:t>Instituto</a:t>
            </a:r>
          </a:p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400" b="1" dirty="0">
              <a:solidFill>
                <a:srgbClr val="FFFFFF"/>
              </a:solidFill>
              <a:cs typeface="Arial" pitchFamily="34" charset="0"/>
            </a:endParaRPr>
          </a:p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rgbClr val="FFFFFF"/>
                </a:solidFill>
                <a:cs typeface="Arial" pitchFamily="34" charset="0"/>
              </a:rPr>
              <a:t>Consejo General</a:t>
            </a:r>
          </a:p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rgbClr val="FFFFFF"/>
                </a:solidFill>
                <a:cs typeface="Arial" pitchFamily="34" charset="0"/>
              </a:rPr>
              <a:t>Consejo Regional</a:t>
            </a:r>
          </a:p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rgbClr val="FFFFFF"/>
                </a:solidFill>
                <a:cs typeface="Arial" pitchFamily="34" charset="0"/>
              </a:rPr>
              <a:t>Consejo Provincial</a:t>
            </a:r>
          </a:p>
        </p:txBody>
      </p:sp>
      <p:sp>
        <p:nvSpPr>
          <p:cNvPr id="68" name="Rectangle 67"/>
          <p:cNvSpPr/>
          <p:nvPr/>
        </p:nvSpPr>
        <p:spPr>
          <a:xfrm>
            <a:off x="3563938" y="1773238"/>
            <a:ext cx="1944687" cy="28432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" sz="1600" b="1" dirty="0">
                <a:solidFill>
                  <a:srgbClr val="FFFFFF"/>
                </a:solidFill>
                <a:cs typeface="Arial" pitchFamily="34" charset="0"/>
              </a:rPr>
              <a:t>Estructuras de la Misión </a:t>
            </a:r>
            <a:r>
              <a:rPr lang="es-ES" sz="1400" b="1" dirty="0" smtClean="0">
                <a:solidFill>
                  <a:srgbClr val="FFFFFF"/>
                </a:solidFill>
                <a:cs typeface="Arial" pitchFamily="34" charset="0"/>
              </a:rPr>
              <a:t>(</a:t>
            </a:r>
            <a:r>
              <a:rPr lang="es-ES" sz="1400" b="1" dirty="0">
                <a:solidFill>
                  <a:srgbClr val="FFFFFF"/>
                </a:solidFill>
                <a:cs typeface="Arial" pitchFamily="34" charset="0"/>
              </a:rPr>
              <a:t>entidades civiles y canónicas)</a:t>
            </a:r>
            <a:endParaRPr lang="es-ES_tradnl" sz="1400" b="1" dirty="0">
              <a:solidFill>
                <a:srgbClr val="FFFFFF"/>
              </a:solidFill>
              <a:cs typeface="Arial" pitchFamily="34" charset="0"/>
            </a:endParaRPr>
          </a:p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rgbClr val="FFFFFF"/>
                </a:solidFill>
                <a:cs typeface="Arial" pitchFamily="34" charset="0"/>
              </a:rPr>
              <a:t>AG </a:t>
            </a:r>
            <a:br>
              <a:rPr lang="es-ES_tradnl" sz="1400" b="1" dirty="0">
                <a:solidFill>
                  <a:srgbClr val="FFFFFF"/>
                </a:solidFill>
                <a:cs typeface="Arial" pitchFamily="34" charset="0"/>
              </a:rPr>
            </a:br>
            <a:r>
              <a:rPr lang="es-ES_tradnl" sz="1400" b="1" dirty="0">
                <a:solidFill>
                  <a:srgbClr val="FFFFFF"/>
                </a:solidFill>
                <a:cs typeface="Arial" pitchFamily="34" charset="0"/>
              </a:rPr>
              <a:t>Consejo de Misión</a:t>
            </a:r>
          </a:p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rgbClr val="FFFFFF"/>
                </a:solidFill>
                <a:cs typeface="Arial" pitchFamily="34" charset="0"/>
              </a:rPr>
              <a:t>Consejo </a:t>
            </a:r>
            <a:r>
              <a:rPr lang="es-ES_tradnl" sz="1400" b="1" dirty="0" smtClean="0">
                <a:solidFill>
                  <a:srgbClr val="FFFFFF"/>
                </a:solidFill>
                <a:cs typeface="Arial" pitchFamily="34" charset="0"/>
              </a:rPr>
              <a:t>Regional de Misión</a:t>
            </a:r>
            <a:endParaRPr lang="es-ES_tradnl" sz="1400" b="1" dirty="0">
              <a:solidFill>
                <a:srgbClr val="FFFFFF"/>
              </a:solidFill>
              <a:cs typeface="Arial" pitchFamily="34" charset="0"/>
            </a:endParaRPr>
          </a:p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rgbClr val="FFFFFF"/>
                </a:solidFill>
                <a:cs typeface="Arial" pitchFamily="34" charset="0"/>
              </a:rPr>
              <a:t>Consejo </a:t>
            </a:r>
            <a:r>
              <a:rPr lang="es-ES_tradnl" sz="1400" b="1" dirty="0" smtClean="0">
                <a:solidFill>
                  <a:srgbClr val="FFFFFF"/>
                </a:solidFill>
                <a:cs typeface="Arial" pitchFamily="34" charset="0"/>
              </a:rPr>
              <a:t>Provincial de Misión</a:t>
            </a:r>
            <a:endParaRPr lang="es-ES_tradnl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6948488" y="1773238"/>
            <a:ext cx="1944687" cy="2843212"/>
          </a:xfrm>
          <a:prstGeom prst="rect">
            <a:avLst/>
          </a:prstGeom>
          <a:solidFill>
            <a:schemeClr val="accent6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" sz="1600" b="1" dirty="0">
                <a:solidFill>
                  <a:srgbClr val="FFFFFF"/>
                </a:solidFill>
                <a:cs typeface="Arial" pitchFamily="34" charset="0"/>
              </a:rPr>
              <a:t>Asociaciones de laicos y asociaciones de hermanos y laicos (civiles y canónicas)</a:t>
            </a:r>
            <a:endParaRPr lang="es-ES_tradnl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" name="Right Arrow 3"/>
          <p:cNvSpPr/>
          <p:nvPr/>
        </p:nvSpPr>
        <p:spPr>
          <a:xfrm>
            <a:off x="2195513" y="2438400"/>
            <a:ext cx="1331912" cy="971550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2124075" y="3429000"/>
            <a:ext cx="1547813" cy="960438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113414" indent="-113414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cs typeface="Arial" pitchFamily="34" charset="0"/>
              </a:rPr>
              <a:t>Vinculación canónica y civil</a:t>
            </a:r>
          </a:p>
          <a:p>
            <a:pPr marL="113414" indent="-113414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cs typeface="Arial" pitchFamily="34" charset="0"/>
              </a:rPr>
              <a:t>Nombrar representantes</a:t>
            </a:r>
          </a:p>
        </p:txBody>
      </p:sp>
      <p:sp>
        <p:nvSpPr>
          <p:cNvPr id="71" name="Right Arrow 70"/>
          <p:cNvSpPr/>
          <p:nvPr/>
        </p:nvSpPr>
        <p:spPr>
          <a:xfrm flipH="1">
            <a:off x="5543550" y="2430463"/>
            <a:ext cx="1331913" cy="971550"/>
          </a:xfrm>
          <a:prstGeom prst="rightArrow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5508625" y="3433763"/>
            <a:ext cx="1547813" cy="962025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113414" indent="-113414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cs typeface="Arial" pitchFamily="34" charset="0"/>
              </a:rPr>
              <a:t>Vinculación canónica y civil</a:t>
            </a:r>
          </a:p>
          <a:p>
            <a:pPr marL="113414" indent="-113414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cs typeface="Arial" pitchFamily="34" charset="0"/>
              </a:rPr>
              <a:t>Nombrar representant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492500" y="4564063"/>
            <a:ext cx="2951163" cy="115570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113414" indent="-113414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cs typeface="Arial" pitchFamily="34" charset="0"/>
              </a:rPr>
              <a:t>Asociación de entidades</a:t>
            </a:r>
          </a:p>
          <a:p>
            <a:pPr marL="113414" indent="-113414" defTabSz="914400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Definir la proporción entre las personas nombradas </a:t>
            </a:r>
            <a:r>
              <a:rPr lang="es-ES" sz="1400" dirty="0" smtClean="0">
                <a:solidFill>
                  <a:srgbClr val="000000"/>
                </a:solidFill>
                <a:cs typeface="Arial" pitchFamily="34" charset="0"/>
              </a:rPr>
              <a:t>por 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las estructuras canónicas y las estructuras </a:t>
            </a:r>
            <a:r>
              <a:rPr lang="es-ES" sz="1400" dirty="0" smtClean="0">
                <a:solidFill>
                  <a:srgbClr val="000000"/>
                </a:solidFill>
                <a:cs typeface="Arial" pitchFamily="34" charset="0"/>
              </a:rPr>
              <a:t>civiles</a:t>
            </a:r>
            <a:endParaRPr lang="es-ES_tradn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019925" y="4579938"/>
            <a:ext cx="2016125" cy="536575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113414" indent="-113414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cs typeface="Arial" pitchFamily="34" charset="0"/>
              </a:rPr>
              <a:t>Asociación de personas</a:t>
            </a:r>
          </a:p>
        </p:txBody>
      </p:sp>
      <p:sp>
        <p:nvSpPr>
          <p:cNvPr id="3354635" name="TextBox 14"/>
          <p:cNvSpPr txBox="1">
            <a:spLocks noChangeArrowheads="1"/>
          </p:cNvSpPr>
          <p:nvPr/>
        </p:nvSpPr>
        <p:spPr bwMode="auto">
          <a:xfrm>
            <a:off x="0" y="5981700"/>
            <a:ext cx="9144000" cy="541338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252476" tIns="76200" rIns="252476" bIns="76200" anchor="ctr"/>
          <a:lstStyle/>
          <a:p>
            <a:pPr defTabSz="914400">
              <a:lnSpc>
                <a:spcPct val="90000"/>
              </a:lnSpc>
              <a:buClr>
                <a:srgbClr val="9B1717"/>
              </a:buClr>
            </a:pPr>
            <a:r>
              <a:rPr lang="es-ES" b="1" dirty="0">
                <a:solidFill>
                  <a:srgbClr val="FFFFFF"/>
                </a:solidFill>
              </a:rPr>
              <a:t>La estructura podría estar abierta a otras congregaciones religiosas al servicio de una Misión similar.</a:t>
            </a:r>
            <a:endParaRPr lang="es-ES_tradnl" b="1" dirty="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80988" y="4581525"/>
            <a:ext cx="2016125" cy="34131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113414" indent="-113414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>
                <a:solidFill>
                  <a:srgbClr val="000000"/>
                </a:solidFill>
                <a:cs typeface="Arial" pitchFamily="34" charset="0"/>
              </a:rPr>
              <a:t>Hermanos</a:t>
            </a:r>
          </a:p>
        </p:txBody>
      </p:sp>
      <p:sp>
        <p:nvSpPr>
          <p:cNvPr id="3354637" name="RunningHead"/>
          <p:cNvSpPr txBox="1">
            <a:spLocks noChangeArrowheads="1"/>
          </p:cNvSpPr>
          <p:nvPr/>
        </p:nvSpPr>
        <p:spPr bwMode="gray">
          <a:xfrm>
            <a:off x="7037388" y="139700"/>
            <a:ext cx="1854200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>
                <a:solidFill>
                  <a:srgbClr val="000000"/>
                </a:solidFill>
              </a:rPr>
              <a:t>Vinculación canónica y civil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5649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83625" cy="664797"/>
          </a:xfrm>
        </p:spPr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…con roles potencialmente diferentes en cuanto a la propiedad, gobernanza y gestión en las obras de las entidades.</a:t>
            </a:r>
          </a:p>
        </p:txBody>
      </p:sp>
      <p:sp>
        <p:nvSpPr>
          <p:cNvPr id="3" name="Rectangle 2"/>
          <p:cNvSpPr/>
          <p:nvPr/>
        </p:nvSpPr>
        <p:spPr>
          <a:xfrm>
            <a:off x="2484438" y="1576252"/>
            <a:ext cx="1943100" cy="2321062"/>
          </a:xfrm>
          <a:prstGeom prst="rect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600" b="1" dirty="0">
                <a:solidFill>
                  <a:srgbClr val="FFFFFF"/>
                </a:solidFill>
                <a:cs typeface="Arial" pitchFamily="34" charset="0"/>
              </a:rPr>
              <a:t>Instituto</a:t>
            </a:r>
          </a:p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400" b="1" dirty="0">
              <a:solidFill>
                <a:srgbClr val="FFFFFF"/>
              </a:solidFill>
              <a:cs typeface="Arial" pitchFamily="34" charset="0"/>
            </a:endParaRPr>
          </a:p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rgbClr val="FFFFFF"/>
                </a:solidFill>
                <a:cs typeface="Arial" pitchFamily="34" charset="0"/>
              </a:rPr>
              <a:t>Consejo General</a:t>
            </a:r>
          </a:p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rgbClr val="FFFFFF"/>
                </a:solidFill>
                <a:cs typeface="Arial" pitchFamily="34" charset="0"/>
              </a:rPr>
              <a:t>Consejo Regional</a:t>
            </a:r>
          </a:p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rgbClr val="FFFFFF"/>
                </a:solidFill>
                <a:cs typeface="Arial" pitchFamily="34" charset="0"/>
              </a:rPr>
              <a:t>Consejo Provincial</a:t>
            </a:r>
          </a:p>
        </p:txBody>
      </p:sp>
      <p:sp>
        <p:nvSpPr>
          <p:cNvPr id="68" name="Rectangle 67"/>
          <p:cNvSpPr/>
          <p:nvPr/>
        </p:nvSpPr>
        <p:spPr>
          <a:xfrm>
            <a:off x="4662488" y="1576252"/>
            <a:ext cx="1943100" cy="232106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600" b="1" dirty="0">
                <a:solidFill>
                  <a:srgbClr val="FFFFFF"/>
                </a:solidFill>
                <a:cs typeface="Arial" pitchFamily="34" charset="0"/>
              </a:rPr>
              <a:t>Estructuras de la Misión (entidades civiles y canónicas</a:t>
            </a:r>
            <a:r>
              <a:rPr lang="es-ES_tradnl" sz="1600" b="1" dirty="0" smtClean="0">
                <a:solidFill>
                  <a:srgbClr val="FFFFFF"/>
                </a:solidFill>
                <a:cs typeface="Arial" pitchFamily="34" charset="0"/>
              </a:rPr>
              <a:t>)</a:t>
            </a:r>
          </a:p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rgbClr val="FFFFFF"/>
                </a:solidFill>
                <a:cs typeface="Arial" pitchFamily="34" charset="0"/>
              </a:rPr>
              <a:t/>
            </a:r>
            <a:br>
              <a:rPr lang="es-ES_tradnl" sz="1400" b="1" dirty="0">
                <a:solidFill>
                  <a:srgbClr val="FFFFFF"/>
                </a:solidFill>
                <a:cs typeface="Arial" pitchFamily="34" charset="0"/>
              </a:rPr>
            </a:br>
            <a:r>
              <a:rPr lang="es-ES_tradnl" sz="1400" b="1" dirty="0">
                <a:solidFill>
                  <a:srgbClr val="FFFFFF"/>
                </a:solidFill>
                <a:cs typeface="Arial" pitchFamily="34" charset="0"/>
              </a:rPr>
              <a:t>Consejo de </a:t>
            </a:r>
            <a:r>
              <a:rPr lang="es-ES_tradnl" sz="1400" b="1" dirty="0" smtClean="0">
                <a:solidFill>
                  <a:srgbClr val="FFFFFF"/>
                </a:solidFill>
                <a:cs typeface="Arial" pitchFamily="34" charset="0"/>
              </a:rPr>
              <a:t>Misión del Instituto</a:t>
            </a:r>
            <a:endParaRPr lang="es-ES_tradnl" sz="1400" b="1" dirty="0">
              <a:solidFill>
                <a:srgbClr val="FFFFFF"/>
              </a:solidFill>
              <a:cs typeface="Arial" pitchFamily="34" charset="0"/>
            </a:endParaRPr>
          </a:p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rgbClr val="FFFFFF"/>
                </a:solidFill>
                <a:cs typeface="Arial" pitchFamily="34" charset="0"/>
              </a:rPr>
              <a:t>Consejo </a:t>
            </a:r>
            <a:r>
              <a:rPr lang="es-ES_tradnl" sz="1400" b="1" dirty="0" smtClean="0">
                <a:solidFill>
                  <a:srgbClr val="FFFFFF"/>
                </a:solidFill>
                <a:cs typeface="Arial" pitchFamily="34" charset="0"/>
              </a:rPr>
              <a:t>Regional de Misión</a:t>
            </a:r>
            <a:endParaRPr lang="es-ES_tradnl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6840538" y="1576252"/>
            <a:ext cx="1944687" cy="2321062"/>
          </a:xfrm>
          <a:prstGeom prst="rect">
            <a:avLst/>
          </a:prstGeom>
          <a:solidFill>
            <a:schemeClr val="accent6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600" b="1" dirty="0">
                <a:solidFill>
                  <a:srgbClr val="FFFFFF"/>
                </a:solidFill>
                <a:cs typeface="Arial" pitchFamily="34" charset="0"/>
              </a:rPr>
              <a:t>Asociaciones de laicos y asociaciones de hermanos y laicos (civiles y canónicas)</a:t>
            </a:r>
            <a:endParaRPr lang="es-ES_tradnl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0831413"/>
              </p:ext>
            </p:extLst>
          </p:nvPr>
        </p:nvGraphicFramePr>
        <p:xfrm>
          <a:off x="250825" y="4076700"/>
          <a:ext cx="8640000" cy="16784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4855"/>
                <a:gridCol w="2171715"/>
                <a:gridCol w="2171715"/>
                <a:gridCol w="2171715"/>
              </a:tblGrid>
              <a:tr h="526594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s-ES_tradnl" sz="1400" b="1" i="0" u="none" noProof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Propiedad de los bienes</a:t>
                      </a:r>
                      <a:endParaRPr lang="es-ES_tradnl" sz="1400" b="1" i="0" u="none" noProof="0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71120" marT="35560" marB="35560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s-ES_tradnl" sz="1400" b="0" i="0" u="none" noProof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Una parte o todas</a:t>
                      </a:r>
                      <a:r>
                        <a:rPr lang="es-ES_tradnl" sz="1400" b="0" i="0" u="none" baseline="0" noProof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las obras existentes</a:t>
                      </a:r>
                      <a:endParaRPr lang="es-ES_tradnl" sz="1400" b="0" i="0" u="none" noProof="0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b="0" i="0" u="none" noProof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Transferencia potencial / desarrollo de nuevas obras </a:t>
                      </a:r>
                      <a:endParaRPr lang="es-ES_tradnl" sz="1400" b="0" i="0" u="none" noProof="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400" b="0" i="0" u="none" noProof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Transferencia potencial de algunas obras en Provincias específicas</a:t>
                      </a:r>
                    </a:p>
                  </a:txBody>
                  <a:tcPr marL="71120" marR="71120" marT="35560" marB="35560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accent2"/>
                    </a:solidFill>
                  </a:tcPr>
                </a:tc>
              </a:tr>
              <a:tr h="526594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s-ES_tradnl" sz="1400" b="1" i="0" u="none" noProof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Gobernanza de las obras</a:t>
                      </a:r>
                      <a:endParaRPr lang="es-ES_tradnl" sz="1400" b="1" i="0" u="none" noProof="0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0" marR="71120" marT="35560" marB="35560">
                    <a:lnL w="0" cmpd="sng">
                      <a:solidFill>
                        <a:schemeClr val="bg1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s-ES" sz="1400" b="0" i="0" u="none" noProof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Mantener la gobernanza y la gestión local de</a:t>
                      </a:r>
                      <a:r>
                        <a:rPr lang="es-ES" sz="1400" b="0" i="0" u="none" baseline="0" noProof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acuerdo con las </a:t>
                      </a:r>
                      <a:r>
                        <a:rPr lang="es-ES" sz="1400" b="0" i="0" u="none" noProof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leyes, el contexto, las relaciones con el gobierno, etc.</a:t>
                      </a:r>
                      <a:endParaRPr lang="es-ES_tradnl" sz="1400" b="0" i="0" u="none" noProof="0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b="0" i="0" u="none" noProof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Pautas clave para gobernanza y planificación.</a:t>
                      </a:r>
                      <a:endParaRPr lang="es-ES_tradnl" sz="1400" b="0" i="0" u="none" noProof="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5715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s-ES" sz="1400" b="0" i="0" u="none" noProof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Mantener la gobernanza y la gestión local de</a:t>
                      </a:r>
                      <a:r>
                        <a:rPr lang="es-ES" sz="1400" b="0" i="0" u="none" baseline="0" noProof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acuerdo con </a:t>
                      </a:r>
                      <a:r>
                        <a:rPr lang="es-ES" sz="1400" b="0" i="0" u="none" noProof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las leyes, el contexto, las relaciones con el gobierno, etc.</a:t>
                      </a:r>
                      <a:endParaRPr lang="es-ES_tradnl" sz="1400" b="0" i="0" u="none" noProof="0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1120" marR="71120" marT="35560" marB="35560">
                    <a:lnL w="57150" cmpd="sng">
                      <a:solidFill>
                        <a:srgbClr val="FFFFFF"/>
                      </a:solidFill>
                      <a:prstDash val="solid"/>
                    </a:lnL>
                    <a:lnR w="0" cmpd="sng">
                      <a:solidFill>
                        <a:srgbClr val="FFFFFF"/>
                      </a:solidFill>
                      <a:prstDash val="solid"/>
                    </a:lnR>
                    <a:lnT w="3175" cmpd="sng">
                      <a:solidFill>
                        <a:schemeClr val="accent3"/>
                      </a:solidFill>
                      <a:prstDash val="solid"/>
                    </a:lnT>
                    <a:lnB w="3175" cmpd="sng">
                      <a:solidFill>
                        <a:schemeClr val="accent3"/>
                      </a:solidFill>
                      <a:prstDash val="solid"/>
                    </a:lnB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3355673" name="TextBox 8"/>
          <p:cNvSpPr txBox="1">
            <a:spLocks noChangeArrowheads="1"/>
          </p:cNvSpPr>
          <p:nvPr/>
        </p:nvSpPr>
        <p:spPr bwMode="auto">
          <a:xfrm>
            <a:off x="0" y="6057900"/>
            <a:ext cx="9144000" cy="682625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252476" tIns="76200" rIns="252476" bIns="76200" anchor="ctr"/>
          <a:lstStyle/>
          <a:p>
            <a:pPr defTabSz="914400">
              <a:lnSpc>
                <a:spcPct val="90000"/>
              </a:lnSpc>
              <a:buClr>
                <a:srgbClr val="9B1717"/>
              </a:buClr>
            </a:pPr>
            <a:r>
              <a:rPr lang="es-ES" sz="1600" b="1" dirty="0">
                <a:solidFill>
                  <a:srgbClr val="FFFFFF"/>
                </a:solidFill>
              </a:rPr>
              <a:t>Después de la aprobación del nuevo modelo, el </a:t>
            </a:r>
            <a:r>
              <a:rPr lang="es-ES" sz="1600" b="1" dirty="0" smtClean="0">
                <a:solidFill>
                  <a:srgbClr val="FFFFFF"/>
                </a:solidFill>
              </a:rPr>
              <a:t>Instituto, </a:t>
            </a:r>
            <a:r>
              <a:rPr lang="es-ES" sz="1600" b="1" dirty="0">
                <a:solidFill>
                  <a:srgbClr val="FFFFFF"/>
                </a:solidFill>
              </a:rPr>
              <a:t>junto con </a:t>
            </a:r>
            <a:r>
              <a:rPr lang="es-ES" sz="1600" b="1" dirty="0" smtClean="0">
                <a:solidFill>
                  <a:srgbClr val="FFFFFF"/>
                </a:solidFill>
              </a:rPr>
              <a:t>expertos </a:t>
            </a:r>
            <a:r>
              <a:rPr lang="es-ES" sz="1600" b="1" dirty="0">
                <a:solidFill>
                  <a:srgbClr val="FFFFFF"/>
                </a:solidFill>
              </a:rPr>
              <a:t>externos en derecho canónico y </a:t>
            </a:r>
            <a:r>
              <a:rPr lang="es-ES" sz="1600" b="1" dirty="0" smtClean="0">
                <a:solidFill>
                  <a:srgbClr val="FFFFFF"/>
                </a:solidFill>
              </a:rPr>
              <a:t>civil, </a:t>
            </a:r>
            <a:r>
              <a:rPr lang="es-ES" sz="1600" b="1" dirty="0">
                <a:solidFill>
                  <a:srgbClr val="FFFFFF"/>
                </a:solidFill>
              </a:rPr>
              <a:t>confirmarán o aportarán los ajustes necesarios</a:t>
            </a:r>
            <a:endParaRPr lang="es-ES_tradnl" sz="1600" b="1" dirty="0">
              <a:solidFill>
                <a:srgbClr val="FFFFFF"/>
              </a:solidFill>
            </a:endParaRPr>
          </a:p>
        </p:txBody>
      </p:sp>
      <p:sp>
        <p:nvSpPr>
          <p:cNvPr id="3355674" name="RunningHead"/>
          <p:cNvSpPr txBox="1">
            <a:spLocks noChangeArrowheads="1"/>
          </p:cNvSpPr>
          <p:nvPr/>
        </p:nvSpPr>
        <p:spPr bwMode="gray">
          <a:xfrm>
            <a:off x="7037388" y="139700"/>
            <a:ext cx="1854200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 dirty="0">
                <a:solidFill>
                  <a:srgbClr val="000000"/>
                </a:solidFill>
              </a:rPr>
              <a:t>Vinculación canónica y civil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6673" name="Title 1"/>
          <p:cNvSpPr>
            <a:spLocks noGrp="1"/>
          </p:cNvSpPr>
          <p:nvPr>
            <p:ph type="title"/>
          </p:nvPr>
        </p:nvSpPr>
        <p:spPr>
          <a:xfrm>
            <a:off x="244476" y="804863"/>
            <a:ext cx="7845788" cy="664797"/>
          </a:xfrm>
        </p:spPr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Los nuevos modelos surgen de una visión inspirada y adaptada a la realidad local…</a:t>
            </a:r>
          </a:p>
        </p:txBody>
      </p:sp>
      <p:sp>
        <p:nvSpPr>
          <p:cNvPr id="3356674" name="Content Placeholder 2"/>
          <p:cNvSpPr>
            <a:spLocks noGrp="1"/>
          </p:cNvSpPr>
          <p:nvPr>
            <p:ph idx="1"/>
          </p:nvPr>
        </p:nvSpPr>
        <p:spPr>
          <a:xfrm>
            <a:off x="244475" y="1742505"/>
            <a:ext cx="8640763" cy="3637406"/>
          </a:xfrm>
        </p:spPr>
        <p:txBody>
          <a:bodyPr/>
          <a:lstStyle/>
          <a:p>
            <a:pPr eaLnBrk="1" hangingPunct="1"/>
            <a:r>
              <a:rPr lang="es-ES_tradnl" b="1" dirty="0" smtClean="0">
                <a:latin typeface="Arial" charset="0"/>
                <a:cs typeface="Arial" charset="0"/>
              </a:rPr>
              <a:t>Visión inspirada:</a:t>
            </a:r>
          </a:p>
          <a:p>
            <a:pPr lvl="1" eaLnBrk="1" hangingPunct="1"/>
            <a:r>
              <a:rPr lang="es-ES_tradnl" dirty="0" smtClean="0">
                <a:latin typeface="Arial" charset="0"/>
                <a:cs typeface="Arial" charset="0"/>
              </a:rPr>
              <a:t>Primero, hemos previsto el modelo que se propondrá en el futuro a medio y largo plazo, lo que implica una visión fresca e innovadora acerca de cómo nosotros vemos la evolución de nuestra Congregación en todas sus dimensiones y en el seno de la sociedad.</a:t>
            </a:r>
          </a:p>
          <a:p>
            <a:pPr lvl="1" eaLnBrk="1" hangingPunct="1"/>
            <a:r>
              <a:rPr lang="es-ES_tradnl" dirty="0" smtClean="0">
                <a:latin typeface="Arial" charset="0"/>
                <a:cs typeface="Arial" charset="0"/>
              </a:rPr>
              <a:t>El modelo presentado muestra la mayor complejidad posible a todos los niveles del Instituto.</a:t>
            </a:r>
          </a:p>
          <a:p>
            <a:pPr lvl="1" eaLnBrk="1" hangingPunct="1"/>
            <a:r>
              <a:rPr lang="es-ES_tradnl" dirty="0" smtClean="0">
                <a:latin typeface="Arial" charset="0"/>
                <a:cs typeface="Arial" charset="0"/>
              </a:rPr>
              <a:t>Esto tiene que ser articulado en las dimensiones clave (Misión, gestión de recursos, competencias y herramientas) de acuerdo con la realidad de cada Unidad Administrativa.</a:t>
            </a:r>
          </a:p>
          <a:p>
            <a:pPr eaLnBrk="1" hangingPunct="1"/>
            <a:r>
              <a:rPr lang="es-ES_tradnl" b="1" dirty="0" smtClean="0">
                <a:latin typeface="Arial" charset="0"/>
                <a:cs typeface="Arial" charset="0"/>
              </a:rPr>
              <a:t>Adaptación a la realidad local:</a:t>
            </a:r>
          </a:p>
          <a:p>
            <a:pPr lvl="1" eaLnBrk="1" hangingPunct="1"/>
            <a:r>
              <a:rPr lang="es-ES_tradnl" dirty="0" smtClean="0">
                <a:latin typeface="Arial" charset="0"/>
                <a:cs typeface="Arial" charset="0"/>
              </a:rPr>
              <a:t>La brecha entre el “modelo final” deseado y el actual se podrá superar gracias a un recorrido planificado a nivel regional en colaboración con las personas encargadas de la implementación que probablemente se realizará por áreas funcionales.</a:t>
            </a:r>
          </a:p>
          <a:p>
            <a:pPr lvl="1" eaLnBrk="1" hangingPunct="1"/>
            <a:r>
              <a:rPr lang="es-ES_tradnl" dirty="0" smtClean="0">
                <a:latin typeface="Arial" charset="0"/>
                <a:cs typeface="Arial" charset="0"/>
              </a:rPr>
              <a:t>La lógica es la de planificar juntos nuestro futuro, usando un mecanismo que permita sacar provecho de las aportaciones globales.</a:t>
            </a:r>
          </a:p>
        </p:txBody>
      </p:sp>
      <p:sp>
        <p:nvSpPr>
          <p:cNvPr id="3356675" name="TextBox 6"/>
          <p:cNvSpPr txBox="1">
            <a:spLocks noChangeArrowheads="1"/>
          </p:cNvSpPr>
          <p:nvPr/>
        </p:nvSpPr>
        <p:spPr bwMode="auto">
          <a:xfrm>
            <a:off x="0" y="5661025"/>
            <a:ext cx="9144000" cy="682625"/>
          </a:xfrm>
          <a:prstGeom prst="rect">
            <a:avLst/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252476" tIns="76200" rIns="252476" bIns="76200" anchor="ctr"/>
          <a:lstStyle/>
          <a:p>
            <a:pPr defTabSz="914400">
              <a:lnSpc>
                <a:spcPct val="90000"/>
              </a:lnSpc>
              <a:buClr>
                <a:srgbClr val="9B1717"/>
              </a:buClr>
            </a:pPr>
            <a:r>
              <a:rPr lang="es-ES" sz="1600" b="1" dirty="0">
                <a:solidFill>
                  <a:srgbClr val="FFFFFF"/>
                </a:solidFill>
              </a:rPr>
              <a:t>Ingredientes clave para </a:t>
            </a:r>
            <a:r>
              <a:rPr lang="es-ES" sz="1600" b="1" dirty="0" smtClean="0">
                <a:solidFill>
                  <a:srgbClr val="FFFFFF"/>
                </a:solidFill>
              </a:rPr>
              <a:t>que los </a:t>
            </a:r>
            <a:r>
              <a:rPr lang="es-ES" sz="1600" b="1" dirty="0">
                <a:solidFill>
                  <a:srgbClr val="FFFFFF"/>
                </a:solidFill>
              </a:rPr>
              <a:t>nuevos modelos </a:t>
            </a:r>
            <a:r>
              <a:rPr lang="es-ES" sz="1600" b="1" dirty="0" smtClean="0">
                <a:solidFill>
                  <a:srgbClr val="FFFFFF"/>
                </a:solidFill>
              </a:rPr>
              <a:t>tengan éxito: </a:t>
            </a:r>
            <a:r>
              <a:rPr lang="es-ES" sz="1600" b="1" dirty="0">
                <a:solidFill>
                  <a:srgbClr val="FFFFFF"/>
                </a:solidFill>
              </a:rPr>
              <a:t>titularidad y responsabilidad, pasión, trabajo en equipo, puesta en común, especialización y comprensión </a:t>
            </a:r>
            <a:r>
              <a:rPr lang="es-ES" sz="1600" b="1" dirty="0" smtClean="0">
                <a:solidFill>
                  <a:srgbClr val="FFFFFF"/>
                </a:solidFill>
              </a:rPr>
              <a:t>local.</a:t>
            </a:r>
            <a:endParaRPr lang="es-ES_tradnl" sz="1600" b="1" dirty="0">
              <a:solidFill>
                <a:srgbClr val="FFFFFF"/>
              </a:solidFill>
            </a:endParaRPr>
          </a:p>
        </p:txBody>
      </p:sp>
      <p:sp>
        <p:nvSpPr>
          <p:cNvPr id="7" name="RunningHead"/>
          <p:cNvSpPr txBox="1">
            <a:spLocks noChangeArrowheads="1"/>
          </p:cNvSpPr>
          <p:nvPr/>
        </p:nvSpPr>
        <p:spPr bwMode="gray">
          <a:xfrm>
            <a:off x="7037388" y="139700"/>
            <a:ext cx="1854200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 dirty="0">
                <a:solidFill>
                  <a:srgbClr val="000000"/>
                </a:solidFill>
              </a:rPr>
              <a:t>Vinculación canónica y civil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37989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18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7990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331787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…y detallan la cobertura de las actividades clave</a:t>
            </a:r>
          </a:p>
        </p:txBody>
      </p:sp>
      <p:sp>
        <p:nvSpPr>
          <p:cNvPr id="937991" name="TextBox 15"/>
          <p:cNvSpPr txBox="1">
            <a:spLocks noChangeArrowheads="1"/>
          </p:cNvSpPr>
          <p:nvPr/>
        </p:nvSpPr>
        <p:spPr bwMode="auto">
          <a:xfrm>
            <a:off x="2382043" y="1844675"/>
            <a:ext cx="2130425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" sz="1600" dirty="0">
                <a:solidFill>
                  <a:srgbClr val="000000"/>
                </a:solidFill>
              </a:rPr>
              <a:t>Administración General</a:t>
            </a:r>
          </a:p>
        </p:txBody>
      </p:sp>
      <p:sp>
        <p:nvSpPr>
          <p:cNvPr id="40" name="Rectangle 39"/>
          <p:cNvSpPr/>
          <p:nvPr/>
        </p:nvSpPr>
        <p:spPr>
          <a:xfrm>
            <a:off x="2447925" y="2262188"/>
            <a:ext cx="1998663" cy="39751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marL="113414" indent="-113414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600" dirty="0">
                <a:solidFill>
                  <a:srgbClr val="000000"/>
                </a:solidFill>
                <a:cs typeface="Arial" pitchFamily="34" charset="0"/>
              </a:rPr>
              <a:t>Establecimiento de la dirección estratégica.</a:t>
            </a:r>
          </a:p>
          <a:p>
            <a:pPr marL="113414" indent="-113414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600" dirty="0">
                <a:solidFill>
                  <a:srgbClr val="000000"/>
                </a:solidFill>
                <a:cs typeface="Arial" pitchFamily="34" charset="0"/>
              </a:rPr>
              <a:t>Proyectos especializados.</a:t>
            </a:r>
          </a:p>
          <a:p>
            <a:pPr marL="113414" indent="-113414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600" dirty="0">
                <a:solidFill>
                  <a:srgbClr val="000000"/>
                </a:solidFill>
                <a:cs typeface="Arial" pitchFamily="34" charset="0"/>
              </a:rPr>
              <a:t>Aprovechamiento de soluciones a nivel regional.</a:t>
            </a:r>
          </a:p>
        </p:txBody>
      </p:sp>
      <p:grpSp>
        <p:nvGrpSpPr>
          <p:cNvPr id="937993" name="Group 3"/>
          <p:cNvGrpSpPr>
            <a:grpSpLocks/>
          </p:cNvGrpSpPr>
          <p:nvPr/>
        </p:nvGrpSpPr>
        <p:grpSpPr bwMode="auto">
          <a:xfrm>
            <a:off x="4641850" y="1844676"/>
            <a:ext cx="1997075" cy="4392613"/>
            <a:chOff x="4585744" y="1844169"/>
            <a:chExt cx="1998224" cy="4392749"/>
          </a:xfrm>
        </p:grpSpPr>
        <p:sp>
          <p:nvSpPr>
            <p:cNvPr id="938000" name="TextBox 16"/>
            <p:cNvSpPr txBox="1">
              <a:spLocks noChangeArrowheads="1"/>
            </p:cNvSpPr>
            <p:nvPr/>
          </p:nvSpPr>
          <p:spPr bwMode="auto">
            <a:xfrm>
              <a:off x="5152846" y="1844169"/>
              <a:ext cx="864019" cy="221599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4400">
                <a:lnSpc>
                  <a:spcPct val="90000"/>
                </a:lnSpc>
                <a:spcBef>
                  <a:spcPts val="600"/>
                </a:spcBef>
                <a:buClr>
                  <a:srgbClr val="9B1717"/>
                </a:buClr>
              </a:pPr>
              <a:r>
                <a:rPr lang="es-ES" sz="1600" dirty="0">
                  <a:solidFill>
                    <a:srgbClr val="000000"/>
                  </a:solidFill>
                </a:rPr>
                <a:t>Regiones</a:t>
              </a: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4585744" y="2261695"/>
              <a:ext cx="1998224" cy="39752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marL="113414" indent="-113414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600" dirty="0">
                  <a:solidFill>
                    <a:srgbClr val="000000"/>
                  </a:solidFill>
                  <a:cs typeface="Arial" pitchFamily="34" charset="0"/>
                </a:rPr>
                <a:t>Servicios regionales compartidos.</a:t>
              </a:r>
            </a:p>
            <a:p>
              <a:pPr marL="113414" indent="-113414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600" dirty="0">
                  <a:solidFill>
                    <a:srgbClr val="000000"/>
                  </a:solidFill>
                  <a:cs typeface="Arial" pitchFamily="34" charset="0"/>
                </a:rPr>
                <a:t>Desarrollo de soluciones y herramientas. </a:t>
              </a:r>
            </a:p>
            <a:p>
              <a:pPr marL="113414" indent="-113414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600" dirty="0">
                  <a:solidFill>
                    <a:srgbClr val="000000"/>
                  </a:solidFill>
                  <a:cs typeface="Arial" pitchFamily="34" charset="0"/>
                </a:rPr>
                <a:t>Cobertura de lagunas locales.</a:t>
              </a:r>
            </a:p>
          </p:txBody>
        </p:sp>
      </p:grpSp>
      <p:grpSp>
        <p:nvGrpSpPr>
          <p:cNvPr id="937994" name="Group 4"/>
          <p:cNvGrpSpPr>
            <a:grpSpLocks/>
          </p:cNvGrpSpPr>
          <p:nvPr/>
        </p:nvGrpSpPr>
        <p:grpSpPr bwMode="auto">
          <a:xfrm>
            <a:off x="6834188" y="1845300"/>
            <a:ext cx="1998662" cy="4391988"/>
            <a:chOff x="6834572" y="1845449"/>
            <a:chExt cx="1998224" cy="4391468"/>
          </a:xfrm>
        </p:grpSpPr>
        <p:sp>
          <p:nvSpPr>
            <p:cNvPr id="937998" name="TextBox 17"/>
            <p:cNvSpPr txBox="1">
              <a:spLocks noChangeArrowheads="1"/>
            </p:cNvSpPr>
            <p:nvPr/>
          </p:nvSpPr>
          <p:spPr bwMode="auto">
            <a:xfrm>
              <a:off x="7361599" y="1845449"/>
              <a:ext cx="944169" cy="221599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4400">
                <a:lnSpc>
                  <a:spcPct val="90000"/>
                </a:lnSpc>
                <a:spcBef>
                  <a:spcPts val="600"/>
                </a:spcBef>
                <a:buClr>
                  <a:srgbClr val="9B1717"/>
                </a:buClr>
              </a:pPr>
              <a:r>
                <a:rPr lang="es-ES" sz="1600" dirty="0">
                  <a:solidFill>
                    <a:srgbClr val="000000"/>
                  </a:solidFill>
                </a:rPr>
                <a:t>Provincias</a:t>
              </a: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6834572" y="2262288"/>
              <a:ext cx="1998224" cy="397462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marL="113414" indent="-113414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600" dirty="0">
                  <a:solidFill>
                    <a:srgbClr val="000000"/>
                  </a:solidFill>
                  <a:cs typeface="Arial" pitchFamily="34" charset="0"/>
                </a:rPr>
                <a:t>Dirección estratégica local</a:t>
              </a:r>
            </a:p>
            <a:p>
              <a:pPr marL="113414" indent="-113414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600" dirty="0" smtClean="0">
                  <a:solidFill>
                    <a:srgbClr val="000000"/>
                  </a:solidFill>
                  <a:cs typeface="Arial" pitchFamily="34" charset="0"/>
                </a:rPr>
                <a:t>Gestión en curso.</a:t>
              </a:r>
              <a:endParaRPr lang="es-ES" sz="1600" dirty="0">
                <a:solidFill>
                  <a:srgbClr val="000000"/>
                </a:solidFill>
                <a:cs typeface="Arial" pitchFamily="34" charset="0"/>
              </a:endParaRPr>
            </a:p>
            <a:p>
              <a:pPr marL="113414" indent="-113414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600" dirty="0">
                  <a:solidFill>
                    <a:srgbClr val="000000"/>
                  </a:solidFill>
                  <a:cs typeface="Arial" pitchFamily="34" charset="0"/>
                </a:rPr>
                <a:t>Propiedad local.</a:t>
              </a:r>
            </a:p>
          </p:txBody>
        </p:sp>
      </p:grpSp>
      <p:sp>
        <p:nvSpPr>
          <p:cNvPr id="937995" name="Text Box 3"/>
          <p:cNvSpPr txBox="1">
            <a:spLocks noChangeArrowheads="1"/>
          </p:cNvSpPr>
          <p:nvPr/>
        </p:nvSpPr>
        <p:spPr bwMode="gray">
          <a:xfrm>
            <a:off x="179388" y="2262188"/>
            <a:ext cx="1908175" cy="1706562"/>
          </a:xfrm>
          <a:prstGeom prst="rect">
            <a:avLst/>
          </a:prstGeom>
          <a:solidFill>
            <a:schemeClr val="tx2"/>
          </a:solidFill>
          <a:ln w="6350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algn="ctr" defTabSz="914400">
              <a:lnSpc>
                <a:spcPct val="90000"/>
              </a:lnSpc>
            </a:pPr>
            <a:r>
              <a:rPr lang="es-ES" sz="1400" b="1" dirty="0">
                <a:solidFill>
                  <a:srgbClr val="FFFFFF"/>
                </a:solidFill>
              </a:rPr>
              <a:t>Nuestras personas</a:t>
            </a:r>
            <a:r>
              <a:rPr lang="es-ES" sz="1400" dirty="0">
                <a:solidFill>
                  <a:srgbClr val="FFFFFF"/>
                </a:solidFill>
              </a:rPr>
              <a:t>:</a:t>
            </a:r>
            <a:br>
              <a:rPr lang="es-ES" sz="1400" dirty="0">
                <a:solidFill>
                  <a:srgbClr val="FFFFFF"/>
                </a:solidFill>
              </a:rPr>
            </a:br>
            <a:r>
              <a:rPr lang="es-ES" sz="1400" dirty="0">
                <a:solidFill>
                  <a:srgbClr val="FFFFFF"/>
                </a:solidFill>
              </a:rPr>
              <a:t> hermanos y laicos </a:t>
            </a:r>
          </a:p>
          <a:p>
            <a:pPr algn="ctr" defTabSz="914400">
              <a:lnSpc>
                <a:spcPct val="90000"/>
              </a:lnSpc>
            </a:pPr>
            <a:r>
              <a:rPr lang="es-ES" sz="1400" dirty="0">
                <a:solidFill>
                  <a:srgbClr val="FFFFFF"/>
                </a:solidFill>
              </a:rPr>
              <a:t>felices</a:t>
            </a:r>
            <a:r>
              <a:rPr lang="es-ES" sz="1400" b="1" dirty="0">
                <a:solidFill>
                  <a:srgbClr val="FFFFFF"/>
                </a:solidFill>
              </a:rPr>
              <a:t>, apasionados </a:t>
            </a:r>
          </a:p>
          <a:p>
            <a:pPr algn="ctr" defTabSz="914400">
              <a:lnSpc>
                <a:spcPct val="90000"/>
              </a:lnSpc>
            </a:pPr>
            <a:r>
              <a:rPr lang="es-ES" sz="1400" b="1" dirty="0">
                <a:solidFill>
                  <a:srgbClr val="FFFFFF"/>
                </a:solidFill>
              </a:rPr>
              <a:t>y comprometidos </a:t>
            </a:r>
            <a:r>
              <a:rPr lang="es-ES" sz="1400" dirty="0">
                <a:solidFill>
                  <a:srgbClr val="FFFFFF"/>
                </a:solidFill>
              </a:rPr>
              <a:t>con </a:t>
            </a:r>
          </a:p>
          <a:p>
            <a:pPr algn="ctr" defTabSz="914400">
              <a:lnSpc>
                <a:spcPct val="90000"/>
              </a:lnSpc>
            </a:pPr>
            <a:r>
              <a:rPr lang="es-ES" sz="1400" dirty="0">
                <a:solidFill>
                  <a:srgbClr val="FFFFFF"/>
                </a:solidFill>
              </a:rPr>
              <a:t>el Carisma Marista</a:t>
            </a:r>
          </a:p>
        </p:txBody>
      </p:sp>
      <p:sp>
        <p:nvSpPr>
          <p:cNvPr id="937996" name="Text Box 3"/>
          <p:cNvSpPr txBox="1">
            <a:spLocks noChangeArrowheads="1"/>
          </p:cNvSpPr>
          <p:nvPr/>
        </p:nvSpPr>
        <p:spPr bwMode="gray">
          <a:xfrm>
            <a:off x="179388" y="4192588"/>
            <a:ext cx="1908175" cy="19304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algn="ctr" defTabSz="914400">
              <a:lnSpc>
                <a:spcPct val="90000"/>
              </a:lnSpc>
            </a:pPr>
            <a:r>
              <a:rPr lang="es-ES" sz="1400" b="1" dirty="0">
                <a:solidFill>
                  <a:srgbClr val="FFFFFF"/>
                </a:solidFill>
              </a:rPr>
              <a:t>Nuestra Misión:</a:t>
            </a:r>
          </a:p>
          <a:p>
            <a:pPr algn="ctr" defTabSz="914400">
              <a:lnSpc>
                <a:spcPct val="90000"/>
              </a:lnSpc>
            </a:pPr>
            <a:r>
              <a:rPr lang="es-ES" sz="1400" b="1" dirty="0">
                <a:solidFill>
                  <a:srgbClr val="FFFFFF"/>
                </a:solidFill>
              </a:rPr>
              <a:t> </a:t>
            </a:r>
            <a:r>
              <a:rPr lang="es-ES" sz="1400" dirty="0">
                <a:solidFill>
                  <a:srgbClr val="FFFFFF"/>
                </a:solidFill>
              </a:rPr>
              <a:t>asegurar la </a:t>
            </a:r>
            <a:r>
              <a:rPr lang="es-ES" sz="1400" b="1" dirty="0">
                <a:solidFill>
                  <a:srgbClr val="FFFFFF"/>
                </a:solidFill>
              </a:rPr>
              <a:t>sostenibilidad y la vitalidad </a:t>
            </a:r>
            <a:r>
              <a:rPr lang="es-ES" sz="1400" dirty="0">
                <a:solidFill>
                  <a:srgbClr val="FFFFFF"/>
                </a:solidFill>
              </a:rPr>
              <a:t>de la Misión Marista</a:t>
            </a:r>
          </a:p>
        </p:txBody>
      </p:sp>
      <p:sp>
        <p:nvSpPr>
          <p:cNvPr id="16" name="RunningHead"/>
          <p:cNvSpPr txBox="1">
            <a:spLocks noChangeArrowheads="1"/>
          </p:cNvSpPr>
          <p:nvPr/>
        </p:nvSpPr>
        <p:spPr bwMode="gray">
          <a:xfrm>
            <a:off x="7037388" y="139700"/>
            <a:ext cx="1854200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 dirty="0">
                <a:solidFill>
                  <a:srgbClr val="000000"/>
                </a:solidFill>
              </a:rPr>
              <a:t>Vinculación canónica y civil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1654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848" name="think-cell Slide" r:id="rId88" imgW="360" imgH="360" progId="TCLayout.ActiveDocument.1">
                  <p:embed/>
                </p:oleObj>
              </mc:Choice>
              <mc:Fallback>
                <p:oleObj name="think-cell Slide" r:id="rId88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14400" fontAlgn="auto">
              <a:defRPr/>
            </a:pPr>
            <a:endParaRPr lang="en-US" sz="1200" dirty="0" err="1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Imagem 2"/>
          <p:cNvPicPr>
            <a:picLocks noChangeAspect="1"/>
          </p:cNvPicPr>
          <p:nvPr/>
        </p:nvPicPr>
        <p:blipFill>
          <a:blip r:embed="rId90"/>
          <a:srcRect t="15279"/>
          <a:stretch>
            <a:fillRect/>
          </a:stretch>
        </p:blipFill>
        <p:spPr bwMode="auto">
          <a:xfrm>
            <a:off x="0" y="1554163"/>
            <a:ext cx="9144000" cy="4683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" name="Rectangle 51"/>
          <p:cNvSpPr/>
          <p:nvPr>
            <p:custDataLst>
              <p:tags r:id="rId4"/>
            </p:custDataLst>
          </p:nvPr>
        </p:nvSpPr>
        <p:spPr bwMode="auto">
          <a:xfrm>
            <a:off x="347663" y="2644775"/>
            <a:ext cx="8240712" cy="3125788"/>
          </a:xfrm>
          <a:prstGeom prst="rect">
            <a:avLst/>
          </a:prstGeom>
          <a:solidFill>
            <a:srgbClr val="EFEEEC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4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5" name="Rectangle 44"/>
          <p:cNvSpPr/>
          <p:nvPr>
            <p:custDataLst>
              <p:tags r:id="rId5"/>
            </p:custDataLst>
          </p:nvPr>
        </p:nvSpPr>
        <p:spPr bwMode="auto">
          <a:xfrm>
            <a:off x="347663" y="2133600"/>
            <a:ext cx="2508250" cy="511175"/>
          </a:xfrm>
          <a:prstGeom prst="rect">
            <a:avLst/>
          </a:prstGeom>
          <a:solidFill>
            <a:srgbClr val="858274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81659" name="Text Placeholder 5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855913" y="2133600"/>
            <a:ext cx="693737" cy="255588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3" rIns="73025" bIns="36513" anchor="ctr"/>
          <a:lstStyle/>
          <a:p>
            <a:pPr defTabSz="914400">
              <a:buClr>
                <a:srgbClr val="9B1717"/>
              </a:buClr>
              <a:buSzPct val="100000"/>
              <a:buFont typeface="Arial" charset="0"/>
              <a:buNone/>
            </a:pPr>
            <a:fld id="{3868506E-376B-42A4-B0D5-AA3B4EC88E5D}" type="datetime'''''2''''''''''''''''''''''''0''''''''''''''1''''''''3'''''">
              <a:rPr lang="en-US" sz="1200" b="1">
                <a:solidFill>
                  <a:srgbClr val="FFFFFF"/>
                </a:solidFill>
                <a:sym typeface="Arial" charset="0"/>
              </a:rPr>
              <a:pPr defTabSz="914400">
                <a:buClr>
                  <a:srgbClr val="9B1717"/>
                </a:buClr>
                <a:buSzPct val="100000"/>
                <a:buFont typeface="Arial" charset="0"/>
                <a:buNone/>
              </a:pPr>
              <a:t>2013</a:t>
            </a:fld>
            <a:endParaRPr lang="en-US" sz="1200" b="1">
              <a:solidFill>
                <a:srgbClr val="FFFFFF"/>
              </a:solidFill>
              <a:sym typeface="Arial" charset="0"/>
            </a:endParaRPr>
          </a:p>
        </p:txBody>
      </p:sp>
      <p:sp>
        <p:nvSpPr>
          <p:cNvPr id="581660" name="Text Placeholder 5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549650" y="2133600"/>
            <a:ext cx="2747963" cy="255588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3" rIns="73025" bIns="36513" anchor="ctr"/>
          <a:lstStyle/>
          <a:p>
            <a:pPr defTabSz="914400">
              <a:buClr>
                <a:srgbClr val="9B1717"/>
              </a:buClr>
              <a:buSzPct val="100000"/>
              <a:buFont typeface="Arial" charset="0"/>
              <a:buNone/>
            </a:pPr>
            <a:fld id="{E424A1EC-8100-4F65-AA4B-AA83BEFD35DE}" type="datetime'''''''''''''''''2''''''0''''''''''''''1''''4'''''''''">
              <a:rPr lang="en-US" sz="1200" b="1">
                <a:solidFill>
                  <a:srgbClr val="FFFFFF"/>
                </a:solidFill>
                <a:sym typeface="Arial" charset="0"/>
              </a:rPr>
              <a:pPr defTabSz="914400">
                <a:buClr>
                  <a:srgbClr val="9B1717"/>
                </a:buClr>
                <a:buSzPct val="100000"/>
                <a:buFont typeface="Arial" charset="0"/>
                <a:buNone/>
              </a:pPr>
              <a:t>2014</a:t>
            </a:fld>
            <a:endParaRPr lang="en-US" sz="1200" b="1">
              <a:solidFill>
                <a:srgbClr val="FFFFFF"/>
              </a:solidFill>
              <a:sym typeface="Arial" charset="0"/>
            </a:endParaRPr>
          </a:p>
        </p:txBody>
      </p:sp>
      <p:sp>
        <p:nvSpPr>
          <p:cNvPr id="581661" name="Text Placeholder 5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297613" y="2133600"/>
            <a:ext cx="2290762" cy="255588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3" rIns="73025" bIns="36513" anchor="ctr"/>
          <a:lstStyle/>
          <a:p>
            <a:pPr defTabSz="914400">
              <a:buClr>
                <a:srgbClr val="9B1717"/>
              </a:buClr>
              <a:buSzPct val="100000"/>
              <a:buFont typeface="Arial" charset="0"/>
              <a:buNone/>
            </a:pPr>
            <a:fld id="{A8F37545-803C-4968-B3E6-061B5E94D10B}" type="datetime'2''''''''''''''''''''''''''''''0''1''''5'''''">
              <a:rPr lang="en-US" sz="1200" b="1">
                <a:solidFill>
                  <a:srgbClr val="FFFFFF"/>
                </a:solidFill>
                <a:sym typeface="Arial" charset="0"/>
              </a:rPr>
              <a:pPr defTabSz="914400">
                <a:buClr>
                  <a:srgbClr val="9B1717"/>
                </a:buClr>
                <a:buSzPct val="100000"/>
                <a:buFont typeface="Arial" charset="0"/>
                <a:buNone/>
              </a:pPr>
              <a:t>2015</a:t>
            </a:fld>
            <a:endParaRPr lang="en-US" sz="1200" b="1">
              <a:solidFill>
                <a:srgbClr val="FFFFFF"/>
              </a:solidFill>
              <a:sym typeface="Arial" charset="0"/>
            </a:endParaRPr>
          </a:p>
        </p:txBody>
      </p:sp>
      <p:sp>
        <p:nvSpPr>
          <p:cNvPr id="581662" name="Text Placeholder 5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855913" y="2389188"/>
            <a:ext cx="233362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3" rIns="73025" bIns="36513" anchor="ctr"/>
          <a:lstStyle/>
          <a:p>
            <a:pPr defTabSz="914400">
              <a:buClr>
                <a:srgbClr val="9B1717"/>
              </a:buClr>
              <a:buSzPct val="100000"/>
              <a:buFont typeface="Arial" charset="0"/>
              <a:buNone/>
            </a:pPr>
            <a:endParaRPr lang="en-US" sz="1200">
              <a:solidFill>
                <a:srgbClr val="FFFFFF"/>
              </a:solidFill>
              <a:sym typeface="Arial" charset="0"/>
            </a:endParaRPr>
          </a:p>
        </p:txBody>
      </p:sp>
      <p:sp>
        <p:nvSpPr>
          <p:cNvPr id="138" name="Text Placeholder 5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089275" y="2389188"/>
            <a:ext cx="225425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8716C938-A4EF-4800-9A52-0DCA2343DD3D}" type="datetime'''N''o''''''''''''''''''''''''''''''''v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Nov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39" name="Text Placeholder 5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314700" y="2389188"/>
            <a:ext cx="234950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8DF7BC33-49E2-4EC1-812F-E9A55AF6EAFC}" type="datetime'''''''''''''D''''''''e''''''''''''''''''''c''''''''''''''''''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Dec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3" name="Text Placeholder 5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549650" y="2389188"/>
            <a:ext cx="233363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00AA63D7-19B5-49F6-B303-B9EC59C3F08C}" type="datetime'''''''''''J''a''''''''''''''''''''''''n''''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Jan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4" name="Text Placeholder 5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783013" y="2389188"/>
            <a:ext cx="211137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D377A8D0-9792-4B43-9B05-D5EE1991BDEF}" type="datetime'''''''''''''''''''''''''''''Fe''''''''''''''''''''''''b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Feb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5" name="Text Placeholder 5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994150" y="2389188"/>
            <a:ext cx="233363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06146EB1-8FE4-45C9-A198-4424E5708E2B}" type="datetime'''''''''''''''M''''''''''''''a''''''''''''''''r''''''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Mar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6" name="Text Placeholder 5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227513" y="2389188"/>
            <a:ext cx="225425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8649E86A-FB41-45FC-BFC9-ABA611731955}" type="datetime'''''''''''''''Ap''''''''''''''''''''''r''''''''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Apr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7" name="Text Placeholder 5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452938" y="2389188"/>
            <a:ext cx="233362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BDB0DCA3-E61D-410D-9A13-86968FEAC7ED}" type="datetime'''''''''''''M''''''''''''''''''''''''''a''''''''''y''''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May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8" name="Text Placeholder 5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686300" y="2389188"/>
            <a:ext cx="225425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1B15666B-2DC5-40FC-BD01-2837B4003E88}" type="datetime'''''''J''''''u''''n''''''''''''''''''''''''''''''''''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Jun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9" name="Text Placeholder 5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911725" y="2389188"/>
            <a:ext cx="234950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94794434-0061-410B-A88E-E9032B106168}" type="datetime'''''''''''''''''''''''''''''''''''''J''''''''ul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Jul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0" name="Text Placeholder 5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146675" y="2389188"/>
            <a:ext cx="233363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E229D98F-918D-4EA3-903E-F70BF2D1A904}" type="datetime'''''''''''''Au''''''''''''''''''''''''''g''''''''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Aug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1" name="Text Placeholder 5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380038" y="2389188"/>
            <a:ext cx="225425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7329CA67-9E25-4831-9111-AEFE1302505B}" type="datetime'''''''''''''''''''''''''S''''''''''''''''''''''''e''''p''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Sep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2" name="Text Placeholder 5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605463" y="2389188"/>
            <a:ext cx="233362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8DA14FBA-0C77-449B-BAE5-1887EAAF67A3}" type="datetime'''''O''''''''''''''''''''''''c''t''''''''''''''''''''''''''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Oct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9" name="Text Placeholder 5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838825" y="2389188"/>
            <a:ext cx="225425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5BAE840B-967A-48D8-92E9-1638675A6E8E}" type="datetime'''''''''''''''''''''''''''''''''''''''''N''''''o''v''''''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Nov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40" name="Text Placeholder 5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064250" y="2389188"/>
            <a:ext cx="233363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81D6655F-EAA9-4A27-9603-5727D49F85A7}" type="datetime'''''''''''''''''''''''''''''''''''''D''ec''''''''''''''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Dec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41" name="Text Placeholder 5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297613" y="2389188"/>
            <a:ext cx="234950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5144030B-0051-4953-A219-7D4008EB4D69}" type="datetime'''''''''''J''a''''''n''''''''''''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Jan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8" name="Text Placeholder 5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532563" y="2389188"/>
            <a:ext cx="209550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EAE76877-6E68-4BC4-B140-FBD5A656997F}" type="datetime'''F''''''''''''''''''''''''''''''''''e''''''''''''b''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Feb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9" name="Text Placeholder 5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742113" y="2389188"/>
            <a:ext cx="234950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7206DB0D-BC40-4F60-A5E7-F13C258899EC}" type="datetime'M''a''''''''''''''r''''''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Mar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70" name="Text Placeholder 5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977063" y="2389188"/>
            <a:ext cx="225425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538A9A31-338A-44A1-9FE8-39E645E157A7}" type="datetime'A''''p''''''''''''''r''''''''''''''''''''''''''''''''''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Apr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71" name="Text Placeholder 5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202488" y="2389188"/>
            <a:ext cx="233362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03014E25-D4BA-4AFA-B8FF-7BB691DFAF85}" type="datetime'''''''''''''''''''''''''''''''''''M''''''''a''''''''''''y''''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May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72" name="Text Placeholder 5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435850" y="2389188"/>
            <a:ext cx="225425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19E67A00-F7B5-4228-B16A-32DB12903E8A}" type="datetime'''''''''''J''''''''''''''u''n''''''''''''''''''''''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Jun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73" name="Text Placeholder 5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661275" y="2389188"/>
            <a:ext cx="233363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5074CE71-36B9-472F-9E9E-1BD560370CBC}" type="datetime'''''''''''''''''''J''''u''''''''l''''''''''''''''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Jul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3" name="Text Placeholder 5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894638" y="2389188"/>
            <a:ext cx="234950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8D961930-0B26-49EB-8D41-730A88985BBB}" type="datetime'''''''''''A''u''''g''''''''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Aug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4" name="Text Placeholder 5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129588" y="2389188"/>
            <a:ext cx="225425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fld id="{302D4450-7550-4837-9845-DCE44390927C}" type="datetime'''''''''S''''''''''''''''''''''''''''''''''''''e''''''''''p'''">
              <a:rPr lang="en-US" sz="1050">
                <a:solidFill>
                  <a:srgbClr val="FFFFFF"/>
                </a:solidFill>
                <a:sym typeface="Arial" panose="020B0604020202020204" pitchFamily="34" charset="0"/>
              </a:rPr>
              <a:pPr marL="0" indent="0" fontAlgn="auto">
                <a:lnSpc>
                  <a:spcPct val="100000"/>
                </a:lnSpc>
                <a:spcBef>
                  <a:spcPct val="0"/>
                </a:spcBef>
                <a:buClr>
                  <a:srgbClr val="9B1717"/>
                </a:buClr>
                <a:buFont typeface="Arial" pitchFamily="34" charset="0"/>
                <a:buNone/>
                <a:defRPr/>
              </a:pPr>
              <a:t>Sep</a:t>
            </a:fld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99" name="Text Placeholder 5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355013" y="2389188"/>
            <a:ext cx="233362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</a:ln>
        </p:spPr>
        <p:txBody>
          <a:bodyPr wrap="none" lIns="73025" tIns="36513" rIns="73025" bIns="36513" anchor="ctr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ct val="0"/>
              </a:spcBef>
              <a:buClr>
                <a:srgbClr val="9B1717"/>
              </a:buClr>
              <a:buFont typeface="Arial" pitchFamily="34" charset="0"/>
              <a:buNone/>
              <a:defRPr/>
            </a:pPr>
            <a:endParaRPr lang="en-US" sz="1050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cxnSp>
        <p:nvCxnSpPr>
          <p:cNvPr id="86" name="Straight Connector 85"/>
          <p:cNvCxnSpPr/>
          <p:nvPr>
            <p:custDataLst>
              <p:tags r:id="rId34"/>
            </p:custDataLst>
          </p:nvPr>
        </p:nvCxnSpPr>
        <p:spPr bwMode="grayWhite">
          <a:xfrm>
            <a:off x="4227513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>
            <p:custDataLst>
              <p:tags r:id="rId35"/>
            </p:custDataLst>
          </p:nvPr>
        </p:nvCxnSpPr>
        <p:spPr bwMode="grayWhite">
          <a:xfrm>
            <a:off x="3994150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>
            <p:custDataLst>
              <p:tags r:id="rId36"/>
            </p:custDataLst>
          </p:nvPr>
        </p:nvCxnSpPr>
        <p:spPr bwMode="grayWhite">
          <a:xfrm>
            <a:off x="3783013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>
            <p:custDataLst>
              <p:tags r:id="rId37"/>
            </p:custDataLst>
          </p:nvPr>
        </p:nvCxnSpPr>
        <p:spPr bwMode="grayWhite">
          <a:xfrm>
            <a:off x="3549650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38"/>
            </p:custDataLst>
          </p:nvPr>
        </p:nvCxnSpPr>
        <p:spPr bwMode="grayWhite">
          <a:xfrm>
            <a:off x="347663" y="2133600"/>
            <a:ext cx="0" cy="3636963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39"/>
            </p:custDataLst>
          </p:nvPr>
        </p:nvCxnSpPr>
        <p:spPr bwMode="grayWhite">
          <a:xfrm>
            <a:off x="8588375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40"/>
            </p:custDataLst>
          </p:nvPr>
        </p:nvCxnSpPr>
        <p:spPr bwMode="grayWhite">
          <a:xfrm>
            <a:off x="2855913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>
            <p:custDataLst>
              <p:tags r:id="rId41"/>
            </p:custDataLst>
          </p:nvPr>
        </p:nvCxnSpPr>
        <p:spPr bwMode="grayWhite">
          <a:xfrm>
            <a:off x="7661275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42"/>
            </p:custDataLst>
          </p:nvPr>
        </p:nvCxnSpPr>
        <p:spPr bwMode="grayWhite">
          <a:xfrm>
            <a:off x="8355013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>
            <p:custDataLst>
              <p:tags r:id="rId43"/>
            </p:custDataLst>
          </p:nvPr>
        </p:nvCxnSpPr>
        <p:spPr bwMode="grayWhite">
          <a:xfrm>
            <a:off x="7894638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44"/>
            </p:custDataLst>
          </p:nvPr>
        </p:nvCxnSpPr>
        <p:spPr bwMode="grayWhite">
          <a:xfrm>
            <a:off x="8129588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/>
          <p:cNvCxnSpPr/>
          <p:nvPr>
            <p:custDataLst>
              <p:tags r:id="rId45"/>
            </p:custDataLst>
          </p:nvPr>
        </p:nvCxnSpPr>
        <p:spPr bwMode="grayWhite">
          <a:xfrm>
            <a:off x="7435850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46"/>
            </p:custDataLst>
          </p:nvPr>
        </p:nvCxnSpPr>
        <p:spPr bwMode="grayWhite">
          <a:xfrm>
            <a:off x="3314700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/>
          <p:cNvCxnSpPr/>
          <p:nvPr>
            <p:custDataLst>
              <p:tags r:id="rId47"/>
            </p:custDataLst>
          </p:nvPr>
        </p:nvCxnSpPr>
        <p:spPr bwMode="grayWhite">
          <a:xfrm>
            <a:off x="3089275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>
            <p:custDataLst>
              <p:tags r:id="rId48"/>
            </p:custDataLst>
          </p:nvPr>
        </p:nvCxnSpPr>
        <p:spPr bwMode="grayWhite">
          <a:xfrm>
            <a:off x="5146675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/>
          <p:cNvCxnSpPr/>
          <p:nvPr>
            <p:custDataLst>
              <p:tags r:id="rId49"/>
            </p:custDataLst>
          </p:nvPr>
        </p:nvCxnSpPr>
        <p:spPr bwMode="grayWhite">
          <a:xfrm>
            <a:off x="7202488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/>
          <p:nvPr>
            <p:custDataLst>
              <p:tags r:id="rId50"/>
            </p:custDataLst>
          </p:nvPr>
        </p:nvCxnSpPr>
        <p:spPr bwMode="grayWhite">
          <a:xfrm>
            <a:off x="6977063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/>
          <p:cNvCxnSpPr/>
          <p:nvPr>
            <p:custDataLst>
              <p:tags r:id="rId51"/>
            </p:custDataLst>
          </p:nvPr>
        </p:nvCxnSpPr>
        <p:spPr bwMode="grayWhite">
          <a:xfrm>
            <a:off x="6742113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>
            <p:custDataLst>
              <p:tags r:id="rId52"/>
            </p:custDataLst>
          </p:nvPr>
        </p:nvCxnSpPr>
        <p:spPr bwMode="grayWhite">
          <a:xfrm>
            <a:off x="6532563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/>
          <p:nvPr>
            <p:custDataLst>
              <p:tags r:id="rId53"/>
            </p:custDataLst>
          </p:nvPr>
        </p:nvCxnSpPr>
        <p:spPr bwMode="grayWhite">
          <a:xfrm>
            <a:off x="6297613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/>
          <p:cNvCxnSpPr/>
          <p:nvPr>
            <p:custDataLst>
              <p:tags r:id="rId54"/>
            </p:custDataLst>
          </p:nvPr>
        </p:nvCxnSpPr>
        <p:spPr bwMode="grayWhite">
          <a:xfrm>
            <a:off x="6064250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/>
          <p:nvPr>
            <p:custDataLst>
              <p:tags r:id="rId55"/>
            </p:custDataLst>
          </p:nvPr>
        </p:nvCxnSpPr>
        <p:spPr bwMode="grayWhite">
          <a:xfrm>
            <a:off x="5838825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>
            <p:custDataLst>
              <p:tags r:id="rId56"/>
            </p:custDataLst>
          </p:nvPr>
        </p:nvCxnSpPr>
        <p:spPr bwMode="grayWhite">
          <a:xfrm>
            <a:off x="5605463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>
            <p:custDataLst>
              <p:tags r:id="rId57"/>
            </p:custDataLst>
          </p:nvPr>
        </p:nvCxnSpPr>
        <p:spPr bwMode="grayWhite">
          <a:xfrm>
            <a:off x="5380038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>
            <p:custDataLst>
              <p:tags r:id="rId58"/>
            </p:custDataLst>
          </p:nvPr>
        </p:nvCxnSpPr>
        <p:spPr bwMode="grayWhite">
          <a:xfrm>
            <a:off x="4911725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>
            <p:custDataLst>
              <p:tags r:id="rId59"/>
            </p:custDataLst>
          </p:nvPr>
        </p:nvCxnSpPr>
        <p:spPr bwMode="grayWhite">
          <a:xfrm>
            <a:off x="4686300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>
            <p:custDataLst>
              <p:tags r:id="rId60"/>
            </p:custDataLst>
          </p:nvPr>
        </p:nvCxnSpPr>
        <p:spPr bwMode="grayWhite">
          <a:xfrm>
            <a:off x="4452938" y="2644775"/>
            <a:ext cx="0" cy="312578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61"/>
            </p:custDataLst>
          </p:nvPr>
        </p:nvCxnSpPr>
        <p:spPr bwMode="gray">
          <a:xfrm>
            <a:off x="347663" y="3457575"/>
            <a:ext cx="8240712" cy="0"/>
          </a:xfrm>
          <a:prstGeom prst="line">
            <a:avLst/>
          </a:prstGeom>
          <a:ln w="6350" cap="flat">
            <a:solidFill>
              <a:srgbClr val="ADABA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62"/>
            </p:custDataLst>
          </p:nvPr>
        </p:nvCxnSpPr>
        <p:spPr bwMode="gray">
          <a:xfrm>
            <a:off x="347663" y="4435475"/>
            <a:ext cx="8240712" cy="0"/>
          </a:xfrm>
          <a:prstGeom prst="line">
            <a:avLst/>
          </a:prstGeom>
          <a:ln w="6350" cap="flat">
            <a:solidFill>
              <a:srgbClr val="ADABA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>
            <p:custDataLst>
              <p:tags r:id="rId63"/>
            </p:custDataLst>
          </p:nvPr>
        </p:nvCxnSpPr>
        <p:spPr bwMode="grayWhite">
          <a:xfrm>
            <a:off x="347663" y="5770563"/>
            <a:ext cx="8240712" cy="0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>
            <p:custDataLst>
              <p:tags r:id="rId64"/>
            </p:custDataLst>
          </p:nvPr>
        </p:nvCxnSpPr>
        <p:spPr bwMode="grayWhite">
          <a:xfrm>
            <a:off x="347663" y="2133600"/>
            <a:ext cx="8240712" cy="0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>
            <p:custDataLst>
              <p:tags r:id="rId65"/>
            </p:custDataLst>
          </p:nvPr>
        </p:nvCxnSpPr>
        <p:spPr bwMode="gray">
          <a:xfrm>
            <a:off x="7751763" y="2644775"/>
            <a:ext cx="0" cy="3289300"/>
          </a:xfrm>
          <a:prstGeom prst="line">
            <a:avLst/>
          </a:prstGeom>
          <a:ln w="19050" cap="flat">
            <a:solidFill>
              <a:srgbClr val="9B1717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/>
          <p:cNvCxnSpPr/>
          <p:nvPr>
            <p:custDataLst>
              <p:tags r:id="rId66"/>
            </p:custDataLst>
          </p:nvPr>
        </p:nvCxnSpPr>
        <p:spPr bwMode="gray">
          <a:xfrm>
            <a:off x="3586163" y="2644775"/>
            <a:ext cx="0" cy="3289300"/>
          </a:xfrm>
          <a:prstGeom prst="line">
            <a:avLst/>
          </a:prstGeom>
          <a:ln w="19050" cap="flat">
            <a:solidFill>
              <a:srgbClr val="9B1717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>
            <p:custDataLst>
              <p:tags r:id="rId67"/>
            </p:custDataLst>
          </p:nvPr>
        </p:nvCxnSpPr>
        <p:spPr bwMode="grayWhite">
          <a:xfrm>
            <a:off x="347663" y="2644775"/>
            <a:ext cx="8240712" cy="0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tangle 208"/>
          <p:cNvSpPr/>
          <p:nvPr>
            <p:custDataLst>
              <p:tags r:id="rId68"/>
            </p:custDataLst>
          </p:nvPr>
        </p:nvSpPr>
        <p:spPr bwMode="gray">
          <a:xfrm>
            <a:off x="5800725" y="3990975"/>
            <a:ext cx="2005013" cy="107950"/>
          </a:xfrm>
          <a:prstGeom prst="rect">
            <a:avLst/>
          </a:prstGeom>
          <a:solidFill>
            <a:srgbClr val="778242"/>
          </a:solidFill>
          <a:ln w="19050" cap="flat">
            <a:solidFill>
              <a:srgbClr val="77824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8" name="Rectangle 207"/>
          <p:cNvSpPr/>
          <p:nvPr>
            <p:custDataLst>
              <p:tags r:id="rId69"/>
            </p:custDataLst>
          </p:nvPr>
        </p:nvSpPr>
        <p:spPr bwMode="gray">
          <a:xfrm>
            <a:off x="3994150" y="3630613"/>
            <a:ext cx="2387600" cy="107950"/>
          </a:xfrm>
          <a:prstGeom prst="rect">
            <a:avLst/>
          </a:prstGeom>
          <a:solidFill>
            <a:srgbClr val="778242"/>
          </a:solidFill>
          <a:ln w="19050" cap="flat">
            <a:solidFill>
              <a:srgbClr val="77824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10" name="Rectangle 209"/>
          <p:cNvSpPr/>
          <p:nvPr>
            <p:custDataLst>
              <p:tags r:id="rId70"/>
            </p:custDataLst>
          </p:nvPr>
        </p:nvSpPr>
        <p:spPr bwMode="gray">
          <a:xfrm>
            <a:off x="6381750" y="4608513"/>
            <a:ext cx="1763713" cy="107950"/>
          </a:xfrm>
          <a:prstGeom prst="rect">
            <a:avLst/>
          </a:prstGeom>
          <a:solidFill>
            <a:srgbClr val="778242"/>
          </a:solidFill>
          <a:ln w="19050" cap="flat">
            <a:solidFill>
              <a:srgbClr val="77824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11" name="Rectangle 210"/>
          <p:cNvSpPr/>
          <p:nvPr>
            <p:custDataLst>
              <p:tags r:id="rId71"/>
            </p:custDataLst>
          </p:nvPr>
        </p:nvSpPr>
        <p:spPr bwMode="gray">
          <a:xfrm>
            <a:off x="6977063" y="4967288"/>
            <a:ext cx="1368425" cy="107950"/>
          </a:xfrm>
          <a:prstGeom prst="rect">
            <a:avLst/>
          </a:prstGeom>
          <a:solidFill>
            <a:srgbClr val="778242"/>
          </a:solidFill>
          <a:ln w="19050" cap="flat">
            <a:solidFill>
              <a:srgbClr val="77824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7" name="Rectangle 206"/>
          <p:cNvSpPr/>
          <p:nvPr>
            <p:custDataLst>
              <p:tags r:id="rId72"/>
            </p:custDataLst>
          </p:nvPr>
        </p:nvSpPr>
        <p:spPr bwMode="gray">
          <a:xfrm>
            <a:off x="3549650" y="3176588"/>
            <a:ext cx="722313" cy="107950"/>
          </a:xfrm>
          <a:prstGeom prst="rect">
            <a:avLst/>
          </a:prstGeom>
          <a:solidFill>
            <a:srgbClr val="778242"/>
          </a:solidFill>
          <a:ln w="19050" cap="flat">
            <a:solidFill>
              <a:srgbClr val="77824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8" name="Right Arrow 47"/>
          <p:cNvSpPr/>
          <p:nvPr>
            <p:custDataLst>
              <p:tags r:id="rId73"/>
            </p:custDataLst>
          </p:nvPr>
        </p:nvSpPr>
        <p:spPr bwMode="gray">
          <a:xfrm>
            <a:off x="2868613" y="2763838"/>
            <a:ext cx="5843587" cy="215900"/>
          </a:xfrm>
          <a:prstGeom prst="rightArrow">
            <a:avLst>
              <a:gd name="adj1" fmla="val 50000"/>
              <a:gd name="adj2" fmla="val 40657"/>
            </a:avLst>
          </a:prstGeom>
          <a:solidFill>
            <a:srgbClr val="778242"/>
          </a:solidFill>
          <a:ln w="19050" cap="flat">
            <a:solidFill>
              <a:srgbClr val="77824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Right Arrow 6"/>
          <p:cNvSpPr/>
          <p:nvPr>
            <p:custDataLst>
              <p:tags r:id="rId74"/>
            </p:custDataLst>
          </p:nvPr>
        </p:nvSpPr>
        <p:spPr bwMode="gray">
          <a:xfrm>
            <a:off x="7777163" y="5435600"/>
            <a:ext cx="827087" cy="215900"/>
          </a:xfrm>
          <a:prstGeom prst="rightArrow">
            <a:avLst>
              <a:gd name="adj1" fmla="val 50000"/>
              <a:gd name="adj2" fmla="val 40657"/>
            </a:avLst>
          </a:prstGeom>
          <a:solidFill>
            <a:srgbClr val="778242"/>
          </a:solidFill>
          <a:ln w="19050" cap="flat">
            <a:solidFill>
              <a:srgbClr val="77824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6" name="Isosceles Triangle 45"/>
          <p:cNvSpPr/>
          <p:nvPr>
            <p:custDataLst>
              <p:tags r:id="rId75"/>
            </p:custDataLst>
          </p:nvPr>
        </p:nvSpPr>
        <p:spPr bwMode="gray">
          <a:xfrm>
            <a:off x="7662863" y="5856288"/>
            <a:ext cx="179387" cy="155575"/>
          </a:xfrm>
          <a:prstGeom prst="triangle">
            <a:avLst/>
          </a:prstGeom>
          <a:solidFill>
            <a:srgbClr val="9B1717"/>
          </a:solidFill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15" name="Isosceles Triangle 214"/>
          <p:cNvSpPr/>
          <p:nvPr>
            <p:custDataLst>
              <p:tags r:id="rId76"/>
            </p:custDataLst>
          </p:nvPr>
        </p:nvSpPr>
        <p:spPr bwMode="gray">
          <a:xfrm>
            <a:off x="3497263" y="5856288"/>
            <a:ext cx="179387" cy="155575"/>
          </a:xfrm>
          <a:prstGeom prst="triangle">
            <a:avLst/>
          </a:prstGeom>
          <a:solidFill>
            <a:srgbClr val="9B1717"/>
          </a:solidFill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81730" name="Text Placeholder 3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423863" y="2789238"/>
            <a:ext cx="1152525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b="1">
                <a:solidFill>
                  <a:srgbClr val="000000"/>
                </a:solidFill>
                <a:sym typeface="Arial" charset="0"/>
              </a:rPr>
              <a:t>Comunicación</a:t>
            </a:r>
          </a:p>
        </p:txBody>
      </p:sp>
      <p:sp>
        <p:nvSpPr>
          <p:cNvPr id="581731" name="Text Placeholder 7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7550150" y="6038850"/>
            <a:ext cx="404813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>
                <a:solidFill>
                  <a:srgbClr val="000000"/>
                </a:solidFill>
                <a:sym typeface="Arial" charset="0"/>
              </a:rPr>
              <a:t>Hoy</a:t>
            </a:r>
          </a:p>
        </p:txBody>
      </p:sp>
      <p:sp>
        <p:nvSpPr>
          <p:cNvPr id="581732" name="Text Placeholder 8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3333750" y="6038850"/>
            <a:ext cx="50482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>
                <a:solidFill>
                  <a:srgbClr val="000000"/>
                </a:solidFill>
                <a:sym typeface="Arial" charset="0"/>
              </a:rPr>
              <a:t>Inicio </a:t>
            </a:r>
          </a:p>
          <a:p>
            <a:pPr algn="ctr"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>
                <a:solidFill>
                  <a:srgbClr val="000000"/>
                </a:solidFill>
                <a:sym typeface="Arial" charset="0"/>
              </a:rPr>
              <a:t>oficial</a:t>
            </a:r>
          </a:p>
        </p:txBody>
      </p:sp>
      <p:sp>
        <p:nvSpPr>
          <p:cNvPr id="581733" name="Text Placeholder 4"/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423863" y="2443163"/>
            <a:ext cx="549275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b="1">
                <a:solidFill>
                  <a:srgbClr val="FFFFFF"/>
                </a:solidFill>
                <a:sym typeface="Arial" charset="0"/>
              </a:rPr>
              <a:t>Actividad</a:t>
            </a:r>
          </a:p>
        </p:txBody>
      </p:sp>
      <p:sp>
        <p:nvSpPr>
          <p:cNvPr id="581734" name="Text Placeholder 3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423863" y="4937125"/>
            <a:ext cx="2432050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b="1">
                <a:solidFill>
                  <a:srgbClr val="000000"/>
                </a:solidFill>
                <a:sym typeface="Arial" charset="0"/>
              </a:rPr>
              <a:t>Diseño de una hoja de ruta para </a:t>
            </a:r>
          </a:p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b="1">
                <a:solidFill>
                  <a:srgbClr val="000000"/>
                </a:solidFill>
                <a:sym typeface="Arial" charset="0"/>
              </a:rPr>
              <a:t>implementar los nuevos modelos</a:t>
            </a:r>
          </a:p>
        </p:txBody>
      </p:sp>
      <p:sp>
        <p:nvSpPr>
          <p:cNvPr id="581735" name="Text Placeholder 3"/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423863" y="4579938"/>
            <a:ext cx="1804987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b="1" dirty="0" smtClean="0">
                <a:solidFill>
                  <a:srgbClr val="000000"/>
                </a:solidFill>
                <a:sym typeface="Arial" charset="0"/>
              </a:rPr>
              <a:t>Diálogo y </a:t>
            </a:r>
            <a:r>
              <a:rPr lang="es-ES_tradnl" sz="1200" b="1" dirty="0">
                <a:solidFill>
                  <a:srgbClr val="000000"/>
                </a:solidFill>
                <a:sym typeface="Arial" charset="0"/>
              </a:rPr>
              <a:t>aprobación </a:t>
            </a:r>
          </a:p>
        </p:txBody>
      </p:sp>
      <p:sp>
        <p:nvSpPr>
          <p:cNvPr id="581736" name="Text Placeholder 3"/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423863" y="3960813"/>
            <a:ext cx="3525838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b="1" dirty="0">
                <a:solidFill>
                  <a:srgbClr val="000000"/>
                </a:solidFill>
                <a:sym typeface="Arial" charset="0"/>
              </a:rPr>
              <a:t>Diseño de </a:t>
            </a:r>
            <a:r>
              <a:rPr lang="es-ES_tradnl" sz="1200" b="1" dirty="0" smtClean="0">
                <a:solidFill>
                  <a:srgbClr val="000000"/>
                </a:solidFill>
                <a:sym typeface="Arial" charset="0"/>
              </a:rPr>
              <a:t>directrices para</a:t>
            </a:r>
          </a:p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b="1" dirty="0" smtClean="0">
                <a:solidFill>
                  <a:srgbClr val="000000"/>
                </a:solidFill>
                <a:sym typeface="Arial" charset="0"/>
              </a:rPr>
              <a:t> los nuevos modelos</a:t>
            </a:r>
            <a:endParaRPr lang="es-ES_tradnl" sz="1200" b="1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81737" name="Text Placeholder 3"/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423863" y="3602038"/>
            <a:ext cx="2066925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b="1">
                <a:solidFill>
                  <a:srgbClr val="000000"/>
                </a:solidFill>
                <a:sym typeface="Arial" charset="0"/>
              </a:rPr>
              <a:t>Diagnóstico del contexto actual</a:t>
            </a:r>
          </a:p>
        </p:txBody>
      </p:sp>
      <p:sp>
        <p:nvSpPr>
          <p:cNvPr id="581738" name="Text Placeholder 3"/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423863" y="3148013"/>
            <a:ext cx="1247775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b="1">
                <a:solidFill>
                  <a:srgbClr val="000000"/>
                </a:solidFill>
                <a:sym typeface="Arial" charset="0"/>
              </a:rPr>
              <a:t>Planificación del proyecto</a:t>
            </a:r>
          </a:p>
        </p:txBody>
      </p:sp>
      <p:sp>
        <p:nvSpPr>
          <p:cNvPr id="581739" name="Text Placeholder 3"/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423863" y="5461000"/>
            <a:ext cx="1368425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b="1">
                <a:solidFill>
                  <a:srgbClr val="000000"/>
                </a:solidFill>
                <a:sym typeface="Arial" charset="0"/>
              </a:rPr>
              <a:t>Implementación</a:t>
            </a:r>
          </a:p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endParaRPr lang="es-ES_tradnl" sz="1200" b="1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81740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318549"/>
          </a:xfrm>
        </p:spPr>
        <p:txBody>
          <a:bodyPr/>
          <a:lstStyle/>
          <a:p>
            <a:pPr eaLnBrk="1" hangingPunct="1"/>
            <a:r>
              <a:rPr lang="es-ES" sz="2300" dirty="0" smtClean="0">
                <a:latin typeface="Arial" charset="0"/>
                <a:cs typeface="Arial" charset="0"/>
              </a:rPr>
              <a:t>Proyecto del Plan</a:t>
            </a:r>
          </a:p>
        </p:txBody>
      </p:sp>
      <p:grpSp>
        <p:nvGrpSpPr>
          <p:cNvPr id="217" name="Group 8"/>
          <p:cNvGrpSpPr>
            <a:grpSpLocks/>
          </p:cNvGrpSpPr>
          <p:nvPr/>
        </p:nvGrpSpPr>
        <p:grpSpPr bwMode="auto">
          <a:xfrm>
            <a:off x="3061676" y="5904341"/>
            <a:ext cx="1038774" cy="512991"/>
            <a:chOff x="4844" y="1121"/>
            <a:chExt cx="930" cy="413"/>
          </a:xfrm>
          <a:solidFill>
            <a:srgbClr val="00B050"/>
          </a:solidFill>
        </p:grpSpPr>
        <p:sp>
          <p:nvSpPr>
            <p:cNvPr id="218" name="Freeform 9"/>
            <p:cNvSpPr>
              <a:spLocks/>
            </p:cNvSpPr>
            <p:nvPr/>
          </p:nvSpPr>
          <p:spPr bwMode="auto">
            <a:xfrm>
              <a:off x="4844" y="1121"/>
              <a:ext cx="930" cy="413"/>
            </a:xfrm>
            <a:custGeom>
              <a:avLst/>
              <a:gdLst>
                <a:gd name="T0" fmla="*/ 535 w 930"/>
                <a:gd name="T1" fmla="*/ 15 h 413"/>
                <a:gd name="T2" fmla="*/ 718 w 930"/>
                <a:gd name="T3" fmla="*/ 63 h 413"/>
                <a:gd name="T4" fmla="*/ 812 w 930"/>
                <a:gd name="T5" fmla="*/ 106 h 413"/>
                <a:gd name="T6" fmla="*/ 871 w 930"/>
                <a:gd name="T7" fmla="*/ 144 h 413"/>
                <a:gd name="T8" fmla="*/ 912 w 930"/>
                <a:gd name="T9" fmla="*/ 178 h 413"/>
                <a:gd name="T10" fmla="*/ 930 w 930"/>
                <a:gd name="T11" fmla="*/ 217 h 413"/>
                <a:gd name="T12" fmla="*/ 930 w 930"/>
                <a:gd name="T13" fmla="*/ 250 h 413"/>
                <a:gd name="T14" fmla="*/ 906 w 930"/>
                <a:gd name="T15" fmla="*/ 283 h 413"/>
                <a:gd name="T16" fmla="*/ 871 w 930"/>
                <a:gd name="T17" fmla="*/ 317 h 413"/>
                <a:gd name="T18" fmla="*/ 812 w 930"/>
                <a:gd name="T19" fmla="*/ 346 h 413"/>
                <a:gd name="T20" fmla="*/ 694 w 930"/>
                <a:gd name="T21" fmla="*/ 384 h 413"/>
                <a:gd name="T22" fmla="*/ 518 w 930"/>
                <a:gd name="T23" fmla="*/ 408 h 413"/>
                <a:gd name="T24" fmla="*/ 318 w 930"/>
                <a:gd name="T25" fmla="*/ 404 h 413"/>
                <a:gd name="T26" fmla="*/ 159 w 930"/>
                <a:gd name="T27" fmla="*/ 370 h 413"/>
                <a:gd name="T28" fmla="*/ 89 w 930"/>
                <a:gd name="T29" fmla="*/ 341 h 413"/>
                <a:gd name="T30" fmla="*/ 41 w 930"/>
                <a:gd name="T31" fmla="*/ 312 h 413"/>
                <a:gd name="T32" fmla="*/ 13 w 930"/>
                <a:gd name="T33" fmla="*/ 279 h 413"/>
                <a:gd name="T34" fmla="*/ 0 w 930"/>
                <a:gd name="T35" fmla="*/ 245 h 413"/>
                <a:gd name="T36" fmla="*/ 6 w 930"/>
                <a:gd name="T37" fmla="*/ 212 h 413"/>
                <a:gd name="T38" fmla="*/ 30 w 930"/>
                <a:gd name="T39" fmla="*/ 178 h 413"/>
                <a:gd name="T40" fmla="*/ 71 w 930"/>
                <a:gd name="T41" fmla="*/ 144 h 413"/>
                <a:gd name="T42" fmla="*/ 129 w 930"/>
                <a:gd name="T43" fmla="*/ 116 h 413"/>
                <a:gd name="T44" fmla="*/ 259 w 930"/>
                <a:gd name="T45" fmla="*/ 78 h 413"/>
                <a:gd name="T46" fmla="*/ 441 w 930"/>
                <a:gd name="T47" fmla="*/ 58 h 413"/>
                <a:gd name="T48" fmla="*/ 377 w 930"/>
                <a:gd name="T49" fmla="*/ 101 h 413"/>
                <a:gd name="T50" fmla="*/ 283 w 930"/>
                <a:gd name="T51" fmla="*/ 111 h 413"/>
                <a:gd name="T52" fmla="*/ 212 w 930"/>
                <a:gd name="T53" fmla="*/ 125 h 413"/>
                <a:gd name="T54" fmla="*/ 148 w 930"/>
                <a:gd name="T55" fmla="*/ 144 h 413"/>
                <a:gd name="T56" fmla="*/ 83 w 930"/>
                <a:gd name="T57" fmla="*/ 178 h 413"/>
                <a:gd name="T58" fmla="*/ 53 w 930"/>
                <a:gd name="T59" fmla="*/ 212 h 413"/>
                <a:gd name="T60" fmla="*/ 48 w 930"/>
                <a:gd name="T61" fmla="*/ 245 h 413"/>
                <a:gd name="T62" fmla="*/ 65 w 930"/>
                <a:gd name="T63" fmla="*/ 274 h 413"/>
                <a:gd name="T64" fmla="*/ 118 w 930"/>
                <a:gd name="T65" fmla="*/ 312 h 413"/>
                <a:gd name="T66" fmla="*/ 229 w 930"/>
                <a:gd name="T67" fmla="*/ 351 h 413"/>
                <a:gd name="T68" fmla="*/ 382 w 930"/>
                <a:gd name="T69" fmla="*/ 375 h 413"/>
                <a:gd name="T70" fmla="*/ 547 w 930"/>
                <a:gd name="T71" fmla="*/ 375 h 413"/>
                <a:gd name="T72" fmla="*/ 694 w 930"/>
                <a:gd name="T73" fmla="*/ 351 h 413"/>
                <a:gd name="T74" fmla="*/ 812 w 930"/>
                <a:gd name="T75" fmla="*/ 312 h 413"/>
                <a:gd name="T76" fmla="*/ 859 w 930"/>
                <a:gd name="T77" fmla="*/ 269 h 413"/>
                <a:gd name="T78" fmla="*/ 877 w 930"/>
                <a:gd name="T79" fmla="*/ 245 h 413"/>
                <a:gd name="T80" fmla="*/ 882 w 930"/>
                <a:gd name="T81" fmla="*/ 217 h 413"/>
                <a:gd name="T82" fmla="*/ 859 w 930"/>
                <a:gd name="T83" fmla="*/ 183 h 413"/>
                <a:gd name="T84" fmla="*/ 829 w 930"/>
                <a:gd name="T85" fmla="*/ 149 h 413"/>
                <a:gd name="T86" fmla="*/ 777 w 930"/>
                <a:gd name="T87" fmla="*/ 116 h 413"/>
                <a:gd name="T88" fmla="*/ 712 w 930"/>
                <a:gd name="T89" fmla="*/ 82 h 413"/>
                <a:gd name="T90" fmla="*/ 635 w 930"/>
                <a:gd name="T91" fmla="*/ 53 h 413"/>
                <a:gd name="T92" fmla="*/ 541 w 930"/>
                <a:gd name="T93" fmla="*/ 30 h 413"/>
                <a:gd name="T94" fmla="*/ 441 w 930"/>
                <a:gd name="T95" fmla="*/ 5 h 41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930"/>
                <a:gd name="T145" fmla="*/ 0 h 413"/>
                <a:gd name="T146" fmla="*/ 930 w 930"/>
                <a:gd name="T147" fmla="*/ 413 h 41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930" h="413">
                  <a:moveTo>
                    <a:pt x="382" y="0"/>
                  </a:moveTo>
                  <a:lnTo>
                    <a:pt x="430" y="0"/>
                  </a:lnTo>
                  <a:lnTo>
                    <a:pt x="482" y="5"/>
                  </a:lnTo>
                  <a:lnTo>
                    <a:pt x="535" y="15"/>
                  </a:lnTo>
                  <a:lnTo>
                    <a:pt x="583" y="25"/>
                  </a:lnTo>
                  <a:lnTo>
                    <a:pt x="629" y="34"/>
                  </a:lnTo>
                  <a:lnTo>
                    <a:pt x="677" y="48"/>
                  </a:lnTo>
                  <a:lnTo>
                    <a:pt x="718" y="63"/>
                  </a:lnTo>
                  <a:lnTo>
                    <a:pt x="759" y="78"/>
                  </a:lnTo>
                  <a:lnTo>
                    <a:pt x="777" y="87"/>
                  </a:lnTo>
                  <a:lnTo>
                    <a:pt x="794" y="96"/>
                  </a:lnTo>
                  <a:lnTo>
                    <a:pt x="812" y="106"/>
                  </a:lnTo>
                  <a:lnTo>
                    <a:pt x="829" y="116"/>
                  </a:lnTo>
                  <a:lnTo>
                    <a:pt x="841" y="121"/>
                  </a:lnTo>
                  <a:lnTo>
                    <a:pt x="859" y="130"/>
                  </a:lnTo>
                  <a:lnTo>
                    <a:pt x="871" y="144"/>
                  </a:lnTo>
                  <a:lnTo>
                    <a:pt x="882" y="149"/>
                  </a:lnTo>
                  <a:lnTo>
                    <a:pt x="894" y="159"/>
                  </a:lnTo>
                  <a:lnTo>
                    <a:pt x="906" y="169"/>
                  </a:lnTo>
                  <a:lnTo>
                    <a:pt x="912" y="178"/>
                  </a:lnTo>
                  <a:lnTo>
                    <a:pt x="917" y="187"/>
                  </a:lnTo>
                  <a:lnTo>
                    <a:pt x="930" y="197"/>
                  </a:lnTo>
                  <a:lnTo>
                    <a:pt x="930" y="207"/>
                  </a:lnTo>
                  <a:lnTo>
                    <a:pt x="930" y="217"/>
                  </a:lnTo>
                  <a:lnTo>
                    <a:pt x="930" y="226"/>
                  </a:lnTo>
                  <a:lnTo>
                    <a:pt x="930" y="231"/>
                  </a:lnTo>
                  <a:lnTo>
                    <a:pt x="930" y="240"/>
                  </a:lnTo>
                  <a:lnTo>
                    <a:pt x="930" y="250"/>
                  </a:lnTo>
                  <a:lnTo>
                    <a:pt x="923" y="260"/>
                  </a:lnTo>
                  <a:lnTo>
                    <a:pt x="917" y="269"/>
                  </a:lnTo>
                  <a:lnTo>
                    <a:pt x="912" y="274"/>
                  </a:lnTo>
                  <a:lnTo>
                    <a:pt x="906" y="283"/>
                  </a:lnTo>
                  <a:lnTo>
                    <a:pt x="900" y="293"/>
                  </a:lnTo>
                  <a:lnTo>
                    <a:pt x="888" y="298"/>
                  </a:lnTo>
                  <a:lnTo>
                    <a:pt x="882" y="308"/>
                  </a:lnTo>
                  <a:lnTo>
                    <a:pt x="871" y="317"/>
                  </a:lnTo>
                  <a:lnTo>
                    <a:pt x="859" y="322"/>
                  </a:lnTo>
                  <a:lnTo>
                    <a:pt x="841" y="331"/>
                  </a:lnTo>
                  <a:lnTo>
                    <a:pt x="829" y="341"/>
                  </a:lnTo>
                  <a:lnTo>
                    <a:pt x="812" y="346"/>
                  </a:lnTo>
                  <a:lnTo>
                    <a:pt x="800" y="351"/>
                  </a:lnTo>
                  <a:lnTo>
                    <a:pt x="771" y="365"/>
                  </a:lnTo>
                  <a:lnTo>
                    <a:pt x="729" y="375"/>
                  </a:lnTo>
                  <a:lnTo>
                    <a:pt x="694" y="384"/>
                  </a:lnTo>
                  <a:lnTo>
                    <a:pt x="653" y="394"/>
                  </a:lnTo>
                  <a:lnTo>
                    <a:pt x="611" y="404"/>
                  </a:lnTo>
                  <a:lnTo>
                    <a:pt x="565" y="408"/>
                  </a:lnTo>
                  <a:lnTo>
                    <a:pt x="518" y="408"/>
                  </a:lnTo>
                  <a:lnTo>
                    <a:pt x="465" y="413"/>
                  </a:lnTo>
                  <a:lnTo>
                    <a:pt x="418" y="408"/>
                  </a:lnTo>
                  <a:lnTo>
                    <a:pt x="365" y="408"/>
                  </a:lnTo>
                  <a:lnTo>
                    <a:pt x="318" y="404"/>
                  </a:lnTo>
                  <a:lnTo>
                    <a:pt x="277" y="399"/>
                  </a:lnTo>
                  <a:lnTo>
                    <a:pt x="236" y="389"/>
                  </a:lnTo>
                  <a:lnTo>
                    <a:pt x="200" y="379"/>
                  </a:lnTo>
                  <a:lnTo>
                    <a:pt x="159" y="370"/>
                  </a:lnTo>
                  <a:lnTo>
                    <a:pt x="129" y="360"/>
                  </a:lnTo>
                  <a:lnTo>
                    <a:pt x="112" y="351"/>
                  </a:lnTo>
                  <a:lnTo>
                    <a:pt x="100" y="346"/>
                  </a:lnTo>
                  <a:lnTo>
                    <a:pt x="89" y="341"/>
                  </a:lnTo>
                  <a:lnTo>
                    <a:pt x="77" y="331"/>
                  </a:lnTo>
                  <a:lnTo>
                    <a:pt x="65" y="327"/>
                  </a:lnTo>
                  <a:lnTo>
                    <a:pt x="53" y="317"/>
                  </a:lnTo>
                  <a:lnTo>
                    <a:pt x="41" y="312"/>
                  </a:lnTo>
                  <a:lnTo>
                    <a:pt x="35" y="303"/>
                  </a:lnTo>
                  <a:lnTo>
                    <a:pt x="24" y="293"/>
                  </a:lnTo>
                  <a:lnTo>
                    <a:pt x="18" y="288"/>
                  </a:lnTo>
                  <a:lnTo>
                    <a:pt x="13" y="279"/>
                  </a:lnTo>
                  <a:lnTo>
                    <a:pt x="6" y="269"/>
                  </a:lnTo>
                  <a:lnTo>
                    <a:pt x="6" y="265"/>
                  </a:lnTo>
                  <a:lnTo>
                    <a:pt x="0" y="255"/>
                  </a:lnTo>
                  <a:lnTo>
                    <a:pt x="0" y="245"/>
                  </a:lnTo>
                  <a:lnTo>
                    <a:pt x="0" y="235"/>
                  </a:lnTo>
                  <a:lnTo>
                    <a:pt x="0" y="226"/>
                  </a:lnTo>
                  <a:lnTo>
                    <a:pt x="0" y="221"/>
                  </a:lnTo>
                  <a:lnTo>
                    <a:pt x="6" y="212"/>
                  </a:lnTo>
                  <a:lnTo>
                    <a:pt x="6" y="202"/>
                  </a:lnTo>
                  <a:lnTo>
                    <a:pt x="13" y="192"/>
                  </a:lnTo>
                  <a:lnTo>
                    <a:pt x="24" y="187"/>
                  </a:lnTo>
                  <a:lnTo>
                    <a:pt x="30" y="178"/>
                  </a:lnTo>
                  <a:lnTo>
                    <a:pt x="35" y="169"/>
                  </a:lnTo>
                  <a:lnTo>
                    <a:pt x="48" y="159"/>
                  </a:lnTo>
                  <a:lnTo>
                    <a:pt x="59" y="154"/>
                  </a:lnTo>
                  <a:lnTo>
                    <a:pt x="71" y="144"/>
                  </a:lnTo>
                  <a:lnTo>
                    <a:pt x="83" y="140"/>
                  </a:lnTo>
                  <a:lnTo>
                    <a:pt x="100" y="130"/>
                  </a:lnTo>
                  <a:lnTo>
                    <a:pt x="112" y="125"/>
                  </a:lnTo>
                  <a:lnTo>
                    <a:pt x="129" y="116"/>
                  </a:lnTo>
                  <a:lnTo>
                    <a:pt x="142" y="111"/>
                  </a:lnTo>
                  <a:lnTo>
                    <a:pt x="183" y="101"/>
                  </a:lnTo>
                  <a:lnTo>
                    <a:pt x="218" y="87"/>
                  </a:lnTo>
                  <a:lnTo>
                    <a:pt x="259" y="78"/>
                  </a:lnTo>
                  <a:lnTo>
                    <a:pt x="301" y="73"/>
                  </a:lnTo>
                  <a:lnTo>
                    <a:pt x="347" y="63"/>
                  </a:lnTo>
                  <a:lnTo>
                    <a:pt x="395" y="63"/>
                  </a:lnTo>
                  <a:lnTo>
                    <a:pt x="441" y="58"/>
                  </a:lnTo>
                  <a:lnTo>
                    <a:pt x="495" y="58"/>
                  </a:lnTo>
                  <a:lnTo>
                    <a:pt x="447" y="101"/>
                  </a:lnTo>
                  <a:lnTo>
                    <a:pt x="400" y="101"/>
                  </a:lnTo>
                  <a:lnTo>
                    <a:pt x="377" y="101"/>
                  </a:lnTo>
                  <a:lnTo>
                    <a:pt x="353" y="106"/>
                  </a:lnTo>
                  <a:lnTo>
                    <a:pt x="330" y="106"/>
                  </a:lnTo>
                  <a:lnTo>
                    <a:pt x="306" y="106"/>
                  </a:lnTo>
                  <a:lnTo>
                    <a:pt x="283" y="111"/>
                  </a:lnTo>
                  <a:lnTo>
                    <a:pt x="265" y="111"/>
                  </a:lnTo>
                  <a:lnTo>
                    <a:pt x="247" y="116"/>
                  </a:lnTo>
                  <a:lnTo>
                    <a:pt x="229" y="121"/>
                  </a:lnTo>
                  <a:lnTo>
                    <a:pt x="212" y="125"/>
                  </a:lnTo>
                  <a:lnTo>
                    <a:pt x="194" y="130"/>
                  </a:lnTo>
                  <a:lnTo>
                    <a:pt x="183" y="130"/>
                  </a:lnTo>
                  <a:lnTo>
                    <a:pt x="159" y="140"/>
                  </a:lnTo>
                  <a:lnTo>
                    <a:pt x="148" y="144"/>
                  </a:lnTo>
                  <a:lnTo>
                    <a:pt x="135" y="149"/>
                  </a:lnTo>
                  <a:lnTo>
                    <a:pt x="112" y="159"/>
                  </a:lnTo>
                  <a:lnTo>
                    <a:pt x="100" y="169"/>
                  </a:lnTo>
                  <a:lnTo>
                    <a:pt x="83" y="178"/>
                  </a:lnTo>
                  <a:lnTo>
                    <a:pt x="71" y="187"/>
                  </a:lnTo>
                  <a:lnTo>
                    <a:pt x="65" y="192"/>
                  </a:lnTo>
                  <a:lnTo>
                    <a:pt x="59" y="202"/>
                  </a:lnTo>
                  <a:lnTo>
                    <a:pt x="53" y="212"/>
                  </a:lnTo>
                  <a:lnTo>
                    <a:pt x="48" y="221"/>
                  </a:lnTo>
                  <a:lnTo>
                    <a:pt x="48" y="235"/>
                  </a:lnTo>
                  <a:lnTo>
                    <a:pt x="48" y="240"/>
                  </a:lnTo>
                  <a:lnTo>
                    <a:pt x="48" y="245"/>
                  </a:lnTo>
                  <a:lnTo>
                    <a:pt x="53" y="255"/>
                  </a:lnTo>
                  <a:lnTo>
                    <a:pt x="53" y="260"/>
                  </a:lnTo>
                  <a:lnTo>
                    <a:pt x="59" y="269"/>
                  </a:lnTo>
                  <a:lnTo>
                    <a:pt x="65" y="274"/>
                  </a:lnTo>
                  <a:lnTo>
                    <a:pt x="71" y="283"/>
                  </a:lnTo>
                  <a:lnTo>
                    <a:pt x="77" y="288"/>
                  </a:lnTo>
                  <a:lnTo>
                    <a:pt x="100" y="298"/>
                  </a:lnTo>
                  <a:lnTo>
                    <a:pt x="118" y="312"/>
                  </a:lnTo>
                  <a:lnTo>
                    <a:pt x="142" y="322"/>
                  </a:lnTo>
                  <a:lnTo>
                    <a:pt x="171" y="331"/>
                  </a:lnTo>
                  <a:lnTo>
                    <a:pt x="200" y="341"/>
                  </a:lnTo>
                  <a:lnTo>
                    <a:pt x="229" y="351"/>
                  </a:lnTo>
                  <a:lnTo>
                    <a:pt x="265" y="360"/>
                  </a:lnTo>
                  <a:lnTo>
                    <a:pt x="301" y="365"/>
                  </a:lnTo>
                  <a:lnTo>
                    <a:pt x="341" y="370"/>
                  </a:lnTo>
                  <a:lnTo>
                    <a:pt x="382" y="375"/>
                  </a:lnTo>
                  <a:lnTo>
                    <a:pt x="424" y="375"/>
                  </a:lnTo>
                  <a:lnTo>
                    <a:pt x="465" y="375"/>
                  </a:lnTo>
                  <a:lnTo>
                    <a:pt x="506" y="375"/>
                  </a:lnTo>
                  <a:lnTo>
                    <a:pt x="547" y="375"/>
                  </a:lnTo>
                  <a:lnTo>
                    <a:pt x="583" y="370"/>
                  </a:lnTo>
                  <a:lnTo>
                    <a:pt x="624" y="365"/>
                  </a:lnTo>
                  <a:lnTo>
                    <a:pt x="659" y="360"/>
                  </a:lnTo>
                  <a:lnTo>
                    <a:pt x="694" y="351"/>
                  </a:lnTo>
                  <a:lnTo>
                    <a:pt x="729" y="341"/>
                  </a:lnTo>
                  <a:lnTo>
                    <a:pt x="759" y="331"/>
                  </a:lnTo>
                  <a:lnTo>
                    <a:pt x="783" y="322"/>
                  </a:lnTo>
                  <a:lnTo>
                    <a:pt x="812" y="312"/>
                  </a:lnTo>
                  <a:lnTo>
                    <a:pt x="829" y="298"/>
                  </a:lnTo>
                  <a:lnTo>
                    <a:pt x="847" y="283"/>
                  </a:lnTo>
                  <a:lnTo>
                    <a:pt x="853" y="279"/>
                  </a:lnTo>
                  <a:lnTo>
                    <a:pt x="859" y="269"/>
                  </a:lnTo>
                  <a:lnTo>
                    <a:pt x="871" y="265"/>
                  </a:lnTo>
                  <a:lnTo>
                    <a:pt x="871" y="260"/>
                  </a:lnTo>
                  <a:lnTo>
                    <a:pt x="871" y="250"/>
                  </a:lnTo>
                  <a:lnTo>
                    <a:pt x="877" y="245"/>
                  </a:lnTo>
                  <a:lnTo>
                    <a:pt x="882" y="235"/>
                  </a:lnTo>
                  <a:lnTo>
                    <a:pt x="882" y="231"/>
                  </a:lnTo>
                  <a:lnTo>
                    <a:pt x="882" y="221"/>
                  </a:lnTo>
                  <a:lnTo>
                    <a:pt x="882" y="217"/>
                  </a:lnTo>
                  <a:lnTo>
                    <a:pt x="871" y="207"/>
                  </a:lnTo>
                  <a:lnTo>
                    <a:pt x="871" y="197"/>
                  </a:lnTo>
                  <a:lnTo>
                    <a:pt x="871" y="192"/>
                  </a:lnTo>
                  <a:lnTo>
                    <a:pt x="859" y="183"/>
                  </a:lnTo>
                  <a:lnTo>
                    <a:pt x="853" y="178"/>
                  </a:lnTo>
                  <a:lnTo>
                    <a:pt x="847" y="169"/>
                  </a:lnTo>
                  <a:lnTo>
                    <a:pt x="841" y="159"/>
                  </a:lnTo>
                  <a:lnTo>
                    <a:pt x="829" y="149"/>
                  </a:lnTo>
                  <a:lnTo>
                    <a:pt x="812" y="144"/>
                  </a:lnTo>
                  <a:lnTo>
                    <a:pt x="806" y="130"/>
                  </a:lnTo>
                  <a:lnTo>
                    <a:pt x="794" y="125"/>
                  </a:lnTo>
                  <a:lnTo>
                    <a:pt x="777" y="116"/>
                  </a:lnTo>
                  <a:lnTo>
                    <a:pt x="764" y="106"/>
                  </a:lnTo>
                  <a:lnTo>
                    <a:pt x="747" y="101"/>
                  </a:lnTo>
                  <a:lnTo>
                    <a:pt x="729" y="92"/>
                  </a:lnTo>
                  <a:lnTo>
                    <a:pt x="712" y="82"/>
                  </a:lnTo>
                  <a:lnTo>
                    <a:pt x="694" y="73"/>
                  </a:lnTo>
                  <a:lnTo>
                    <a:pt x="677" y="68"/>
                  </a:lnTo>
                  <a:lnTo>
                    <a:pt x="659" y="63"/>
                  </a:lnTo>
                  <a:lnTo>
                    <a:pt x="635" y="53"/>
                  </a:lnTo>
                  <a:lnTo>
                    <a:pt x="611" y="44"/>
                  </a:lnTo>
                  <a:lnTo>
                    <a:pt x="589" y="39"/>
                  </a:lnTo>
                  <a:lnTo>
                    <a:pt x="565" y="34"/>
                  </a:lnTo>
                  <a:lnTo>
                    <a:pt x="541" y="30"/>
                  </a:lnTo>
                  <a:lnTo>
                    <a:pt x="518" y="19"/>
                  </a:lnTo>
                  <a:lnTo>
                    <a:pt x="495" y="15"/>
                  </a:lnTo>
                  <a:lnTo>
                    <a:pt x="465" y="10"/>
                  </a:lnTo>
                  <a:lnTo>
                    <a:pt x="441" y="5"/>
                  </a:lnTo>
                  <a:lnTo>
                    <a:pt x="412" y="0"/>
                  </a:lnTo>
                  <a:lnTo>
                    <a:pt x="382" y="0"/>
                  </a:lnTo>
                  <a:close/>
                </a:path>
              </a:pathLst>
            </a:custGeom>
            <a:grpFill/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914400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19" name="Freeform 10"/>
            <p:cNvSpPr>
              <a:spLocks/>
            </p:cNvSpPr>
            <p:nvPr/>
          </p:nvSpPr>
          <p:spPr bwMode="auto">
            <a:xfrm>
              <a:off x="4844" y="1121"/>
              <a:ext cx="930" cy="413"/>
            </a:xfrm>
            <a:custGeom>
              <a:avLst/>
              <a:gdLst>
                <a:gd name="T0" fmla="*/ 535 w 930"/>
                <a:gd name="T1" fmla="*/ 15 h 413"/>
                <a:gd name="T2" fmla="*/ 718 w 930"/>
                <a:gd name="T3" fmla="*/ 63 h 413"/>
                <a:gd name="T4" fmla="*/ 812 w 930"/>
                <a:gd name="T5" fmla="*/ 106 h 413"/>
                <a:gd name="T6" fmla="*/ 871 w 930"/>
                <a:gd name="T7" fmla="*/ 144 h 413"/>
                <a:gd name="T8" fmla="*/ 912 w 930"/>
                <a:gd name="T9" fmla="*/ 178 h 413"/>
                <a:gd name="T10" fmla="*/ 930 w 930"/>
                <a:gd name="T11" fmla="*/ 217 h 413"/>
                <a:gd name="T12" fmla="*/ 930 w 930"/>
                <a:gd name="T13" fmla="*/ 250 h 413"/>
                <a:gd name="T14" fmla="*/ 906 w 930"/>
                <a:gd name="T15" fmla="*/ 283 h 413"/>
                <a:gd name="T16" fmla="*/ 871 w 930"/>
                <a:gd name="T17" fmla="*/ 317 h 413"/>
                <a:gd name="T18" fmla="*/ 812 w 930"/>
                <a:gd name="T19" fmla="*/ 346 h 413"/>
                <a:gd name="T20" fmla="*/ 694 w 930"/>
                <a:gd name="T21" fmla="*/ 384 h 413"/>
                <a:gd name="T22" fmla="*/ 518 w 930"/>
                <a:gd name="T23" fmla="*/ 408 h 413"/>
                <a:gd name="T24" fmla="*/ 318 w 930"/>
                <a:gd name="T25" fmla="*/ 404 h 413"/>
                <a:gd name="T26" fmla="*/ 159 w 930"/>
                <a:gd name="T27" fmla="*/ 370 h 413"/>
                <a:gd name="T28" fmla="*/ 89 w 930"/>
                <a:gd name="T29" fmla="*/ 341 h 413"/>
                <a:gd name="T30" fmla="*/ 41 w 930"/>
                <a:gd name="T31" fmla="*/ 312 h 413"/>
                <a:gd name="T32" fmla="*/ 13 w 930"/>
                <a:gd name="T33" fmla="*/ 279 h 413"/>
                <a:gd name="T34" fmla="*/ 0 w 930"/>
                <a:gd name="T35" fmla="*/ 245 h 413"/>
                <a:gd name="T36" fmla="*/ 6 w 930"/>
                <a:gd name="T37" fmla="*/ 212 h 413"/>
                <a:gd name="T38" fmla="*/ 30 w 930"/>
                <a:gd name="T39" fmla="*/ 178 h 413"/>
                <a:gd name="T40" fmla="*/ 71 w 930"/>
                <a:gd name="T41" fmla="*/ 144 h 413"/>
                <a:gd name="T42" fmla="*/ 129 w 930"/>
                <a:gd name="T43" fmla="*/ 116 h 413"/>
                <a:gd name="T44" fmla="*/ 259 w 930"/>
                <a:gd name="T45" fmla="*/ 78 h 413"/>
                <a:gd name="T46" fmla="*/ 441 w 930"/>
                <a:gd name="T47" fmla="*/ 58 h 413"/>
                <a:gd name="T48" fmla="*/ 377 w 930"/>
                <a:gd name="T49" fmla="*/ 101 h 413"/>
                <a:gd name="T50" fmla="*/ 283 w 930"/>
                <a:gd name="T51" fmla="*/ 111 h 413"/>
                <a:gd name="T52" fmla="*/ 212 w 930"/>
                <a:gd name="T53" fmla="*/ 125 h 413"/>
                <a:gd name="T54" fmla="*/ 148 w 930"/>
                <a:gd name="T55" fmla="*/ 144 h 413"/>
                <a:gd name="T56" fmla="*/ 83 w 930"/>
                <a:gd name="T57" fmla="*/ 178 h 413"/>
                <a:gd name="T58" fmla="*/ 53 w 930"/>
                <a:gd name="T59" fmla="*/ 212 h 413"/>
                <a:gd name="T60" fmla="*/ 48 w 930"/>
                <a:gd name="T61" fmla="*/ 245 h 413"/>
                <a:gd name="T62" fmla="*/ 65 w 930"/>
                <a:gd name="T63" fmla="*/ 274 h 413"/>
                <a:gd name="T64" fmla="*/ 118 w 930"/>
                <a:gd name="T65" fmla="*/ 312 h 413"/>
                <a:gd name="T66" fmla="*/ 229 w 930"/>
                <a:gd name="T67" fmla="*/ 351 h 413"/>
                <a:gd name="T68" fmla="*/ 382 w 930"/>
                <a:gd name="T69" fmla="*/ 375 h 413"/>
                <a:gd name="T70" fmla="*/ 547 w 930"/>
                <a:gd name="T71" fmla="*/ 375 h 413"/>
                <a:gd name="T72" fmla="*/ 694 w 930"/>
                <a:gd name="T73" fmla="*/ 351 h 413"/>
                <a:gd name="T74" fmla="*/ 812 w 930"/>
                <a:gd name="T75" fmla="*/ 312 h 413"/>
                <a:gd name="T76" fmla="*/ 859 w 930"/>
                <a:gd name="T77" fmla="*/ 269 h 413"/>
                <a:gd name="T78" fmla="*/ 877 w 930"/>
                <a:gd name="T79" fmla="*/ 245 h 413"/>
                <a:gd name="T80" fmla="*/ 882 w 930"/>
                <a:gd name="T81" fmla="*/ 217 h 413"/>
                <a:gd name="T82" fmla="*/ 859 w 930"/>
                <a:gd name="T83" fmla="*/ 183 h 413"/>
                <a:gd name="T84" fmla="*/ 829 w 930"/>
                <a:gd name="T85" fmla="*/ 149 h 413"/>
                <a:gd name="T86" fmla="*/ 777 w 930"/>
                <a:gd name="T87" fmla="*/ 116 h 413"/>
                <a:gd name="T88" fmla="*/ 712 w 930"/>
                <a:gd name="T89" fmla="*/ 82 h 413"/>
                <a:gd name="T90" fmla="*/ 635 w 930"/>
                <a:gd name="T91" fmla="*/ 53 h 413"/>
                <a:gd name="T92" fmla="*/ 541 w 930"/>
                <a:gd name="T93" fmla="*/ 30 h 413"/>
                <a:gd name="T94" fmla="*/ 441 w 930"/>
                <a:gd name="T95" fmla="*/ 5 h 41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930"/>
                <a:gd name="T145" fmla="*/ 0 h 413"/>
                <a:gd name="T146" fmla="*/ 930 w 930"/>
                <a:gd name="T147" fmla="*/ 413 h 41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930" h="413">
                  <a:moveTo>
                    <a:pt x="382" y="0"/>
                  </a:moveTo>
                  <a:lnTo>
                    <a:pt x="430" y="0"/>
                  </a:lnTo>
                  <a:lnTo>
                    <a:pt x="482" y="5"/>
                  </a:lnTo>
                  <a:lnTo>
                    <a:pt x="535" y="15"/>
                  </a:lnTo>
                  <a:lnTo>
                    <a:pt x="583" y="25"/>
                  </a:lnTo>
                  <a:lnTo>
                    <a:pt x="629" y="34"/>
                  </a:lnTo>
                  <a:lnTo>
                    <a:pt x="677" y="48"/>
                  </a:lnTo>
                  <a:lnTo>
                    <a:pt x="718" y="63"/>
                  </a:lnTo>
                  <a:lnTo>
                    <a:pt x="759" y="78"/>
                  </a:lnTo>
                  <a:lnTo>
                    <a:pt x="777" y="87"/>
                  </a:lnTo>
                  <a:lnTo>
                    <a:pt x="794" y="96"/>
                  </a:lnTo>
                  <a:lnTo>
                    <a:pt x="812" y="106"/>
                  </a:lnTo>
                  <a:lnTo>
                    <a:pt x="829" y="116"/>
                  </a:lnTo>
                  <a:lnTo>
                    <a:pt x="841" y="121"/>
                  </a:lnTo>
                  <a:lnTo>
                    <a:pt x="859" y="130"/>
                  </a:lnTo>
                  <a:lnTo>
                    <a:pt x="871" y="144"/>
                  </a:lnTo>
                  <a:lnTo>
                    <a:pt x="882" y="149"/>
                  </a:lnTo>
                  <a:lnTo>
                    <a:pt x="894" y="159"/>
                  </a:lnTo>
                  <a:lnTo>
                    <a:pt x="906" y="169"/>
                  </a:lnTo>
                  <a:lnTo>
                    <a:pt x="912" y="178"/>
                  </a:lnTo>
                  <a:lnTo>
                    <a:pt x="917" y="187"/>
                  </a:lnTo>
                  <a:lnTo>
                    <a:pt x="930" y="197"/>
                  </a:lnTo>
                  <a:lnTo>
                    <a:pt x="930" y="207"/>
                  </a:lnTo>
                  <a:lnTo>
                    <a:pt x="930" y="217"/>
                  </a:lnTo>
                  <a:lnTo>
                    <a:pt x="930" y="226"/>
                  </a:lnTo>
                  <a:lnTo>
                    <a:pt x="930" y="231"/>
                  </a:lnTo>
                  <a:lnTo>
                    <a:pt x="930" y="240"/>
                  </a:lnTo>
                  <a:lnTo>
                    <a:pt x="930" y="250"/>
                  </a:lnTo>
                  <a:lnTo>
                    <a:pt x="923" y="260"/>
                  </a:lnTo>
                  <a:lnTo>
                    <a:pt x="917" y="269"/>
                  </a:lnTo>
                  <a:lnTo>
                    <a:pt x="912" y="274"/>
                  </a:lnTo>
                  <a:lnTo>
                    <a:pt x="906" y="283"/>
                  </a:lnTo>
                  <a:lnTo>
                    <a:pt x="900" y="293"/>
                  </a:lnTo>
                  <a:lnTo>
                    <a:pt x="888" y="298"/>
                  </a:lnTo>
                  <a:lnTo>
                    <a:pt x="882" y="308"/>
                  </a:lnTo>
                  <a:lnTo>
                    <a:pt x="871" y="317"/>
                  </a:lnTo>
                  <a:lnTo>
                    <a:pt x="859" y="322"/>
                  </a:lnTo>
                  <a:lnTo>
                    <a:pt x="841" y="331"/>
                  </a:lnTo>
                  <a:lnTo>
                    <a:pt x="829" y="341"/>
                  </a:lnTo>
                  <a:lnTo>
                    <a:pt x="812" y="346"/>
                  </a:lnTo>
                  <a:lnTo>
                    <a:pt x="800" y="351"/>
                  </a:lnTo>
                  <a:lnTo>
                    <a:pt x="771" y="365"/>
                  </a:lnTo>
                  <a:lnTo>
                    <a:pt x="729" y="375"/>
                  </a:lnTo>
                  <a:lnTo>
                    <a:pt x="694" y="384"/>
                  </a:lnTo>
                  <a:lnTo>
                    <a:pt x="653" y="394"/>
                  </a:lnTo>
                  <a:lnTo>
                    <a:pt x="611" y="404"/>
                  </a:lnTo>
                  <a:lnTo>
                    <a:pt x="565" y="408"/>
                  </a:lnTo>
                  <a:lnTo>
                    <a:pt x="518" y="408"/>
                  </a:lnTo>
                  <a:lnTo>
                    <a:pt x="465" y="413"/>
                  </a:lnTo>
                  <a:lnTo>
                    <a:pt x="418" y="408"/>
                  </a:lnTo>
                  <a:lnTo>
                    <a:pt x="365" y="408"/>
                  </a:lnTo>
                  <a:lnTo>
                    <a:pt x="318" y="404"/>
                  </a:lnTo>
                  <a:lnTo>
                    <a:pt x="277" y="399"/>
                  </a:lnTo>
                  <a:lnTo>
                    <a:pt x="236" y="389"/>
                  </a:lnTo>
                  <a:lnTo>
                    <a:pt x="200" y="379"/>
                  </a:lnTo>
                  <a:lnTo>
                    <a:pt x="159" y="370"/>
                  </a:lnTo>
                  <a:lnTo>
                    <a:pt x="129" y="360"/>
                  </a:lnTo>
                  <a:lnTo>
                    <a:pt x="112" y="351"/>
                  </a:lnTo>
                  <a:lnTo>
                    <a:pt x="100" y="346"/>
                  </a:lnTo>
                  <a:lnTo>
                    <a:pt x="89" y="341"/>
                  </a:lnTo>
                  <a:lnTo>
                    <a:pt x="77" y="331"/>
                  </a:lnTo>
                  <a:lnTo>
                    <a:pt x="65" y="327"/>
                  </a:lnTo>
                  <a:lnTo>
                    <a:pt x="53" y="317"/>
                  </a:lnTo>
                  <a:lnTo>
                    <a:pt x="41" y="312"/>
                  </a:lnTo>
                  <a:lnTo>
                    <a:pt x="35" y="303"/>
                  </a:lnTo>
                  <a:lnTo>
                    <a:pt x="24" y="293"/>
                  </a:lnTo>
                  <a:lnTo>
                    <a:pt x="18" y="288"/>
                  </a:lnTo>
                  <a:lnTo>
                    <a:pt x="13" y="279"/>
                  </a:lnTo>
                  <a:lnTo>
                    <a:pt x="6" y="269"/>
                  </a:lnTo>
                  <a:lnTo>
                    <a:pt x="6" y="265"/>
                  </a:lnTo>
                  <a:lnTo>
                    <a:pt x="0" y="255"/>
                  </a:lnTo>
                  <a:lnTo>
                    <a:pt x="0" y="245"/>
                  </a:lnTo>
                  <a:lnTo>
                    <a:pt x="0" y="235"/>
                  </a:lnTo>
                  <a:lnTo>
                    <a:pt x="0" y="226"/>
                  </a:lnTo>
                  <a:lnTo>
                    <a:pt x="0" y="221"/>
                  </a:lnTo>
                  <a:lnTo>
                    <a:pt x="6" y="212"/>
                  </a:lnTo>
                  <a:lnTo>
                    <a:pt x="6" y="202"/>
                  </a:lnTo>
                  <a:lnTo>
                    <a:pt x="13" y="192"/>
                  </a:lnTo>
                  <a:lnTo>
                    <a:pt x="24" y="187"/>
                  </a:lnTo>
                  <a:lnTo>
                    <a:pt x="30" y="178"/>
                  </a:lnTo>
                  <a:lnTo>
                    <a:pt x="35" y="169"/>
                  </a:lnTo>
                  <a:lnTo>
                    <a:pt x="48" y="159"/>
                  </a:lnTo>
                  <a:lnTo>
                    <a:pt x="59" y="154"/>
                  </a:lnTo>
                  <a:lnTo>
                    <a:pt x="71" y="144"/>
                  </a:lnTo>
                  <a:lnTo>
                    <a:pt x="83" y="140"/>
                  </a:lnTo>
                  <a:lnTo>
                    <a:pt x="100" y="130"/>
                  </a:lnTo>
                  <a:lnTo>
                    <a:pt x="112" y="125"/>
                  </a:lnTo>
                  <a:lnTo>
                    <a:pt x="129" y="116"/>
                  </a:lnTo>
                  <a:lnTo>
                    <a:pt x="142" y="111"/>
                  </a:lnTo>
                  <a:lnTo>
                    <a:pt x="183" y="101"/>
                  </a:lnTo>
                  <a:lnTo>
                    <a:pt x="218" y="87"/>
                  </a:lnTo>
                  <a:lnTo>
                    <a:pt x="259" y="78"/>
                  </a:lnTo>
                  <a:lnTo>
                    <a:pt x="301" y="73"/>
                  </a:lnTo>
                  <a:lnTo>
                    <a:pt x="347" y="63"/>
                  </a:lnTo>
                  <a:lnTo>
                    <a:pt x="395" y="63"/>
                  </a:lnTo>
                  <a:lnTo>
                    <a:pt x="441" y="58"/>
                  </a:lnTo>
                  <a:lnTo>
                    <a:pt x="495" y="58"/>
                  </a:lnTo>
                  <a:lnTo>
                    <a:pt x="447" y="101"/>
                  </a:lnTo>
                  <a:lnTo>
                    <a:pt x="400" y="101"/>
                  </a:lnTo>
                  <a:lnTo>
                    <a:pt x="377" y="101"/>
                  </a:lnTo>
                  <a:lnTo>
                    <a:pt x="353" y="106"/>
                  </a:lnTo>
                  <a:lnTo>
                    <a:pt x="330" y="106"/>
                  </a:lnTo>
                  <a:lnTo>
                    <a:pt x="306" y="106"/>
                  </a:lnTo>
                  <a:lnTo>
                    <a:pt x="283" y="111"/>
                  </a:lnTo>
                  <a:lnTo>
                    <a:pt x="265" y="111"/>
                  </a:lnTo>
                  <a:lnTo>
                    <a:pt x="247" y="116"/>
                  </a:lnTo>
                  <a:lnTo>
                    <a:pt x="229" y="121"/>
                  </a:lnTo>
                  <a:lnTo>
                    <a:pt x="212" y="125"/>
                  </a:lnTo>
                  <a:lnTo>
                    <a:pt x="194" y="130"/>
                  </a:lnTo>
                  <a:lnTo>
                    <a:pt x="183" y="130"/>
                  </a:lnTo>
                  <a:lnTo>
                    <a:pt x="159" y="140"/>
                  </a:lnTo>
                  <a:lnTo>
                    <a:pt x="148" y="144"/>
                  </a:lnTo>
                  <a:lnTo>
                    <a:pt x="135" y="149"/>
                  </a:lnTo>
                  <a:lnTo>
                    <a:pt x="112" y="159"/>
                  </a:lnTo>
                  <a:lnTo>
                    <a:pt x="100" y="169"/>
                  </a:lnTo>
                  <a:lnTo>
                    <a:pt x="83" y="178"/>
                  </a:lnTo>
                  <a:lnTo>
                    <a:pt x="71" y="187"/>
                  </a:lnTo>
                  <a:lnTo>
                    <a:pt x="65" y="192"/>
                  </a:lnTo>
                  <a:lnTo>
                    <a:pt x="59" y="202"/>
                  </a:lnTo>
                  <a:lnTo>
                    <a:pt x="53" y="212"/>
                  </a:lnTo>
                  <a:lnTo>
                    <a:pt x="48" y="221"/>
                  </a:lnTo>
                  <a:lnTo>
                    <a:pt x="48" y="235"/>
                  </a:lnTo>
                  <a:lnTo>
                    <a:pt x="48" y="240"/>
                  </a:lnTo>
                  <a:lnTo>
                    <a:pt x="48" y="245"/>
                  </a:lnTo>
                  <a:lnTo>
                    <a:pt x="53" y="255"/>
                  </a:lnTo>
                  <a:lnTo>
                    <a:pt x="53" y="260"/>
                  </a:lnTo>
                  <a:lnTo>
                    <a:pt x="59" y="269"/>
                  </a:lnTo>
                  <a:lnTo>
                    <a:pt x="65" y="274"/>
                  </a:lnTo>
                  <a:lnTo>
                    <a:pt x="71" y="283"/>
                  </a:lnTo>
                  <a:lnTo>
                    <a:pt x="77" y="288"/>
                  </a:lnTo>
                  <a:lnTo>
                    <a:pt x="100" y="298"/>
                  </a:lnTo>
                  <a:lnTo>
                    <a:pt x="118" y="312"/>
                  </a:lnTo>
                  <a:lnTo>
                    <a:pt x="142" y="322"/>
                  </a:lnTo>
                  <a:lnTo>
                    <a:pt x="171" y="331"/>
                  </a:lnTo>
                  <a:lnTo>
                    <a:pt x="200" y="341"/>
                  </a:lnTo>
                  <a:lnTo>
                    <a:pt x="229" y="351"/>
                  </a:lnTo>
                  <a:lnTo>
                    <a:pt x="265" y="360"/>
                  </a:lnTo>
                  <a:lnTo>
                    <a:pt x="301" y="365"/>
                  </a:lnTo>
                  <a:lnTo>
                    <a:pt x="341" y="370"/>
                  </a:lnTo>
                  <a:lnTo>
                    <a:pt x="382" y="375"/>
                  </a:lnTo>
                  <a:lnTo>
                    <a:pt x="424" y="375"/>
                  </a:lnTo>
                  <a:lnTo>
                    <a:pt x="465" y="375"/>
                  </a:lnTo>
                  <a:lnTo>
                    <a:pt x="506" y="375"/>
                  </a:lnTo>
                  <a:lnTo>
                    <a:pt x="547" y="375"/>
                  </a:lnTo>
                  <a:lnTo>
                    <a:pt x="583" y="370"/>
                  </a:lnTo>
                  <a:lnTo>
                    <a:pt x="624" y="365"/>
                  </a:lnTo>
                  <a:lnTo>
                    <a:pt x="659" y="360"/>
                  </a:lnTo>
                  <a:lnTo>
                    <a:pt x="694" y="351"/>
                  </a:lnTo>
                  <a:lnTo>
                    <a:pt x="729" y="341"/>
                  </a:lnTo>
                  <a:lnTo>
                    <a:pt x="759" y="331"/>
                  </a:lnTo>
                  <a:lnTo>
                    <a:pt x="783" y="322"/>
                  </a:lnTo>
                  <a:lnTo>
                    <a:pt x="812" y="312"/>
                  </a:lnTo>
                  <a:lnTo>
                    <a:pt x="829" y="298"/>
                  </a:lnTo>
                  <a:lnTo>
                    <a:pt x="847" y="283"/>
                  </a:lnTo>
                  <a:lnTo>
                    <a:pt x="853" y="279"/>
                  </a:lnTo>
                  <a:lnTo>
                    <a:pt x="859" y="269"/>
                  </a:lnTo>
                  <a:lnTo>
                    <a:pt x="871" y="265"/>
                  </a:lnTo>
                  <a:lnTo>
                    <a:pt x="871" y="260"/>
                  </a:lnTo>
                  <a:lnTo>
                    <a:pt x="871" y="250"/>
                  </a:lnTo>
                  <a:lnTo>
                    <a:pt x="877" y="245"/>
                  </a:lnTo>
                  <a:lnTo>
                    <a:pt x="882" y="235"/>
                  </a:lnTo>
                  <a:lnTo>
                    <a:pt x="882" y="231"/>
                  </a:lnTo>
                  <a:lnTo>
                    <a:pt x="882" y="221"/>
                  </a:lnTo>
                  <a:lnTo>
                    <a:pt x="882" y="217"/>
                  </a:lnTo>
                  <a:lnTo>
                    <a:pt x="871" y="207"/>
                  </a:lnTo>
                  <a:lnTo>
                    <a:pt x="871" y="197"/>
                  </a:lnTo>
                  <a:lnTo>
                    <a:pt x="871" y="192"/>
                  </a:lnTo>
                  <a:lnTo>
                    <a:pt x="859" y="183"/>
                  </a:lnTo>
                  <a:lnTo>
                    <a:pt x="853" y="178"/>
                  </a:lnTo>
                  <a:lnTo>
                    <a:pt x="847" y="169"/>
                  </a:lnTo>
                  <a:lnTo>
                    <a:pt x="841" y="159"/>
                  </a:lnTo>
                  <a:lnTo>
                    <a:pt x="829" y="149"/>
                  </a:lnTo>
                  <a:lnTo>
                    <a:pt x="812" y="144"/>
                  </a:lnTo>
                  <a:lnTo>
                    <a:pt x="806" y="130"/>
                  </a:lnTo>
                  <a:lnTo>
                    <a:pt x="794" y="125"/>
                  </a:lnTo>
                  <a:lnTo>
                    <a:pt x="777" y="116"/>
                  </a:lnTo>
                  <a:lnTo>
                    <a:pt x="764" y="106"/>
                  </a:lnTo>
                  <a:lnTo>
                    <a:pt x="747" y="101"/>
                  </a:lnTo>
                  <a:lnTo>
                    <a:pt x="729" y="92"/>
                  </a:lnTo>
                  <a:lnTo>
                    <a:pt x="712" y="82"/>
                  </a:lnTo>
                  <a:lnTo>
                    <a:pt x="694" y="73"/>
                  </a:lnTo>
                  <a:lnTo>
                    <a:pt x="677" y="68"/>
                  </a:lnTo>
                  <a:lnTo>
                    <a:pt x="659" y="63"/>
                  </a:lnTo>
                  <a:lnTo>
                    <a:pt x="635" y="53"/>
                  </a:lnTo>
                  <a:lnTo>
                    <a:pt x="611" y="44"/>
                  </a:lnTo>
                  <a:lnTo>
                    <a:pt x="589" y="39"/>
                  </a:lnTo>
                  <a:lnTo>
                    <a:pt x="565" y="34"/>
                  </a:lnTo>
                  <a:lnTo>
                    <a:pt x="541" y="30"/>
                  </a:lnTo>
                  <a:lnTo>
                    <a:pt x="518" y="19"/>
                  </a:lnTo>
                  <a:lnTo>
                    <a:pt x="495" y="15"/>
                  </a:lnTo>
                  <a:lnTo>
                    <a:pt x="465" y="10"/>
                  </a:lnTo>
                  <a:lnTo>
                    <a:pt x="441" y="5"/>
                  </a:lnTo>
                  <a:lnTo>
                    <a:pt x="412" y="0"/>
                  </a:lnTo>
                  <a:lnTo>
                    <a:pt x="382" y="0"/>
                  </a:lnTo>
                  <a:close/>
                </a:path>
              </a:pathLst>
            </a:custGeom>
            <a:grpFill/>
            <a:ln w="1651" cap="rnd">
              <a:solidFill>
                <a:srgbClr val="00B05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914400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220" name="Group 8"/>
          <p:cNvGrpSpPr>
            <a:grpSpLocks/>
          </p:cNvGrpSpPr>
          <p:nvPr/>
        </p:nvGrpSpPr>
        <p:grpSpPr bwMode="auto">
          <a:xfrm>
            <a:off x="7200292" y="5877272"/>
            <a:ext cx="1038774" cy="428868"/>
            <a:chOff x="4844" y="1121"/>
            <a:chExt cx="930" cy="413"/>
          </a:xfrm>
          <a:solidFill>
            <a:srgbClr val="00B050"/>
          </a:solidFill>
        </p:grpSpPr>
        <p:sp>
          <p:nvSpPr>
            <p:cNvPr id="221" name="Freeform 9"/>
            <p:cNvSpPr>
              <a:spLocks/>
            </p:cNvSpPr>
            <p:nvPr/>
          </p:nvSpPr>
          <p:spPr bwMode="auto">
            <a:xfrm>
              <a:off x="4844" y="1121"/>
              <a:ext cx="930" cy="413"/>
            </a:xfrm>
            <a:custGeom>
              <a:avLst/>
              <a:gdLst>
                <a:gd name="T0" fmla="*/ 535 w 930"/>
                <a:gd name="T1" fmla="*/ 15 h 413"/>
                <a:gd name="T2" fmla="*/ 718 w 930"/>
                <a:gd name="T3" fmla="*/ 63 h 413"/>
                <a:gd name="T4" fmla="*/ 812 w 930"/>
                <a:gd name="T5" fmla="*/ 106 h 413"/>
                <a:gd name="T6" fmla="*/ 871 w 930"/>
                <a:gd name="T7" fmla="*/ 144 h 413"/>
                <a:gd name="T8" fmla="*/ 912 w 930"/>
                <a:gd name="T9" fmla="*/ 178 h 413"/>
                <a:gd name="T10" fmla="*/ 930 w 930"/>
                <a:gd name="T11" fmla="*/ 217 h 413"/>
                <a:gd name="T12" fmla="*/ 930 w 930"/>
                <a:gd name="T13" fmla="*/ 250 h 413"/>
                <a:gd name="T14" fmla="*/ 906 w 930"/>
                <a:gd name="T15" fmla="*/ 283 h 413"/>
                <a:gd name="T16" fmla="*/ 871 w 930"/>
                <a:gd name="T17" fmla="*/ 317 h 413"/>
                <a:gd name="T18" fmla="*/ 812 w 930"/>
                <a:gd name="T19" fmla="*/ 346 h 413"/>
                <a:gd name="T20" fmla="*/ 694 w 930"/>
                <a:gd name="T21" fmla="*/ 384 h 413"/>
                <a:gd name="T22" fmla="*/ 518 w 930"/>
                <a:gd name="T23" fmla="*/ 408 h 413"/>
                <a:gd name="T24" fmla="*/ 318 w 930"/>
                <a:gd name="T25" fmla="*/ 404 h 413"/>
                <a:gd name="T26" fmla="*/ 159 w 930"/>
                <a:gd name="T27" fmla="*/ 370 h 413"/>
                <a:gd name="T28" fmla="*/ 89 w 930"/>
                <a:gd name="T29" fmla="*/ 341 h 413"/>
                <a:gd name="T30" fmla="*/ 41 w 930"/>
                <a:gd name="T31" fmla="*/ 312 h 413"/>
                <a:gd name="T32" fmla="*/ 13 w 930"/>
                <a:gd name="T33" fmla="*/ 279 h 413"/>
                <a:gd name="T34" fmla="*/ 0 w 930"/>
                <a:gd name="T35" fmla="*/ 245 h 413"/>
                <a:gd name="T36" fmla="*/ 6 w 930"/>
                <a:gd name="T37" fmla="*/ 212 h 413"/>
                <a:gd name="T38" fmla="*/ 30 w 930"/>
                <a:gd name="T39" fmla="*/ 178 h 413"/>
                <a:gd name="T40" fmla="*/ 71 w 930"/>
                <a:gd name="T41" fmla="*/ 144 h 413"/>
                <a:gd name="T42" fmla="*/ 129 w 930"/>
                <a:gd name="T43" fmla="*/ 116 h 413"/>
                <a:gd name="T44" fmla="*/ 259 w 930"/>
                <a:gd name="T45" fmla="*/ 78 h 413"/>
                <a:gd name="T46" fmla="*/ 441 w 930"/>
                <a:gd name="T47" fmla="*/ 58 h 413"/>
                <a:gd name="T48" fmla="*/ 377 w 930"/>
                <a:gd name="T49" fmla="*/ 101 h 413"/>
                <a:gd name="T50" fmla="*/ 283 w 930"/>
                <a:gd name="T51" fmla="*/ 111 h 413"/>
                <a:gd name="T52" fmla="*/ 212 w 930"/>
                <a:gd name="T53" fmla="*/ 125 h 413"/>
                <a:gd name="T54" fmla="*/ 148 w 930"/>
                <a:gd name="T55" fmla="*/ 144 h 413"/>
                <a:gd name="T56" fmla="*/ 83 w 930"/>
                <a:gd name="T57" fmla="*/ 178 h 413"/>
                <a:gd name="T58" fmla="*/ 53 w 930"/>
                <a:gd name="T59" fmla="*/ 212 h 413"/>
                <a:gd name="T60" fmla="*/ 48 w 930"/>
                <a:gd name="T61" fmla="*/ 245 h 413"/>
                <a:gd name="T62" fmla="*/ 65 w 930"/>
                <a:gd name="T63" fmla="*/ 274 h 413"/>
                <a:gd name="T64" fmla="*/ 118 w 930"/>
                <a:gd name="T65" fmla="*/ 312 h 413"/>
                <a:gd name="T66" fmla="*/ 229 w 930"/>
                <a:gd name="T67" fmla="*/ 351 h 413"/>
                <a:gd name="T68" fmla="*/ 382 w 930"/>
                <a:gd name="T69" fmla="*/ 375 h 413"/>
                <a:gd name="T70" fmla="*/ 547 w 930"/>
                <a:gd name="T71" fmla="*/ 375 h 413"/>
                <a:gd name="T72" fmla="*/ 694 w 930"/>
                <a:gd name="T73" fmla="*/ 351 h 413"/>
                <a:gd name="T74" fmla="*/ 812 w 930"/>
                <a:gd name="T75" fmla="*/ 312 h 413"/>
                <a:gd name="T76" fmla="*/ 859 w 930"/>
                <a:gd name="T77" fmla="*/ 269 h 413"/>
                <a:gd name="T78" fmla="*/ 877 w 930"/>
                <a:gd name="T79" fmla="*/ 245 h 413"/>
                <a:gd name="T80" fmla="*/ 882 w 930"/>
                <a:gd name="T81" fmla="*/ 217 h 413"/>
                <a:gd name="T82" fmla="*/ 859 w 930"/>
                <a:gd name="T83" fmla="*/ 183 h 413"/>
                <a:gd name="T84" fmla="*/ 829 w 930"/>
                <a:gd name="T85" fmla="*/ 149 h 413"/>
                <a:gd name="T86" fmla="*/ 777 w 930"/>
                <a:gd name="T87" fmla="*/ 116 h 413"/>
                <a:gd name="T88" fmla="*/ 712 w 930"/>
                <a:gd name="T89" fmla="*/ 82 h 413"/>
                <a:gd name="T90" fmla="*/ 635 w 930"/>
                <a:gd name="T91" fmla="*/ 53 h 413"/>
                <a:gd name="T92" fmla="*/ 541 w 930"/>
                <a:gd name="T93" fmla="*/ 30 h 413"/>
                <a:gd name="T94" fmla="*/ 441 w 930"/>
                <a:gd name="T95" fmla="*/ 5 h 41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930"/>
                <a:gd name="T145" fmla="*/ 0 h 413"/>
                <a:gd name="T146" fmla="*/ 930 w 930"/>
                <a:gd name="T147" fmla="*/ 413 h 41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930" h="413">
                  <a:moveTo>
                    <a:pt x="382" y="0"/>
                  </a:moveTo>
                  <a:lnTo>
                    <a:pt x="430" y="0"/>
                  </a:lnTo>
                  <a:lnTo>
                    <a:pt x="482" y="5"/>
                  </a:lnTo>
                  <a:lnTo>
                    <a:pt x="535" y="15"/>
                  </a:lnTo>
                  <a:lnTo>
                    <a:pt x="583" y="25"/>
                  </a:lnTo>
                  <a:lnTo>
                    <a:pt x="629" y="34"/>
                  </a:lnTo>
                  <a:lnTo>
                    <a:pt x="677" y="48"/>
                  </a:lnTo>
                  <a:lnTo>
                    <a:pt x="718" y="63"/>
                  </a:lnTo>
                  <a:lnTo>
                    <a:pt x="759" y="78"/>
                  </a:lnTo>
                  <a:lnTo>
                    <a:pt x="777" y="87"/>
                  </a:lnTo>
                  <a:lnTo>
                    <a:pt x="794" y="96"/>
                  </a:lnTo>
                  <a:lnTo>
                    <a:pt x="812" y="106"/>
                  </a:lnTo>
                  <a:lnTo>
                    <a:pt x="829" y="116"/>
                  </a:lnTo>
                  <a:lnTo>
                    <a:pt x="841" y="121"/>
                  </a:lnTo>
                  <a:lnTo>
                    <a:pt x="859" y="130"/>
                  </a:lnTo>
                  <a:lnTo>
                    <a:pt x="871" y="144"/>
                  </a:lnTo>
                  <a:lnTo>
                    <a:pt x="882" y="149"/>
                  </a:lnTo>
                  <a:lnTo>
                    <a:pt x="894" y="159"/>
                  </a:lnTo>
                  <a:lnTo>
                    <a:pt x="906" y="169"/>
                  </a:lnTo>
                  <a:lnTo>
                    <a:pt x="912" y="178"/>
                  </a:lnTo>
                  <a:lnTo>
                    <a:pt x="917" y="187"/>
                  </a:lnTo>
                  <a:lnTo>
                    <a:pt x="930" y="197"/>
                  </a:lnTo>
                  <a:lnTo>
                    <a:pt x="930" y="207"/>
                  </a:lnTo>
                  <a:lnTo>
                    <a:pt x="930" y="217"/>
                  </a:lnTo>
                  <a:lnTo>
                    <a:pt x="930" y="226"/>
                  </a:lnTo>
                  <a:lnTo>
                    <a:pt x="930" y="231"/>
                  </a:lnTo>
                  <a:lnTo>
                    <a:pt x="930" y="240"/>
                  </a:lnTo>
                  <a:lnTo>
                    <a:pt x="930" y="250"/>
                  </a:lnTo>
                  <a:lnTo>
                    <a:pt x="923" y="260"/>
                  </a:lnTo>
                  <a:lnTo>
                    <a:pt x="917" y="269"/>
                  </a:lnTo>
                  <a:lnTo>
                    <a:pt x="912" y="274"/>
                  </a:lnTo>
                  <a:lnTo>
                    <a:pt x="906" y="283"/>
                  </a:lnTo>
                  <a:lnTo>
                    <a:pt x="900" y="293"/>
                  </a:lnTo>
                  <a:lnTo>
                    <a:pt x="888" y="298"/>
                  </a:lnTo>
                  <a:lnTo>
                    <a:pt x="882" y="308"/>
                  </a:lnTo>
                  <a:lnTo>
                    <a:pt x="871" y="317"/>
                  </a:lnTo>
                  <a:lnTo>
                    <a:pt x="859" y="322"/>
                  </a:lnTo>
                  <a:lnTo>
                    <a:pt x="841" y="331"/>
                  </a:lnTo>
                  <a:lnTo>
                    <a:pt x="829" y="341"/>
                  </a:lnTo>
                  <a:lnTo>
                    <a:pt x="812" y="346"/>
                  </a:lnTo>
                  <a:lnTo>
                    <a:pt x="800" y="351"/>
                  </a:lnTo>
                  <a:lnTo>
                    <a:pt x="771" y="365"/>
                  </a:lnTo>
                  <a:lnTo>
                    <a:pt x="729" y="375"/>
                  </a:lnTo>
                  <a:lnTo>
                    <a:pt x="694" y="384"/>
                  </a:lnTo>
                  <a:lnTo>
                    <a:pt x="653" y="394"/>
                  </a:lnTo>
                  <a:lnTo>
                    <a:pt x="611" y="404"/>
                  </a:lnTo>
                  <a:lnTo>
                    <a:pt x="565" y="408"/>
                  </a:lnTo>
                  <a:lnTo>
                    <a:pt x="518" y="408"/>
                  </a:lnTo>
                  <a:lnTo>
                    <a:pt x="465" y="413"/>
                  </a:lnTo>
                  <a:lnTo>
                    <a:pt x="418" y="408"/>
                  </a:lnTo>
                  <a:lnTo>
                    <a:pt x="365" y="408"/>
                  </a:lnTo>
                  <a:lnTo>
                    <a:pt x="318" y="404"/>
                  </a:lnTo>
                  <a:lnTo>
                    <a:pt x="277" y="399"/>
                  </a:lnTo>
                  <a:lnTo>
                    <a:pt x="236" y="389"/>
                  </a:lnTo>
                  <a:lnTo>
                    <a:pt x="200" y="379"/>
                  </a:lnTo>
                  <a:lnTo>
                    <a:pt x="159" y="370"/>
                  </a:lnTo>
                  <a:lnTo>
                    <a:pt x="129" y="360"/>
                  </a:lnTo>
                  <a:lnTo>
                    <a:pt x="112" y="351"/>
                  </a:lnTo>
                  <a:lnTo>
                    <a:pt x="100" y="346"/>
                  </a:lnTo>
                  <a:lnTo>
                    <a:pt x="89" y="341"/>
                  </a:lnTo>
                  <a:lnTo>
                    <a:pt x="77" y="331"/>
                  </a:lnTo>
                  <a:lnTo>
                    <a:pt x="65" y="327"/>
                  </a:lnTo>
                  <a:lnTo>
                    <a:pt x="53" y="317"/>
                  </a:lnTo>
                  <a:lnTo>
                    <a:pt x="41" y="312"/>
                  </a:lnTo>
                  <a:lnTo>
                    <a:pt x="35" y="303"/>
                  </a:lnTo>
                  <a:lnTo>
                    <a:pt x="24" y="293"/>
                  </a:lnTo>
                  <a:lnTo>
                    <a:pt x="18" y="288"/>
                  </a:lnTo>
                  <a:lnTo>
                    <a:pt x="13" y="279"/>
                  </a:lnTo>
                  <a:lnTo>
                    <a:pt x="6" y="269"/>
                  </a:lnTo>
                  <a:lnTo>
                    <a:pt x="6" y="265"/>
                  </a:lnTo>
                  <a:lnTo>
                    <a:pt x="0" y="255"/>
                  </a:lnTo>
                  <a:lnTo>
                    <a:pt x="0" y="245"/>
                  </a:lnTo>
                  <a:lnTo>
                    <a:pt x="0" y="235"/>
                  </a:lnTo>
                  <a:lnTo>
                    <a:pt x="0" y="226"/>
                  </a:lnTo>
                  <a:lnTo>
                    <a:pt x="0" y="221"/>
                  </a:lnTo>
                  <a:lnTo>
                    <a:pt x="6" y="212"/>
                  </a:lnTo>
                  <a:lnTo>
                    <a:pt x="6" y="202"/>
                  </a:lnTo>
                  <a:lnTo>
                    <a:pt x="13" y="192"/>
                  </a:lnTo>
                  <a:lnTo>
                    <a:pt x="24" y="187"/>
                  </a:lnTo>
                  <a:lnTo>
                    <a:pt x="30" y="178"/>
                  </a:lnTo>
                  <a:lnTo>
                    <a:pt x="35" y="169"/>
                  </a:lnTo>
                  <a:lnTo>
                    <a:pt x="48" y="159"/>
                  </a:lnTo>
                  <a:lnTo>
                    <a:pt x="59" y="154"/>
                  </a:lnTo>
                  <a:lnTo>
                    <a:pt x="71" y="144"/>
                  </a:lnTo>
                  <a:lnTo>
                    <a:pt x="83" y="140"/>
                  </a:lnTo>
                  <a:lnTo>
                    <a:pt x="100" y="130"/>
                  </a:lnTo>
                  <a:lnTo>
                    <a:pt x="112" y="125"/>
                  </a:lnTo>
                  <a:lnTo>
                    <a:pt x="129" y="116"/>
                  </a:lnTo>
                  <a:lnTo>
                    <a:pt x="142" y="111"/>
                  </a:lnTo>
                  <a:lnTo>
                    <a:pt x="183" y="101"/>
                  </a:lnTo>
                  <a:lnTo>
                    <a:pt x="218" y="87"/>
                  </a:lnTo>
                  <a:lnTo>
                    <a:pt x="259" y="78"/>
                  </a:lnTo>
                  <a:lnTo>
                    <a:pt x="301" y="73"/>
                  </a:lnTo>
                  <a:lnTo>
                    <a:pt x="347" y="63"/>
                  </a:lnTo>
                  <a:lnTo>
                    <a:pt x="395" y="63"/>
                  </a:lnTo>
                  <a:lnTo>
                    <a:pt x="441" y="58"/>
                  </a:lnTo>
                  <a:lnTo>
                    <a:pt x="495" y="58"/>
                  </a:lnTo>
                  <a:lnTo>
                    <a:pt x="447" y="101"/>
                  </a:lnTo>
                  <a:lnTo>
                    <a:pt x="400" y="101"/>
                  </a:lnTo>
                  <a:lnTo>
                    <a:pt x="377" y="101"/>
                  </a:lnTo>
                  <a:lnTo>
                    <a:pt x="353" y="106"/>
                  </a:lnTo>
                  <a:lnTo>
                    <a:pt x="330" y="106"/>
                  </a:lnTo>
                  <a:lnTo>
                    <a:pt x="306" y="106"/>
                  </a:lnTo>
                  <a:lnTo>
                    <a:pt x="283" y="111"/>
                  </a:lnTo>
                  <a:lnTo>
                    <a:pt x="265" y="111"/>
                  </a:lnTo>
                  <a:lnTo>
                    <a:pt x="247" y="116"/>
                  </a:lnTo>
                  <a:lnTo>
                    <a:pt x="229" y="121"/>
                  </a:lnTo>
                  <a:lnTo>
                    <a:pt x="212" y="125"/>
                  </a:lnTo>
                  <a:lnTo>
                    <a:pt x="194" y="130"/>
                  </a:lnTo>
                  <a:lnTo>
                    <a:pt x="183" y="130"/>
                  </a:lnTo>
                  <a:lnTo>
                    <a:pt x="159" y="140"/>
                  </a:lnTo>
                  <a:lnTo>
                    <a:pt x="148" y="144"/>
                  </a:lnTo>
                  <a:lnTo>
                    <a:pt x="135" y="149"/>
                  </a:lnTo>
                  <a:lnTo>
                    <a:pt x="112" y="159"/>
                  </a:lnTo>
                  <a:lnTo>
                    <a:pt x="100" y="169"/>
                  </a:lnTo>
                  <a:lnTo>
                    <a:pt x="83" y="178"/>
                  </a:lnTo>
                  <a:lnTo>
                    <a:pt x="71" y="187"/>
                  </a:lnTo>
                  <a:lnTo>
                    <a:pt x="65" y="192"/>
                  </a:lnTo>
                  <a:lnTo>
                    <a:pt x="59" y="202"/>
                  </a:lnTo>
                  <a:lnTo>
                    <a:pt x="53" y="212"/>
                  </a:lnTo>
                  <a:lnTo>
                    <a:pt x="48" y="221"/>
                  </a:lnTo>
                  <a:lnTo>
                    <a:pt x="48" y="235"/>
                  </a:lnTo>
                  <a:lnTo>
                    <a:pt x="48" y="240"/>
                  </a:lnTo>
                  <a:lnTo>
                    <a:pt x="48" y="245"/>
                  </a:lnTo>
                  <a:lnTo>
                    <a:pt x="53" y="255"/>
                  </a:lnTo>
                  <a:lnTo>
                    <a:pt x="53" y="260"/>
                  </a:lnTo>
                  <a:lnTo>
                    <a:pt x="59" y="269"/>
                  </a:lnTo>
                  <a:lnTo>
                    <a:pt x="65" y="274"/>
                  </a:lnTo>
                  <a:lnTo>
                    <a:pt x="71" y="283"/>
                  </a:lnTo>
                  <a:lnTo>
                    <a:pt x="77" y="288"/>
                  </a:lnTo>
                  <a:lnTo>
                    <a:pt x="100" y="298"/>
                  </a:lnTo>
                  <a:lnTo>
                    <a:pt x="118" y="312"/>
                  </a:lnTo>
                  <a:lnTo>
                    <a:pt x="142" y="322"/>
                  </a:lnTo>
                  <a:lnTo>
                    <a:pt x="171" y="331"/>
                  </a:lnTo>
                  <a:lnTo>
                    <a:pt x="200" y="341"/>
                  </a:lnTo>
                  <a:lnTo>
                    <a:pt x="229" y="351"/>
                  </a:lnTo>
                  <a:lnTo>
                    <a:pt x="265" y="360"/>
                  </a:lnTo>
                  <a:lnTo>
                    <a:pt x="301" y="365"/>
                  </a:lnTo>
                  <a:lnTo>
                    <a:pt x="341" y="370"/>
                  </a:lnTo>
                  <a:lnTo>
                    <a:pt x="382" y="375"/>
                  </a:lnTo>
                  <a:lnTo>
                    <a:pt x="424" y="375"/>
                  </a:lnTo>
                  <a:lnTo>
                    <a:pt x="465" y="375"/>
                  </a:lnTo>
                  <a:lnTo>
                    <a:pt x="506" y="375"/>
                  </a:lnTo>
                  <a:lnTo>
                    <a:pt x="547" y="375"/>
                  </a:lnTo>
                  <a:lnTo>
                    <a:pt x="583" y="370"/>
                  </a:lnTo>
                  <a:lnTo>
                    <a:pt x="624" y="365"/>
                  </a:lnTo>
                  <a:lnTo>
                    <a:pt x="659" y="360"/>
                  </a:lnTo>
                  <a:lnTo>
                    <a:pt x="694" y="351"/>
                  </a:lnTo>
                  <a:lnTo>
                    <a:pt x="729" y="341"/>
                  </a:lnTo>
                  <a:lnTo>
                    <a:pt x="759" y="331"/>
                  </a:lnTo>
                  <a:lnTo>
                    <a:pt x="783" y="322"/>
                  </a:lnTo>
                  <a:lnTo>
                    <a:pt x="812" y="312"/>
                  </a:lnTo>
                  <a:lnTo>
                    <a:pt x="829" y="298"/>
                  </a:lnTo>
                  <a:lnTo>
                    <a:pt x="847" y="283"/>
                  </a:lnTo>
                  <a:lnTo>
                    <a:pt x="853" y="279"/>
                  </a:lnTo>
                  <a:lnTo>
                    <a:pt x="859" y="269"/>
                  </a:lnTo>
                  <a:lnTo>
                    <a:pt x="871" y="265"/>
                  </a:lnTo>
                  <a:lnTo>
                    <a:pt x="871" y="260"/>
                  </a:lnTo>
                  <a:lnTo>
                    <a:pt x="871" y="250"/>
                  </a:lnTo>
                  <a:lnTo>
                    <a:pt x="877" y="245"/>
                  </a:lnTo>
                  <a:lnTo>
                    <a:pt x="882" y="235"/>
                  </a:lnTo>
                  <a:lnTo>
                    <a:pt x="882" y="231"/>
                  </a:lnTo>
                  <a:lnTo>
                    <a:pt x="882" y="221"/>
                  </a:lnTo>
                  <a:lnTo>
                    <a:pt x="882" y="217"/>
                  </a:lnTo>
                  <a:lnTo>
                    <a:pt x="871" y="207"/>
                  </a:lnTo>
                  <a:lnTo>
                    <a:pt x="871" y="197"/>
                  </a:lnTo>
                  <a:lnTo>
                    <a:pt x="871" y="192"/>
                  </a:lnTo>
                  <a:lnTo>
                    <a:pt x="859" y="183"/>
                  </a:lnTo>
                  <a:lnTo>
                    <a:pt x="853" y="178"/>
                  </a:lnTo>
                  <a:lnTo>
                    <a:pt x="847" y="169"/>
                  </a:lnTo>
                  <a:lnTo>
                    <a:pt x="841" y="159"/>
                  </a:lnTo>
                  <a:lnTo>
                    <a:pt x="829" y="149"/>
                  </a:lnTo>
                  <a:lnTo>
                    <a:pt x="812" y="144"/>
                  </a:lnTo>
                  <a:lnTo>
                    <a:pt x="806" y="130"/>
                  </a:lnTo>
                  <a:lnTo>
                    <a:pt x="794" y="125"/>
                  </a:lnTo>
                  <a:lnTo>
                    <a:pt x="777" y="116"/>
                  </a:lnTo>
                  <a:lnTo>
                    <a:pt x="764" y="106"/>
                  </a:lnTo>
                  <a:lnTo>
                    <a:pt x="747" y="101"/>
                  </a:lnTo>
                  <a:lnTo>
                    <a:pt x="729" y="92"/>
                  </a:lnTo>
                  <a:lnTo>
                    <a:pt x="712" y="82"/>
                  </a:lnTo>
                  <a:lnTo>
                    <a:pt x="694" y="73"/>
                  </a:lnTo>
                  <a:lnTo>
                    <a:pt x="677" y="68"/>
                  </a:lnTo>
                  <a:lnTo>
                    <a:pt x="659" y="63"/>
                  </a:lnTo>
                  <a:lnTo>
                    <a:pt x="635" y="53"/>
                  </a:lnTo>
                  <a:lnTo>
                    <a:pt x="611" y="44"/>
                  </a:lnTo>
                  <a:lnTo>
                    <a:pt x="589" y="39"/>
                  </a:lnTo>
                  <a:lnTo>
                    <a:pt x="565" y="34"/>
                  </a:lnTo>
                  <a:lnTo>
                    <a:pt x="541" y="30"/>
                  </a:lnTo>
                  <a:lnTo>
                    <a:pt x="518" y="19"/>
                  </a:lnTo>
                  <a:lnTo>
                    <a:pt x="495" y="15"/>
                  </a:lnTo>
                  <a:lnTo>
                    <a:pt x="465" y="10"/>
                  </a:lnTo>
                  <a:lnTo>
                    <a:pt x="441" y="5"/>
                  </a:lnTo>
                  <a:lnTo>
                    <a:pt x="412" y="0"/>
                  </a:lnTo>
                  <a:lnTo>
                    <a:pt x="382" y="0"/>
                  </a:lnTo>
                  <a:close/>
                </a:path>
              </a:pathLst>
            </a:custGeom>
            <a:grpFill/>
            <a:ln w="9525">
              <a:solidFill>
                <a:srgbClr val="00B050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914400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22" name="Freeform 10"/>
            <p:cNvSpPr>
              <a:spLocks/>
            </p:cNvSpPr>
            <p:nvPr/>
          </p:nvSpPr>
          <p:spPr bwMode="auto">
            <a:xfrm>
              <a:off x="4844" y="1121"/>
              <a:ext cx="930" cy="413"/>
            </a:xfrm>
            <a:custGeom>
              <a:avLst/>
              <a:gdLst>
                <a:gd name="T0" fmla="*/ 535 w 930"/>
                <a:gd name="T1" fmla="*/ 15 h 413"/>
                <a:gd name="T2" fmla="*/ 718 w 930"/>
                <a:gd name="T3" fmla="*/ 63 h 413"/>
                <a:gd name="T4" fmla="*/ 812 w 930"/>
                <a:gd name="T5" fmla="*/ 106 h 413"/>
                <a:gd name="T6" fmla="*/ 871 w 930"/>
                <a:gd name="T7" fmla="*/ 144 h 413"/>
                <a:gd name="T8" fmla="*/ 912 w 930"/>
                <a:gd name="T9" fmla="*/ 178 h 413"/>
                <a:gd name="T10" fmla="*/ 930 w 930"/>
                <a:gd name="T11" fmla="*/ 217 h 413"/>
                <a:gd name="T12" fmla="*/ 930 w 930"/>
                <a:gd name="T13" fmla="*/ 250 h 413"/>
                <a:gd name="T14" fmla="*/ 906 w 930"/>
                <a:gd name="T15" fmla="*/ 283 h 413"/>
                <a:gd name="T16" fmla="*/ 871 w 930"/>
                <a:gd name="T17" fmla="*/ 317 h 413"/>
                <a:gd name="T18" fmla="*/ 812 w 930"/>
                <a:gd name="T19" fmla="*/ 346 h 413"/>
                <a:gd name="T20" fmla="*/ 694 w 930"/>
                <a:gd name="T21" fmla="*/ 384 h 413"/>
                <a:gd name="T22" fmla="*/ 518 w 930"/>
                <a:gd name="T23" fmla="*/ 408 h 413"/>
                <a:gd name="T24" fmla="*/ 318 w 930"/>
                <a:gd name="T25" fmla="*/ 404 h 413"/>
                <a:gd name="T26" fmla="*/ 159 w 930"/>
                <a:gd name="T27" fmla="*/ 370 h 413"/>
                <a:gd name="T28" fmla="*/ 89 w 930"/>
                <a:gd name="T29" fmla="*/ 341 h 413"/>
                <a:gd name="T30" fmla="*/ 41 w 930"/>
                <a:gd name="T31" fmla="*/ 312 h 413"/>
                <a:gd name="T32" fmla="*/ 13 w 930"/>
                <a:gd name="T33" fmla="*/ 279 h 413"/>
                <a:gd name="T34" fmla="*/ 0 w 930"/>
                <a:gd name="T35" fmla="*/ 245 h 413"/>
                <a:gd name="T36" fmla="*/ 6 w 930"/>
                <a:gd name="T37" fmla="*/ 212 h 413"/>
                <a:gd name="T38" fmla="*/ 30 w 930"/>
                <a:gd name="T39" fmla="*/ 178 h 413"/>
                <a:gd name="T40" fmla="*/ 71 w 930"/>
                <a:gd name="T41" fmla="*/ 144 h 413"/>
                <a:gd name="T42" fmla="*/ 129 w 930"/>
                <a:gd name="T43" fmla="*/ 116 h 413"/>
                <a:gd name="T44" fmla="*/ 259 w 930"/>
                <a:gd name="T45" fmla="*/ 78 h 413"/>
                <a:gd name="T46" fmla="*/ 441 w 930"/>
                <a:gd name="T47" fmla="*/ 58 h 413"/>
                <a:gd name="T48" fmla="*/ 377 w 930"/>
                <a:gd name="T49" fmla="*/ 101 h 413"/>
                <a:gd name="T50" fmla="*/ 283 w 930"/>
                <a:gd name="T51" fmla="*/ 111 h 413"/>
                <a:gd name="T52" fmla="*/ 212 w 930"/>
                <a:gd name="T53" fmla="*/ 125 h 413"/>
                <a:gd name="T54" fmla="*/ 148 w 930"/>
                <a:gd name="T55" fmla="*/ 144 h 413"/>
                <a:gd name="T56" fmla="*/ 83 w 930"/>
                <a:gd name="T57" fmla="*/ 178 h 413"/>
                <a:gd name="T58" fmla="*/ 53 w 930"/>
                <a:gd name="T59" fmla="*/ 212 h 413"/>
                <a:gd name="T60" fmla="*/ 48 w 930"/>
                <a:gd name="T61" fmla="*/ 245 h 413"/>
                <a:gd name="T62" fmla="*/ 65 w 930"/>
                <a:gd name="T63" fmla="*/ 274 h 413"/>
                <a:gd name="T64" fmla="*/ 118 w 930"/>
                <a:gd name="T65" fmla="*/ 312 h 413"/>
                <a:gd name="T66" fmla="*/ 229 w 930"/>
                <a:gd name="T67" fmla="*/ 351 h 413"/>
                <a:gd name="T68" fmla="*/ 382 w 930"/>
                <a:gd name="T69" fmla="*/ 375 h 413"/>
                <a:gd name="T70" fmla="*/ 547 w 930"/>
                <a:gd name="T71" fmla="*/ 375 h 413"/>
                <a:gd name="T72" fmla="*/ 694 w 930"/>
                <a:gd name="T73" fmla="*/ 351 h 413"/>
                <a:gd name="T74" fmla="*/ 812 w 930"/>
                <a:gd name="T75" fmla="*/ 312 h 413"/>
                <a:gd name="T76" fmla="*/ 859 w 930"/>
                <a:gd name="T77" fmla="*/ 269 h 413"/>
                <a:gd name="T78" fmla="*/ 877 w 930"/>
                <a:gd name="T79" fmla="*/ 245 h 413"/>
                <a:gd name="T80" fmla="*/ 882 w 930"/>
                <a:gd name="T81" fmla="*/ 217 h 413"/>
                <a:gd name="T82" fmla="*/ 859 w 930"/>
                <a:gd name="T83" fmla="*/ 183 h 413"/>
                <a:gd name="T84" fmla="*/ 829 w 930"/>
                <a:gd name="T85" fmla="*/ 149 h 413"/>
                <a:gd name="T86" fmla="*/ 777 w 930"/>
                <a:gd name="T87" fmla="*/ 116 h 413"/>
                <a:gd name="T88" fmla="*/ 712 w 930"/>
                <a:gd name="T89" fmla="*/ 82 h 413"/>
                <a:gd name="T90" fmla="*/ 635 w 930"/>
                <a:gd name="T91" fmla="*/ 53 h 413"/>
                <a:gd name="T92" fmla="*/ 541 w 930"/>
                <a:gd name="T93" fmla="*/ 30 h 413"/>
                <a:gd name="T94" fmla="*/ 441 w 930"/>
                <a:gd name="T95" fmla="*/ 5 h 41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930"/>
                <a:gd name="T145" fmla="*/ 0 h 413"/>
                <a:gd name="T146" fmla="*/ 930 w 930"/>
                <a:gd name="T147" fmla="*/ 413 h 41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930" h="413">
                  <a:moveTo>
                    <a:pt x="382" y="0"/>
                  </a:moveTo>
                  <a:lnTo>
                    <a:pt x="430" y="0"/>
                  </a:lnTo>
                  <a:lnTo>
                    <a:pt x="482" y="5"/>
                  </a:lnTo>
                  <a:lnTo>
                    <a:pt x="535" y="15"/>
                  </a:lnTo>
                  <a:lnTo>
                    <a:pt x="583" y="25"/>
                  </a:lnTo>
                  <a:lnTo>
                    <a:pt x="629" y="34"/>
                  </a:lnTo>
                  <a:lnTo>
                    <a:pt x="677" y="48"/>
                  </a:lnTo>
                  <a:lnTo>
                    <a:pt x="718" y="63"/>
                  </a:lnTo>
                  <a:lnTo>
                    <a:pt x="759" y="78"/>
                  </a:lnTo>
                  <a:lnTo>
                    <a:pt x="777" y="87"/>
                  </a:lnTo>
                  <a:lnTo>
                    <a:pt x="794" y="96"/>
                  </a:lnTo>
                  <a:lnTo>
                    <a:pt x="812" y="106"/>
                  </a:lnTo>
                  <a:lnTo>
                    <a:pt x="829" y="116"/>
                  </a:lnTo>
                  <a:lnTo>
                    <a:pt x="841" y="121"/>
                  </a:lnTo>
                  <a:lnTo>
                    <a:pt x="859" y="130"/>
                  </a:lnTo>
                  <a:lnTo>
                    <a:pt x="871" y="144"/>
                  </a:lnTo>
                  <a:lnTo>
                    <a:pt x="882" y="149"/>
                  </a:lnTo>
                  <a:lnTo>
                    <a:pt x="894" y="159"/>
                  </a:lnTo>
                  <a:lnTo>
                    <a:pt x="906" y="169"/>
                  </a:lnTo>
                  <a:lnTo>
                    <a:pt x="912" y="178"/>
                  </a:lnTo>
                  <a:lnTo>
                    <a:pt x="917" y="187"/>
                  </a:lnTo>
                  <a:lnTo>
                    <a:pt x="930" y="197"/>
                  </a:lnTo>
                  <a:lnTo>
                    <a:pt x="930" y="207"/>
                  </a:lnTo>
                  <a:lnTo>
                    <a:pt x="930" y="217"/>
                  </a:lnTo>
                  <a:lnTo>
                    <a:pt x="930" y="226"/>
                  </a:lnTo>
                  <a:lnTo>
                    <a:pt x="930" y="231"/>
                  </a:lnTo>
                  <a:lnTo>
                    <a:pt x="930" y="240"/>
                  </a:lnTo>
                  <a:lnTo>
                    <a:pt x="930" y="250"/>
                  </a:lnTo>
                  <a:lnTo>
                    <a:pt x="923" y="260"/>
                  </a:lnTo>
                  <a:lnTo>
                    <a:pt x="917" y="269"/>
                  </a:lnTo>
                  <a:lnTo>
                    <a:pt x="912" y="274"/>
                  </a:lnTo>
                  <a:lnTo>
                    <a:pt x="906" y="283"/>
                  </a:lnTo>
                  <a:lnTo>
                    <a:pt x="900" y="293"/>
                  </a:lnTo>
                  <a:lnTo>
                    <a:pt x="888" y="298"/>
                  </a:lnTo>
                  <a:lnTo>
                    <a:pt x="882" y="308"/>
                  </a:lnTo>
                  <a:lnTo>
                    <a:pt x="871" y="317"/>
                  </a:lnTo>
                  <a:lnTo>
                    <a:pt x="859" y="322"/>
                  </a:lnTo>
                  <a:lnTo>
                    <a:pt x="841" y="331"/>
                  </a:lnTo>
                  <a:lnTo>
                    <a:pt x="829" y="341"/>
                  </a:lnTo>
                  <a:lnTo>
                    <a:pt x="812" y="346"/>
                  </a:lnTo>
                  <a:lnTo>
                    <a:pt x="800" y="351"/>
                  </a:lnTo>
                  <a:lnTo>
                    <a:pt x="771" y="365"/>
                  </a:lnTo>
                  <a:lnTo>
                    <a:pt x="729" y="375"/>
                  </a:lnTo>
                  <a:lnTo>
                    <a:pt x="694" y="384"/>
                  </a:lnTo>
                  <a:lnTo>
                    <a:pt x="653" y="394"/>
                  </a:lnTo>
                  <a:lnTo>
                    <a:pt x="611" y="404"/>
                  </a:lnTo>
                  <a:lnTo>
                    <a:pt x="565" y="408"/>
                  </a:lnTo>
                  <a:lnTo>
                    <a:pt x="518" y="408"/>
                  </a:lnTo>
                  <a:lnTo>
                    <a:pt x="465" y="413"/>
                  </a:lnTo>
                  <a:lnTo>
                    <a:pt x="418" y="408"/>
                  </a:lnTo>
                  <a:lnTo>
                    <a:pt x="365" y="408"/>
                  </a:lnTo>
                  <a:lnTo>
                    <a:pt x="318" y="404"/>
                  </a:lnTo>
                  <a:lnTo>
                    <a:pt x="277" y="399"/>
                  </a:lnTo>
                  <a:lnTo>
                    <a:pt x="236" y="389"/>
                  </a:lnTo>
                  <a:lnTo>
                    <a:pt x="200" y="379"/>
                  </a:lnTo>
                  <a:lnTo>
                    <a:pt x="159" y="370"/>
                  </a:lnTo>
                  <a:lnTo>
                    <a:pt x="129" y="360"/>
                  </a:lnTo>
                  <a:lnTo>
                    <a:pt x="112" y="351"/>
                  </a:lnTo>
                  <a:lnTo>
                    <a:pt x="100" y="346"/>
                  </a:lnTo>
                  <a:lnTo>
                    <a:pt x="89" y="341"/>
                  </a:lnTo>
                  <a:lnTo>
                    <a:pt x="77" y="331"/>
                  </a:lnTo>
                  <a:lnTo>
                    <a:pt x="65" y="327"/>
                  </a:lnTo>
                  <a:lnTo>
                    <a:pt x="53" y="317"/>
                  </a:lnTo>
                  <a:lnTo>
                    <a:pt x="41" y="312"/>
                  </a:lnTo>
                  <a:lnTo>
                    <a:pt x="35" y="303"/>
                  </a:lnTo>
                  <a:lnTo>
                    <a:pt x="24" y="293"/>
                  </a:lnTo>
                  <a:lnTo>
                    <a:pt x="18" y="288"/>
                  </a:lnTo>
                  <a:lnTo>
                    <a:pt x="13" y="279"/>
                  </a:lnTo>
                  <a:lnTo>
                    <a:pt x="6" y="269"/>
                  </a:lnTo>
                  <a:lnTo>
                    <a:pt x="6" y="265"/>
                  </a:lnTo>
                  <a:lnTo>
                    <a:pt x="0" y="255"/>
                  </a:lnTo>
                  <a:lnTo>
                    <a:pt x="0" y="245"/>
                  </a:lnTo>
                  <a:lnTo>
                    <a:pt x="0" y="235"/>
                  </a:lnTo>
                  <a:lnTo>
                    <a:pt x="0" y="226"/>
                  </a:lnTo>
                  <a:lnTo>
                    <a:pt x="0" y="221"/>
                  </a:lnTo>
                  <a:lnTo>
                    <a:pt x="6" y="212"/>
                  </a:lnTo>
                  <a:lnTo>
                    <a:pt x="6" y="202"/>
                  </a:lnTo>
                  <a:lnTo>
                    <a:pt x="13" y="192"/>
                  </a:lnTo>
                  <a:lnTo>
                    <a:pt x="24" y="187"/>
                  </a:lnTo>
                  <a:lnTo>
                    <a:pt x="30" y="178"/>
                  </a:lnTo>
                  <a:lnTo>
                    <a:pt x="35" y="169"/>
                  </a:lnTo>
                  <a:lnTo>
                    <a:pt x="48" y="159"/>
                  </a:lnTo>
                  <a:lnTo>
                    <a:pt x="59" y="154"/>
                  </a:lnTo>
                  <a:lnTo>
                    <a:pt x="71" y="144"/>
                  </a:lnTo>
                  <a:lnTo>
                    <a:pt x="83" y="140"/>
                  </a:lnTo>
                  <a:lnTo>
                    <a:pt x="100" y="130"/>
                  </a:lnTo>
                  <a:lnTo>
                    <a:pt x="112" y="125"/>
                  </a:lnTo>
                  <a:lnTo>
                    <a:pt x="129" y="116"/>
                  </a:lnTo>
                  <a:lnTo>
                    <a:pt x="142" y="111"/>
                  </a:lnTo>
                  <a:lnTo>
                    <a:pt x="183" y="101"/>
                  </a:lnTo>
                  <a:lnTo>
                    <a:pt x="218" y="87"/>
                  </a:lnTo>
                  <a:lnTo>
                    <a:pt x="259" y="78"/>
                  </a:lnTo>
                  <a:lnTo>
                    <a:pt x="301" y="73"/>
                  </a:lnTo>
                  <a:lnTo>
                    <a:pt x="347" y="63"/>
                  </a:lnTo>
                  <a:lnTo>
                    <a:pt x="395" y="63"/>
                  </a:lnTo>
                  <a:lnTo>
                    <a:pt x="441" y="58"/>
                  </a:lnTo>
                  <a:lnTo>
                    <a:pt x="495" y="58"/>
                  </a:lnTo>
                  <a:lnTo>
                    <a:pt x="447" y="101"/>
                  </a:lnTo>
                  <a:lnTo>
                    <a:pt x="400" y="101"/>
                  </a:lnTo>
                  <a:lnTo>
                    <a:pt x="377" y="101"/>
                  </a:lnTo>
                  <a:lnTo>
                    <a:pt x="353" y="106"/>
                  </a:lnTo>
                  <a:lnTo>
                    <a:pt x="330" y="106"/>
                  </a:lnTo>
                  <a:lnTo>
                    <a:pt x="306" y="106"/>
                  </a:lnTo>
                  <a:lnTo>
                    <a:pt x="283" y="111"/>
                  </a:lnTo>
                  <a:lnTo>
                    <a:pt x="265" y="111"/>
                  </a:lnTo>
                  <a:lnTo>
                    <a:pt x="247" y="116"/>
                  </a:lnTo>
                  <a:lnTo>
                    <a:pt x="229" y="121"/>
                  </a:lnTo>
                  <a:lnTo>
                    <a:pt x="212" y="125"/>
                  </a:lnTo>
                  <a:lnTo>
                    <a:pt x="194" y="130"/>
                  </a:lnTo>
                  <a:lnTo>
                    <a:pt x="183" y="130"/>
                  </a:lnTo>
                  <a:lnTo>
                    <a:pt x="159" y="140"/>
                  </a:lnTo>
                  <a:lnTo>
                    <a:pt x="148" y="144"/>
                  </a:lnTo>
                  <a:lnTo>
                    <a:pt x="135" y="149"/>
                  </a:lnTo>
                  <a:lnTo>
                    <a:pt x="112" y="159"/>
                  </a:lnTo>
                  <a:lnTo>
                    <a:pt x="100" y="169"/>
                  </a:lnTo>
                  <a:lnTo>
                    <a:pt x="83" y="178"/>
                  </a:lnTo>
                  <a:lnTo>
                    <a:pt x="71" y="187"/>
                  </a:lnTo>
                  <a:lnTo>
                    <a:pt x="65" y="192"/>
                  </a:lnTo>
                  <a:lnTo>
                    <a:pt x="59" y="202"/>
                  </a:lnTo>
                  <a:lnTo>
                    <a:pt x="53" y="212"/>
                  </a:lnTo>
                  <a:lnTo>
                    <a:pt x="48" y="221"/>
                  </a:lnTo>
                  <a:lnTo>
                    <a:pt x="48" y="235"/>
                  </a:lnTo>
                  <a:lnTo>
                    <a:pt x="48" y="240"/>
                  </a:lnTo>
                  <a:lnTo>
                    <a:pt x="48" y="245"/>
                  </a:lnTo>
                  <a:lnTo>
                    <a:pt x="53" y="255"/>
                  </a:lnTo>
                  <a:lnTo>
                    <a:pt x="53" y="260"/>
                  </a:lnTo>
                  <a:lnTo>
                    <a:pt x="59" y="269"/>
                  </a:lnTo>
                  <a:lnTo>
                    <a:pt x="65" y="274"/>
                  </a:lnTo>
                  <a:lnTo>
                    <a:pt x="71" y="283"/>
                  </a:lnTo>
                  <a:lnTo>
                    <a:pt x="77" y="288"/>
                  </a:lnTo>
                  <a:lnTo>
                    <a:pt x="100" y="298"/>
                  </a:lnTo>
                  <a:lnTo>
                    <a:pt x="118" y="312"/>
                  </a:lnTo>
                  <a:lnTo>
                    <a:pt x="142" y="322"/>
                  </a:lnTo>
                  <a:lnTo>
                    <a:pt x="171" y="331"/>
                  </a:lnTo>
                  <a:lnTo>
                    <a:pt x="200" y="341"/>
                  </a:lnTo>
                  <a:lnTo>
                    <a:pt x="229" y="351"/>
                  </a:lnTo>
                  <a:lnTo>
                    <a:pt x="265" y="360"/>
                  </a:lnTo>
                  <a:lnTo>
                    <a:pt x="301" y="365"/>
                  </a:lnTo>
                  <a:lnTo>
                    <a:pt x="341" y="370"/>
                  </a:lnTo>
                  <a:lnTo>
                    <a:pt x="382" y="375"/>
                  </a:lnTo>
                  <a:lnTo>
                    <a:pt x="424" y="375"/>
                  </a:lnTo>
                  <a:lnTo>
                    <a:pt x="465" y="375"/>
                  </a:lnTo>
                  <a:lnTo>
                    <a:pt x="506" y="375"/>
                  </a:lnTo>
                  <a:lnTo>
                    <a:pt x="547" y="375"/>
                  </a:lnTo>
                  <a:lnTo>
                    <a:pt x="583" y="370"/>
                  </a:lnTo>
                  <a:lnTo>
                    <a:pt x="624" y="365"/>
                  </a:lnTo>
                  <a:lnTo>
                    <a:pt x="659" y="360"/>
                  </a:lnTo>
                  <a:lnTo>
                    <a:pt x="694" y="351"/>
                  </a:lnTo>
                  <a:lnTo>
                    <a:pt x="729" y="341"/>
                  </a:lnTo>
                  <a:lnTo>
                    <a:pt x="759" y="331"/>
                  </a:lnTo>
                  <a:lnTo>
                    <a:pt x="783" y="322"/>
                  </a:lnTo>
                  <a:lnTo>
                    <a:pt x="812" y="312"/>
                  </a:lnTo>
                  <a:lnTo>
                    <a:pt x="829" y="298"/>
                  </a:lnTo>
                  <a:lnTo>
                    <a:pt x="847" y="283"/>
                  </a:lnTo>
                  <a:lnTo>
                    <a:pt x="853" y="279"/>
                  </a:lnTo>
                  <a:lnTo>
                    <a:pt x="859" y="269"/>
                  </a:lnTo>
                  <a:lnTo>
                    <a:pt x="871" y="265"/>
                  </a:lnTo>
                  <a:lnTo>
                    <a:pt x="871" y="260"/>
                  </a:lnTo>
                  <a:lnTo>
                    <a:pt x="871" y="250"/>
                  </a:lnTo>
                  <a:lnTo>
                    <a:pt x="877" y="245"/>
                  </a:lnTo>
                  <a:lnTo>
                    <a:pt x="882" y="235"/>
                  </a:lnTo>
                  <a:lnTo>
                    <a:pt x="882" y="231"/>
                  </a:lnTo>
                  <a:lnTo>
                    <a:pt x="882" y="221"/>
                  </a:lnTo>
                  <a:lnTo>
                    <a:pt x="882" y="217"/>
                  </a:lnTo>
                  <a:lnTo>
                    <a:pt x="871" y="207"/>
                  </a:lnTo>
                  <a:lnTo>
                    <a:pt x="871" y="197"/>
                  </a:lnTo>
                  <a:lnTo>
                    <a:pt x="871" y="192"/>
                  </a:lnTo>
                  <a:lnTo>
                    <a:pt x="859" y="183"/>
                  </a:lnTo>
                  <a:lnTo>
                    <a:pt x="853" y="178"/>
                  </a:lnTo>
                  <a:lnTo>
                    <a:pt x="847" y="169"/>
                  </a:lnTo>
                  <a:lnTo>
                    <a:pt x="841" y="159"/>
                  </a:lnTo>
                  <a:lnTo>
                    <a:pt x="829" y="149"/>
                  </a:lnTo>
                  <a:lnTo>
                    <a:pt x="812" y="144"/>
                  </a:lnTo>
                  <a:lnTo>
                    <a:pt x="806" y="130"/>
                  </a:lnTo>
                  <a:lnTo>
                    <a:pt x="794" y="125"/>
                  </a:lnTo>
                  <a:lnTo>
                    <a:pt x="777" y="116"/>
                  </a:lnTo>
                  <a:lnTo>
                    <a:pt x="764" y="106"/>
                  </a:lnTo>
                  <a:lnTo>
                    <a:pt x="747" y="101"/>
                  </a:lnTo>
                  <a:lnTo>
                    <a:pt x="729" y="92"/>
                  </a:lnTo>
                  <a:lnTo>
                    <a:pt x="712" y="82"/>
                  </a:lnTo>
                  <a:lnTo>
                    <a:pt x="694" y="73"/>
                  </a:lnTo>
                  <a:lnTo>
                    <a:pt x="677" y="68"/>
                  </a:lnTo>
                  <a:lnTo>
                    <a:pt x="659" y="63"/>
                  </a:lnTo>
                  <a:lnTo>
                    <a:pt x="635" y="53"/>
                  </a:lnTo>
                  <a:lnTo>
                    <a:pt x="611" y="44"/>
                  </a:lnTo>
                  <a:lnTo>
                    <a:pt x="589" y="39"/>
                  </a:lnTo>
                  <a:lnTo>
                    <a:pt x="565" y="34"/>
                  </a:lnTo>
                  <a:lnTo>
                    <a:pt x="541" y="30"/>
                  </a:lnTo>
                  <a:lnTo>
                    <a:pt x="518" y="19"/>
                  </a:lnTo>
                  <a:lnTo>
                    <a:pt x="495" y="15"/>
                  </a:lnTo>
                  <a:lnTo>
                    <a:pt x="465" y="10"/>
                  </a:lnTo>
                  <a:lnTo>
                    <a:pt x="441" y="5"/>
                  </a:lnTo>
                  <a:lnTo>
                    <a:pt x="412" y="0"/>
                  </a:lnTo>
                  <a:lnTo>
                    <a:pt x="382" y="0"/>
                  </a:lnTo>
                  <a:close/>
                </a:path>
              </a:pathLst>
            </a:custGeom>
            <a:grpFill/>
            <a:ln w="1651" cap="rnd">
              <a:solidFill>
                <a:srgbClr val="00B05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914400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581743" name="Rectangle 5"/>
          <p:cNvSpPr txBox="1">
            <a:spLocks noChangeArrowheads="1"/>
          </p:cNvSpPr>
          <p:nvPr/>
        </p:nvSpPr>
        <p:spPr bwMode="auto">
          <a:xfrm>
            <a:off x="5667375" y="139700"/>
            <a:ext cx="3225800" cy="1698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>
                <a:solidFill>
                  <a:srgbClr val="000000"/>
                </a:solidFill>
              </a:rPr>
              <a:t>Información general y principios fundamentales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3109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30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3110" name="Title 1"/>
          <p:cNvSpPr>
            <a:spLocks noGrp="1"/>
          </p:cNvSpPr>
          <p:nvPr>
            <p:ph type="title"/>
          </p:nvPr>
        </p:nvSpPr>
        <p:spPr>
          <a:xfrm>
            <a:off x="244475" y="784225"/>
            <a:ext cx="7741285" cy="664797"/>
          </a:xfrm>
        </p:spPr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Prevemos cuatro estereotipos que serán detallados durante la implementación</a:t>
            </a:r>
          </a:p>
        </p:txBody>
      </p:sp>
      <p:sp>
        <p:nvSpPr>
          <p:cNvPr id="943111" name="TextBox 2"/>
          <p:cNvSpPr txBox="1">
            <a:spLocks noChangeArrowheads="1"/>
          </p:cNvSpPr>
          <p:nvPr/>
        </p:nvSpPr>
        <p:spPr bwMode="auto">
          <a:xfrm>
            <a:off x="244475" y="1628140"/>
            <a:ext cx="6842760" cy="24929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</a:pPr>
            <a:r>
              <a:rPr lang="es-ES_tradnl" b="1" dirty="0">
                <a:latin typeface="Arial" panose="020B0604020202020204" pitchFamily="34" charset="0"/>
              </a:rPr>
              <a:t>E</a:t>
            </a:r>
            <a:r>
              <a:rPr lang="es-ES_tradnl" b="1" dirty="0" smtClean="0">
                <a:latin typeface="Arial" panose="020B0604020202020204" pitchFamily="34" charset="0"/>
              </a:rPr>
              <a:t>stereotipos</a:t>
            </a:r>
            <a:endParaRPr lang="es-ES_tradnl" b="1" dirty="0">
              <a:latin typeface="Arial" panose="020B0604020202020204" pitchFamily="34" charset="0"/>
            </a:endParaRPr>
          </a:p>
        </p:txBody>
      </p:sp>
      <p:cxnSp>
        <p:nvCxnSpPr>
          <p:cNvPr id="24" name="Straight Arrow Connector 23"/>
          <p:cNvCxnSpPr/>
          <p:nvPr/>
        </p:nvCxnSpPr>
        <p:spPr>
          <a:xfrm rot="16200000" flipV="1">
            <a:off x="771955" y="3690105"/>
            <a:ext cx="3230562" cy="0"/>
          </a:xfrm>
          <a:prstGeom prst="straightConnector1">
            <a:avLst/>
          </a:prstGeom>
          <a:ln w="57150" cap="flat">
            <a:solidFill>
              <a:schemeClr val="accent3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2978150" y="2097088"/>
            <a:ext cx="1614488" cy="1614487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lang="es-ES_tradnl" sz="1400">
                <a:solidFill>
                  <a:srgbClr val="FFFFFF"/>
                </a:solidFill>
                <a:cs typeface="Arial" pitchFamily="34" charset="0"/>
              </a:rPr>
              <a:t>Fase </a:t>
            </a:r>
          </a:p>
          <a:p>
            <a:pPr algn="ctr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lang="es-ES_tradnl" sz="1400">
                <a:solidFill>
                  <a:srgbClr val="FFFFFF"/>
                </a:solidFill>
                <a:cs typeface="Arial" pitchFamily="34" charset="0"/>
              </a:rPr>
              <a:t>de desarrollo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592638" y="2097088"/>
            <a:ext cx="1614487" cy="1614487"/>
          </a:xfrm>
          <a:prstGeom prst="rect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lang="es-ES_tradnl" sz="1400">
                <a:solidFill>
                  <a:srgbClr val="FFFFFF"/>
                </a:solidFill>
                <a:cs typeface="Arial" pitchFamily="34" charset="0"/>
              </a:rPr>
              <a:t>Fase </a:t>
            </a:r>
          </a:p>
          <a:p>
            <a:pPr algn="ctr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lang="es-ES_tradnl" sz="1400">
                <a:solidFill>
                  <a:srgbClr val="FFFFFF"/>
                </a:solidFill>
                <a:cs typeface="Arial" pitchFamily="34" charset="0"/>
              </a:rPr>
              <a:t>de consolidación</a:t>
            </a:r>
          </a:p>
        </p:txBody>
      </p:sp>
      <p:sp>
        <p:nvSpPr>
          <p:cNvPr id="27" name="Rectangle 26"/>
          <p:cNvSpPr/>
          <p:nvPr/>
        </p:nvSpPr>
        <p:spPr>
          <a:xfrm>
            <a:off x="2978150" y="3711575"/>
            <a:ext cx="1614488" cy="1612900"/>
          </a:xfrm>
          <a:prstGeom prst="rect">
            <a:avLst/>
          </a:prstGeom>
          <a:solidFill>
            <a:schemeClr val="accent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lang="es-ES_tradnl" sz="1400" dirty="0">
                <a:solidFill>
                  <a:srgbClr val="000000"/>
                </a:solidFill>
                <a:cs typeface="Arial" pitchFamily="34" charset="0"/>
              </a:rPr>
              <a:t>Fase </a:t>
            </a:r>
            <a:r>
              <a:rPr lang="es-ES_tradnl" sz="1400" dirty="0" smtClean="0">
                <a:solidFill>
                  <a:srgbClr val="000000"/>
                </a:solidFill>
                <a:cs typeface="Arial" pitchFamily="34" charset="0"/>
              </a:rPr>
              <a:t>inicial</a:t>
            </a:r>
            <a:endParaRPr lang="es-ES_tradn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592638" y="3711575"/>
            <a:ext cx="1614487" cy="161290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lang="es-ES_tradnl" sz="1400">
                <a:solidFill>
                  <a:srgbClr val="FFFFFF"/>
                </a:solidFill>
                <a:cs typeface="Arial" pitchFamily="34" charset="0"/>
              </a:rPr>
              <a:t>Fase de madurez</a:t>
            </a:r>
          </a:p>
        </p:txBody>
      </p:sp>
      <p:sp>
        <p:nvSpPr>
          <p:cNvPr id="943118" name="TextBox 28"/>
          <p:cNvSpPr txBox="1">
            <a:spLocks noChangeArrowheads="1"/>
          </p:cNvSpPr>
          <p:nvPr/>
        </p:nvSpPr>
        <p:spPr bwMode="auto">
          <a:xfrm>
            <a:off x="1817821" y="3512217"/>
            <a:ext cx="1160329" cy="460502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wrap="square" lIns="36000" tIns="36000" rIns="36000" bIns="3600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_tradnl" sz="1400" b="1" dirty="0" smtClean="0">
                <a:solidFill>
                  <a:srgbClr val="000000"/>
                </a:solidFill>
              </a:rPr>
              <a:t>Vitalidad de la Misión</a:t>
            </a:r>
          </a:p>
        </p:txBody>
      </p:sp>
      <p:cxnSp>
        <p:nvCxnSpPr>
          <p:cNvPr id="30" name="Straight Arrow Connector 29"/>
          <p:cNvCxnSpPr/>
          <p:nvPr/>
        </p:nvCxnSpPr>
        <p:spPr>
          <a:xfrm flipV="1">
            <a:off x="2978150" y="5700713"/>
            <a:ext cx="3232150" cy="0"/>
          </a:xfrm>
          <a:prstGeom prst="straightConnector1">
            <a:avLst/>
          </a:prstGeom>
          <a:ln w="57150" cap="flat">
            <a:solidFill>
              <a:schemeClr val="accent3"/>
            </a:solidFill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3120" name="TextBox 30"/>
          <p:cNvSpPr txBox="1">
            <a:spLocks noChangeArrowheads="1"/>
          </p:cNvSpPr>
          <p:nvPr/>
        </p:nvSpPr>
        <p:spPr bwMode="auto">
          <a:xfrm>
            <a:off x="3489325" y="5567363"/>
            <a:ext cx="2219325" cy="265112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wrap="none" lIns="36000" tIns="36000" rIns="36000" bIns="3600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</a:pPr>
            <a:r>
              <a:rPr lang="es-ES_tradnl" sz="1400" b="1">
                <a:solidFill>
                  <a:srgbClr val="000000"/>
                </a:solidFill>
              </a:rPr>
              <a:t>Complejidad de la Misión</a:t>
            </a:r>
          </a:p>
        </p:txBody>
      </p:sp>
      <p:sp>
        <p:nvSpPr>
          <p:cNvPr id="943121" name="Rectangle 4"/>
          <p:cNvSpPr>
            <a:spLocks noChangeArrowheads="1"/>
          </p:cNvSpPr>
          <p:nvPr/>
        </p:nvSpPr>
        <p:spPr bwMode="gray">
          <a:xfrm>
            <a:off x="174625" y="3357563"/>
            <a:ext cx="1836738" cy="143986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00013" indent="-100013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_tradnl" sz="1200">
                <a:solidFill>
                  <a:srgbClr val="000000"/>
                </a:solidFill>
              </a:rPr>
              <a:t>Número y edad media de los hermanos.</a:t>
            </a:r>
          </a:p>
          <a:p>
            <a:pPr marL="100013" indent="-100013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_tradnl" sz="1200">
                <a:solidFill>
                  <a:srgbClr val="000000"/>
                </a:solidFill>
              </a:rPr>
              <a:t>Nivel de participación de los laicos.</a:t>
            </a:r>
          </a:p>
          <a:p>
            <a:pPr marL="100013" indent="-100013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_tradnl" sz="1200">
                <a:solidFill>
                  <a:srgbClr val="000000"/>
                </a:solidFill>
              </a:rPr>
              <a:t>…</a:t>
            </a:r>
          </a:p>
        </p:txBody>
      </p:sp>
      <p:sp>
        <p:nvSpPr>
          <p:cNvPr id="943122" name="Rectangle 4"/>
          <p:cNvSpPr>
            <a:spLocks noChangeArrowheads="1"/>
          </p:cNvSpPr>
          <p:nvPr/>
        </p:nvSpPr>
        <p:spPr bwMode="gray">
          <a:xfrm>
            <a:off x="1677988" y="5849938"/>
            <a:ext cx="6083300" cy="9271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00013" indent="-100013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_tradnl" sz="1200" dirty="0">
                <a:solidFill>
                  <a:srgbClr val="000000"/>
                </a:solidFill>
              </a:rPr>
              <a:t>Tamaño y complejidad de la misión (incluyendo educación y obras </a:t>
            </a:r>
            <a:r>
              <a:rPr lang="es-ES_tradnl" sz="1200" dirty="0" smtClean="0">
                <a:solidFill>
                  <a:srgbClr val="000000"/>
                </a:solidFill>
              </a:rPr>
              <a:t>sociales).</a:t>
            </a:r>
            <a:endParaRPr lang="es-ES_tradnl" sz="1200" dirty="0">
              <a:solidFill>
                <a:srgbClr val="000000"/>
              </a:solidFill>
            </a:endParaRPr>
          </a:p>
          <a:p>
            <a:pPr marL="100013" indent="-100013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_tradnl" sz="1200" dirty="0" smtClean="0">
                <a:solidFill>
                  <a:srgbClr val="000000"/>
                </a:solidFill>
              </a:rPr>
              <a:t>Tipos de propiedad, titularidad y </a:t>
            </a:r>
            <a:r>
              <a:rPr lang="es-ES_tradnl" sz="1200" dirty="0">
                <a:solidFill>
                  <a:srgbClr val="000000"/>
                </a:solidFill>
              </a:rPr>
              <a:t>gobernanza de las obras.</a:t>
            </a:r>
          </a:p>
          <a:p>
            <a:pPr marL="100013" indent="-100013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_tradnl" sz="1200" dirty="0">
                <a:solidFill>
                  <a:srgbClr val="000000"/>
                </a:solidFill>
              </a:rPr>
              <a:t>…</a:t>
            </a:r>
          </a:p>
        </p:txBody>
      </p:sp>
      <p:sp>
        <p:nvSpPr>
          <p:cNvPr id="16" name="RunningHead"/>
          <p:cNvSpPr txBox="1">
            <a:spLocks noChangeArrowheads="1"/>
          </p:cNvSpPr>
          <p:nvPr/>
        </p:nvSpPr>
        <p:spPr bwMode="gray">
          <a:xfrm>
            <a:off x="7037388" y="139700"/>
            <a:ext cx="1854200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 dirty="0">
                <a:solidFill>
                  <a:srgbClr val="000000"/>
                </a:solidFill>
              </a:rPr>
              <a:t>Vinculación canónica y civil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9745" name="Text Placeholder 8"/>
          <p:cNvSpPr>
            <a:spLocks noGrp="1"/>
          </p:cNvSpPr>
          <p:nvPr>
            <p:ph type="body" sz="quarter" idx="10"/>
            <p:custDataLst>
              <p:tags r:id="rId1"/>
            </p:custDataLst>
          </p:nvPr>
        </p:nvSpPr>
        <p:spPr>
          <a:xfrm>
            <a:off x="244475" y="2157413"/>
            <a:ext cx="8647113" cy="3473450"/>
          </a:xfrm>
        </p:spPr>
        <p:txBody>
          <a:bodyPr/>
          <a:lstStyle/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Descripción del proyecto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Principios y directrices clave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s person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 Misión – estructur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Estatus canónico y civil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b="1" dirty="0" smtClean="0">
                <a:latin typeface="Arial" charset="0"/>
                <a:cs typeface="Arial" charset="0"/>
              </a:rPr>
              <a:t>Nuestra Misión – procesos y herramient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Modelo de financiación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Hoja de Ruta</a:t>
            </a:r>
          </a:p>
        </p:txBody>
      </p:sp>
      <p:sp>
        <p:nvSpPr>
          <p:cNvPr id="3359746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44475" y="1627188"/>
            <a:ext cx="8647113" cy="338137"/>
          </a:xfrm>
        </p:spPr>
        <p:txBody>
          <a:bodyPr/>
          <a:lstStyle/>
          <a:p>
            <a:pPr eaLnBrk="1" hangingPunct="1"/>
            <a:r>
              <a:rPr lang="es-ES_tradnl" smtClean="0">
                <a:latin typeface="Arial" charset="0"/>
                <a:cs typeface="Arial" charset="0"/>
              </a:rPr>
              <a:t>Índice</a:t>
            </a:r>
            <a:endParaRPr lang="en-US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8229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84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8230" name="Title 1"/>
          <p:cNvSpPr>
            <a:spLocks noGrp="1"/>
          </p:cNvSpPr>
          <p:nvPr>
            <p:ph type="title"/>
          </p:nvPr>
        </p:nvSpPr>
        <p:spPr>
          <a:xfrm>
            <a:off x="244476" y="692150"/>
            <a:ext cx="8028668" cy="997196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¿Estamos utilizando plenamente nuestros bienes? – Principales </a:t>
            </a:r>
            <a:r>
              <a:rPr lang="es-ES_tradnl" dirty="0" smtClean="0">
                <a:latin typeface="Arial" charset="0"/>
                <a:cs typeface="Arial" charset="0"/>
              </a:rPr>
              <a:t>áreas de mejora señaladas en la fase de diagnóstico</a:t>
            </a:r>
            <a:endParaRPr lang="es-ES" dirty="0" smtClean="0">
              <a:latin typeface="Arial" charset="0"/>
              <a:cs typeface="Arial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 flipV="1">
            <a:off x="2708366" y="1650311"/>
            <a:ext cx="387470" cy="125058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2708366" y="5477404"/>
            <a:ext cx="387470" cy="1250580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8233" name="Group 2"/>
          <p:cNvGrpSpPr>
            <a:grpSpLocks/>
          </p:cNvGrpSpPr>
          <p:nvPr/>
        </p:nvGrpSpPr>
        <p:grpSpPr bwMode="auto">
          <a:xfrm>
            <a:off x="93663" y="2900891"/>
            <a:ext cx="2614703" cy="2576513"/>
            <a:chOff x="142875" y="3429449"/>
            <a:chExt cx="2773032" cy="1665676"/>
          </a:xfrm>
        </p:grpSpPr>
        <p:sp>
          <p:nvSpPr>
            <p:cNvPr id="11" name="Rectangle 9"/>
            <p:cNvSpPr>
              <a:spLocks noChangeArrowheads="1"/>
            </p:cNvSpPr>
            <p:nvPr/>
          </p:nvSpPr>
          <p:spPr bwMode="gray">
            <a:xfrm>
              <a:off x="142875" y="3827625"/>
              <a:ext cx="2773032" cy="12675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>
              <a:noFill/>
              <a:miter lim="800000"/>
              <a:headEnd/>
              <a:tailEnd/>
            </a:ln>
          </p:spPr>
          <p:txBody>
            <a:bodyPr lIns="0" tIns="18000" rIns="0" bIns="18000" anchor="ctr"/>
            <a:lstStyle/>
            <a:p>
              <a:pPr marL="113414" indent="-113414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100" b="1" dirty="0">
                  <a:solidFill>
                    <a:srgbClr val="000000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Modelos de </a:t>
              </a:r>
              <a:r>
                <a:rPr lang="es-ES" sz="1100" b="1" dirty="0" smtClean="0">
                  <a:solidFill>
                    <a:srgbClr val="000000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obras </a:t>
              </a:r>
              <a:r>
                <a:rPr lang="es-ES" sz="1100" b="1" dirty="0">
                  <a:solidFill>
                    <a:srgbClr val="000000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sostenibles.</a:t>
              </a:r>
            </a:p>
            <a:p>
              <a:pPr marL="113414" indent="-113414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100" dirty="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Mejora de </a:t>
              </a:r>
              <a:r>
                <a:rPr lang="es-ES" sz="11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la </a:t>
              </a:r>
              <a:r>
                <a:rPr lang="es-ES" sz="1100" b="1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planificación y control.</a:t>
              </a:r>
              <a:endParaRPr lang="es-ES" sz="110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  <a:p>
              <a:pPr marL="113414" indent="-113414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1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Enfoque </a:t>
              </a:r>
              <a:r>
                <a:rPr lang="es-ES" sz="1100" dirty="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en la protección de los </a:t>
              </a:r>
              <a:r>
                <a:rPr lang="es-ES" sz="1100" b="1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bienes </a:t>
              </a:r>
              <a:r>
                <a:rPr lang="es-ES" sz="1100" b="1" dirty="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inmuebles </a:t>
              </a:r>
              <a:r>
                <a:rPr lang="es-ES" sz="1100" dirty="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y de </a:t>
              </a:r>
              <a:r>
                <a:rPr lang="es-ES" sz="11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los activos financieros. Declaración de pérdidas y </a:t>
              </a:r>
              <a:r>
                <a:rPr lang="es-ES" sz="1100" dirty="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ganancias planificada según </a:t>
              </a:r>
              <a:r>
                <a:rPr lang="es-ES" sz="11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el </a:t>
              </a:r>
              <a:r>
                <a:rPr lang="es-ES" sz="1100" dirty="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flujo y </a:t>
              </a:r>
              <a:r>
                <a:rPr lang="es-ES" sz="110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no en la erosión de los activos.</a:t>
              </a:r>
            </a:p>
            <a:p>
              <a:pPr marL="113414" indent="-113414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" sz="1100" b="1" dirty="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Captación </a:t>
              </a:r>
              <a:r>
                <a:rPr lang="es-ES" sz="1100" b="1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profesional de </a:t>
              </a:r>
              <a:r>
                <a:rPr lang="es-ES" sz="1100" b="1" dirty="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fondos </a:t>
              </a:r>
              <a:r>
                <a:rPr lang="es-ES" sz="1100" dirty="0" smtClean="0">
                  <a:solidFill>
                    <a:srgbClr val="000000"/>
                  </a:solidFill>
                  <a:latin typeface="Arial"/>
                  <a:cs typeface="+mn-cs"/>
                </a:rPr>
                <a:t>para </a:t>
              </a:r>
              <a:r>
                <a:rPr lang="es-ES" sz="1100" dirty="0">
                  <a:solidFill>
                    <a:srgbClr val="000000"/>
                  </a:solidFill>
                  <a:latin typeface="Arial"/>
                  <a:cs typeface="+mn-cs"/>
                </a:rPr>
                <a:t>la Misión no </a:t>
              </a:r>
              <a:r>
                <a:rPr lang="es-ES" sz="1100" dirty="0" smtClean="0">
                  <a:solidFill>
                    <a:srgbClr val="000000"/>
                  </a:solidFill>
                  <a:latin typeface="Arial"/>
                  <a:cs typeface="+mn-cs"/>
                </a:rPr>
                <a:t>es auto </a:t>
              </a:r>
              <a:r>
                <a:rPr lang="es-ES" sz="1100" dirty="0">
                  <a:solidFill>
                    <a:srgbClr val="000000"/>
                  </a:solidFill>
                  <a:latin typeface="Arial"/>
                  <a:cs typeface="+mn-cs"/>
                </a:rPr>
                <a:t>sostenible.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42875" y="3429449"/>
              <a:ext cx="2773032" cy="387071"/>
            </a:xfrm>
            <a:prstGeom prst="rect">
              <a:avLst/>
            </a:prstGeom>
            <a:solidFill>
              <a:schemeClr val="accent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0" rIns="73152" bIns="0" anchor="ctr"/>
            <a:lstStyle/>
            <a:p>
              <a:pPr algn="ctr" defTabSz="914400" fontAlgn="auto">
                <a:lnSpc>
                  <a:spcPts val="1300"/>
                </a:lnSpc>
                <a:spcBef>
                  <a:spcPts val="0"/>
                </a:spcBef>
                <a:spcAft>
                  <a:spcPts val="1300"/>
                </a:spcAft>
                <a:defRPr/>
              </a:pPr>
              <a:r>
                <a:rPr lang="es-ES" sz="1400" dirty="0" smtClean="0">
                  <a:solidFill>
                    <a:srgbClr val="FFFFFF"/>
                  </a:solidFill>
                  <a:ea typeface="Arial" panose="020B0604020202020204" pitchFamily="34" charset="0"/>
                  <a:cs typeface="Times New Roman" panose="02020603050405020304" pitchFamily="18" charset="0"/>
                </a:rPr>
                <a:t>¿Estamos </a:t>
              </a:r>
              <a:r>
                <a:rPr lang="es-ES" sz="1400" dirty="0">
                  <a:solidFill>
                    <a:srgbClr val="FFFFFF"/>
                  </a:solidFill>
                  <a:ea typeface="Arial" panose="020B0604020202020204" pitchFamily="34" charset="0"/>
                  <a:cs typeface="Times New Roman" panose="02020603050405020304" pitchFamily="18" charset="0"/>
                </a:rPr>
                <a:t>utilizando plenamente nuestros bienes?</a:t>
              </a:r>
            </a:p>
          </p:txBody>
        </p:sp>
      </p:grpSp>
      <p:sp>
        <p:nvSpPr>
          <p:cNvPr id="948234" name="RunningHead"/>
          <p:cNvSpPr txBox="1">
            <a:spLocks noChangeArrowheads="1"/>
          </p:cNvSpPr>
          <p:nvPr/>
        </p:nvSpPr>
        <p:spPr bwMode="gray">
          <a:xfrm>
            <a:off x="5549900" y="139700"/>
            <a:ext cx="3341688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" sz="1200">
                <a:solidFill>
                  <a:srgbClr val="000000"/>
                </a:solidFill>
              </a:rPr>
              <a:t>Estamos utilizando plenamente nuestros bienes?</a:t>
            </a:r>
          </a:p>
        </p:txBody>
      </p:sp>
      <p:sp>
        <p:nvSpPr>
          <p:cNvPr id="14" name="Rectangle 56"/>
          <p:cNvSpPr/>
          <p:nvPr/>
        </p:nvSpPr>
        <p:spPr>
          <a:xfrm>
            <a:off x="3095836" y="1650311"/>
            <a:ext cx="5881021" cy="507767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7212" indent="-97212" fontAlgn="auto"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</a:rPr>
              <a:t>No hay un modelo definido para la sostenibilidad de las </a:t>
            </a:r>
            <a:r>
              <a:rPr lang="es-ES_tradnl" sz="1200" b="1" dirty="0">
                <a:solidFill>
                  <a:srgbClr val="000000"/>
                </a:solidFill>
              </a:rPr>
              <a:t>obras sociales </a:t>
            </a:r>
            <a:r>
              <a:rPr lang="es-ES_tradnl" sz="1200" dirty="0">
                <a:solidFill>
                  <a:srgbClr val="000000"/>
                </a:solidFill>
              </a:rPr>
              <a:t>(Misión y finanzas).</a:t>
            </a:r>
          </a:p>
          <a:p>
            <a:pPr marL="97212" indent="-97212" fontAlgn="auto"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 smtClean="0">
                <a:solidFill>
                  <a:srgbClr val="000000"/>
                </a:solidFill>
              </a:rPr>
              <a:t>Directrices </a:t>
            </a:r>
            <a:r>
              <a:rPr lang="es-ES_tradnl" sz="1200" dirty="0">
                <a:solidFill>
                  <a:srgbClr val="000000"/>
                </a:solidFill>
              </a:rPr>
              <a:t>claras de otras congregaciones en la </a:t>
            </a:r>
            <a:r>
              <a:rPr lang="es-ES_tradnl" sz="1200" b="1" dirty="0">
                <a:solidFill>
                  <a:srgbClr val="000000"/>
                </a:solidFill>
              </a:rPr>
              <a:t>auto-sostenibilidad</a:t>
            </a:r>
            <a:r>
              <a:rPr lang="es-ES_tradnl" sz="1200" dirty="0">
                <a:solidFill>
                  <a:srgbClr val="000000"/>
                </a:solidFill>
              </a:rPr>
              <a:t> en los diferentes niveles.</a:t>
            </a:r>
          </a:p>
          <a:p>
            <a:pPr marL="97212" indent="-97212" fontAlgn="auto"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 smtClean="0">
                <a:solidFill>
                  <a:srgbClr val="000000"/>
                </a:solidFill>
              </a:rPr>
              <a:t>No </a:t>
            </a:r>
            <a:r>
              <a:rPr lang="es-ES_tradnl" sz="1200" dirty="0">
                <a:solidFill>
                  <a:srgbClr val="000000"/>
                </a:solidFill>
              </a:rPr>
              <a:t>existen criterios definidos para la </a:t>
            </a:r>
            <a:r>
              <a:rPr lang="es-ES_tradnl" sz="1200" b="1" dirty="0">
                <a:solidFill>
                  <a:srgbClr val="000000"/>
                </a:solidFill>
              </a:rPr>
              <a:t>gestión de actividades no básicas </a:t>
            </a:r>
            <a:r>
              <a:rPr lang="es-ES_tradnl" sz="1200" dirty="0">
                <a:solidFill>
                  <a:srgbClr val="000000"/>
                </a:solidFill>
              </a:rPr>
              <a:t>(granjas, estaciones de servicio, hospitales).</a:t>
            </a:r>
          </a:p>
          <a:p>
            <a:pPr marL="97212" indent="-97212" fontAlgn="auto"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b="1" dirty="0" smtClean="0">
                <a:solidFill>
                  <a:srgbClr val="000000"/>
                </a:solidFill>
              </a:rPr>
              <a:t>El monitoreo </a:t>
            </a:r>
            <a:r>
              <a:rPr lang="es-ES_tradnl" sz="1200" b="1" dirty="0">
                <a:solidFill>
                  <a:srgbClr val="000000"/>
                </a:solidFill>
              </a:rPr>
              <a:t>y </a:t>
            </a:r>
            <a:r>
              <a:rPr lang="es-ES_tradnl" sz="1200" b="1" dirty="0" smtClean="0">
                <a:solidFill>
                  <a:srgbClr val="000000"/>
                </a:solidFill>
              </a:rPr>
              <a:t>la transparencia del rendimiento económico es insuficiente.</a:t>
            </a:r>
            <a:endParaRPr lang="es-ES_tradnl" sz="1200" dirty="0">
              <a:solidFill>
                <a:srgbClr val="000000"/>
              </a:solidFill>
            </a:endParaRPr>
          </a:p>
          <a:p>
            <a:pPr marL="97212" indent="-97212" fontAlgn="auto"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</a:rPr>
              <a:t>Cada comunidad </a:t>
            </a:r>
            <a:r>
              <a:rPr lang="es-ES_tradnl" sz="1200" dirty="0" smtClean="0">
                <a:solidFill>
                  <a:srgbClr val="000000"/>
                </a:solidFill>
              </a:rPr>
              <a:t>/ obra </a:t>
            </a:r>
            <a:r>
              <a:rPr lang="es-ES_tradnl" sz="1200" b="1" dirty="0">
                <a:solidFill>
                  <a:srgbClr val="000000"/>
                </a:solidFill>
              </a:rPr>
              <a:t>define su presupuesto </a:t>
            </a:r>
            <a:r>
              <a:rPr lang="es-ES_tradnl" sz="1200" dirty="0">
                <a:solidFill>
                  <a:srgbClr val="000000"/>
                </a:solidFill>
              </a:rPr>
              <a:t>de abajo a arriba y por lo general se basan en el del año anterior, normalmente con desafíos limitados o sin ellos. </a:t>
            </a:r>
          </a:p>
          <a:p>
            <a:pPr marL="97212" indent="-97212" fontAlgn="auto"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</a:rPr>
              <a:t>Algunas provincias (</a:t>
            </a:r>
            <a:r>
              <a:rPr lang="es-ES_tradnl" sz="1200" b="1" dirty="0">
                <a:solidFill>
                  <a:srgbClr val="000000"/>
                </a:solidFill>
              </a:rPr>
              <a:t>en diferentes etapas de madurez</a:t>
            </a:r>
            <a:r>
              <a:rPr lang="es-ES_tradnl" sz="1200" dirty="0">
                <a:solidFill>
                  <a:srgbClr val="000000"/>
                </a:solidFill>
              </a:rPr>
              <a:t>) han creado procesos más estructurados, por lo general con un control muy limitado (por ejemplo, aprobación del coste </a:t>
            </a:r>
            <a:r>
              <a:rPr lang="es-ES_tradnl" sz="1200" dirty="0" smtClean="0">
                <a:solidFill>
                  <a:srgbClr val="000000"/>
                </a:solidFill>
              </a:rPr>
              <a:t>estándar </a:t>
            </a:r>
            <a:r>
              <a:rPr lang="es-ES_tradnl" sz="1200" dirty="0">
                <a:solidFill>
                  <a:srgbClr val="000000"/>
                </a:solidFill>
              </a:rPr>
              <a:t>por </a:t>
            </a:r>
            <a:r>
              <a:rPr lang="es-ES_tradnl" sz="1200" dirty="0" smtClean="0">
                <a:solidFill>
                  <a:srgbClr val="000000"/>
                </a:solidFill>
              </a:rPr>
              <a:t>hermano); </a:t>
            </a:r>
            <a:r>
              <a:rPr lang="es-ES_tradnl" sz="1200" dirty="0">
                <a:solidFill>
                  <a:srgbClr val="000000"/>
                </a:solidFill>
              </a:rPr>
              <a:t>básicamente</a:t>
            </a:r>
            <a:r>
              <a:rPr lang="es-ES_tradnl" sz="1200" b="1" dirty="0">
                <a:solidFill>
                  <a:srgbClr val="000000"/>
                </a:solidFill>
              </a:rPr>
              <a:t> </a:t>
            </a:r>
            <a:r>
              <a:rPr lang="es-ES_tradnl" sz="1200" b="1" dirty="0" smtClean="0">
                <a:solidFill>
                  <a:srgbClr val="000000"/>
                </a:solidFill>
              </a:rPr>
              <a:t>no hay </a:t>
            </a:r>
            <a:r>
              <a:rPr lang="es-ES_tradnl" sz="1200" b="1" dirty="0">
                <a:solidFill>
                  <a:srgbClr val="000000"/>
                </a:solidFill>
              </a:rPr>
              <a:t>una evaluación de fin de año</a:t>
            </a:r>
            <a:r>
              <a:rPr lang="es-ES_tradnl" sz="1200" dirty="0">
                <a:solidFill>
                  <a:srgbClr val="000000"/>
                </a:solidFill>
              </a:rPr>
              <a:t> y una toma de acciones correctivas.</a:t>
            </a:r>
          </a:p>
          <a:p>
            <a:pPr marL="97212" indent="-97212" fontAlgn="auto"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</a:rPr>
              <a:t>Algunas Provincias desarrollaron un </a:t>
            </a:r>
            <a:r>
              <a:rPr lang="es-ES_tradnl" sz="1200" b="1" dirty="0">
                <a:solidFill>
                  <a:srgbClr val="000000"/>
                </a:solidFill>
              </a:rPr>
              <a:t>sistema</a:t>
            </a:r>
            <a:r>
              <a:rPr lang="es-ES_tradnl" sz="1200" dirty="0">
                <a:solidFill>
                  <a:srgbClr val="000000"/>
                </a:solidFill>
              </a:rPr>
              <a:t> de indicadores clave de rendimiento </a:t>
            </a:r>
            <a:r>
              <a:rPr lang="es-ES_tradnl" sz="1200" dirty="0" smtClean="0">
                <a:solidFill>
                  <a:srgbClr val="000000"/>
                </a:solidFill>
              </a:rPr>
              <a:t>(</a:t>
            </a:r>
            <a:r>
              <a:rPr lang="es-ES_tradnl" sz="1200" b="1" dirty="0" err="1" smtClean="0">
                <a:solidFill>
                  <a:srgbClr val="000000"/>
                </a:solidFill>
              </a:rPr>
              <a:t>KPIs</a:t>
            </a:r>
            <a:r>
              <a:rPr lang="es-ES_tradnl" sz="1200" dirty="0" smtClean="0">
                <a:solidFill>
                  <a:srgbClr val="000000"/>
                </a:solidFill>
              </a:rPr>
              <a:t>) </a:t>
            </a:r>
            <a:r>
              <a:rPr lang="es-ES_tradnl" sz="1200" dirty="0">
                <a:solidFill>
                  <a:srgbClr val="000000"/>
                </a:solidFill>
              </a:rPr>
              <a:t>que incluyen tanto indicadores </a:t>
            </a:r>
            <a:r>
              <a:rPr lang="es-ES_tradnl" sz="1200" b="1" dirty="0">
                <a:solidFill>
                  <a:srgbClr val="000000"/>
                </a:solidFill>
              </a:rPr>
              <a:t>cualitativos como cuantitativos </a:t>
            </a:r>
            <a:r>
              <a:rPr lang="es-ES_tradnl" sz="1200" dirty="0">
                <a:solidFill>
                  <a:srgbClr val="000000"/>
                </a:solidFill>
              </a:rPr>
              <a:t>en las </a:t>
            </a:r>
            <a:r>
              <a:rPr lang="es-ES_tradnl" sz="1200" b="1" dirty="0">
                <a:solidFill>
                  <a:srgbClr val="000000"/>
                </a:solidFill>
              </a:rPr>
              <a:t>diferentes dimensiones</a:t>
            </a:r>
            <a:r>
              <a:rPr lang="es-ES_tradnl" sz="1200" dirty="0">
                <a:solidFill>
                  <a:srgbClr val="000000"/>
                </a:solidFill>
              </a:rPr>
              <a:t>.</a:t>
            </a:r>
          </a:p>
          <a:p>
            <a:pPr marL="97212" indent="-97212" fontAlgn="auto"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b="1" dirty="0">
                <a:solidFill>
                  <a:srgbClr val="000000"/>
                </a:solidFill>
              </a:rPr>
              <a:t>Si no hay una rendición de cuentas </a:t>
            </a:r>
            <a:r>
              <a:rPr lang="es-ES_tradnl" sz="1200" b="1" dirty="0" smtClean="0">
                <a:solidFill>
                  <a:srgbClr val="000000"/>
                </a:solidFill>
              </a:rPr>
              <a:t>clara</a:t>
            </a:r>
            <a:r>
              <a:rPr lang="es-ES_tradnl" sz="1200" dirty="0" smtClean="0">
                <a:solidFill>
                  <a:srgbClr val="000000"/>
                </a:solidFill>
              </a:rPr>
              <a:t>, </a:t>
            </a:r>
            <a:r>
              <a:rPr lang="es-ES_tradnl" sz="1200" dirty="0">
                <a:solidFill>
                  <a:srgbClr val="000000"/>
                </a:solidFill>
              </a:rPr>
              <a:t>no hay consecuencias.</a:t>
            </a:r>
          </a:p>
          <a:p>
            <a:pPr marL="97212" indent="-97212" fontAlgn="auto"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</a:rPr>
              <a:t>Los </a:t>
            </a:r>
            <a:r>
              <a:rPr lang="es-ES_tradnl" sz="1200" b="1" dirty="0">
                <a:solidFill>
                  <a:srgbClr val="000000"/>
                </a:solidFill>
              </a:rPr>
              <a:t>recursos financieros compartidos </a:t>
            </a:r>
            <a:r>
              <a:rPr lang="es-ES_tradnl" sz="1200" dirty="0">
                <a:solidFill>
                  <a:srgbClr val="000000"/>
                </a:solidFill>
              </a:rPr>
              <a:t>se basan en la contribución anual a la Administración general, además de la respuesta a algunas convocatorias específicas como la reconstrucción de la casa </a:t>
            </a:r>
            <a:r>
              <a:rPr lang="es-ES_tradnl" sz="1200" dirty="0" smtClean="0">
                <a:solidFill>
                  <a:srgbClr val="000000"/>
                </a:solidFill>
              </a:rPr>
              <a:t>del </a:t>
            </a:r>
            <a:r>
              <a:rPr lang="es-ES_tradnl" sz="1200" dirty="0">
                <a:solidFill>
                  <a:srgbClr val="000000"/>
                </a:solidFill>
              </a:rPr>
              <a:t>Hermitage o el proyecto de Misión </a:t>
            </a:r>
            <a:r>
              <a:rPr lang="es-ES_tradnl" sz="1200" dirty="0" smtClean="0">
                <a:solidFill>
                  <a:srgbClr val="000000"/>
                </a:solidFill>
              </a:rPr>
              <a:t>ad Gentes.</a:t>
            </a:r>
            <a:endParaRPr lang="es-ES" sz="1200" dirty="0" smtClean="0">
              <a:solidFill>
                <a:srgbClr val="000000"/>
              </a:solidFill>
            </a:endParaRPr>
          </a:p>
          <a:p>
            <a:pPr marL="97212" indent="-97212" fontAlgn="auto"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 smtClean="0">
                <a:solidFill>
                  <a:srgbClr val="000000"/>
                </a:solidFill>
              </a:rPr>
              <a:t>Casos en los que la toma de decisiones no se basa</a:t>
            </a:r>
            <a:r>
              <a:rPr lang="es-ES_tradnl" sz="1200" b="1" dirty="0" smtClean="0">
                <a:solidFill>
                  <a:srgbClr val="000000"/>
                </a:solidFill>
              </a:rPr>
              <a:t> </a:t>
            </a:r>
            <a:r>
              <a:rPr lang="es-ES_tradnl" sz="1200" b="1" dirty="0">
                <a:solidFill>
                  <a:srgbClr val="000000"/>
                </a:solidFill>
              </a:rPr>
              <a:t>en los hechos</a:t>
            </a:r>
            <a:r>
              <a:rPr lang="es-ES_tradnl" sz="1200" dirty="0">
                <a:solidFill>
                  <a:srgbClr val="000000"/>
                </a:solidFill>
              </a:rPr>
              <a:t>.</a:t>
            </a:r>
          </a:p>
          <a:p>
            <a:pPr marL="97212" indent="-97212" fontAlgn="auto"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</a:rPr>
              <a:t>Enfoque local de la </a:t>
            </a:r>
            <a:r>
              <a:rPr lang="es-ES_tradnl" sz="1200" b="1" dirty="0">
                <a:solidFill>
                  <a:srgbClr val="000000"/>
                </a:solidFill>
              </a:rPr>
              <a:t>gestión de activos</a:t>
            </a:r>
            <a:r>
              <a:rPr lang="es-ES_tradnl" sz="1200" dirty="0">
                <a:solidFill>
                  <a:srgbClr val="000000"/>
                </a:solidFill>
              </a:rPr>
              <a:t>.</a:t>
            </a:r>
          </a:p>
          <a:p>
            <a:pPr marL="97212" indent="-97212" fontAlgn="auto"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>
                <a:solidFill>
                  <a:srgbClr val="000000"/>
                </a:solidFill>
              </a:rPr>
              <a:t>Un esfuerzo inicial para la creación de un </a:t>
            </a:r>
            <a:r>
              <a:rPr lang="es-ES_tradnl" sz="1200" b="1" dirty="0">
                <a:solidFill>
                  <a:srgbClr val="000000"/>
                </a:solidFill>
              </a:rPr>
              <a:t>primer mapa de riesgos potenciales</a:t>
            </a:r>
            <a:r>
              <a:rPr lang="es-ES_tradnl" sz="1200" dirty="0">
                <a:solidFill>
                  <a:srgbClr val="000000"/>
                </a:solidFill>
              </a:rPr>
              <a:t>.</a:t>
            </a:r>
          </a:p>
          <a:p>
            <a:pPr marL="97212" indent="-97212" fontAlgn="auto"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 smtClean="0">
                <a:solidFill>
                  <a:srgbClr val="000000"/>
                </a:solidFill>
              </a:rPr>
              <a:t>Captación </a:t>
            </a:r>
            <a:r>
              <a:rPr lang="es-ES_tradnl" sz="1200" dirty="0">
                <a:solidFill>
                  <a:srgbClr val="000000"/>
                </a:solidFill>
              </a:rPr>
              <a:t>de fondos: hay una </a:t>
            </a:r>
            <a:r>
              <a:rPr lang="es-ES_tradnl" sz="1200" b="1" dirty="0">
                <a:solidFill>
                  <a:srgbClr val="000000"/>
                </a:solidFill>
              </a:rPr>
              <a:t>débil y limitada coordinación </a:t>
            </a:r>
            <a:r>
              <a:rPr lang="es-ES_tradnl" sz="1200" dirty="0">
                <a:solidFill>
                  <a:srgbClr val="000000"/>
                </a:solidFill>
              </a:rPr>
              <a:t>y contribución a la misión en términos de resultados, y necesita </a:t>
            </a:r>
            <a:r>
              <a:rPr lang="es-ES_tradnl" sz="1200" b="1" dirty="0">
                <a:solidFill>
                  <a:srgbClr val="000000"/>
                </a:solidFill>
              </a:rPr>
              <a:t>profesionalización</a:t>
            </a:r>
            <a:r>
              <a:rPr lang="es-ES_tradnl" sz="1200" dirty="0">
                <a:solidFill>
                  <a:srgbClr val="000000"/>
                </a:solidFill>
              </a:rPr>
              <a:t> para soportar, globalmente, a las obras sociales.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9253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94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9254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4797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¿Estamos utilizando plenamente nuestros bienes?</a:t>
            </a:r>
            <a:r>
              <a:rPr lang="en-US" dirty="0">
                <a:latin typeface="Arial" charset="0"/>
                <a:cs typeface="Arial" charset="0"/>
              </a:rPr>
              <a:t/>
            </a:r>
            <a:br>
              <a:rPr lang="en-US" dirty="0">
                <a:latin typeface="Arial" charset="0"/>
                <a:cs typeface="Arial" charset="0"/>
              </a:rPr>
            </a:br>
            <a:r>
              <a:rPr lang="en-US" dirty="0" err="1" smtClean="0">
                <a:latin typeface="Arial" charset="0"/>
                <a:cs typeface="Arial" charset="0"/>
              </a:rPr>
              <a:t>Propuestas</a:t>
            </a:r>
            <a:r>
              <a:rPr lang="en-US" dirty="0" smtClean="0">
                <a:latin typeface="Arial" charset="0"/>
                <a:cs typeface="Arial" charset="0"/>
              </a:rPr>
              <a:t> clave (1 de 3)</a:t>
            </a:r>
          </a:p>
        </p:txBody>
      </p:sp>
      <p:sp>
        <p:nvSpPr>
          <p:cNvPr id="949255" name="RunningHead"/>
          <p:cNvSpPr txBox="1">
            <a:spLocks noChangeArrowheads="1"/>
          </p:cNvSpPr>
          <p:nvPr/>
        </p:nvSpPr>
        <p:spPr bwMode="gray">
          <a:xfrm>
            <a:off x="5549900" y="139700"/>
            <a:ext cx="3341688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" sz="1200">
                <a:solidFill>
                  <a:srgbClr val="000000"/>
                </a:solidFill>
              </a:rPr>
              <a:t>Estamos utilizando plenamente nuestros bienes?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79388" y="1793875"/>
            <a:ext cx="2197100" cy="2179638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" sz="1600" b="1" i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Presupuesto, planificación y control</a:t>
            </a:r>
            <a:endParaRPr lang="es-ES" sz="1600" i="1" dirty="0">
              <a:solidFill>
                <a:srgbClr val="FFFFFF"/>
              </a:solidFill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79388" y="4195763"/>
            <a:ext cx="2197100" cy="1882775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" sz="1600" b="1" i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Indicadores de impacto y generación</a:t>
            </a:r>
            <a:r>
              <a:rPr lang="es-ES_tradnl" sz="1600" b="1" i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 de informes</a:t>
            </a:r>
            <a:endParaRPr lang="es-ES" sz="1600" i="1" dirty="0">
              <a:solidFill>
                <a:srgbClr val="FFFFFF"/>
              </a:solidFill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Rectangle 56"/>
          <p:cNvSpPr/>
          <p:nvPr/>
        </p:nvSpPr>
        <p:spPr>
          <a:xfrm>
            <a:off x="2476500" y="1785938"/>
            <a:ext cx="6408738" cy="224061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7212" indent="-97212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Modelo de </a:t>
            </a:r>
            <a:r>
              <a:rPr lang="es-MX" sz="1400" b="1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planificación</a:t>
            </a:r>
            <a:r>
              <a:rPr lang="es-MX" sz="1400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 a diseñar (definición </a:t>
            </a:r>
            <a:r>
              <a:rPr lang="es-MX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del ciclo, en línea con la estrategia del Instituto...).</a:t>
            </a:r>
          </a:p>
          <a:p>
            <a:pPr marL="97212" indent="-97212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Modelo de </a:t>
            </a:r>
            <a:r>
              <a:rPr lang="es-MX" sz="140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control</a:t>
            </a:r>
            <a:r>
              <a:rPr lang="es-MX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 a diseñar (</a:t>
            </a:r>
            <a:r>
              <a:rPr lang="es-MX" sz="1400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definición de los indicadores y dimensiones de control, </a:t>
            </a:r>
            <a:r>
              <a:rPr lang="es-MX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definición de métricas y requisitos del desglose...).</a:t>
            </a:r>
          </a:p>
          <a:p>
            <a:pPr marL="97212" indent="-97212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Los </a:t>
            </a:r>
            <a:r>
              <a:rPr lang="es-MX" sz="140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informes</a:t>
            </a:r>
            <a:r>
              <a:rPr lang="es-MX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 han de ser desarrollados y estandarizados.</a:t>
            </a:r>
          </a:p>
          <a:p>
            <a:pPr marL="97212" indent="-97212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Nuevo proceso de presupuestación </a:t>
            </a:r>
            <a:r>
              <a:rPr lang="es-MX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estándar basado en </a:t>
            </a:r>
            <a:r>
              <a:rPr lang="es-MX" sz="1400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la nueva planificación y herramientas de control a diseñar.</a:t>
            </a:r>
            <a:endParaRPr lang="es-MX" sz="1400" dirty="0">
              <a:solidFill>
                <a:srgbClr val="000000"/>
              </a:solidFill>
              <a:latin typeface="+mj-lt"/>
              <a:ea typeface="Calibri" charset="0"/>
              <a:cs typeface="Calibri" charset="0"/>
            </a:endParaRPr>
          </a:p>
          <a:p>
            <a:pPr marL="97212" indent="-97212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Apoyar el desarrollo de </a:t>
            </a:r>
            <a:r>
              <a:rPr lang="es-MX" sz="140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estándares globales </a:t>
            </a:r>
            <a:r>
              <a:rPr lang="es-MX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como </a:t>
            </a:r>
            <a:r>
              <a:rPr lang="es-MX" sz="1400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una herramienta </a:t>
            </a:r>
            <a:r>
              <a:rPr lang="es-MX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clave en línea con las buenas prácticas (ej. </a:t>
            </a:r>
            <a:r>
              <a:rPr lang="es-MX" sz="1400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costes </a:t>
            </a:r>
            <a:r>
              <a:rPr lang="es-MX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por hermano ajustado al </a:t>
            </a:r>
            <a:r>
              <a:rPr lang="es-MX" sz="1400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coste </a:t>
            </a:r>
            <a:r>
              <a:rPr lang="es-MX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de vida en cada país).</a:t>
            </a:r>
          </a:p>
        </p:txBody>
      </p:sp>
      <p:sp>
        <p:nvSpPr>
          <p:cNvPr id="10" name="Rectangle 15"/>
          <p:cNvSpPr/>
          <p:nvPr/>
        </p:nvSpPr>
        <p:spPr>
          <a:xfrm>
            <a:off x="2476500" y="4113793"/>
            <a:ext cx="6697663" cy="2046714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7212" indent="-97212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Introducción de indicadores </a:t>
            </a:r>
            <a:r>
              <a:rPr lang="es-MX" sz="1400" b="1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clave de resultado aceptados </a:t>
            </a:r>
            <a:r>
              <a:rPr lang="es-MX" sz="140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a </a:t>
            </a:r>
            <a:r>
              <a:rPr lang="es-MX" sz="1400" b="1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nivel global </a:t>
            </a:r>
            <a:r>
              <a:rPr lang="es-MX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para monitorear los impactos de las acciones de la Misi</a:t>
            </a:r>
            <a:r>
              <a:rPr lang="es-ES_tradnl" sz="1400" dirty="0" err="1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ón</a:t>
            </a:r>
            <a:r>
              <a:rPr lang="es-ES_tradnl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 Marista </a:t>
            </a:r>
            <a:r>
              <a:rPr lang="es-ES" sz="1400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dentro de la </a:t>
            </a:r>
            <a:r>
              <a:rPr lang="es-MX" sz="1400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organización</a:t>
            </a:r>
            <a:r>
              <a:rPr lang="es-MX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.</a:t>
            </a:r>
          </a:p>
          <a:p>
            <a:pPr marL="97212" indent="-97212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Estandarizaci</a:t>
            </a:r>
            <a:r>
              <a:rPr lang="es-ES_tradnl" sz="1400" b="1" dirty="0" err="1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ón</a:t>
            </a:r>
            <a:r>
              <a:rPr lang="es-ES_tradnl" sz="140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 de i</a:t>
            </a:r>
            <a:r>
              <a:rPr lang="es-MX" sz="140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nformes </a:t>
            </a:r>
            <a:r>
              <a:rPr lang="es-MX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en diferentes niveles de agregación.</a:t>
            </a:r>
          </a:p>
          <a:p>
            <a:pPr marL="97212" indent="-97212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Continuar el esfuerzo de crear una </a:t>
            </a:r>
            <a:r>
              <a:rPr lang="es-MX" sz="140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gestión global y transparente </a:t>
            </a:r>
            <a:r>
              <a:rPr lang="es-MX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de los recursos disponibles.</a:t>
            </a:r>
          </a:p>
          <a:p>
            <a:pPr marL="97212" indent="-97212" fontAlgn="auto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Realizar un </a:t>
            </a:r>
            <a:r>
              <a:rPr lang="es-MX" sz="1400" b="1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informe claro </a:t>
            </a:r>
            <a:r>
              <a:rPr lang="es-MX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de recursos administrados localmente / globalmente (ej. </a:t>
            </a:r>
            <a:r>
              <a:rPr lang="es-MX" sz="1400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Asignación de recursos, </a:t>
            </a:r>
            <a:r>
              <a:rPr lang="es-MX" sz="1400" dirty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resultados logrados vs los esperados y </a:t>
            </a:r>
            <a:r>
              <a:rPr lang="es-MX" sz="1400" dirty="0" smtClean="0">
                <a:solidFill>
                  <a:srgbClr val="000000"/>
                </a:solidFill>
                <a:latin typeface="+mj-lt"/>
                <a:ea typeface="Calibri" charset="0"/>
                <a:cs typeface="Calibri" charset="0"/>
              </a:rPr>
              <a:t>procesos de priorización realizados).</a:t>
            </a:r>
            <a:endParaRPr lang="es-MX" sz="1400" dirty="0">
              <a:solidFill>
                <a:srgbClr val="000000"/>
              </a:solidFill>
              <a:latin typeface="+mj-lt"/>
              <a:ea typeface="Calibri" charset="0"/>
              <a:cs typeface="Calibri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50277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047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0278" name="RunningHead"/>
          <p:cNvSpPr txBox="1">
            <a:spLocks noChangeArrowheads="1"/>
          </p:cNvSpPr>
          <p:nvPr/>
        </p:nvSpPr>
        <p:spPr bwMode="gray">
          <a:xfrm>
            <a:off x="5549900" y="139700"/>
            <a:ext cx="3341688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" sz="1200">
                <a:solidFill>
                  <a:srgbClr val="000000"/>
                </a:solidFill>
              </a:rPr>
              <a:t>Estamos utilizando plenamente nuestros bienes?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79388" y="1773238"/>
            <a:ext cx="2198687" cy="2122487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" sz="1600" b="1" i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Sostenibilidad</a:t>
            </a:r>
            <a:endParaRPr lang="es-ES" sz="1600" i="1" dirty="0">
              <a:solidFill>
                <a:srgbClr val="FFFFFF"/>
              </a:solidFill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79388" y="4217988"/>
            <a:ext cx="2197100" cy="806450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fontAlgn="auto">
              <a:lnSpc>
                <a:spcPts val="1300"/>
              </a:lnSpc>
              <a:spcBef>
                <a:spcPts val="0"/>
              </a:spcBef>
              <a:spcAft>
                <a:spcPts val="1300"/>
              </a:spcAft>
              <a:defRPr/>
            </a:pPr>
            <a:r>
              <a:rPr lang="es-ES" sz="1600" b="1" i="1" dirty="0" smtClean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rPr>
              <a:t>Captación profesional </a:t>
            </a:r>
            <a:r>
              <a:rPr lang="es-ES" sz="1600" b="1" i="1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rPr>
              <a:t>de fondos</a:t>
            </a:r>
            <a:endParaRPr lang="es-ES" sz="1600" i="1" dirty="0">
              <a:solidFill>
                <a:srgbClr val="FFFFFF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2461419" y="5352653"/>
            <a:ext cx="6408738" cy="1025922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7212" indent="-97212" defTabSz="914400" fontAlgn="auto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 smtClean="0">
                <a:solidFill>
                  <a:srgbClr val="000000"/>
                </a:solidFill>
                <a:cs typeface="Arial" pitchFamily="34" charset="0"/>
              </a:rPr>
              <a:t>Crear una </a:t>
            </a:r>
            <a:r>
              <a:rPr lang="es-ES_tradnl" sz="1400" b="1" dirty="0" smtClean="0">
                <a:solidFill>
                  <a:srgbClr val="000000"/>
                </a:solidFill>
                <a:cs typeface="Arial" pitchFamily="34" charset="0"/>
              </a:rPr>
              <a:t>red de solidaridad a nivel mundial </a:t>
            </a:r>
            <a:r>
              <a:rPr lang="es-ES_tradnl" sz="1400" dirty="0" smtClean="0">
                <a:solidFill>
                  <a:srgbClr val="000000"/>
                </a:solidFill>
                <a:cs typeface="Arial" pitchFamily="34" charset="0"/>
              </a:rPr>
              <a:t>para asegurar que haya un equilibrio entre las prioridades locales y las del Instituto a nivel global.</a:t>
            </a:r>
            <a:endParaRPr lang="es-ES_tradnl" sz="1400" dirty="0" smtClean="0">
              <a:solidFill>
                <a:srgbClr val="FF0000"/>
              </a:solidFill>
              <a:cs typeface="Arial" pitchFamily="34" charset="0"/>
            </a:endParaRPr>
          </a:p>
          <a:p>
            <a:pPr marL="97212" indent="-97212" defTabSz="914400" fontAlgn="auto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400" dirty="0" smtClean="0">
                <a:solidFill>
                  <a:srgbClr val="000000"/>
                </a:solidFill>
                <a:cs typeface="Arial" pitchFamily="34" charset="0"/>
              </a:rPr>
              <a:t>Asegurar que la </a:t>
            </a:r>
            <a:r>
              <a:rPr lang="es-ES_tradnl" sz="1400" b="1" dirty="0" smtClean="0">
                <a:solidFill>
                  <a:srgbClr val="000000"/>
                </a:solidFill>
                <a:cs typeface="Arial" pitchFamily="34" charset="0"/>
              </a:rPr>
              <a:t>contribución subsidiaria </a:t>
            </a:r>
            <a:r>
              <a:rPr lang="es-ES_tradnl" sz="1400" dirty="0" smtClean="0">
                <a:solidFill>
                  <a:srgbClr val="000000"/>
                </a:solidFill>
                <a:cs typeface="Arial" pitchFamily="34" charset="0"/>
              </a:rPr>
              <a:t>de </a:t>
            </a:r>
            <a:r>
              <a:rPr lang="es-ES_tradnl" sz="1400" b="1" dirty="0" smtClean="0">
                <a:solidFill>
                  <a:srgbClr val="000000"/>
                </a:solidFill>
                <a:cs typeface="Arial" pitchFamily="34" charset="0"/>
              </a:rPr>
              <a:t>Provincia a Provincia </a:t>
            </a:r>
            <a:r>
              <a:rPr lang="es-ES_tradnl" sz="1400" dirty="0" smtClean="0">
                <a:solidFill>
                  <a:srgbClr val="000000"/>
                </a:solidFill>
                <a:cs typeface="Arial" pitchFamily="34" charset="0"/>
              </a:rPr>
              <a:t>es globalmente visible (y entre </a:t>
            </a:r>
            <a:r>
              <a:rPr lang="es-ES_tradnl" sz="1400" b="1" dirty="0" smtClean="0">
                <a:solidFill>
                  <a:srgbClr val="000000"/>
                </a:solidFill>
                <a:cs typeface="Arial" pitchFamily="34" charset="0"/>
              </a:rPr>
              <a:t>Regiones</a:t>
            </a:r>
            <a:r>
              <a:rPr lang="es-ES_tradnl" sz="1400" dirty="0" smtClean="0">
                <a:solidFill>
                  <a:srgbClr val="000000"/>
                </a:solidFill>
                <a:cs typeface="Arial" pitchFamily="34" charset="0"/>
              </a:rPr>
              <a:t>).</a:t>
            </a:r>
            <a:endParaRPr lang="es-ES_tradn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79388" y="5353050"/>
            <a:ext cx="2198687" cy="1025525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" sz="1600" b="1" i="1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rPr>
              <a:t>Subsidiariedad y solidaridad</a:t>
            </a:r>
            <a:endParaRPr lang="es-ES" sz="1600" i="1" dirty="0">
              <a:solidFill>
                <a:srgbClr val="FFFFFF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950283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4797"/>
          </a:xfrm>
        </p:spPr>
        <p:txBody>
          <a:bodyPr/>
          <a:lstStyle/>
          <a:p>
            <a:pPr eaLnBrk="1" hangingPunct="1"/>
            <a:r>
              <a:rPr lang="es-ES" dirty="0">
                <a:latin typeface="Arial" charset="0"/>
                <a:cs typeface="Arial" charset="0"/>
              </a:rPr>
              <a:t>¿Estamos utilizando plenamente nuestros bienes?</a:t>
            </a:r>
            <a:r>
              <a:rPr lang="en-US" dirty="0">
                <a:latin typeface="Arial" charset="0"/>
                <a:cs typeface="Arial" charset="0"/>
              </a:rPr>
              <a:t/>
            </a:r>
            <a:br>
              <a:rPr lang="en-US" dirty="0">
                <a:latin typeface="Arial" charset="0"/>
                <a:cs typeface="Arial" charset="0"/>
              </a:rPr>
            </a:br>
            <a:r>
              <a:rPr lang="en-US" dirty="0" err="1">
                <a:latin typeface="Arial" charset="0"/>
                <a:cs typeface="Arial" charset="0"/>
              </a:rPr>
              <a:t>Propuestas</a:t>
            </a:r>
            <a:r>
              <a:rPr lang="en-US" dirty="0">
                <a:latin typeface="Arial" charset="0"/>
                <a:cs typeface="Arial" charset="0"/>
              </a:rPr>
              <a:t> clave </a:t>
            </a:r>
            <a:r>
              <a:rPr lang="en-US" dirty="0" smtClean="0">
                <a:latin typeface="Arial" charset="0"/>
                <a:cs typeface="Arial" charset="0"/>
              </a:rPr>
              <a:t>(2 de </a:t>
            </a:r>
            <a:r>
              <a:rPr lang="en-US" dirty="0">
                <a:latin typeface="Arial" charset="0"/>
                <a:cs typeface="Arial" charset="0"/>
              </a:rPr>
              <a:t>3)</a:t>
            </a:r>
            <a:endParaRPr lang="en-US" dirty="0" smtClean="0">
              <a:latin typeface="Arial" charset="0"/>
              <a:cs typeface="Arial" charset="0"/>
            </a:endParaRPr>
          </a:p>
        </p:txBody>
      </p:sp>
      <p:sp>
        <p:nvSpPr>
          <p:cNvPr id="15" name="Rectangle 18"/>
          <p:cNvSpPr/>
          <p:nvPr/>
        </p:nvSpPr>
        <p:spPr>
          <a:xfrm>
            <a:off x="2461419" y="1773238"/>
            <a:ext cx="6451600" cy="212519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7212" indent="-97212" fontAlgn="auto">
              <a:lnSpc>
                <a:spcPct val="90000"/>
              </a:lnSpc>
              <a:spcBef>
                <a:spcPts val="1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Las obras y misiones deben ser </a:t>
            </a:r>
            <a:r>
              <a:rPr lang="es-MX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autosostenibles</a:t>
            </a:r>
            <a:r>
              <a:rPr lang="es-MX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 en </a:t>
            </a:r>
            <a:r>
              <a:rPr lang="es-MX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algunos niveles de agregación </a:t>
            </a:r>
            <a:r>
              <a:rPr lang="es-MX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(por ejemplo, estado, Provincia, Región, otros)</a:t>
            </a:r>
          </a:p>
          <a:p>
            <a:pPr marL="97212" indent="-97212" fontAlgn="auto">
              <a:lnSpc>
                <a:spcPct val="90000"/>
              </a:lnSpc>
              <a:spcBef>
                <a:spcPts val="1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La </a:t>
            </a:r>
            <a:r>
              <a:rPr lang="es-MX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declaración de </a:t>
            </a:r>
            <a:r>
              <a:rPr lang="es-MX" sz="1400" b="1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pérdidas y ganancias </a:t>
            </a:r>
            <a:r>
              <a:rPr lang="es-MX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planificada según los flujos y no a partir de la erosión de los activos con </a:t>
            </a:r>
            <a:r>
              <a:rPr lang="es-MX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el fin de apoyar la sostenibilidad a largo plazo.</a:t>
            </a:r>
          </a:p>
          <a:p>
            <a:pPr marL="97212" indent="-97212" fontAlgn="auto">
              <a:lnSpc>
                <a:spcPct val="90000"/>
              </a:lnSpc>
              <a:spcBef>
                <a:spcPts val="1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Definición de un </a:t>
            </a:r>
            <a:r>
              <a:rPr lang="es-MX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modelo sostenible de </a:t>
            </a:r>
            <a:r>
              <a:rPr lang="es-MX" sz="1400" b="1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obras sociales maristas </a:t>
            </a:r>
            <a:r>
              <a:rPr lang="es-MX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(misiones </a:t>
            </a:r>
            <a:r>
              <a:rPr lang="es-MX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que </a:t>
            </a:r>
            <a:r>
              <a:rPr lang="es-MX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por definición no son autosostenibles) </a:t>
            </a:r>
            <a:r>
              <a:rPr lang="es-MX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y enfoque </a:t>
            </a:r>
            <a:r>
              <a:rPr lang="es-MX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financiero y operativo a largo plazo para garantizar </a:t>
            </a:r>
            <a:r>
              <a:rPr lang="es-MX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su sostenibilidad.</a:t>
            </a:r>
          </a:p>
          <a:p>
            <a:pPr marL="97212" indent="-97212" fontAlgn="auto">
              <a:lnSpc>
                <a:spcPct val="90000"/>
              </a:lnSpc>
              <a:spcBef>
                <a:spcPts val="1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Necesitamos tener clara la </a:t>
            </a:r>
            <a:r>
              <a:rPr lang="es-MX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separación de funciones entre propiedad y gestión</a:t>
            </a:r>
            <a:r>
              <a:rPr lang="es-MX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.</a:t>
            </a:r>
          </a:p>
        </p:txBody>
      </p:sp>
      <p:sp>
        <p:nvSpPr>
          <p:cNvPr id="16" name="Rectangle 22"/>
          <p:cNvSpPr/>
          <p:nvPr/>
        </p:nvSpPr>
        <p:spPr>
          <a:xfrm>
            <a:off x="2461419" y="4152900"/>
            <a:ext cx="6408738" cy="936625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7212" indent="-97212" fontAlgn="auto">
              <a:lnSpc>
                <a:spcPct val="90000"/>
              </a:lnSpc>
              <a:spcBef>
                <a:spcPts val="1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Fuerte necesidad de </a:t>
            </a:r>
            <a:r>
              <a:rPr lang="es-MX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profesionalización</a:t>
            </a:r>
            <a:r>
              <a:rPr lang="es-MX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 para garantizar la sostenibilidad de las obras sociales.</a:t>
            </a:r>
          </a:p>
          <a:p>
            <a:pPr marL="97212" indent="-97212" fontAlgn="auto">
              <a:lnSpc>
                <a:spcPct val="90000"/>
              </a:lnSpc>
              <a:spcBef>
                <a:spcPts val="1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Necesidad de actuar </a:t>
            </a:r>
            <a:r>
              <a:rPr lang="es-MX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dentro de </a:t>
            </a:r>
            <a:r>
              <a:rPr lang="es-MX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un modelo </a:t>
            </a:r>
            <a:r>
              <a:rPr lang="es-MX" sz="1400" b="1" dirty="0">
                <a:solidFill>
                  <a:srgbClr val="000000"/>
                </a:solidFill>
                <a:ea typeface="Calibri" charset="0"/>
                <a:cs typeface="Calibri" charset="0"/>
              </a:rPr>
              <a:t>globalmente integrado </a:t>
            </a:r>
            <a:r>
              <a:rPr lang="es-MX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donde </a:t>
            </a:r>
            <a:r>
              <a:rPr lang="es-MX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la contraparte donante </a:t>
            </a:r>
            <a:r>
              <a:rPr lang="es-MX" sz="1400" dirty="0" smtClean="0">
                <a:solidFill>
                  <a:srgbClr val="000000"/>
                </a:solidFill>
                <a:ea typeface="Calibri" charset="0"/>
                <a:cs typeface="Calibri" charset="0"/>
              </a:rPr>
              <a:t>está globalmente </a:t>
            </a:r>
            <a:r>
              <a:rPr lang="es-MX" sz="1400" dirty="0">
                <a:solidFill>
                  <a:srgbClr val="000000"/>
                </a:solidFill>
                <a:ea typeface="Calibri" charset="0"/>
                <a:cs typeface="Calibri" charset="0"/>
              </a:rPr>
              <a:t>integrada.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51301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15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1302" name="RunningHead"/>
          <p:cNvSpPr txBox="1">
            <a:spLocks noChangeArrowheads="1"/>
          </p:cNvSpPr>
          <p:nvPr/>
        </p:nvSpPr>
        <p:spPr bwMode="gray">
          <a:xfrm>
            <a:off x="5549900" y="139700"/>
            <a:ext cx="3341688" cy="166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" sz="1200">
                <a:solidFill>
                  <a:srgbClr val="000000"/>
                </a:solidFill>
              </a:rPr>
              <a:t>Estamos utilizando plenamente nuestros bienes?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79388" y="3959225"/>
            <a:ext cx="2184400" cy="2709863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lnSpc>
                <a:spcPts val="1300"/>
              </a:lnSpc>
              <a:spcBef>
                <a:spcPts val="0"/>
              </a:spcBef>
              <a:spcAft>
                <a:spcPts val="1300"/>
              </a:spcAft>
              <a:defRPr/>
            </a:pPr>
            <a:r>
              <a:rPr lang="es-MX" sz="1600" b="1" i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Inversiones</a:t>
            </a:r>
            <a:endParaRPr lang="es-MX" sz="1600" i="1" dirty="0">
              <a:solidFill>
                <a:srgbClr val="FFFFFF"/>
              </a:solidFill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519363" y="3864768"/>
            <a:ext cx="6516687" cy="2898775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7212" indent="-97212" defTabSz="914400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b="1" dirty="0" smtClean="0">
                <a:solidFill>
                  <a:schemeClr val="tx1"/>
                </a:solidFill>
                <a:cs typeface="Arial" pitchFamily="34" charset="0"/>
              </a:rPr>
              <a:t>Procesos de inversión profesionales y estructurados</a:t>
            </a:r>
            <a:r>
              <a:rPr lang="es-ES" sz="1300" dirty="0" smtClean="0">
                <a:solidFill>
                  <a:schemeClr val="tx1"/>
                </a:solidFill>
                <a:cs typeface="Arial" pitchFamily="34" charset="0"/>
              </a:rPr>
              <a:t>, que incluyen la gestión globalizada de soluciones y proveedores en relación con la titularidad de los activos, y la autonomía de la Provincia con respecto a las políticas de inversión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b="1" dirty="0" smtClean="0">
                <a:solidFill>
                  <a:schemeClr val="tx1"/>
                </a:solidFill>
                <a:cs typeface="Arial" pitchFamily="34" charset="0"/>
              </a:rPr>
              <a:t>Censo actual, estructurado y profesional, de los activo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 smtClean="0">
                <a:solidFill>
                  <a:schemeClr val="tx1"/>
                </a:solidFill>
                <a:cs typeface="Arial" pitchFamily="34" charset="0"/>
              </a:rPr>
              <a:t>Gestión </a:t>
            </a:r>
            <a:r>
              <a:rPr lang="es-ES" sz="1300" b="1" dirty="0" smtClean="0">
                <a:solidFill>
                  <a:schemeClr val="tx1"/>
                </a:solidFill>
                <a:cs typeface="Arial" pitchFamily="34" charset="0"/>
              </a:rPr>
              <a:t>estructurada y profesional de la cartera </a:t>
            </a:r>
            <a:r>
              <a:rPr lang="es-ES" sz="1300" dirty="0" smtClean="0">
                <a:solidFill>
                  <a:schemeClr val="tx1"/>
                </a:solidFill>
                <a:cs typeface="Arial" pitchFamily="34" charset="0"/>
              </a:rPr>
              <a:t>de activos. Ajuste de la contribución esperada de los activos (por ejemplo, beneficios obtenidos gracias a los activos inmuebles de la cartera). 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dirty="0" smtClean="0">
                <a:solidFill>
                  <a:srgbClr val="000000"/>
                </a:solidFill>
                <a:cs typeface="Arial" pitchFamily="34" charset="0"/>
              </a:rPr>
              <a:t>Directrices globales sobre las </a:t>
            </a:r>
            <a:r>
              <a:rPr lang="es-ES" sz="1300" b="1" dirty="0" smtClean="0">
                <a:solidFill>
                  <a:srgbClr val="000000"/>
                </a:solidFill>
                <a:cs typeface="Arial" pitchFamily="34" charset="0"/>
              </a:rPr>
              <a:t>políticas de inversión de riesgo</a:t>
            </a:r>
            <a:r>
              <a:rPr lang="es-ES" sz="1300" dirty="0" smtClean="0">
                <a:solidFill>
                  <a:srgbClr val="000000"/>
                </a:solidFill>
                <a:cs typeface="Arial" pitchFamily="34" charset="0"/>
              </a:rPr>
              <a:t>.</a:t>
            </a:r>
            <a:endParaRPr lang="es-ES" sz="1300" b="1" dirty="0" smtClean="0">
              <a:solidFill>
                <a:srgbClr val="000000"/>
              </a:solidFill>
              <a:cs typeface="Arial" pitchFamily="34" charset="0"/>
            </a:endParaRPr>
          </a:p>
          <a:p>
            <a:pPr marL="97212" indent="-97212" defTabSz="914400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b="1" dirty="0" smtClean="0">
                <a:solidFill>
                  <a:schemeClr val="tx1"/>
                </a:solidFill>
                <a:cs typeface="Arial" pitchFamily="34" charset="0"/>
              </a:rPr>
              <a:t>Indicaciones claras sobre la gestión de los activos secundarios de la Misión:</a:t>
            </a:r>
            <a:r>
              <a:rPr lang="es-ES" sz="1300" dirty="0" smtClean="0">
                <a:solidFill>
                  <a:schemeClr val="tx1"/>
                </a:solidFill>
                <a:cs typeface="Arial" pitchFamily="34" charset="0"/>
              </a:rPr>
              <a:t> directrices claras sobre la gestión de las implicaciones y el rendimiento requerido de la gestión de activos (incluyendo los activos discontinuos actuales no estratégicos) de acurdo con el uso evangélico de los biene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300" b="1" dirty="0" smtClean="0">
                <a:solidFill>
                  <a:srgbClr val="000000"/>
                </a:solidFill>
                <a:cs typeface="Arial" pitchFamily="34" charset="0"/>
              </a:rPr>
              <a:t>Mejor equilibrio entre hermanos </a:t>
            </a:r>
            <a:r>
              <a:rPr lang="es-ES" sz="1300" dirty="0" smtClean="0">
                <a:solidFill>
                  <a:srgbClr val="000000"/>
                </a:solidFill>
                <a:cs typeface="Arial" pitchFamily="34" charset="0"/>
              </a:rPr>
              <a:t>(grupo seleccionado que asegure la continuidad) </a:t>
            </a:r>
            <a:r>
              <a:rPr lang="es-ES" sz="1300" b="1" dirty="0" smtClean="0">
                <a:solidFill>
                  <a:srgbClr val="000000"/>
                </a:solidFill>
                <a:cs typeface="Arial" pitchFamily="34" charset="0"/>
              </a:rPr>
              <a:t>y laicos </a:t>
            </a:r>
            <a:r>
              <a:rPr lang="es-ES" sz="1300" dirty="0" smtClean="0">
                <a:solidFill>
                  <a:srgbClr val="000000"/>
                </a:solidFill>
                <a:cs typeface="Arial" pitchFamily="34" charset="0"/>
              </a:rPr>
              <a:t>(tanto internos como profesionales externos)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s-MX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79388" y="2982913"/>
            <a:ext cx="2184400" cy="806450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lnSpc>
                <a:spcPts val="1300"/>
              </a:lnSpc>
              <a:spcBef>
                <a:spcPts val="0"/>
              </a:spcBef>
              <a:spcAft>
                <a:spcPts val="1300"/>
              </a:spcAft>
              <a:defRPr/>
            </a:pPr>
            <a:r>
              <a:rPr lang="es-MX" sz="1600" b="1" i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Economía de escala</a:t>
            </a:r>
          </a:p>
        </p:txBody>
      </p:sp>
      <p:sp>
        <p:nvSpPr>
          <p:cNvPr id="31" name="Rectangle 30"/>
          <p:cNvSpPr/>
          <p:nvPr/>
        </p:nvSpPr>
        <p:spPr>
          <a:xfrm>
            <a:off x="2519364" y="2982913"/>
            <a:ext cx="6408737" cy="809625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300" b="1" dirty="0">
                <a:solidFill>
                  <a:srgbClr val="000000"/>
                </a:solidFill>
                <a:cs typeface="Arial" pitchFamily="34" charset="0"/>
              </a:rPr>
              <a:t>Optimizaci</a:t>
            </a:r>
            <a:r>
              <a:rPr lang="es-ES_tradnl" sz="1300" b="1" dirty="0" err="1">
                <a:solidFill>
                  <a:srgbClr val="000000"/>
                </a:solidFill>
                <a:cs typeface="Arial" pitchFamily="34" charset="0"/>
              </a:rPr>
              <a:t>ón</a:t>
            </a:r>
            <a:r>
              <a:rPr lang="es-ES_tradnl" sz="1300" b="1" dirty="0">
                <a:solidFill>
                  <a:srgbClr val="000000"/>
                </a:solidFill>
                <a:cs typeface="Arial" pitchFamily="34" charset="0"/>
              </a:rPr>
              <a:t> de las adquisiciones </a:t>
            </a:r>
            <a:r>
              <a:rPr lang="es-MX" sz="1300" dirty="0">
                <a:solidFill>
                  <a:srgbClr val="000000"/>
                </a:solidFill>
                <a:cs typeface="Arial" pitchFamily="34" charset="0"/>
              </a:rPr>
              <a:t>incluyendo la puesta en marcha y la participaci</a:t>
            </a:r>
            <a:r>
              <a:rPr lang="es-ES_tradnl" sz="1300" dirty="0" err="1">
                <a:solidFill>
                  <a:srgbClr val="000000"/>
                </a:solidFill>
                <a:cs typeface="Arial" pitchFamily="34" charset="0"/>
              </a:rPr>
              <a:t>ón</a:t>
            </a:r>
            <a:r>
              <a:rPr lang="es-ES_tradnl" sz="1300" dirty="0">
                <a:solidFill>
                  <a:srgbClr val="000000"/>
                </a:solidFill>
                <a:cs typeface="Arial" pitchFamily="34" charset="0"/>
              </a:rPr>
              <a:t> en consorcios de </a:t>
            </a:r>
            <a:r>
              <a:rPr lang="es-ES_tradnl" sz="1300" dirty="0" smtClean="0">
                <a:solidFill>
                  <a:srgbClr val="000000"/>
                </a:solidFill>
                <a:cs typeface="Arial" pitchFamily="34" charset="0"/>
              </a:rPr>
              <a:t>compras.</a:t>
            </a:r>
            <a:endParaRPr lang="es-ES_tradnl" sz="1300" dirty="0">
              <a:solidFill>
                <a:srgbClr val="000000"/>
              </a:solidFill>
              <a:cs typeface="Arial" pitchFamily="34" charset="0"/>
            </a:endParaRP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300" dirty="0">
                <a:solidFill>
                  <a:srgbClr val="000000"/>
                </a:solidFill>
                <a:cs typeface="Arial" pitchFamily="34" charset="0"/>
              </a:rPr>
              <a:t>Modelo </a:t>
            </a:r>
            <a:r>
              <a:rPr lang="es-ES_tradnl" sz="1300" dirty="0" smtClean="0">
                <a:solidFill>
                  <a:srgbClr val="000000"/>
                </a:solidFill>
                <a:cs typeface="Arial" pitchFamily="34" charset="0"/>
              </a:rPr>
              <a:t>global </a:t>
            </a:r>
            <a:r>
              <a:rPr lang="es-ES_tradnl" sz="1300" dirty="0">
                <a:solidFill>
                  <a:srgbClr val="000000"/>
                </a:solidFill>
                <a:cs typeface="Arial" pitchFamily="34" charset="0"/>
              </a:rPr>
              <a:t>de </a:t>
            </a:r>
            <a:r>
              <a:rPr lang="es-ES_tradnl" sz="1300" b="1" dirty="0">
                <a:solidFill>
                  <a:srgbClr val="000000"/>
                </a:solidFill>
                <a:cs typeface="Arial" pitchFamily="34" charset="0"/>
              </a:rPr>
              <a:t>optimización de impuestos</a:t>
            </a:r>
            <a:r>
              <a:rPr lang="es-ES_tradnl" sz="1300" dirty="0">
                <a:solidFill>
                  <a:srgbClr val="000000"/>
                </a:solidFill>
                <a:cs typeface="Arial" pitchFamily="34" charset="0"/>
              </a:rPr>
              <a:t>.</a:t>
            </a:r>
            <a:endParaRPr lang="es-MX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92088" y="1773238"/>
            <a:ext cx="2185987" cy="1000125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lnSpc>
                <a:spcPts val="1300"/>
              </a:lnSpc>
              <a:spcBef>
                <a:spcPts val="0"/>
              </a:spcBef>
              <a:spcAft>
                <a:spcPts val="1300"/>
              </a:spcAft>
              <a:defRPr/>
            </a:pPr>
            <a:r>
              <a:rPr lang="es-MX" sz="1600" b="1" i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Gestión de servicios internos compartidos</a:t>
            </a:r>
            <a:endParaRPr lang="es-MX" sz="1600" i="1" dirty="0">
              <a:solidFill>
                <a:srgbClr val="FFFFFF"/>
              </a:solidFill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2519363" y="1710838"/>
            <a:ext cx="6408738" cy="112492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300" dirty="0">
                <a:solidFill>
                  <a:srgbClr val="000000"/>
                </a:solidFill>
                <a:cs typeface="Arial" pitchFamily="34" charset="0"/>
              </a:rPr>
              <a:t>Definición de un </a:t>
            </a:r>
            <a:r>
              <a:rPr lang="es-MX" sz="1300" b="1" dirty="0">
                <a:solidFill>
                  <a:srgbClr val="000000"/>
                </a:solidFill>
                <a:cs typeface="Arial" pitchFamily="34" charset="0"/>
              </a:rPr>
              <a:t>modelo de financiación </a:t>
            </a:r>
            <a:r>
              <a:rPr lang="es-MX" sz="1300" dirty="0">
                <a:solidFill>
                  <a:srgbClr val="000000"/>
                </a:solidFill>
                <a:cs typeface="Arial" pitchFamily="34" charset="0"/>
              </a:rPr>
              <a:t>claro, </a:t>
            </a:r>
            <a:r>
              <a:rPr lang="es-MX" sz="1300" dirty="0" smtClean="0">
                <a:solidFill>
                  <a:srgbClr val="000000"/>
                </a:solidFill>
                <a:cs typeface="Arial" pitchFamily="34" charset="0"/>
              </a:rPr>
              <a:t>transparente </a:t>
            </a:r>
            <a:r>
              <a:rPr lang="es-MX" sz="1300" dirty="0">
                <a:solidFill>
                  <a:srgbClr val="000000"/>
                </a:solidFill>
                <a:cs typeface="Arial" pitchFamily="34" charset="0"/>
              </a:rPr>
              <a:t>y adecuado para las unidades Administrativas Regiones y Administración general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300" dirty="0">
                <a:solidFill>
                  <a:srgbClr val="000000"/>
                </a:solidFill>
                <a:cs typeface="Arial" pitchFamily="34" charset="0"/>
              </a:rPr>
              <a:t>Definición de </a:t>
            </a:r>
            <a:r>
              <a:rPr lang="es-MX" sz="1300" b="1" dirty="0">
                <a:solidFill>
                  <a:srgbClr val="000000"/>
                </a:solidFill>
                <a:cs typeface="Arial" pitchFamily="34" charset="0"/>
              </a:rPr>
              <a:t>importes de transferencias internas </a:t>
            </a:r>
            <a:r>
              <a:rPr lang="es-MX" sz="1300" dirty="0">
                <a:solidFill>
                  <a:srgbClr val="000000"/>
                </a:solidFill>
                <a:cs typeface="Arial" pitchFamily="34" charset="0"/>
              </a:rPr>
              <a:t>por los </a:t>
            </a:r>
            <a:r>
              <a:rPr lang="es-MX" sz="1300" dirty="0" smtClean="0">
                <a:solidFill>
                  <a:srgbClr val="000000"/>
                </a:solidFill>
                <a:cs typeface="Arial" pitchFamily="34" charset="0"/>
              </a:rPr>
              <a:t>bienes </a:t>
            </a:r>
            <a:r>
              <a:rPr lang="es-MX" sz="1300" dirty="0">
                <a:solidFill>
                  <a:srgbClr val="000000"/>
                </a:solidFill>
                <a:cs typeface="Arial" pitchFamily="34" charset="0"/>
              </a:rPr>
              <a:t>proporcionados (por ejemplo, gastos de </a:t>
            </a:r>
            <a:r>
              <a:rPr lang="es-MX" sz="1300" dirty="0" smtClean="0">
                <a:solidFill>
                  <a:srgbClr val="000000"/>
                </a:solidFill>
                <a:cs typeface="Arial" pitchFamily="34" charset="0"/>
              </a:rPr>
              <a:t>acogida </a:t>
            </a:r>
            <a:r>
              <a:rPr lang="es-MX" sz="1300" dirty="0">
                <a:solidFill>
                  <a:srgbClr val="000000"/>
                </a:solidFill>
                <a:cs typeface="Arial" pitchFamily="34" charset="0"/>
              </a:rPr>
              <a:t>en las comunidades) y servicios (por ejemplo, marketing, publicaciones, proyectos).</a:t>
            </a:r>
          </a:p>
        </p:txBody>
      </p:sp>
      <p:sp>
        <p:nvSpPr>
          <p:cNvPr id="951309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4797"/>
          </a:xfrm>
        </p:spPr>
        <p:txBody>
          <a:bodyPr/>
          <a:lstStyle/>
          <a:p>
            <a:pPr eaLnBrk="1" hangingPunct="1"/>
            <a:r>
              <a:rPr lang="es-ES" dirty="0">
                <a:latin typeface="Arial" charset="0"/>
                <a:cs typeface="Arial" charset="0"/>
              </a:rPr>
              <a:t>¿Estamos utilizando plenamente nuestros bienes?</a:t>
            </a:r>
            <a:r>
              <a:rPr lang="en-US" dirty="0">
                <a:latin typeface="Arial" charset="0"/>
                <a:cs typeface="Arial" charset="0"/>
              </a:rPr>
              <a:t/>
            </a:r>
            <a:br>
              <a:rPr lang="en-US" dirty="0">
                <a:latin typeface="Arial" charset="0"/>
                <a:cs typeface="Arial" charset="0"/>
              </a:rPr>
            </a:br>
            <a:r>
              <a:rPr lang="en-US" dirty="0" err="1">
                <a:latin typeface="Arial" charset="0"/>
                <a:cs typeface="Arial" charset="0"/>
              </a:rPr>
              <a:t>Propuestas</a:t>
            </a:r>
            <a:r>
              <a:rPr lang="en-US" dirty="0">
                <a:latin typeface="Arial" charset="0"/>
                <a:cs typeface="Arial" charset="0"/>
              </a:rPr>
              <a:t> clave </a:t>
            </a:r>
            <a:r>
              <a:rPr lang="en-US" dirty="0" smtClean="0">
                <a:latin typeface="Arial" charset="0"/>
                <a:cs typeface="Arial" charset="0"/>
              </a:rPr>
              <a:t>(3 de </a:t>
            </a:r>
            <a:r>
              <a:rPr lang="en-US" dirty="0">
                <a:latin typeface="Arial" charset="0"/>
                <a:cs typeface="Arial" charset="0"/>
              </a:rPr>
              <a:t>3)</a:t>
            </a:r>
            <a:endParaRPr lang="en-US" dirty="0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5889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>
          <a:xfrm>
            <a:off x="244475" y="804863"/>
            <a:ext cx="8640763" cy="997196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El presupuesto y su monitorización deben ser rediseñados y estandarizados de acuerdo con las prácticas globales, según la Misión del Instituto.</a:t>
            </a:r>
          </a:p>
        </p:txBody>
      </p:sp>
      <p:sp>
        <p:nvSpPr>
          <p:cNvPr id="3365890" name="Pentagon 24"/>
          <p:cNvSpPr>
            <a:spLocks noChangeArrowheads="1"/>
          </p:cNvSpPr>
          <p:nvPr/>
        </p:nvSpPr>
        <p:spPr bwMode="auto">
          <a:xfrm>
            <a:off x="142875" y="1836950"/>
            <a:ext cx="2195513" cy="638175"/>
          </a:xfrm>
          <a:prstGeom prst="homePlate">
            <a:avLst>
              <a:gd name="adj" fmla="val 21247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n-US" sz="1600" b="1" dirty="0" err="1">
                <a:solidFill>
                  <a:srgbClr val="FFFFFF"/>
                </a:solidFill>
              </a:rPr>
              <a:t>P</a:t>
            </a:r>
            <a:r>
              <a:rPr lang="en-US" sz="1600" b="1" dirty="0" err="1" smtClean="0">
                <a:solidFill>
                  <a:srgbClr val="FFFFFF"/>
                </a:solidFill>
              </a:rPr>
              <a:t>ropuesta</a:t>
            </a:r>
            <a:r>
              <a:rPr lang="en-US" sz="1600" b="1" dirty="0" smtClean="0">
                <a:solidFill>
                  <a:srgbClr val="FFFFFF"/>
                </a:solidFill>
              </a:rPr>
              <a:t> de </a:t>
            </a:r>
            <a:r>
              <a:rPr lang="en-US" sz="1600" b="1" dirty="0" err="1" smtClean="0">
                <a:solidFill>
                  <a:srgbClr val="FFFFFF"/>
                </a:solidFill>
              </a:rPr>
              <a:t>presupesto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3365891" name="Rectangle 5"/>
          <p:cNvSpPr>
            <a:spLocks noChangeArrowheads="1"/>
          </p:cNvSpPr>
          <p:nvPr/>
        </p:nvSpPr>
        <p:spPr bwMode="gray">
          <a:xfrm>
            <a:off x="142875" y="2623845"/>
            <a:ext cx="2051050" cy="1975926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11125" indent="-111125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 b="1" dirty="0" smtClean="0">
                <a:solidFill>
                  <a:srgbClr val="000000"/>
                </a:solidFill>
              </a:rPr>
              <a:t>Elaboración de presupuestos con base cero</a:t>
            </a:r>
          </a:p>
          <a:p>
            <a:pPr marL="111125" indent="-111125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 dirty="0" smtClean="0">
                <a:solidFill>
                  <a:srgbClr val="000000"/>
                </a:solidFill>
              </a:rPr>
              <a:t>El uso de </a:t>
            </a:r>
            <a:r>
              <a:rPr lang="es-ES" sz="1400" b="1" dirty="0" smtClean="0">
                <a:solidFill>
                  <a:srgbClr val="000000"/>
                </a:solidFill>
              </a:rPr>
              <a:t>estándares </a:t>
            </a:r>
            <a:r>
              <a:rPr lang="es-ES" sz="1400" dirty="0" smtClean="0">
                <a:solidFill>
                  <a:srgbClr val="000000"/>
                </a:solidFill>
              </a:rPr>
              <a:t>para determinar los nuevos objetivos</a:t>
            </a:r>
          </a:p>
          <a:p>
            <a:pPr marL="111125" indent="-111125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 dirty="0" smtClean="0">
                <a:solidFill>
                  <a:srgbClr val="000000"/>
                </a:solidFill>
              </a:rPr>
              <a:t>Introducción de la </a:t>
            </a:r>
            <a:r>
              <a:rPr lang="es-ES" sz="1400" b="1" dirty="0" smtClean="0">
                <a:solidFill>
                  <a:srgbClr val="000000"/>
                </a:solidFill>
              </a:rPr>
              <a:t>planificación plurianual</a:t>
            </a:r>
            <a:endParaRPr lang="es-ES" sz="1400" b="1" dirty="0">
              <a:solidFill>
                <a:srgbClr val="000000"/>
              </a:solidFill>
            </a:endParaRPr>
          </a:p>
        </p:txBody>
      </p:sp>
      <p:sp>
        <p:nvSpPr>
          <p:cNvPr id="3365892" name="AutoShape 17"/>
          <p:cNvSpPr>
            <a:spLocks noChangeArrowheads="1"/>
          </p:cNvSpPr>
          <p:nvPr/>
        </p:nvSpPr>
        <p:spPr bwMode="gray">
          <a:xfrm>
            <a:off x="2303463" y="1836950"/>
            <a:ext cx="2195512" cy="638175"/>
          </a:xfrm>
          <a:prstGeom prst="chevron">
            <a:avLst>
              <a:gd name="adj" fmla="val 21231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n-US" sz="1600" b="1" dirty="0" err="1" smtClean="0">
                <a:solidFill>
                  <a:srgbClr val="FFFFFF"/>
                </a:solidFill>
              </a:rPr>
              <a:t>Aprobación</a:t>
            </a:r>
            <a:r>
              <a:rPr lang="en-US" sz="1600" b="1" dirty="0" smtClean="0">
                <a:solidFill>
                  <a:srgbClr val="FFFFFF"/>
                </a:solidFill>
              </a:rPr>
              <a:t> del </a:t>
            </a:r>
            <a:r>
              <a:rPr lang="en-US" sz="1600" b="1" dirty="0" err="1" smtClean="0">
                <a:solidFill>
                  <a:srgbClr val="FFFFFF"/>
                </a:solidFill>
              </a:rPr>
              <a:t>Presupuesto</a:t>
            </a:r>
            <a:r>
              <a:rPr lang="en-US" sz="1600" b="1" dirty="0" smtClean="0">
                <a:solidFill>
                  <a:srgbClr val="FFFFFF"/>
                </a:solidFill>
              </a:rPr>
              <a:t> 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3365893" name="Rectangle 5"/>
          <p:cNvSpPr>
            <a:spLocks noChangeArrowheads="1"/>
          </p:cNvSpPr>
          <p:nvPr/>
        </p:nvSpPr>
        <p:spPr bwMode="gray">
          <a:xfrm>
            <a:off x="2303463" y="2623845"/>
            <a:ext cx="2051050" cy="158812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11125" lvl="0" indent="-111125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 dirty="0" smtClean="0">
                <a:solidFill>
                  <a:srgbClr val="000000"/>
                </a:solidFill>
              </a:rPr>
              <a:t> “</a:t>
            </a:r>
            <a:r>
              <a:rPr lang="es-ES" sz="1400" b="1" dirty="0" smtClean="0">
                <a:solidFill>
                  <a:srgbClr val="000000"/>
                </a:solidFill>
              </a:rPr>
              <a:t>Control y desafío</a:t>
            </a:r>
            <a:r>
              <a:rPr lang="es-ES" sz="1400" dirty="0" smtClean="0">
                <a:solidFill>
                  <a:srgbClr val="000000"/>
                </a:solidFill>
              </a:rPr>
              <a:t>” por el Ecónomo Provincial </a:t>
            </a:r>
          </a:p>
          <a:p>
            <a:pPr marL="111125" lvl="0" indent="-111125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 b="1" dirty="0" smtClean="0">
                <a:solidFill>
                  <a:srgbClr val="000000"/>
                </a:solidFill>
              </a:rPr>
              <a:t>Decisiones críticas </a:t>
            </a:r>
            <a:r>
              <a:rPr lang="es-ES" sz="1400" dirty="0" smtClean="0">
                <a:solidFill>
                  <a:srgbClr val="000000"/>
                </a:solidFill>
              </a:rPr>
              <a:t>que competen al Consejo Provincial</a:t>
            </a:r>
          </a:p>
          <a:p>
            <a:pPr marL="111125" lvl="0" indent="-111125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 dirty="0" smtClean="0">
                <a:solidFill>
                  <a:srgbClr val="000000"/>
                </a:solidFill>
              </a:rPr>
              <a:t>Discusión </a:t>
            </a:r>
            <a:r>
              <a:rPr lang="es-ES" sz="1400" b="1" dirty="0" smtClean="0">
                <a:solidFill>
                  <a:srgbClr val="000000"/>
                </a:solidFill>
              </a:rPr>
              <a:t>extra presupuesto</a:t>
            </a:r>
            <a:endParaRPr lang="es-ES" sz="1400" b="1" dirty="0">
              <a:solidFill>
                <a:srgbClr val="000000"/>
              </a:solidFill>
            </a:endParaRPr>
          </a:p>
        </p:txBody>
      </p:sp>
      <p:sp>
        <p:nvSpPr>
          <p:cNvPr id="3365894" name="AutoShape 17"/>
          <p:cNvSpPr>
            <a:spLocks noChangeArrowheads="1"/>
          </p:cNvSpPr>
          <p:nvPr/>
        </p:nvSpPr>
        <p:spPr bwMode="gray">
          <a:xfrm>
            <a:off x="4464050" y="1836950"/>
            <a:ext cx="2195513" cy="638175"/>
          </a:xfrm>
          <a:prstGeom prst="chevron">
            <a:avLst>
              <a:gd name="adj" fmla="val 21231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n-US" sz="1600" b="1" dirty="0" err="1" smtClean="0">
                <a:solidFill>
                  <a:srgbClr val="FFFFFF"/>
                </a:solidFill>
              </a:rPr>
              <a:t>Monitoreo</a:t>
            </a:r>
            <a:r>
              <a:rPr lang="en-US" sz="1600" b="1" dirty="0" smtClean="0">
                <a:solidFill>
                  <a:srgbClr val="FFFFFF"/>
                </a:solidFill>
              </a:rPr>
              <a:t> continuo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3365895" name="Rectangle 5"/>
          <p:cNvSpPr>
            <a:spLocks noChangeArrowheads="1"/>
          </p:cNvSpPr>
          <p:nvPr/>
        </p:nvSpPr>
        <p:spPr bwMode="gray">
          <a:xfrm>
            <a:off x="4464050" y="2623845"/>
            <a:ext cx="2051050" cy="1898981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11125" lvl="0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400" dirty="0" smtClean="0">
                <a:solidFill>
                  <a:srgbClr val="000000"/>
                </a:solidFill>
              </a:rPr>
              <a:t>Realizado por cada Comunidad y referido al Ecónomo provincial</a:t>
            </a:r>
          </a:p>
          <a:p>
            <a:pPr marL="111125" lvl="0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400" b="1" dirty="0" smtClean="0">
                <a:solidFill>
                  <a:srgbClr val="000000"/>
                </a:solidFill>
              </a:rPr>
              <a:t>Controlado</a:t>
            </a:r>
            <a:r>
              <a:rPr lang="es-ES" sz="1400" dirty="0" smtClean="0">
                <a:solidFill>
                  <a:srgbClr val="000000"/>
                </a:solidFill>
              </a:rPr>
              <a:t> por el Ecónomo Provincial</a:t>
            </a:r>
          </a:p>
          <a:p>
            <a:pPr marL="111125" lvl="0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400" dirty="0" smtClean="0">
                <a:solidFill>
                  <a:srgbClr val="000000"/>
                </a:solidFill>
              </a:rPr>
              <a:t>Acciones de </a:t>
            </a:r>
            <a:r>
              <a:rPr lang="es-ES" sz="1400" b="1" dirty="0" smtClean="0">
                <a:solidFill>
                  <a:srgbClr val="000000"/>
                </a:solidFill>
              </a:rPr>
              <a:t>corrección continua </a:t>
            </a:r>
          </a:p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endParaRPr lang="es-ES" sz="1400" dirty="0" smtClean="0">
              <a:solidFill>
                <a:srgbClr val="000000"/>
              </a:solidFill>
            </a:endParaRPr>
          </a:p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endParaRPr lang="es-ES" sz="1400" dirty="0">
              <a:solidFill>
                <a:srgbClr val="000000"/>
              </a:solidFill>
            </a:endParaRPr>
          </a:p>
        </p:txBody>
      </p:sp>
      <p:sp>
        <p:nvSpPr>
          <p:cNvPr id="3365896" name="AutoShape 17"/>
          <p:cNvSpPr>
            <a:spLocks noChangeArrowheads="1"/>
          </p:cNvSpPr>
          <p:nvPr/>
        </p:nvSpPr>
        <p:spPr bwMode="gray">
          <a:xfrm>
            <a:off x="6624638" y="1836950"/>
            <a:ext cx="2195512" cy="638175"/>
          </a:xfrm>
          <a:prstGeom prst="chevron">
            <a:avLst>
              <a:gd name="adj" fmla="val 21231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n-US" sz="1600" b="1" dirty="0" err="1" smtClean="0">
                <a:solidFill>
                  <a:srgbClr val="FFFFFF"/>
                </a:solidFill>
              </a:rPr>
              <a:t>Cierre</a:t>
            </a:r>
            <a:r>
              <a:rPr lang="en-US" sz="1600" b="1" dirty="0" smtClean="0">
                <a:solidFill>
                  <a:srgbClr val="FFFFFF"/>
                </a:solidFill>
              </a:rPr>
              <a:t> de final de </a:t>
            </a:r>
            <a:r>
              <a:rPr lang="en-US" sz="1600" b="1" dirty="0" err="1" smtClean="0">
                <a:solidFill>
                  <a:srgbClr val="FFFFFF"/>
                </a:solidFill>
              </a:rPr>
              <a:t>año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3365897" name="Rectangle 5"/>
          <p:cNvSpPr>
            <a:spLocks noChangeArrowheads="1"/>
          </p:cNvSpPr>
          <p:nvPr/>
        </p:nvSpPr>
        <p:spPr bwMode="gray">
          <a:xfrm>
            <a:off x="6624638" y="2623845"/>
            <a:ext cx="2051050" cy="205440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11125" lvl="0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400" b="1" dirty="0" smtClean="0">
                <a:solidFill>
                  <a:srgbClr val="000000"/>
                </a:solidFill>
              </a:rPr>
              <a:t>Análisis de resultados</a:t>
            </a:r>
            <a:r>
              <a:rPr lang="es-ES" sz="1400" dirty="0" smtClean="0">
                <a:solidFill>
                  <a:srgbClr val="000000"/>
                </a:solidFill>
              </a:rPr>
              <a:t> efectivos</a:t>
            </a:r>
          </a:p>
          <a:p>
            <a:pPr marL="111125" lvl="0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400" dirty="0" smtClean="0">
                <a:solidFill>
                  <a:srgbClr val="000000"/>
                </a:solidFill>
              </a:rPr>
              <a:t>Extrapolación para el presupuesto del proximo año</a:t>
            </a:r>
          </a:p>
          <a:p>
            <a:pPr marL="111125" lvl="0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400" b="1" dirty="0" smtClean="0">
                <a:solidFill>
                  <a:srgbClr val="000000"/>
                </a:solidFill>
              </a:rPr>
              <a:t>Discusión sobre los resultados </a:t>
            </a:r>
            <a:r>
              <a:rPr lang="es-ES" sz="1400" dirty="0" smtClean="0">
                <a:solidFill>
                  <a:srgbClr val="000000"/>
                </a:solidFill>
              </a:rPr>
              <a:t>con las partes implicadas y responsables</a:t>
            </a:r>
          </a:p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endParaRPr lang="es-ES" sz="1400" dirty="0">
              <a:solidFill>
                <a:srgbClr val="000000"/>
              </a:solidFill>
            </a:endParaRPr>
          </a:p>
        </p:txBody>
      </p:sp>
      <p:sp>
        <p:nvSpPr>
          <p:cNvPr id="3365898" name="Rectangle 5"/>
          <p:cNvSpPr>
            <a:spLocks noChangeArrowheads="1"/>
          </p:cNvSpPr>
          <p:nvPr/>
        </p:nvSpPr>
        <p:spPr bwMode="gray">
          <a:xfrm>
            <a:off x="142875" y="5045075"/>
            <a:ext cx="2051050" cy="189744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11125" lvl="0" indent="-111125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 b="1" dirty="0" smtClean="0">
                <a:solidFill>
                  <a:srgbClr val="000000"/>
                </a:solidFill>
              </a:rPr>
              <a:t>Apoyo decidido </a:t>
            </a:r>
            <a:r>
              <a:rPr lang="es-ES" sz="1400" dirty="0">
                <a:solidFill>
                  <a:srgbClr val="000000"/>
                </a:solidFill>
              </a:rPr>
              <a:t>d</a:t>
            </a:r>
            <a:r>
              <a:rPr lang="es-ES" sz="1400" dirty="0" smtClean="0">
                <a:solidFill>
                  <a:srgbClr val="000000"/>
                </a:solidFill>
              </a:rPr>
              <a:t>el Consejo Provincial</a:t>
            </a:r>
          </a:p>
          <a:p>
            <a:pPr marL="111125" lvl="0" indent="-111125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 b="1" dirty="0" smtClean="0">
                <a:solidFill>
                  <a:srgbClr val="000000"/>
                </a:solidFill>
              </a:rPr>
              <a:t>Cooperación</a:t>
            </a:r>
            <a:r>
              <a:rPr lang="es-ES" sz="1400" dirty="0" smtClean="0">
                <a:solidFill>
                  <a:srgbClr val="000000"/>
                </a:solidFill>
              </a:rPr>
              <a:t> entre las provincias para desarrollar estándares </a:t>
            </a:r>
          </a:p>
          <a:p>
            <a:pPr marL="111125" lvl="0" indent="-111125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 dirty="0" smtClean="0">
                <a:solidFill>
                  <a:srgbClr val="000000"/>
                </a:solidFill>
              </a:rPr>
              <a:t>Apoyo dado al proyecto por un </a:t>
            </a:r>
            <a:r>
              <a:rPr lang="es-ES" sz="1400" b="1" dirty="0" smtClean="0">
                <a:solidFill>
                  <a:srgbClr val="000000"/>
                </a:solidFill>
              </a:rPr>
              <a:t>equipo central</a:t>
            </a:r>
          </a:p>
          <a:p>
            <a:pPr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365899" name="Rectangle 5"/>
          <p:cNvSpPr>
            <a:spLocks noChangeArrowheads="1"/>
          </p:cNvSpPr>
          <p:nvPr/>
        </p:nvSpPr>
        <p:spPr bwMode="gray">
          <a:xfrm>
            <a:off x="2305050" y="5045075"/>
            <a:ext cx="2051050" cy="186050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11125" indent="-111125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400" dirty="0">
                <a:solidFill>
                  <a:srgbClr val="000000"/>
                </a:solidFill>
              </a:rPr>
              <a:t>Adecuado </a:t>
            </a:r>
            <a:r>
              <a:rPr lang="es-ES" sz="1400" b="1" dirty="0">
                <a:solidFill>
                  <a:srgbClr val="000000"/>
                </a:solidFill>
              </a:rPr>
              <a:t>trabajo previo </a:t>
            </a:r>
            <a:r>
              <a:rPr lang="es-ES" sz="1400" dirty="0" smtClean="0">
                <a:solidFill>
                  <a:srgbClr val="000000"/>
                </a:solidFill>
              </a:rPr>
              <a:t>por el </a:t>
            </a:r>
            <a:r>
              <a:rPr lang="es-ES" sz="1400" dirty="0">
                <a:solidFill>
                  <a:srgbClr val="000000"/>
                </a:solidFill>
              </a:rPr>
              <a:t>Ecónomo Provincial con el apoyo de los líderes </a:t>
            </a:r>
            <a:r>
              <a:rPr lang="es-ES" sz="1400" dirty="0" smtClean="0">
                <a:solidFill>
                  <a:srgbClr val="000000"/>
                </a:solidFill>
              </a:rPr>
              <a:t>de las comunidades </a:t>
            </a:r>
            <a:r>
              <a:rPr lang="es-ES" sz="1400" dirty="0">
                <a:solidFill>
                  <a:srgbClr val="000000"/>
                </a:solidFill>
              </a:rPr>
              <a:t>y proveedores externos (ej. </a:t>
            </a:r>
            <a:r>
              <a:rPr lang="es-ES" sz="1400" dirty="0" smtClean="0">
                <a:solidFill>
                  <a:srgbClr val="000000"/>
                </a:solidFill>
              </a:rPr>
              <a:t>los </a:t>
            </a:r>
            <a:r>
              <a:rPr lang="es-ES" sz="1400" dirty="0">
                <a:solidFill>
                  <a:srgbClr val="000000"/>
                </a:solidFill>
              </a:rPr>
              <a:t>administradores de activos)</a:t>
            </a:r>
          </a:p>
          <a:p>
            <a:pPr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365900" name="Rectangle 5"/>
          <p:cNvSpPr>
            <a:spLocks noChangeArrowheads="1"/>
          </p:cNvSpPr>
          <p:nvPr/>
        </p:nvSpPr>
        <p:spPr bwMode="gray">
          <a:xfrm>
            <a:off x="4464050" y="5045075"/>
            <a:ext cx="2051050" cy="81406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400" b="1" dirty="0">
                <a:solidFill>
                  <a:srgbClr val="000000"/>
                </a:solidFill>
              </a:rPr>
              <a:t>Mejora de </a:t>
            </a:r>
            <a:r>
              <a:rPr lang="es-ES" sz="1400" b="1" dirty="0" smtClean="0">
                <a:solidFill>
                  <a:srgbClr val="000000"/>
                </a:solidFill>
              </a:rPr>
              <a:t>los recursos </a:t>
            </a:r>
            <a:r>
              <a:rPr lang="es-ES" sz="1400" b="1" dirty="0">
                <a:solidFill>
                  <a:srgbClr val="000000"/>
                </a:solidFill>
              </a:rPr>
              <a:t>y </a:t>
            </a:r>
            <a:r>
              <a:rPr lang="es-ES" sz="1400" b="1" dirty="0" smtClean="0">
                <a:solidFill>
                  <a:srgbClr val="000000"/>
                </a:solidFill>
              </a:rPr>
              <a:t>automatización </a:t>
            </a:r>
            <a:r>
              <a:rPr lang="es-ES" sz="1400" dirty="0">
                <a:solidFill>
                  <a:srgbClr val="000000"/>
                </a:solidFill>
              </a:rPr>
              <a:t>del proceso de control</a:t>
            </a:r>
          </a:p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365901" name="Rectangle 5"/>
          <p:cNvSpPr>
            <a:spLocks noChangeArrowheads="1"/>
          </p:cNvSpPr>
          <p:nvPr/>
        </p:nvSpPr>
        <p:spPr bwMode="gray">
          <a:xfrm>
            <a:off x="6624638" y="5045075"/>
            <a:ext cx="2051050" cy="1589666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400" dirty="0">
                <a:solidFill>
                  <a:srgbClr val="000000"/>
                </a:solidFill>
              </a:rPr>
              <a:t> Diseño de un mecanismo de </a:t>
            </a:r>
            <a:r>
              <a:rPr lang="es-ES" sz="1400" b="1" dirty="0">
                <a:solidFill>
                  <a:srgbClr val="000000"/>
                </a:solidFill>
              </a:rPr>
              <a:t>recompensa </a:t>
            </a:r>
            <a:r>
              <a:rPr lang="es-ES" sz="1400" b="1" dirty="0" smtClean="0">
                <a:solidFill>
                  <a:srgbClr val="000000"/>
                </a:solidFill>
              </a:rPr>
              <a:t>por el rendimiento.</a:t>
            </a:r>
          </a:p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400" dirty="0" smtClean="0">
                <a:solidFill>
                  <a:srgbClr val="000000"/>
                </a:solidFill>
              </a:rPr>
              <a:t>Introducción </a:t>
            </a:r>
            <a:r>
              <a:rPr lang="es-ES" sz="1400" dirty="0">
                <a:solidFill>
                  <a:srgbClr val="000000"/>
                </a:solidFill>
              </a:rPr>
              <a:t>de </a:t>
            </a:r>
            <a:r>
              <a:rPr lang="es-ES" sz="1400" dirty="0" smtClean="0">
                <a:solidFill>
                  <a:srgbClr val="000000"/>
                </a:solidFill>
              </a:rPr>
              <a:t>los </a:t>
            </a:r>
            <a:r>
              <a:rPr lang="es-ES" sz="1400" b="1" dirty="0" smtClean="0">
                <a:solidFill>
                  <a:srgbClr val="000000"/>
                </a:solidFill>
              </a:rPr>
              <a:t>aprendizajes y compartir buenas prácticas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3365902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36525" y="4616450"/>
            <a:ext cx="8756650" cy="355600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wrap="none" lIns="71120" tIns="71120" rIns="71120" bIns="71120" anchor="ctr"/>
          <a:lstStyle/>
          <a:p>
            <a:pPr algn="ctr" defTabSz="914400" eaLnBrk="0" hangingPunct="0">
              <a:lnSpc>
                <a:spcPct val="90000"/>
              </a:lnSpc>
            </a:pPr>
            <a:r>
              <a:rPr lang="es-ES" sz="1600" dirty="0" smtClean="0">
                <a:solidFill>
                  <a:srgbClr val="FFFFFF"/>
                </a:solidFill>
              </a:rPr>
              <a:t>Pre-requisitos</a:t>
            </a:r>
            <a:endParaRPr lang="es-ES" sz="1600" dirty="0">
              <a:solidFill>
                <a:srgbClr val="FFFFFF"/>
              </a:solidFill>
            </a:endParaRPr>
          </a:p>
        </p:txBody>
      </p:sp>
      <p:sp>
        <p:nvSpPr>
          <p:cNvPr id="3365903" name="Rectangle 17"/>
          <p:cNvSpPr>
            <a:spLocks noChangeArrowheads="1"/>
          </p:cNvSpPr>
          <p:nvPr/>
        </p:nvSpPr>
        <p:spPr bwMode="auto">
          <a:xfrm>
            <a:off x="5610225" y="139700"/>
            <a:ext cx="3341688" cy="1841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/>
            <a:r>
              <a:rPr lang="es-ES" sz="1200">
                <a:solidFill>
                  <a:srgbClr val="000000"/>
                </a:solidFill>
              </a:rPr>
              <a:t>Estamos utilizando plenamente nuestros bienes?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7937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>
          <a:xfrm>
            <a:off x="244475" y="804863"/>
            <a:ext cx="8640763" cy="332399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La gestión de las inversiones debe ser profesionalizada</a:t>
            </a:r>
          </a:p>
        </p:txBody>
      </p:sp>
      <p:sp>
        <p:nvSpPr>
          <p:cNvPr id="3367938" name="Pentagon 24"/>
          <p:cNvSpPr>
            <a:spLocks noChangeArrowheads="1"/>
          </p:cNvSpPr>
          <p:nvPr/>
        </p:nvSpPr>
        <p:spPr bwMode="auto">
          <a:xfrm>
            <a:off x="142875" y="1773238"/>
            <a:ext cx="2195513" cy="638175"/>
          </a:xfrm>
          <a:prstGeom prst="homePlate">
            <a:avLst>
              <a:gd name="adj" fmla="val 21247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n-US" sz="1400" b="1" dirty="0" err="1" smtClean="0">
                <a:solidFill>
                  <a:srgbClr val="FFFFFF"/>
                </a:solidFill>
              </a:rPr>
              <a:t>Planificación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3367939" name="Rectangle 5"/>
          <p:cNvSpPr>
            <a:spLocks noChangeArrowheads="1"/>
          </p:cNvSpPr>
          <p:nvPr/>
        </p:nvSpPr>
        <p:spPr bwMode="gray">
          <a:xfrm>
            <a:off x="134938" y="2492375"/>
            <a:ext cx="2051050" cy="186666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11125" indent="-111125" defTabSz="914400" eaLnBrk="0" hangingPunct="0">
              <a:lnSpc>
                <a:spcPct val="90000"/>
              </a:lnSpc>
              <a:spcBef>
                <a:spcPts val="100"/>
              </a:spcBef>
              <a:buClr>
                <a:srgbClr val="9B1717"/>
              </a:buClr>
              <a:buFontTx/>
              <a:buChar char="•"/>
            </a:pPr>
            <a:r>
              <a:rPr lang="es-ES" sz="1200" dirty="0" smtClean="0">
                <a:solidFill>
                  <a:srgbClr val="000000"/>
                </a:solidFill>
              </a:rPr>
              <a:t>Traducción del </a:t>
            </a:r>
            <a:r>
              <a:rPr lang="es-ES" sz="1200" b="1" dirty="0" smtClean="0">
                <a:solidFill>
                  <a:srgbClr val="000000"/>
                </a:solidFill>
              </a:rPr>
              <a:t>mandato estratégico</a:t>
            </a:r>
            <a:r>
              <a:rPr lang="es-ES" sz="1200" dirty="0" smtClean="0">
                <a:solidFill>
                  <a:srgbClr val="000000"/>
                </a:solidFill>
              </a:rPr>
              <a:t> en objetivos de gestión de activos</a:t>
            </a:r>
            <a:endParaRPr lang="es-ES" sz="1200" dirty="0">
              <a:solidFill>
                <a:srgbClr val="000000"/>
              </a:solidFill>
            </a:endParaRPr>
          </a:p>
          <a:p>
            <a:pPr marL="111125" indent="-111125" defTabSz="914400" eaLnBrk="0" hangingPunct="0">
              <a:lnSpc>
                <a:spcPct val="90000"/>
              </a:lnSpc>
              <a:spcBef>
                <a:spcPts val="100"/>
              </a:spcBef>
              <a:buClr>
                <a:srgbClr val="9B1717"/>
              </a:buClr>
              <a:buFontTx/>
              <a:buChar char="•"/>
            </a:pPr>
            <a:r>
              <a:rPr lang="es-ES" sz="1200" dirty="0" smtClean="0">
                <a:solidFill>
                  <a:srgbClr val="000000"/>
                </a:solidFill>
              </a:rPr>
              <a:t>Selección de </a:t>
            </a:r>
            <a:r>
              <a:rPr lang="es-ES" sz="1200" b="1" dirty="0" smtClean="0">
                <a:solidFill>
                  <a:srgbClr val="000000"/>
                </a:solidFill>
              </a:rPr>
              <a:t>proveedores y  </a:t>
            </a:r>
            <a:r>
              <a:rPr lang="es-ES" sz="1200" b="1" dirty="0">
                <a:solidFill>
                  <a:srgbClr val="000000"/>
                </a:solidFill>
              </a:rPr>
              <a:t>de </a:t>
            </a:r>
            <a:r>
              <a:rPr lang="es-ES" sz="1200" b="1" dirty="0" smtClean="0">
                <a:solidFill>
                  <a:srgbClr val="000000"/>
                </a:solidFill>
              </a:rPr>
              <a:t>asesores financieros</a:t>
            </a:r>
            <a:endParaRPr lang="es-ES" sz="1200" b="1" dirty="0">
              <a:solidFill>
                <a:srgbClr val="000000"/>
              </a:solidFill>
            </a:endParaRPr>
          </a:p>
          <a:p>
            <a:pPr marL="111125" indent="-111125" defTabSz="914400" eaLnBrk="0" hangingPunct="0">
              <a:lnSpc>
                <a:spcPct val="90000"/>
              </a:lnSpc>
              <a:spcBef>
                <a:spcPts val="100"/>
              </a:spcBef>
              <a:buClr>
                <a:srgbClr val="9B1717"/>
              </a:buClr>
              <a:buFontTx/>
              <a:buChar char="•"/>
            </a:pPr>
            <a:r>
              <a:rPr lang="es-ES" sz="1200" dirty="0" smtClean="0">
                <a:solidFill>
                  <a:srgbClr val="000000"/>
                </a:solidFill>
              </a:rPr>
              <a:t>Establecimiento de la </a:t>
            </a:r>
            <a:r>
              <a:rPr lang="es-ES" sz="1200" b="1" dirty="0">
                <a:solidFill>
                  <a:srgbClr val="000000"/>
                </a:solidFill>
              </a:rPr>
              <a:t>gobernanza interna y </a:t>
            </a:r>
            <a:r>
              <a:rPr lang="es-ES" sz="1200" b="1" dirty="0" smtClean="0">
                <a:solidFill>
                  <a:srgbClr val="000000"/>
                </a:solidFill>
              </a:rPr>
              <a:t>externa</a:t>
            </a:r>
          </a:p>
          <a:p>
            <a:pPr marL="111125" indent="-111125" defTabSz="914400" eaLnBrk="0" hangingPunct="0">
              <a:lnSpc>
                <a:spcPct val="90000"/>
              </a:lnSpc>
              <a:spcBef>
                <a:spcPts val="100"/>
              </a:spcBef>
              <a:buClr>
                <a:srgbClr val="9B1717"/>
              </a:buClr>
              <a:buFontTx/>
              <a:buChar char="•"/>
            </a:pPr>
            <a:r>
              <a:rPr lang="es-ES" sz="1200" dirty="0" smtClean="0">
                <a:solidFill>
                  <a:srgbClr val="000000"/>
                </a:solidFill>
              </a:rPr>
              <a:t>Establecimiento de un </a:t>
            </a:r>
            <a:r>
              <a:rPr lang="es-ES" sz="1200" b="1" dirty="0" smtClean="0">
                <a:solidFill>
                  <a:srgbClr val="000000"/>
                </a:solidFill>
              </a:rPr>
              <a:t>equipo </a:t>
            </a:r>
            <a:r>
              <a:rPr lang="es-ES" sz="1200" b="1" dirty="0">
                <a:solidFill>
                  <a:srgbClr val="000000"/>
                </a:solidFill>
              </a:rPr>
              <a:t>de gestión </a:t>
            </a:r>
            <a:r>
              <a:rPr lang="es-ES" sz="1200" b="1" dirty="0" smtClean="0">
                <a:solidFill>
                  <a:srgbClr val="000000"/>
                </a:solidFill>
              </a:rPr>
              <a:t>y procesos operativos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3367940" name="AutoShape 17"/>
          <p:cNvSpPr>
            <a:spLocks noChangeArrowheads="1"/>
          </p:cNvSpPr>
          <p:nvPr/>
        </p:nvSpPr>
        <p:spPr bwMode="gray">
          <a:xfrm>
            <a:off x="2303463" y="1773238"/>
            <a:ext cx="2195512" cy="638175"/>
          </a:xfrm>
          <a:prstGeom prst="chevron">
            <a:avLst>
              <a:gd name="adj" fmla="val 21231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n-US" sz="1400" b="1" dirty="0" smtClean="0">
                <a:solidFill>
                  <a:srgbClr val="FFFFFF"/>
                </a:solidFill>
              </a:rPr>
              <a:t>La </a:t>
            </a:r>
            <a:r>
              <a:rPr lang="en-US" sz="1400" b="1" dirty="0" err="1">
                <a:solidFill>
                  <a:srgbClr val="FFFFFF"/>
                </a:solidFill>
              </a:rPr>
              <a:t>asignación</a:t>
            </a:r>
            <a:r>
              <a:rPr lang="en-US" sz="1400" b="1" dirty="0">
                <a:solidFill>
                  <a:srgbClr val="FFFFFF"/>
                </a:solidFill>
              </a:rPr>
              <a:t> de </a:t>
            </a:r>
            <a:r>
              <a:rPr lang="en-US" sz="1400" b="1" dirty="0" err="1" smtClean="0">
                <a:solidFill>
                  <a:srgbClr val="FFFFFF"/>
                </a:solidFill>
              </a:rPr>
              <a:t>activos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3367941" name="Rectangle 5"/>
          <p:cNvSpPr>
            <a:spLocks noChangeArrowheads="1"/>
          </p:cNvSpPr>
          <p:nvPr/>
        </p:nvSpPr>
        <p:spPr bwMode="gray">
          <a:xfrm>
            <a:off x="2297113" y="2492375"/>
            <a:ext cx="2049462" cy="148348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200" dirty="0">
                <a:solidFill>
                  <a:srgbClr val="000000"/>
                </a:solidFill>
              </a:rPr>
              <a:t>Definición de la </a:t>
            </a:r>
            <a:r>
              <a:rPr lang="es-ES" sz="1200" b="1" dirty="0">
                <a:solidFill>
                  <a:srgbClr val="000000"/>
                </a:solidFill>
              </a:rPr>
              <a:t>política de inversión</a:t>
            </a:r>
          </a:p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200" b="1" dirty="0">
                <a:solidFill>
                  <a:srgbClr val="000000"/>
                </a:solidFill>
              </a:rPr>
              <a:t>La asignación de activos</a:t>
            </a:r>
          </a:p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200" b="1" dirty="0">
                <a:solidFill>
                  <a:srgbClr val="000000"/>
                </a:solidFill>
              </a:rPr>
              <a:t>P</a:t>
            </a:r>
            <a:r>
              <a:rPr lang="es-ES" sz="1200" b="1" dirty="0" smtClean="0">
                <a:solidFill>
                  <a:srgbClr val="000000"/>
                </a:solidFill>
              </a:rPr>
              <a:t>olítica </a:t>
            </a:r>
            <a:r>
              <a:rPr lang="es-ES" sz="1200" b="1" dirty="0">
                <a:solidFill>
                  <a:srgbClr val="000000"/>
                </a:solidFill>
              </a:rPr>
              <a:t>de riesgos</a:t>
            </a:r>
          </a:p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200" dirty="0" smtClean="0">
                <a:solidFill>
                  <a:srgbClr val="000000"/>
                </a:solidFill>
              </a:rPr>
              <a:t>Establecimiento de un modelo operativo</a:t>
            </a:r>
          </a:p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200" dirty="0" smtClean="0">
                <a:solidFill>
                  <a:srgbClr val="000000"/>
                </a:solidFill>
              </a:rPr>
              <a:t>Definición de </a:t>
            </a:r>
            <a:r>
              <a:rPr lang="es-ES" sz="1200" b="1" dirty="0" smtClean="0">
                <a:solidFill>
                  <a:srgbClr val="000000"/>
                </a:solidFill>
              </a:rPr>
              <a:t>procesos operativos</a:t>
            </a:r>
            <a:endParaRPr lang="es-ES" sz="1200" b="1" dirty="0">
              <a:solidFill>
                <a:srgbClr val="000000"/>
              </a:solidFill>
            </a:endParaRPr>
          </a:p>
        </p:txBody>
      </p:sp>
      <p:sp>
        <p:nvSpPr>
          <p:cNvPr id="3367942" name="AutoShape 17"/>
          <p:cNvSpPr>
            <a:spLocks noChangeArrowheads="1"/>
          </p:cNvSpPr>
          <p:nvPr/>
        </p:nvSpPr>
        <p:spPr bwMode="gray">
          <a:xfrm>
            <a:off x="4464050" y="1773238"/>
            <a:ext cx="2195513" cy="638175"/>
          </a:xfrm>
          <a:prstGeom prst="chevron">
            <a:avLst>
              <a:gd name="adj" fmla="val 21231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n-US" sz="1400" b="1" dirty="0" err="1" smtClean="0">
                <a:solidFill>
                  <a:srgbClr val="FFFFFF"/>
                </a:solidFill>
              </a:rPr>
              <a:t>Gestión</a:t>
            </a:r>
            <a:r>
              <a:rPr lang="en-US" sz="1400" b="1" dirty="0" smtClean="0">
                <a:solidFill>
                  <a:srgbClr val="FFFFFF"/>
                </a:solidFill>
              </a:rPr>
              <a:t>, </a:t>
            </a:r>
            <a:r>
              <a:rPr lang="en-US" sz="1400" b="1" dirty="0" err="1" smtClean="0">
                <a:solidFill>
                  <a:srgbClr val="FFFFFF"/>
                </a:solidFill>
              </a:rPr>
              <a:t>ejecución</a:t>
            </a:r>
            <a:r>
              <a:rPr lang="en-US" sz="1400" b="1" dirty="0" smtClean="0">
                <a:solidFill>
                  <a:srgbClr val="FFFFFF"/>
                </a:solidFill>
              </a:rPr>
              <a:t>, </a:t>
            </a:r>
            <a:r>
              <a:rPr lang="en-US" sz="1400" b="1" dirty="0" err="1" smtClean="0">
                <a:solidFill>
                  <a:srgbClr val="FFFFFF"/>
                </a:solidFill>
              </a:rPr>
              <a:t>medida</a:t>
            </a:r>
            <a:r>
              <a:rPr lang="en-US" sz="1400" b="1" dirty="0" smtClean="0">
                <a:solidFill>
                  <a:srgbClr val="FFFFFF"/>
                </a:solidFill>
              </a:rPr>
              <a:t> y control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3367943" name="Rectangle 5"/>
          <p:cNvSpPr>
            <a:spLocks noChangeArrowheads="1"/>
          </p:cNvSpPr>
          <p:nvPr/>
        </p:nvSpPr>
        <p:spPr bwMode="gray">
          <a:xfrm>
            <a:off x="4456113" y="2492375"/>
            <a:ext cx="2051050" cy="94641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200" b="1" dirty="0">
                <a:solidFill>
                  <a:srgbClr val="000000"/>
                </a:solidFill>
              </a:rPr>
              <a:t>G</a:t>
            </a:r>
            <a:r>
              <a:rPr lang="es-ES" sz="1200" b="1" dirty="0" smtClean="0">
                <a:solidFill>
                  <a:srgbClr val="000000"/>
                </a:solidFill>
              </a:rPr>
              <a:t>estión de la cartera</a:t>
            </a:r>
            <a:endParaRPr lang="es-ES" sz="1200" b="1" dirty="0">
              <a:solidFill>
                <a:srgbClr val="000000"/>
              </a:solidFill>
            </a:endParaRPr>
          </a:p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200" b="1" dirty="0" smtClean="0">
                <a:solidFill>
                  <a:srgbClr val="000000"/>
                </a:solidFill>
              </a:rPr>
              <a:t>Medición de los resultados</a:t>
            </a:r>
            <a:endParaRPr lang="es-ES" sz="1200" b="1" dirty="0">
              <a:solidFill>
                <a:srgbClr val="000000"/>
              </a:solidFill>
            </a:endParaRPr>
          </a:p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200" b="1" dirty="0">
                <a:solidFill>
                  <a:srgbClr val="000000"/>
                </a:solidFill>
              </a:rPr>
              <a:t>C</a:t>
            </a:r>
            <a:r>
              <a:rPr lang="es-ES" sz="1200" b="1" dirty="0" smtClean="0">
                <a:solidFill>
                  <a:srgbClr val="000000"/>
                </a:solidFill>
              </a:rPr>
              <a:t>ontrol</a:t>
            </a:r>
            <a:endParaRPr lang="es-ES" sz="1200" b="1" dirty="0">
              <a:solidFill>
                <a:srgbClr val="000000"/>
              </a:solidFill>
            </a:endParaRPr>
          </a:p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200" b="1" dirty="0">
                <a:solidFill>
                  <a:srgbClr val="000000"/>
                </a:solidFill>
              </a:rPr>
              <a:t>I</a:t>
            </a:r>
            <a:r>
              <a:rPr lang="es-ES" sz="1200" b="1" dirty="0" smtClean="0">
                <a:solidFill>
                  <a:srgbClr val="000000"/>
                </a:solidFill>
              </a:rPr>
              <a:t>nformes</a:t>
            </a:r>
            <a:endParaRPr lang="es-ES" sz="1200" b="1" dirty="0">
              <a:solidFill>
                <a:srgbClr val="000000"/>
              </a:solidFill>
            </a:endParaRPr>
          </a:p>
        </p:txBody>
      </p:sp>
      <p:sp>
        <p:nvSpPr>
          <p:cNvPr id="3367944" name="AutoShape 17"/>
          <p:cNvSpPr>
            <a:spLocks noChangeArrowheads="1"/>
          </p:cNvSpPr>
          <p:nvPr/>
        </p:nvSpPr>
        <p:spPr bwMode="gray">
          <a:xfrm>
            <a:off x="6624638" y="1773238"/>
            <a:ext cx="2195512" cy="638175"/>
          </a:xfrm>
          <a:prstGeom prst="chevron">
            <a:avLst>
              <a:gd name="adj" fmla="val 21231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n-US" sz="1400" b="1" dirty="0" err="1" smtClean="0">
                <a:solidFill>
                  <a:srgbClr val="FFFFFF"/>
                </a:solidFill>
              </a:rPr>
              <a:t>Gestión</a:t>
            </a:r>
            <a:r>
              <a:rPr lang="en-US" sz="1400" b="1" dirty="0" smtClean="0">
                <a:solidFill>
                  <a:srgbClr val="FFFFFF"/>
                </a:solidFill>
              </a:rPr>
              <a:t> </a:t>
            </a:r>
            <a:r>
              <a:rPr lang="en-US" sz="1400" b="1" dirty="0" err="1" smtClean="0">
                <a:solidFill>
                  <a:srgbClr val="FFFFFF"/>
                </a:solidFill>
              </a:rPr>
              <a:t>periódica</a:t>
            </a:r>
            <a:r>
              <a:rPr lang="en-US" sz="1400" b="1" dirty="0" smtClean="0">
                <a:solidFill>
                  <a:srgbClr val="FFFFFF"/>
                </a:solidFill>
              </a:rPr>
              <a:t> de </a:t>
            </a:r>
            <a:r>
              <a:rPr lang="en-US" sz="1400" b="1" dirty="0" err="1" smtClean="0">
                <a:solidFill>
                  <a:srgbClr val="FFFFFF"/>
                </a:solidFill>
              </a:rPr>
              <a:t>proveedores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3367945" name="Rectangle 5"/>
          <p:cNvSpPr>
            <a:spLocks noChangeArrowheads="1"/>
          </p:cNvSpPr>
          <p:nvPr/>
        </p:nvSpPr>
        <p:spPr bwMode="gray">
          <a:xfrm>
            <a:off x="6616700" y="2493963"/>
            <a:ext cx="2051050" cy="140653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200" b="1" dirty="0">
                <a:solidFill>
                  <a:srgbClr val="000000"/>
                </a:solidFill>
              </a:rPr>
              <a:t>Evaluación comparativa de rendimiento de proveedores</a:t>
            </a:r>
          </a:p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200" b="1" dirty="0">
                <a:solidFill>
                  <a:srgbClr val="000000"/>
                </a:solidFill>
              </a:rPr>
              <a:t>Renegociación</a:t>
            </a:r>
          </a:p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200" dirty="0" smtClean="0">
                <a:solidFill>
                  <a:srgbClr val="000000"/>
                </a:solidFill>
              </a:rPr>
              <a:t>Actualización </a:t>
            </a:r>
            <a:r>
              <a:rPr lang="es-ES" sz="1200" dirty="0">
                <a:solidFill>
                  <a:srgbClr val="000000"/>
                </a:solidFill>
              </a:rPr>
              <a:t>de la </a:t>
            </a:r>
            <a:r>
              <a:rPr lang="es-ES" sz="1200" b="1" dirty="0">
                <a:solidFill>
                  <a:srgbClr val="000000"/>
                </a:solidFill>
              </a:rPr>
              <a:t>lista </a:t>
            </a:r>
            <a:r>
              <a:rPr lang="es-ES" sz="1200" b="1" dirty="0" smtClean="0">
                <a:solidFill>
                  <a:srgbClr val="000000"/>
                </a:solidFill>
              </a:rPr>
              <a:t>de proveedores y </a:t>
            </a:r>
            <a:r>
              <a:rPr lang="es-ES" sz="1200" b="1" dirty="0">
                <a:solidFill>
                  <a:srgbClr val="000000"/>
                </a:solidFill>
              </a:rPr>
              <a:t>la redefinición de asignación de activos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3367946" name="Rectangle 5"/>
          <p:cNvSpPr>
            <a:spLocks noChangeArrowheads="1"/>
          </p:cNvSpPr>
          <p:nvPr/>
        </p:nvSpPr>
        <p:spPr bwMode="gray">
          <a:xfrm>
            <a:off x="150813" y="4999739"/>
            <a:ext cx="2051050" cy="1534266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200" dirty="0" smtClean="0"/>
              <a:t>El </a:t>
            </a:r>
            <a:r>
              <a:rPr lang="es-ES" sz="1200" b="1" dirty="0" smtClean="0"/>
              <a:t>Consejo Provincial </a:t>
            </a:r>
            <a:r>
              <a:rPr lang="es-ES" sz="1200" dirty="0" smtClean="0"/>
              <a:t>define las prioridades</a:t>
            </a:r>
          </a:p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200" dirty="0" smtClean="0"/>
              <a:t>El </a:t>
            </a:r>
            <a:r>
              <a:rPr lang="es-ES" sz="1200" b="1" dirty="0" smtClean="0"/>
              <a:t>Ecónomo Provincial </a:t>
            </a:r>
            <a:r>
              <a:rPr lang="es-ES" sz="1200" dirty="0" smtClean="0"/>
              <a:t>debe involucrar otras pide a otras Provincias y a la AG para rediseñar los procesos (para centrarse en la selección de proveedores y en la gobernanza).</a:t>
            </a:r>
            <a:endParaRPr lang="es-ES" sz="1200" dirty="0"/>
          </a:p>
        </p:txBody>
      </p:sp>
      <p:sp>
        <p:nvSpPr>
          <p:cNvPr id="3367947" name="Rectangle 5"/>
          <p:cNvSpPr>
            <a:spLocks noChangeArrowheads="1"/>
          </p:cNvSpPr>
          <p:nvPr/>
        </p:nvSpPr>
        <p:spPr bwMode="gray">
          <a:xfrm>
            <a:off x="2296319" y="4995238"/>
            <a:ext cx="2051050" cy="70326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200" dirty="0" smtClean="0"/>
              <a:t>Actualización de la </a:t>
            </a:r>
            <a:r>
              <a:rPr lang="es-ES" sz="1200" b="1" dirty="0" smtClean="0"/>
              <a:t>política de inversión</a:t>
            </a:r>
          </a:p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200" dirty="0" smtClean="0"/>
              <a:t>Introducción de una </a:t>
            </a:r>
            <a:r>
              <a:rPr lang="es-ES" sz="1200" b="1" dirty="0" smtClean="0"/>
              <a:t>política de gestión de riesgos</a:t>
            </a:r>
            <a:endParaRPr lang="es-ES" sz="1200" b="1" dirty="0"/>
          </a:p>
        </p:txBody>
      </p:sp>
      <p:sp>
        <p:nvSpPr>
          <p:cNvPr id="3367948" name="Rectangle 5"/>
          <p:cNvSpPr>
            <a:spLocks noChangeArrowheads="1"/>
          </p:cNvSpPr>
          <p:nvPr/>
        </p:nvSpPr>
        <p:spPr bwMode="gray">
          <a:xfrm>
            <a:off x="4536281" y="5019675"/>
            <a:ext cx="2051050" cy="136806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200" dirty="0" smtClean="0"/>
              <a:t>Solicitud para mejorar la </a:t>
            </a:r>
            <a:r>
              <a:rPr lang="es-ES" sz="1200" b="1" dirty="0" smtClean="0"/>
              <a:t>presentación de informes de los administradores de activos</a:t>
            </a:r>
          </a:p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200" dirty="0" smtClean="0"/>
              <a:t>Mejora del </a:t>
            </a:r>
            <a:r>
              <a:rPr lang="es-ES" sz="1200" b="1" dirty="0" smtClean="0"/>
              <a:t>equipo con la cooperación de  expertos </a:t>
            </a:r>
            <a:r>
              <a:rPr lang="es-ES" sz="1200" dirty="0" smtClean="0"/>
              <a:t>regionales  y, con el tiempo, con expertos laicos </a:t>
            </a:r>
            <a:endParaRPr lang="es-ES" sz="1200" dirty="0"/>
          </a:p>
        </p:txBody>
      </p:sp>
      <p:sp>
        <p:nvSpPr>
          <p:cNvPr id="3367949" name="Rectangle 5"/>
          <p:cNvSpPr>
            <a:spLocks noChangeArrowheads="1"/>
          </p:cNvSpPr>
          <p:nvPr/>
        </p:nvSpPr>
        <p:spPr bwMode="gray">
          <a:xfrm>
            <a:off x="6624638" y="4999739"/>
            <a:ext cx="2051050" cy="120186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200" dirty="0" smtClean="0"/>
              <a:t>La introducción de la </a:t>
            </a:r>
            <a:r>
              <a:rPr lang="es-ES" sz="1200" b="1" dirty="0" smtClean="0"/>
              <a:t>evaluación comparativa profesional</a:t>
            </a:r>
          </a:p>
          <a:p>
            <a:pPr marL="111125" indent="-111125" defTabSz="914400" eaLnBrk="0" hangingPunct="0">
              <a:lnSpc>
                <a:spcPct val="90000"/>
              </a:lnSpc>
              <a:spcBef>
                <a:spcPts val="300"/>
              </a:spcBef>
              <a:buClr>
                <a:srgbClr val="9B1717"/>
              </a:buClr>
              <a:buFontTx/>
              <a:buChar char="•"/>
            </a:pPr>
            <a:r>
              <a:rPr lang="es-ES" sz="1200" dirty="0" smtClean="0"/>
              <a:t>Introducción de la </a:t>
            </a:r>
            <a:r>
              <a:rPr lang="es-ES" sz="1200" b="1" dirty="0" smtClean="0"/>
              <a:t>selección de proveedores </a:t>
            </a:r>
            <a:r>
              <a:rPr lang="es-ES" sz="1200" dirty="0" smtClean="0"/>
              <a:t>en colaboración con las otras UA</a:t>
            </a:r>
            <a:endParaRPr lang="es-ES" sz="1200" dirty="0"/>
          </a:p>
        </p:txBody>
      </p:sp>
      <p:sp>
        <p:nvSpPr>
          <p:cNvPr id="3367950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36525" y="4455063"/>
            <a:ext cx="8756650" cy="355600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wrap="none" lIns="71120" tIns="71120" rIns="71120" bIns="71120" anchor="ctr"/>
          <a:lstStyle/>
          <a:p>
            <a:pPr algn="ctr" defTabSz="914400" eaLnBrk="0" hangingPunct="0">
              <a:lnSpc>
                <a:spcPct val="90000"/>
              </a:lnSpc>
            </a:pPr>
            <a:r>
              <a:rPr lang="en-US" sz="1600" b="1" dirty="0" smtClean="0">
                <a:solidFill>
                  <a:srgbClr val="FFFFFF"/>
                </a:solidFill>
              </a:rPr>
              <a:t>Pre-</a:t>
            </a:r>
            <a:r>
              <a:rPr lang="en-US" sz="1600" b="1" dirty="0" err="1" smtClean="0">
                <a:solidFill>
                  <a:srgbClr val="FFFFFF"/>
                </a:solidFill>
              </a:rPr>
              <a:t>requisitos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3367951" name="Rectangle 17"/>
          <p:cNvSpPr>
            <a:spLocks noChangeArrowheads="1"/>
          </p:cNvSpPr>
          <p:nvPr/>
        </p:nvSpPr>
        <p:spPr bwMode="auto">
          <a:xfrm>
            <a:off x="5562600" y="127000"/>
            <a:ext cx="3340100" cy="1841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/>
            <a:r>
              <a:rPr lang="es-ES" sz="1200">
                <a:solidFill>
                  <a:srgbClr val="000000"/>
                </a:solidFill>
              </a:rPr>
              <a:t>Estamos utilizando plenamente nuestros bienes?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52325" name="Objec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5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2326" name="Rectangle 2"/>
          <p:cNvSpPr>
            <a:spLocks noGrp="1" noChangeArrowheads="1"/>
          </p:cNvSpPr>
          <p:nvPr>
            <p:ph type="title"/>
          </p:nvPr>
        </p:nvSpPr>
        <p:spPr>
          <a:xfrm>
            <a:off x="244475" y="804863"/>
            <a:ext cx="8640763" cy="997196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El control consiste en 3 actividades clave centradas principalmente en el establecimiento de estándares, medición y acciones correctivas</a:t>
            </a:r>
          </a:p>
        </p:txBody>
      </p:sp>
      <p:sp>
        <p:nvSpPr>
          <p:cNvPr id="952327" name="TextBox 49"/>
          <p:cNvSpPr txBox="1">
            <a:spLocks noChangeArrowheads="1"/>
          </p:cNvSpPr>
          <p:nvPr/>
        </p:nvSpPr>
        <p:spPr bwMode="auto">
          <a:xfrm>
            <a:off x="244475" y="1951819"/>
            <a:ext cx="6842125" cy="249299"/>
          </a:xfrm>
          <a:prstGeom prst="rect">
            <a:avLst/>
          </a:prstGeom>
          <a:noFill/>
          <a:ln w="6350" cap="rnd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4400">
              <a:lnSpc>
                <a:spcPct val="90000"/>
              </a:lnSpc>
              <a:buClr>
                <a:srgbClr val="9B1717"/>
              </a:buClr>
            </a:pPr>
            <a:r>
              <a:rPr lang="es-ES" b="1" dirty="0" smtClean="0">
                <a:solidFill>
                  <a:srgbClr val="000000"/>
                </a:solidFill>
              </a:rPr>
              <a:t>Informe de los resultados  y gestión – actividades principales</a:t>
            </a:r>
            <a:endParaRPr lang="es-ES" b="1" dirty="0">
              <a:solidFill>
                <a:srgbClr val="000000"/>
              </a:solidFill>
            </a:endParaRPr>
          </a:p>
        </p:txBody>
      </p:sp>
      <p:grpSp>
        <p:nvGrpSpPr>
          <p:cNvPr id="952328" name="Group 2"/>
          <p:cNvGrpSpPr>
            <a:grpSpLocks/>
          </p:cNvGrpSpPr>
          <p:nvPr/>
        </p:nvGrpSpPr>
        <p:grpSpPr bwMode="auto">
          <a:xfrm>
            <a:off x="0" y="2309006"/>
            <a:ext cx="8928100" cy="4324350"/>
            <a:chOff x="232855" y="2168861"/>
            <a:chExt cx="8694697" cy="4323915"/>
          </a:xfrm>
        </p:grpSpPr>
        <p:sp>
          <p:nvSpPr>
            <p:cNvPr id="53" name="Rectangle 52"/>
            <p:cNvSpPr/>
            <p:nvPr/>
          </p:nvSpPr>
          <p:spPr>
            <a:xfrm>
              <a:off x="232855" y="5537197"/>
              <a:ext cx="1238345" cy="230165"/>
            </a:xfrm>
            <a:prstGeom prst="rect">
              <a:avLst/>
            </a:prstGeom>
            <a:noFill/>
            <a:ln w="1270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>
              <a:spAutoFit/>
            </a:bodyPr>
            <a:lstStyle/>
            <a:p>
              <a:pPr algn="r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7D0900"/>
                </a:buClr>
                <a:defRPr/>
              </a:pPr>
              <a:r>
                <a:rPr lang="en-US" sz="1000" b="1" dirty="0">
                  <a:solidFill>
                    <a:srgbClr val="9B1717"/>
                  </a:solidFill>
                </a:rPr>
                <a:t>Tools</a:t>
              </a: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232855" y="3741916"/>
              <a:ext cx="1238345" cy="368263"/>
            </a:xfrm>
            <a:prstGeom prst="rect">
              <a:avLst/>
            </a:prstGeom>
            <a:noFill/>
            <a:ln w="1270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>
              <a:spAutoFit/>
            </a:bodyPr>
            <a:lstStyle/>
            <a:p>
              <a:pPr algn="r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7D0900"/>
                </a:buClr>
                <a:defRPr/>
              </a:pPr>
              <a:r>
                <a:rPr lang="en-US" sz="1000" b="1" dirty="0">
                  <a:solidFill>
                    <a:srgbClr val="9B1717"/>
                  </a:solidFill>
                </a:rPr>
                <a:t>AUs </a:t>
              </a:r>
              <a:br>
                <a:rPr lang="en-US" sz="1000" b="1" dirty="0">
                  <a:solidFill>
                    <a:srgbClr val="9B1717"/>
                  </a:solidFill>
                </a:rPr>
              </a:br>
              <a:r>
                <a:rPr lang="en-US" sz="1000" b="1" dirty="0">
                  <a:solidFill>
                    <a:srgbClr val="9B1717"/>
                  </a:solidFill>
                </a:rPr>
                <a:t>responsibility</a:t>
              </a: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232855" y="2783162"/>
              <a:ext cx="1238345" cy="230164"/>
            </a:xfrm>
            <a:prstGeom prst="rect">
              <a:avLst/>
            </a:prstGeom>
            <a:noFill/>
            <a:ln w="1270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>
              <a:spAutoFit/>
            </a:bodyPr>
            <a:lstStyle/>
            <a:p>
              <a:pPr algn="r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7D0900"/>
                </a:buClr>
                <a:defRPr/>
              </a:pPr>
              <a:r>
                <a:rPr lang="en-US" sz="1000" b="1" dirty="0">
                  <a:solidFill>
                    <a:srgbClr val="9B1717"/>
                  </a:solidFill>
                </a:rPr>
                <a:t>Description</a:t>
              </a: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232855" y="6259437"/>
              <a:ext cx="1238345" cy="230164"/>
            </a:xfrm>
            <a:prstGeom prst="rect">
              <a:avLst/>
            </a:prstGeom>
            <a:noFill/>
            <a:ln w="1270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>
              <a:spAutoFit/>
            </a:bodyPr>
            <a:lstStyle/>
            <a:p>
              <a:pPr algn="r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7D0900"/>
                </a:buClr>
                <a:defRPr/>
              </a:pPr>
              <a:r>
                <a:rPr lang="en-US" sz="1000" b="1" dirty="0">
                  <a:solidFill>
                    <a:srgbClr val="9B1717"/>
                  </a:solidFill>
                </a:rPr>
                <a:t>Cycle time</a:t>
              </a:r>
            </a:p>
          </p:txBody>
        </p:sp>
        <p:sp>
          <p:nvSpPr>
            <p:cNvPr id="952336" name="Rectangle 56"/>
            <p:cNvSpPr>
              <a:spLocks noChangeArrowheads="1"/>
            </p:cNvSpPr>
            <p:nvPr/>
          </p:nvSpPr>
          <p:spPr bwMode="auto">
            <a:xfrm>
              <a:off x="1525763" y="2782711"/>
              <a:ext cx="1974915" cy="1077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 dirty="0">
                  <a:solidFill>
                    <a:srgbClr val="000000"/>
                  </a:solidFill>
                </a:rPr>
                <a:t>Definition of financial and operational KPIs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 dirty="0">
                  <a:solidFill>
                    <a:srgbClr val="000000"/>
                  </a:solidFill>
                </a:rPr>
                <a:t>Definition of day-to-day controlling mechanism (i.e. data source, method of collection, responsibility, etc.)</a:t>
              </a:r>
            </a:p>
            <a:p>
              <a:pPr marL="177800" indent="-177800" defTabSz="966788"/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952337" name="Rectangle 57"/>
            <p:cNvSpPr>
              <a:spLocks noChangeArrowheads="1"/>
            </p:cNvSpPr>
            <p:nvPr/>
          </p:nvSpPr>
          <p:spPr bwMode="auto">
            <a:xfrm>
              <a:off x="3834998" y="2782711"/>
              <a:ext cx="2315285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Measurement of actual performance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Comparing with standards (KPIs)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Analysis of deviations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Interpretation of results</a:t>
              </a:r>
            </a:p>
          </p:txBody>
        </p:sp>
        <p:sp>
          <p:nvSpPr>
            <p:cNvPr id="952338" name="Rectangle 58"/>
            <p:cNvSpPr>
              <a:spLocks noChangeArrowheads="1"/>
            </p:cNvSpPr>
            <p:nvPr/>
          </p:nvSpPr>
          <p:spPr bwMode="auto">
            <a:xfrm>
              <a:off x="6097788" y="2782711"/>
              <a:ext cx="2512582" cy="7848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Proposition of corrective / preventive actions and means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Allocating of responsibility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Monitoring of corrective actions impact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endParaRPr lang="en-US" sz="1000">
                <a:solidFill>
                  <a:srgbClr val="000000"/>
                </a:solidFill>
              </a:endParaRPr>
            </a:p>
          </p:txBody>
        </p:sp>
        <p:sp>
          <p:nvSpPr>
            <p:cNvPr id="952339" name="Rectangle 59"/>
            <p:cNvSpPr>
              <a:spLocks noChangeArrowheads="1"/>
            </p:cNvSpPr>
            <p:nvPr/>
          </p:nvSpPr>
          <p:spPr bwMode="auto">
            <a:xfrm>
              <a:off x="1525763" y="3717032"/>
              <a:ext cx="2155689" cy="7873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KPIs suggestion based on knowledge of local business unit (Bus) conditions and environment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Design of data collection mechanism</a:t>
              </a:r>
            </a:p>
          </p:txBody>
        </p:sp>
        <p:sp>
          <p:nvSpPr>
            <p:cNvPr id="952340" name="Rectangle 60"/>
            <p:cNvSpPr>
              <a:spLocks noChangeArrowheads="1"/>
            </p:cNvSpPr>
            <p:nvPr/>
          </p:nvSpPr>
          <p:spPr bwMode="auto">
            <a:xfrm>
              <a:off x="3837853" y="3741335"/>
              <a:ext cx="2315285" cy="5078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Day-to-day data collection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Simple data verification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Completeness check</a:t>
              </a:r>
            </a:p>
          </p:txBody>
        </p:sp>
        <p:sp>
          <p:nvSpPr>
            <p:cNvPr id="952341" name="Rectangle 62"/>
            <p:cNvSpPr>
              <a:spLocks noChangeArrowheads="1"/>
            </p:cNvSpPr>
            <p:nvPr/>
          </p:nvSpPr>
          <p:spPr bwMode="auto">
            <a:xfrm>
              <a:off x="6138875" y="3741335"/>
              <a:ext cx="2512582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Preventive action suggestion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Consultation on effectiveness of actions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Co-execution of actions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Impact monitoring</a:t>
              </a:r>
            </a:p>
          </p:txBody>
        </p:sp>
        <p:sp>
          <p:nvSpPr>
            <p:cNvPr id="952342" name="Rectangle 63"/>
            <p:cNvSpPr>
              <a:spLocks noChangeArrowheads="1"/>
            </p:cNvSpPr>
            <p:nvPr/>
          </p:nvSpPr>
          <p:spPr bwMode="auto">
            <a:xfrm>
              <a:off x="1525764" y="5537044"/>
              <a:ext cx="1974915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KPIs database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Historical data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Relevant IT monitoring and data collection tools</a:t>
              </a:r>
            </a:p>
          </p:txBody>
        </p:sp>
        <p:sp>
          <p:nvSpPr>
            <p:cNvPr id="952343" name="Rectangle 64"/>
            <p:cNvSpPr>
              <a:spLocks noChangeArrowheads="1"/>
            </p:cNvSpPr>
            <p:nvPr/>
          </p:nvSpPr>
          <p:spPr bwMode="auto">
            <a:xfrm>
              <a:off x="3826269" y="5537044"/>
              <a:ext cx="2315285" cy="5078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Dashboard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Uniformed templates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IT tools (ERP, SAP, etc.)</a:t>
              </a:r>
            </a:p>
          </p:txBody>
        </p:sp>
        <p:sp>
          <p:nvSpPr>
            <p:cNvPr id="952344" name="Rectangle 65"/>
            <p:cNvSpPr>
              <a:spLocks noChangeArrowheads="1"/>
            </p:cNvSpPr>
            <p:nvPr/>
          </p:nvSpPr>
          <p:spPr bwMode="auto">
            <a:xfrm>
              <a:off x="6089059" y="5537044"/>
              <a:ext cx="2512582" cy="5078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IT tools (ERP, SAP, etc.)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Directives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Management decisions</a:t>
              </a:r>
            </a:p>
          </p:txBody>
        </p:sp>
        <p:sp>
          <p:nvSpPr>
            <p:cNvPr id="952345" name="Rectangle 66"/>
            <p:cNvSpPr>
              <a:spLocks noChangeArrowheads="1"/>
            </p:cNvSpPr>
            <p:nvPr/>
          </p:nvSpPr>
          <p:spPr bwMode="auto">
            <a:xfrm>
              <a:off x="1525763" y="6259379"/>
              <a:ext cx="2315285" cy="2299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Yearly</a:t>
              </a:r>
            </a:p>
          </p:txBody>
        </p:sp>
        <p:sp>
          <p:nvSpPr>
            <p:cNvPr id="952346" name="Rectangle 67"/>
            <p:cNvSpPr>
              <a:spLocks noChangeArrowheads="1"/>
            </p:cNvSpPr>
            <p:nvPr/>
          </p:nvSpPr>
          <p:spPr bwMode="auto">
            <a:xfrm>
              <a:off x="3841196" y="6259379"/>
              <a:ext cx="2315285" cy="2299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Monthly, quarterly</a:t>
              </a:r>
            </a:p>
          </p:txBody>
        </p:sp>
        <p:sp>
          <p:nvSpPr>
            <p:cNvPr id="952347" name="Rectangle 68"/>
            <p:cNvSpPr>
              <a:spLocks noChangeArrowheads="1"/>
            </p:cNvSpPr>
            <p:nvPr/>
          </p:nvSpPr>
          <p:spPr bwMode="auto">
            <a:xfrm>
              <a:off x="6103987" y="6259379"/>
              <a:ext cx="2512582" cy="233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Monthly, quarterly</a:t>
              </a: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232855" y="4551459"/>
              <a:ext cx="1238345" cy="368263"/>
            </a:xfrm>
            <a:prstGeom prst="rect">
              <a:avLst/>
            </a:prstGeom>
            <a:noFill/>
            <a:ln w="1270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>
              <a:spAutoFit/>
            </a:bodyPr>
            <a:lstStyle/>
            <a:p>
              <a:pPr algn="r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7D0900"/>
                </a:buClr>
                <a:defRPr/>
              </a:pPr>
              <a:r>
                <a:rPr lang="en-US" sz="1000" b="1" dirty="0">
                  <a:solidFill>
                    <a:srgbClr val="9B1717"/>
                  </a:solidFill>
                </a:rPr>
                <a:t>Corporate responsibility</a:t>
              </a:r>
            </a:p>
          </p:txBody>
        </p:sp>
        <p:sp>
          <p:nvSpPr>
            <p:cNvPr id="952349" name="Rectangle 70"/>
            <p:cNvSpPr>
              <a:spLocks noChangeArrowheads="1"/>
            </p:cNvSpPr>
            <p:nvPr/>
          </p:nvSpPr>
          <p:spPr bwMode="auto">
            <a:xfrm>
              <a:off x="3826072" y="4550792"/>
              <a:ext cx="2259414" cy="7848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 dirty="0">
                  <a:solidFill>
                    <a:srgbClr val="000000"/>
                  </a:solidFill>
                </a:rPr>
                <a:t>Transposition of collected data, coherence check &amp; aggregation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 dirty="0">
                  <a:solidFill>
                    <a:srgbClr val="000000"/>
                  </a:solidFill>
                </a:rPr>
                <a:t>Detailed verification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 dirty="0">
                  <a:solidFill>
                    <a:srgbClr val="000000"/>
                  </a:solidFill>
                </a:rPr>
                <a:t>Evaluation and variance analysis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 dirty="0">
                  <a:solidFill>
                    <a:srgbClr val="000000"/>
                  </a:solidFill>
                </a:rPr>
                <a:t>Monthly / Quarterly reporting</a:t>
              </a:r>
              <a:endParaRPr lang="it-IT" sz="1000" dirty="0">
                <a:solidFill>
                  <a:srgbClr val="000000"/>
                </a:solidFill>
              </a:endParaRPr>
            </a:p>
          </p:txBody>
        </p:sp>
        <p:sp>
          <p:nvSpPr>
            <p:cNvPr id="952350" name="Rectangle 73"/>
            <p:cNvSpPr>
              <a:spLocks noChangeArrowheads="1"/>
            </p:cNvSpPr>
            <p:nvPr/>
          </p:nvSpPr>
          <p:spPr bwMode="auto">
            <a:xfrm>
              <a:off x="6139973" y="4550792"/>
              <a:ext cx="2512498" cy="7848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Transposition of reporting into  specific corrective/preventive actions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Prioritization of actions &amp; execution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Impact verification and implications analysis (follow-up actions)</a:t>
              </a:r>
            </a:p>
          </p:txBody>
        </p:sp>
        <p:sp>
          <p:nvSpPr>
            <p:cNvPr id="952351" name="Rectangle 74"/>
            <p:cNvSpPr>
              <a:spLocks noChangeArrowheads="1"/>
            </p:cNvSpPr>
            <p:nvPr/>
          </p:nvSpPr>
          <p:spPr bwMode="auto">
            <a:xfrm>
              <a:off x="1525764" y="4550792"/>
              <a:ext cx="2155689" cy="923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Review of KPIs proposition, modification &amp; approval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Responsibility for KPIs effectiveness</a:t>
              </a:r>
            </a:p>
            <a:p>
              <a:pPr marL="112713" lvl="1" indent="-112713" defTabSz="966788" eaLnBrk="0" hangingPunct="0">
                <a:lnSpc>
                  <a:spcPct val="90000"/>
                </a:lnSpc>
                <a:buClr>
                  <a:srgbClr val="9B1717"/>
                </a:buClr>
                <a:buFontTx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Integration of data collection mechanism</a:t>
              </a:r>
            </a:p>
          </p:txBody>
        </p:sp>
        <p:grpSp>
          <p:nvGrpSpPr>
            <p:cNvPr id="952352" name="Group 75"/>
            <p:cNvGrpSpPr>
              <a:grpSpLocks/>
            </p:cNvGrpSpPr>
            <p:nvPr/>
          </p:nvGrpSpPr>
          <p:grpSpPr bwMode="auto">
            <a:xfrm>
              <a:off x="1471067" y="2168861"/>
              <a:ext cx="7421792" cy="553457"/>
              <a:chOff x="1144672" y="2076817"/>
              <a:chExt cx="7748187" cy="522217"/>
            </a:xfrm>
          </p:grpSpPr>
          <p:sp>
            <p:nvSpPr>
              <p:cNvPr id="952357" name="AutoShape 13"/>
              <p:cNvSpPr>
                <a:spLocks noChangeArrowheads="1"/>
              </p:cNvSpPr>
              <p:nvPr/>
            </p:nvSpPr>
            <p:spPr bwMode="gray">
              <a:xfrm>
                <a:off x="6249659" y="2076817"/>
                <a:ext cx="2643200" cy="522217"/>
              </a:xfrm>
              <a:prstGeom prst="chevron">
                <a:avLst>
                  <a:gd name="adj" fmla="val 20269"/>
                </a:avLst>
              </a:prstGeom>
              <a:solidFill>
                <a:schemeClr val="bg2"/>
              </a:solidFill>
              <a:ln w="6350">
                <a:noFill/>
                <a:miter lim="800000"/>
                <a:headEnd/>
                <a:tailEnd/>
              </a:ln>
            </p:spPr>
            <p:txBody>
              <a:bodyPr lIns="72000" tIns="72000" rIns="72000" bIns="72000" anchor="ctr"/>
              <a:lstStyle/>
              <a:p>
                <a:pPr defTabSz="914400" eaLnBrk="0" hangingPunct="0">
                  <a:lnSpc>
                    <a:spcPct val="90000"/>
                  </a:lnSpc>
                </a:pPr>
                <a:r>
                  <a:rPr lang="en-US" sz="1400" b="1">
                    <a:solidFill>
                      <a:srgbClr val="FFFFFF"/>
                    </a:solidFill>
                  </a:rPr>
                  <a:t>Corrective actions execution</a:t>
                </a:r>
              </a:p>
            </p:txBody>
          </p:sp>
          <p:sp>
            <p:nvSpPr>
              <p:cNvPr id="952358" name="AutoShape 13"/>
              <p:cNvSpPr>
                <a:spLocks noChangeArrowheads="1"/>
              </p:cNvSpPr>
              <p:nvPr/>
            </p:nvSpPr>
            <p:spPr bwMode="gray">
              <a:xfrm>
                <a:off x="3697165" y="2076817"/>
                <a:ext cx="2643200" cy="522217"/>
              </a:xfrm>
              <a:prstGeom prst="chevron">
                <a:avLst>
                  <a:gd name="adj" fmla="val 20269"/>
                </a:avLst>
              </a:prstGeom>
              <a:solidFill>
                <a:schemeClr val="bg2"/>
              </a:solidFill>
              <a:ln w="6350">
                <a:noFill/>
                <a:miter lim="800000"/>
                <a:headEnd/>
                <a:tailEnd/>
              </a:ln>
            </p:spPr>
            <p:txBody>
              <a:bodyPr lIns="72000" tIns="72000" rIns="72000" bIns="72000" anchor="ctr"/>
              <a:lstStyle/>
              <a:p>
                <a:pPr defTabSz="914400" eaLnBrk="0" hangingPunct="0">
                  <a:lnSpc>
                    <a:spcPct val="90000"/>
                  </a:lnSpc>
                </a:pPr>
                <a:r>
                  <a:rPr lang="en-US" sz="1400" b="1" dirty="0">
                    <a:solidFill>
                      <a:srgbClr val="FFFFFF"/>
                    </a:solidFill>
                  </a:rPr>
                  <a:t>Performance measurement</a:t>
                </a:r>
              </a:p>
            </p:txBody>
          </p:sp>
          <p:sp>
            <p:nvSpPr>
              <p:cNvPr id="952359" name="Pentagon 79"/>
              <p:cNvSpPr>
                <a:spLocks noChangeArrowheads="1"/>
              </p:cNvSpPr>
              <p:nvPr/>
            </p:nvSpPr>
            <p:spPr bwMode="auto">
              <a:xfrm>
                <a:off x="1144672" y="2076817"/>
                <a:ext cx="2643200" cy="522217"/>
              </a:xfrm>
              <a:prstGeom prst="homePlate">
                <a:avLst>
                  <a:gd name="adj" fmla="val 19754"/>
                </a:avLst>
              </a:prstGeom>
              <a:solidFill>
                <a:schemeClr val="bg2"/>
              </a:solidFill>
              <a:ln w="6350">
                <a:noFill/>
                <a:miter lim="800000"/>
                <a:headEnd/>
                <a:tailEnd/>
              </a:ln>
            </p:spPr>
            <p:txBody>
              <a:bodyPr lIns="72000" tIns="72000" rIns="72000" bIns="72000" anchor="ctr"/>
              <a:lstStyle/>
              <a:p>
                <a:pPr defTabSz="914400" eaLnBrk="0" hangingPunct="0">
                  <a:lnSpc>
                    <a:spcPct val="90000"/>
                  </a:lnSpc>
                </a:pPr>
                <a:r>
                  <a:rPr lang="en-US" sz="1400" b="1" dirty="0">
                    <a:solidFill>
                      <a:srgbClr val="FFFFFF"/>
                    </a:solidFill>
                  </a:rPr>
                  <a:t>Performance standards setting</a:t>
                </a:r>
              </a:p>
            </p:txBody>
          </p:sp>
        </p:grpSp>
        <p:cxnSp>
          <p:nvCxnSpPr>
            <p:cNvPr id="81" name="Straight Connector 80"/>
            <p:cNvCxnSpPr/>
            <p:nvPr/>
          </p:nvCxnSpPr>
          <p:spPr>
            <a:xfrm>
              <a:off x="538963" y="3676834"/>
              <a:ext cx="8388589" cy="0"/>
            </a:xfrm>
            <a:prstGeom prst="line">
              <a:avLst/>
            </a:prstGeom>
            <a:ln w="63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>
              <a:off x="538963" y="4435583"/>
              <a:ext cx="8388589" cy="0"/>
            </a:xfrm>
            <a:prstGeom prst="line">
              <a:avLst/>
            </a:prstGeom>
            <a:ln w="63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>
              <a:off x="538963" y="5411798"/>
              <a:ext cx="8388589" cy="0"/>
            </a:xfrm>
            <a:prstGeom prst="line">
              <a:avLst/>
            </a:prstGeom>
            <a:ln w="63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>
              <a:off x="538963" y="6191181"/>
              <a:ext cx="8388589" cy="0"/>
            </a:xfrm>
            <a:prstGeom prst="line">
              <a:avLst/>
            </a:prstGeom>
            <a:ln w="6350" cap="flat">
              <a:solidFill>
                <a:schemeClr val="accent3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52329" name="TextBox 1"/>
          <p:cNvSpPr txBox="1">
            <a:spLocks noChangeArrowheads="1"/>
          </p:cNvSpPr>
          <p:nvPr/>
        </p:nvSpPr>
        <p:spPr bwMode="auto">
          <a:xfrm>
            <a:off x="8025837" y="1628775"/>
            <a:ext cx="865751" cy="302968"/>
          </a:xfrm>
          <a:prstGeom prst="rect">
            <a:avLst/>
          </a:prstGeom>
          <a:solidFill>
            <a:schemeClr val="accent2"/>
          </a:solidFill>
          <a:ln w="6350">
            <a:noFill/>
            <a:miter lim="800000"/>
            <a:headEnd/>
            <a:tailEnd/>
          </a:ln>
        </p:spPr>
        <p:txBody>
          <a:bodyPr wrap="none" lIns="108014" tIns="54007" rIns="108014" bIns="54007">
            <a:spAutoFit/>
          </a:bodyPr>
          <a:lstStyle/>
          <a:p>
            <a:pPr algn="r" defTabSz="914400">
              <a:lnSpc>
                <a:spcPct val="90000"/>
              </a:lnSpc>
              <a:buClr>
                <a:srgbClr val="9B1717"/>
              </a:buClr>
            </a:pPr>
            <a:r>
              <a:rPr lang="es-ES_tradnl" sz="1400" dirty="0" smtClean="0">
                <a:solidFill>
                  <a:srgbClr val="858274"/>
                </a:solidFill>
              </a:rPr>
              <a:t>Ejemplo</a:t>
            </a:r>
            <a:endParaRPr lang="es-ES_tradnl" sz="1400" dirty="0">
              <a:solidFill>
                <a:srgbClr val="858274"/>
              </a:solidFill>
            </a:endParaRPr>
          </a:p>
        </p:txBody>
      </p:sp>
      <p:sp>
        <p:nvSpPr>
          <p:cNvPr id="952331" name="Rectangle 17"/>
          <p:cNvSpPr>
            <a:spLocks noChangeArrowheads="1"/>
          </p:cNvSpPr>
          <p:nvPr/>
        </p:nvSpPr>
        <p:spPr bwMode="auto">
          <a:xfrm>
            <a:off x="5562600" y="127000"/>
            <a:ext cx="3340100" cy="1841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/>
            <a:r>
              <a:rPr lang="es-ES" sz="1200">
                <a:solidFill>
                  <a:srgbClr val="000000"/>
                </a:solidFill>
              </a:rPr>
              <a:t>Estamos utilizando plenamente nuestros bienes?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53349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548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defRPr/>
            </a:pPr>
            <a:endParaRPr lang="en-US" sz="1200" b="1" dirty="0" err="1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953351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4797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El análisis de control proporcionan aportaciones clave para un uso más apropiado de nuestros bienes</a:t>
            </a:r>
          </a:p>
        </p:txBody>
      </p:sp>
      <p:grpSp>
        <p:nvGrpSpPr>
          <p:cNvPr id="953352" name="Group 5"/>
          <p:cNvGrpSpPr>
            <a:grpSpLocks/>
          </p:cNvGrpSpPr>
          <p:nvPr/>
        </p:nvGrpSpPr>
        <p:grpSpPr bwMode="auto">
          <a:xfrm>
            <a:off x="183140" y="1625454"/>
            <a:ext cx="8616950" cy="1614487"/>
            <a:chOff x="262956" y="1870195"/>
            <a:chExt cx="8617577" cy="1614283"/>
          </a:xfrm>
        </p:grpSpPr>
        <p:sp>
          <p:nvSpPr>
            <p:cNvPr id="47" name="Rectangle 13"/>
            <p:cNvSpPr>
              <a:spLocks noChangeArrowheads="1"/>
            </p:cNvSpPr>
            <p:nvPr/>
          </p:nvSpPr>
          <p:spPr bwMode="auto">
            <a:xfrm>
              <a:off x="2517370" y="2025749"/>
              <a:ext cx="6363163" cy="1458729"/>
            </a:xfrm>
            <a:prstGeom prst="rect">
              <a:avLst/>
            </a:prstGeom>
            <a:solidFill>
              <a:srgbClr val="DCDCDC"/>
            </a:solidFill>
            <a:ln w="12700">
              <a:noFill/>
              <a:miter lim="800000"/>
              <a:headEnd/>
              <a:tailEnd/>
            </a:ln>
          </p:spPr>
          <p:txBody>
            <a:bodyPr lIns="72000" tIns="36000" rIns="72000" bIns="36000"/>
            <a:lstStyle/>
            <a:p>
              <a:pPr marL="273050" indent="-190500" defTabSz="966788" eaLnBrk="0" fontAlgn="auto" hangingPunct="0">
                <a:spcBef>
                  <a:spcPct val="20000"/>
                </a:spcBef>
                <a:spcAft>
                  <a:spcPts val="0"/>
                </a:spcAft>
                <a:buSzPct val="100000"/>
                <a:defRPr/>
              </a:pPr>
              <a:r>
                <a:rPr lang="es-ES" sz="1400" b="1" kern="0" dirty="0" smtClean="0">
                  <a:solidFill>
                    <a:srgbClr val="000000"/>
                  </a:solidFill>
                  <a:latin typeface="Arial"/>
                  <a:cs typeface="Arial"/>
                </a:rPr>
                <a:t>Análisis de gastos</a:t>
              </a:r>
              <a:endParaRPr lang="es-ES" sz="1200" kern="0" dirty="0">
                <a:solidFill>
                  <a:srgbClr val="000000"/>
                </a:solidFill>
                <a:latin typeface="Arial"/>
                <a:cs typeface="+mn-cs"/>
                <a:sym typeface="Arial" pitchFamily="34" charset="0"/>
              </a:endParaRPr>
            </a:p>
            <a:p>
              <a:pPr marL="273050" indent="-190500" defTabSz="966788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7D0900"/>
                </a:buClr>
                <a:buFontTx/>
                <a:buChar char="•"/>
                <a:defRPr/>
              </a:pPr>
              <a:r>
                <a:rPr lang="es-ES" sz="1200" kern="0" dirty="0" smtClean="0">
                  <a:solidFill>
                    <a:srgbClr val="000000"/>
                  </a:solidFill>
                  <a:latin typeface="Arial"/>
                  <a:cs typeface="+mn-cs"/>
                  <a:sym typeface="Arial" pitchFamily="34" charset="0"/>
                </a:rPr>
                <a:t>Los gastos de las residencias se </a:t>
              </a:r>
              <a:r>
                <a:rPr lang="es-ES" sz="1200" b="1" kern="0" dirty="0" smtClean="0">
                  <a:solidFill>
                    <a:srgbClr val="000000"/>
                  </a:solidFill>
                  <a:latin typeface="Arial"/>
                  <a:cs typeface="+mn-cs"/>
                  <a:sym typeface="Arial" pitchFamily="34" charset="0"/>
                </a:rPr>
                <a:t>desglosan por categorías</a:t>
              </a:r>
              <a:r>
                <a:rPr lang="es-ES" sz="1200" kern="0" dirty="0" smtClean="0">
                  <a:solidFill>
                    <a:srgbClr val="000000"/>
                  </a:solidFill>
                  <a:latin typeface="Arial"/>
                  <a:cs typeface="+mn-cs"/>
                  <a:sym typeface="Arial" pitchFamily="34" charset="0"/>
                </a:rPr>
                <a:t> (administración</a:t>
              </a:r>
              <a:r>
                <a:rPr lang="es-ES" sz="1200" kern="0" dirty="0">
                  <a:solidFill>
                    <a:srgbClr val="000000"/>
                  </a:solidFill>
                  <a:latin typeface="Arial"/>
                  <a:cs typeface="+mn-cs"/>
                  <a:sym typeface="Arial" pitchFamily="34" charset="0"/>
                </a:rPr>
                <a:t>, gastos personales, </a:t>
              </a:r>
              <a:r>
                <a:rPr lang="es-ES" sz="1200" kern="0" dirty="0" smtClean="0">
                  <a:solidFill>
                    <a:srgbClr val="000000"/>
                  </a:solidFill>
                  <a:latin typeface="Arial"/>
                  <a:cs typeface="+mn-cs"/>
                  <a:sym typeface="Arial" pitchFamily="34" charset="0"/>
                </a:rPr>
                <a:t>alimentación, vivienda, desplazamientos…)</a:t>
              </a:r>
              <a:endParaRPr lang="es-ES" sz="1200" kern="0" dirty="0">
                <a:solidFill>
                  <a:srgbClr val="000000"/>
                </a:solidFill>
                <a:latin typeface="Arial"/>
                <a:cs typeface="+mn-cs"/>
                <a:sym typeface="Arial" pitchFamily="34" charset="0"/>
              </a:endParaRPr>
            </a:p>
            <a:p>
              <a:pPr marL="273050" indent="-190500" defTabSz="966788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7D0900"/>
                </a:buClr>
                <a:buFontTx/>
                <a:buChar char="•"/>
                <a:defRPr/>
              </a:pPr>
              <a:r>
                <a:rPr lang="es-ES" sz="1200" kern="0" dirty="0" smtClean="0">
                  <a:solidFill>
                    <a:srgbClr val="000000"/>
                  </a:solidFill>
                  <a:latin typeface="Arial"/>
                  <a:cs typeface="+mn-cs"/>
                  <a:sym typeface="Arial" pitchFamily="34" charset="0"/>
                </a:rPr>
                <a:t>Segmentación de </a:t>
              </a:r>
              <a:r>
                <a:rPr lang="es-ES" sz="1200" b="1" kern="0" dirty="0" smtClean="0">
                  <a:solidFill>
                    <a:srgbClr val="000000"/>
                  </a:solidFill>
                  <a:latin typeface="Arial"/>
                  <a:cs typeface="+mn-cs"/>
                  <a:sym typeface="Arial" pitchFamily="34" charset="0"/>
                </a:rPr>
                <a:t>las residencias por categorías </a:t>
              </a:r>
              <a:r>
                <a:rPr lang="es-ES" sz="1200" kern="0" dirty="0" smtClean="0">
                  <a:solidFill>
                    <a:srgbClr val="000000"/>
                  </a:solidFill>
                  <a:latin typeface="Arial"/>
                  <a:cs typeface="+mn-cs"/>
                  <a:sym typeface="Arial" pitchFamily="34" charset="0"/>
                </a:rPr>
                <a:t>(</a:t>
              </a:r>
              <a:r>
                <a:rPr lang="es-ES" sz="1200" kern="0" dirty="0">
                  <a:solidFill>
                    <a:srgbClr val="000000"/>
                  </a:solidFill>
                  <a:latin typeface="Arial"/>
                  <a:cs typeface="+mn-cs"/>
                  <a:sym typeface="Arial" pitchFamily="34" charset="0"/>
                </a:rPr>
                <a:t>por ejemplo. </a:t>
              </a:r>
              <a:r>
                <a:rPr lang="es-ES" sz="1200" kern="0" dirty="0" smtClean="0">
                  <a:solidFill>
                    <a:srgbClr val="000000"/>
                  </a:solidFill>
                  <a:latin typeface="Arial"/>
                  <a:cs typeface="+mn-cs"/>
                  <a:sym typeface="Arial" pitchFamily="34" charset="0"/>
                </a:rPr>
                <a:t>por </a:t>
              </a:r>
              <a:r>
                <a:rPr lang="es-ES" sz="1200" kern="0" dirty="0">
                  <a:solidFill>
                    <a:srgbClr val="000000"/>
                  </a:solidFill>
                  <a:latin typeface="Arial"/>
                  <a:cs typeface="+mn-cs"/>
                  <a:sym typeface="Arial" pitchFamily="34" charset="0"/>
                </a:rPr>
                <a:t>obras, </a:t>
              </a:r>
              <a:r>
                <a:rPr lang="es-ES" sz="1200" kern="0" dirty="0" smtClean="0">
                  <a:solidFill>
                    <a:srgbClr val="000000"/>
                  </a:solidFill>
                  <a:latin typeface="Arial"/>
                  <a:cs typeface="+mn-cs"/>
                  <a:sym typeface="Arial" pitchFamily="34" charset="0"/>
                </a:rPr>
                <a:t>por el número de hermanos…)</a:t>
              </a:r>
              <a:endParaRPr lang="es-ES" sz="1200" kern="0" dirty="0">
                <a:solidFill>
                  <a:srgbClr val="000000"/>
                </a:solidFill>
                <a:latin typeface="Arial"/>
                <a:cs typeface="+mn-cs"/>
                <a:sym typeface="Arial" pitchFamily="34" charset="0"/>
              </a:endParaRPr>
            </a:p>
            <a:p>
              <a:pPr marL="273050" indent="-190500" defTabSz="966788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7D0900"/>
                </a:buClr>
                <a:buFontTx/>
                <a:buChar char="•"/>
                <a:defRPr/>
              </a:pPr>
              <a:r>
                <a:rPr lang="es-ES" sz="1200" b="1" kern="0" dirty="0">
                  <a:solidFill>
                    <a:srgbClr val="000000"/>
                  </a:solidFill>
                  <a:latin typeface="Arial"/>
                  <a:cs typeface="+mn-cs"/>
                  <a:sym typeface="Arial" pitchFamily="34" charset="0"/>
                </a:rPr>
                <a:t>Priorización</a:t>
              </a:r>
              <a:r>
                <a:rPr lang="es-ES" sz="1200" kern="0" dirty="0">
                  <a:solidFill>
                    <a:srgbClr val="000000"/>
                  </a:solidFill>
                  <a:latin typeface="Arial"/>
                  <a:cs typeface="+mn-cs"/>
                  <a:sym typeface="Arial" pitchFamily="34" charset="0"/>
                </a:rPr>
                <a:t> de </a:t>
              </a:r>
              <a:r>
                <a:rPr lang="es-ES" sz="1200" kern="0" dirty="0" smtClean="0">
                  <a:solidFill>
                    <a:srgbClr val="000000"/>
                  </a:solidFill>
                  <a:latin typeface="Arial"/>
                  <a:cs typeface="+mn-cs"/>
                  <a:sym typeface="Arial" pitchFamily="34" charset="0"/>
                </a:rPr>
                <a:t>las categorías y subcategorías clave según los criterios seleccionados  (</a:t>
              </a:r>
              <a:r>
                <a:rPr lang="es-ES" sz="1200" kern="0" dirty="0">
                  <a:solidFill>
                    <a:srgbClr val="000000"/>
                  </a:solidFill>
                  <a:latin typeface="Arial"/>
                  <a:cs typeface="+mn-cs"/>
                  <a:sym typeface="Arial" pitchFamily="34" charset="0"/>
                </a:rPr>
                <a:t>por ejemplo, </a:t>
              </a:r>
              <a:r>
                <a:rPr lang="es-ES" sz="1200" kern="0" dirty="0" smtClean="0">
                  <a:solidFill>
                    <a:srgbClr val="000000"/>
                  </a:solidFill>
                  <a:latin typeface="Arial"/>
                  <a:cs typeface="+mn-cs"/>
                  <a:sym typeface="Arial" pitchFamily="34" charset="0"/>
                </a:rPr>
                <a:t>el más alto en costo / fácilmente comparable / </a:t>
              </a:r>
              <a:r>
                <a:rPr lang="es-ES" sz="1200" kern="0" dirty="0" err="1" smtClean="0">
                  <a:solidFill>
                    <a:srgbClr val="000000"/>
                  </a:solidFill>
                  <a:latin typeface="Arial"/>
                  <a:cs typeface="+mn-cs"/>
                  <a:sym typeface="Arial" pitchFamily="34" charset="0"/>
                </a:rPr>
                <a:t>intervenible</a:t>
              </a:r>
              <a:r>
                <a:rPr lang="es-ES" sz="1200" kern="0" dirty="0" smtClean="0">
                  <a:solidFill>
                    <a:srgbClr val="000000"/>
                  </a:solidFill>
                  <a:latin typeface="Arial"/>
                  <a:cs typeface="+mn-cs"/>
                  <a:sym typeface="Arial" pitchFamily="34" charset="0"/>
                </a:rPr>
                <a:t>)</a:t>
              </a:r>
              <a:endParaRPr lang="es-ES" sz="1200" kern="0" dirty="0">
                <a:solidFill>
                  <a:srgbClr val="000000"/>
                </a:solidFill>
                <a:latin typeface="Arial"/>
                <a:cs typeface="+mn-cs"/>
                <a:sym typeface="Arial" pitchFamily="34" charset="0"/>
              </a:endParaRPr>
            </a:p>
            <a:p>
              <a:pPr marL="273050" indent="-190500" defTabSz="966788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7D0900"/>
                </a:buClr>
                <a:buFontTx/>
                <a:buChar char="•"/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  <a:cs typeface="+mn-cs"/>
                <a:sym typeface="Arial" pitchFamily="34" charset="0"/>
              </a:endParaRPr>
            </a:p>
          </p:txBody>
        </p:sp>
        <p:pic>
          <p:nvPicPr>
            <p:cNvPr id="63498" name="Picture 10" descr="https://encrypted-tbn1.google.com/images?q=tbn:ANd9GcTNrOloRqTwNsjvJgYDLA3TQtc9b0a3rxTxeavA2LLqmG-KskfkPQ"/>
            <p:cNvPicPr>
              <a:picLocks noChangeAspect="1" noChangeArrowheads="1"/>
            </p:cNvPicPr>
            <p:nvPr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262956" y="2025750"/>
              <a:ext cx="2040086" cy="1458728"/>
            </a:xfrm>
            <a:prstGeom prst="rect">
              <a:avLst/>
            </a:prstGeom>
            <a:noFill/>
            <a:effectLst>
              <a:outerShdw blurRad="50800" dist="38100" dir="2700015" rotWithShape="0">
                <a:schemeClr val="tx1">
                  <a:alpha val="40000"/>
                </a:schemeClr>
              </a:outerShdw>
            </a:effectLst>
            <a:extLst/>
          </p:spPr>
        </p:pic>
        <p:sp>
          <p:nvSpPr>
            <p:cNvPr id="54" name="Oval 53"/>
            <p:cNvSpPr/>
            <p:nvPr/>
          </p:nvSpPr>
          <p:spPr>
            <a:xfrm>
              <a:off x="2423701" y="1870195"/>
              <a:ext cx="252430" cy="252381"/>
            </a:xfrm>
            <a:prstGeom prst="ellipse">
              <a:avLst/>
            </a:prstGeom>
            <a:solidFill>
              <a:schemeClr val="bg2"/>
            </a:solidFill>
            <a:ln w="12700" cap="rnd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r>
                <a:rPr lang="en-US" sz="1000" b="1">
                  <a:solidFill>
                    <a:srgbClr val="FFFFFF"/>
                  </a:solidFill>
                  <a:cs typeface="Arial" pitchFamily="34" charset="0"/>
                </a:rPr>
                <a:t>1</a:t>
              </a:r>
              <a:endParaRPr lang="en-US" sz="1000" b="1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grpSp>
        <p:nvGrpSpPr>
          <p:cNvPr id="953353" name="Group 17"/>
          <p:cNvGrpSpPr>
            <a:grpSpLocks/>
          </p:cNvGrpSpPr>
          <p:nvPr/>
        </p:nvGrpSpPr>
        <p:grpSpPr bwMode="auto">
          <a:xfrm>
            <a:off x="157740" y="3274867"/>
            <a:ext cx="8642350" cy="1530350"/>
            <a:chOff x="238411" y="3320988"/>
            <a:chExt cx="8642123" cy="1530703"/>
          </a:xfrm>
        </p:grpSpPr>
        <p:grpSp>
          <p:nvGrpSpPr>
            <p:cNvPr id="953360" name="Group 3"/>
            <p:cNvGrpSpPr>
              <a:grpSpLocks/>
            </p:cNvGrpSpPr>
            <p:nvPr>
              <p:custDataLst>
                <p:tags r:id="rId7"/>
              </p:custDataLst>
            </p:nvPr>
          </p:nvGrpSpPr>
          <p:grpSpPr bwMode="auto">
            <a:xfrm>
              <a:off x="238411" y="3482569"/>
              <a:ext cx="8642123" cy="1369122"/>
              <a:chOff x="238411" y="3676841"/>
              <a:chExt cx="8642123" cy="1369122"/>
            </a:xfrm>
          </p:grpSpPr>
          <p:sp>
            <p:nvSpPr>
              <p:cNvPr id="48" name="Rectangle 13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518001" y="3677222"/>
                <a:ext cx="6362533" cy="1368741"/>
              </a:xfrm>
              <a:prstGeom prst="rect">
                <a:avLst/>
              </a:prstGeom>
              <a:solidFill>
                <a:srgbClr val="DCDCDC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72000" tIns="36000" rIns="72000" bIns="36000"/>
              <a:lstStyle/>
              <a:p>
                <a:pPr marL="273050" indent="-190500" defTabSz="966788" eaLnBrk="0" fontAlgn="auto" hangingPunct="0">
                  <a:spcBef>
                    <a:spcPct val="20000"/>
                  </a:spcBef>
                  <a:spcAft>
                    <a:spcPts val="0"/>
                  </a:spcAft>
                  <a:buSzPct val="100000"/>
                  <a:defRPr/>
                </a:pPr>
                <a:r>
                  <a:rPr lang="es-ES" sz="1400" b="1" kern="0" dirty="0" smtClean="0">
                    <a:solidFill>
                      <a:srgbClr val="000000"/>
                    </a:solidFill>
                    <a:latin typeface="Arial"/>
                    <a:cs typeface="Arial"/>
                    <a:sym typeface="Arial" pitchFamily="34" charset="0"/>
                  </a:rPr>
                  <a:t>Identificación de buenas prácticas </a:t>
                </a:r>
              </a:p>
              <a:p>
                <a:pPr marL="273050" indent="-190500" defTabSz="966788" eaLnBrk="0" fontAlgn="auto" hangingPunct="0">
                  <a:spcBef>
                    <a:spcPts val="400"/>
                  </a:spcBef>
                  <a:spcAft>
                    <a:spcPts val="0"/>
                  </a:spcAft>
                  <a:buClr>
                    <a:srgbClr val="7D0900"/>
                  </a:buClr>
                  <a:buFontTx/>
                  <a:buChar char="•"/>
                  <a:defRPr/>
                </a:pPr>
                <a:r>
                  <a:rPr lang="es-ES" sz="1200" kern="0" dirty="0" smtClean="0">
                    <a:solidFill>
                      <a:srgbClr val="000000"/>
                    </a:solidFill>
                    <a:latin typeface="Arial"/>
                    <a:cs typeface="Arial"/>
                    <a:sym typeface="Arial" pitchFamily="34" charset="0"/>
                  </a:rPr>
                  <a:t>Identificación de </a:t>
                </a:r>
                <a:r>
                  <a:rPr lang="es-ES" sz="1200" b="1" kern="0" dirty="0" smtClean="0">
                    <a:solidFill>
                      <a:srgbClr val="000000"/>
                    </a:solidFill>
                    <a:latin typeface="Arial"/>
                    <a:cs typeface="Arial"/>
                    <a:sym typeface="Arial" pitchFamily="34" charset="0"/>
                  </a:rPr>
                  <a:t>criterios clave de normalización </a:t>
                </a:r>
                <a:r>
                  <a:rPr lang="es-ES" sz="1200" kern="0" dirty="0" smtClean="0">
                    <a:solidFill>
                      <a:srgbClr val="000000"/>
                    </a:solidFill>
                    <a:latin typeface="Arial"/>
                    <a:cs typeface="Arial"/>
                    <a:sym typeface="Arial" pitchFamily="34" charset="0"/>
                  </a:rPr>
                  <a:t>(por ejemplo. El número de Hermanos de las residencias ...)</a:t>
                </a:r>
              </a:p>
              <a:p>
                <a:pPr marL="273050" indent="-190500" defTabSz="966788" eaLnBrk="0" fontAlgn="auto" hangingPunct="0">
                  <a:spcBef>
                    <a:spcPts val="400"/>
                  </a:spcBef>
                  <a:spcAft>
                    <a:spcPts val="0"/>
                  </a:spcAft>
                  <a:buClr>
                    <a:srgbClr val="7D0900"/>
                  </a:buClr>
                  <a:buFontTx/>
                  <a:buChar char="•"/>
                  <a:defRPr/>
                </a:pPr>
                <a:r>
                  <a:rPr lang="es-ES" sz="1200" b="1" kern="0" dirty="0" smtClean="0">
                    <a:solidFill>
                      <a:srgbClr val="000000"/>
                    </a:solidFill>
                    <a:latin typeface="Arial"/>
                    <a:cs typeface="Arial"/>
                    <a:sym typeface="Arial" pitchFamily="34" charset="0"/>
                  </a:rPr>
                  <a:t>Cálculo de promedios</a:t>
                </a:r>
                <a:r>
                  <a:rPr lang="es-ES" sz="1200" kern="0" dirty="0" smtClean="0">
                    <a:solidFill>
                      <a:srgbClr val="000000"/>
                    </a:solidFill>
                    <a:latin typeface="Arial"/>
                    <a:cs typeface="Arial"/>
                    <a:sym typeface="Arial" pitchFamily="34" charset="0"/>
                  </a:rPr>
                  <a:t> (por ejemplo. El gasto de alimentos por Hermano ...)</a:t>
                </a:r>
              </a:p>
              <a:p>
                <a:pPr marL="273050" indent="-190500" defTabSz="966788" eaLnBrk="0" fontAlgn="auto" hangingPunct="0">
                  <a:spcBef>
                    <a:spcPts val="400"/>
                  </a:spcBef>
                  <a:spcAft>
                    <a:spcPts val="0"/>
                  </a:spcAft>
                  <a:buClr>
                    <a:srgbClr val="7D0900"/>
                  </a:buClr>
                  <a:buFontTx/>
                  <a:buChar char="•"/>
                  <a:defRPr/>
                </a:pPr>
                <a:r>
                  <a:rPr lang="es-ES" sz="1200" kern="0" dirty="0" smtClean="0">
                    <a:solidFill>
                      <a:srgbClr val="000000"/>
                    </a:solidFill>
                    <a:latin typeface="Arial"/>
                    <a:cs typeface="Arial"/>
                    <a:sym typeface="Arial" pitchFamily="34" charset="0"/>
                  </a:rPr>
                  <a:t>Identificación de </a:t>
                </a:r>
                <a:r>
                  <a:rPr lang="es-ES" sz="1200" b="1" kern="0" dirty="0" smtClean="0">
                    <a:solidFill>
                      <a:srgbClr val="000000"/>
                    </a:solidFill>
                    <a:latin typeface="Arial"/>
                    <a:cs typeface="Arial"/>
                    <a:sym typeface="Arial" pitchFamily="34" charset="0"/>
                  </a:rPr>
                  <a:t>buenas prácticas </a:t>
                </a:r>
                <a:r>
                  <a:rPr lang="es-ES" sz="1200" kern="0" dirty="0" smtClean="0">
                    <a:solidFill>
                      <a:srgbClr val="000000"/>
                    </a:solidFill>
                    <a:latin typeface="Arial"/>
                    <a:cs typeface="Arial"/>
                    <a:sym typeface="Arial" pitchFamily="34" charset="0"/>
                  </a:rPr>
                  <a:t>por segmento y por </a:t>
                </a:r>
                <a:r>
                  <a:rPr lang="es-ES" sz="1200" kern="0" dirty="0" err="1" smtClean="0">
                    <a:solidFill>
                      <a:srgbClr val="000000"/>
                    </a:solidFill>
                    <a:latin typeface="Arial"/>
                    <a:cs typeface="Arial"/>
                    <a:sym typeface="Arial" pitchFamily="34" charset="0"/>
                  </a:rPr>
                  <a:t>subsegmento</a:t>
                </a:r>
                <a:r>
                  <a:rPr lang="es-ES" sz="1200" kern="0" dirty="0" smtClean="0">
                    <a:solidFill>
                      <a:srgbClr val="000000"/>
                    </a:solidFill>
                    <a:latin typeface="Arial"/>
                    <a:cs typeface="Arial"/>
                    <a:sym typeface="Arial" pitchFamily="34" charset="0"/>
                  </a:rPr>
                  <a:t>.</a:t>
                </a:r>
                <a:endParaRPr lang="es-ES" sz="1200" kern="0" dirty="0">
                  <a:solidFill>
                    <a:srgbClr val="000000"/>
                  </a:solidFill>
                  <a:latin typeface="Arial"/>
                  <a:cs typeface="Arial"/>
                  <a:sym typeface="Arial" pitchFamily="34" charset="0"/>
                </a:endParaRPr>
              </a:p>
            </p:txBody>
          </p:sp>
          <p:pic>
            <p:nvPicPr>
              <p:cNvPr id="953363" name="Picture 13"/>
              <p:cNvPicPr>
                <a:picLocks noChangeAspect="1" noChangeArrowheads="1"/>
              </p:cNvPicPr>
              <p:nvPr/>
            </p:nvPicPr>
            <p:blipFill>
              <a:blip r:embed="rId14"/>
              <a:srcRect/>
              <a:stretch>
                <a:fillRect/>
              </a:stretch>
            </p:blipFill>
            <p:spPr bwMode="auto">
              <a:xfrm>
                <a:off x="238411" y="3676841"/>
                <a:ext cx="2065337" cy="13510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55" name="Oval 54"/>
            <p:cNvSpPr/>
            <p:nvPr>
              <p:custDataLst>
                <p:tags r:id="rId8"/>
              </p:custDataLst>
            </p:nvPr>
          </p:nvSpPr>
          <p:spPr>
            <a:xfrm>
              <a:off x="2448153" y="3320988"/>
              <a:ext cx="250818" cy="252470"/>
            </a:xfrm>
            <a:prstGeom prst="ellipse">
              <a:avLst/>
            </a:prstGeom>
            <a:solidFill>
              <a:schemeClr val="bg2"/>
            </a:solidFill>
            <a:ln w="12700" cap="rnd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r>
                <a:rPr lang="en-US" sz="1000" b="1">
                  <a:solidFill>
                    <a:srgbClr val="FFFFFF"/>
                  </a:solidFill>
                  <a:cs typeface="Arial" pitchFamily="34" charset="0"/>
                </a:rPr>
                <a:t>2</a:t>
              </a:r>
              <a:endParaRPr lang="en-US" sz="1000" b="1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grpSp>
        <p:nvGrpSpPr>
          <p:cNvPr id="953354" name="Group 18"/>
          <p:cNvGrpSpPr>
            <a:grpSpLocks/>
          </p:cNvGrpSpPr>
          <p:nvPr/>
        </p:nvGrpSpPr>
        <p:grpSpPr bwMode="auto">
          <a:xfrm>
            <a:off x="183140" y="5002066"/>
            <a:ext cx="8616950" cy="1277938"/>
            <a:chOff x="262956" y="5139300"/>
            <a:chExt cx="8617577" cy="1277343"/>
          </a:xfrm>
        </p:grpSpPr>
        <p:sp>
          <p:nvSpPr>
            <p:cNvPr id="49" name="Rectangle 1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17370" y="5264654"/>
              <a:ext cx="6363163" cy="1151989"/>
            </a:xfrm>
            <a:prstGeom prst="rect">
              <a:avLst/>
            </a:prstGeom>
            <a:solidFill>
              <a:srgbClr val="DCDCDC"/>
            </a:solidFill>
            <a:ln w="12700">
              <a:noFill/>
              <a:miter lim="800000"/>
              <a:headEnd/>
              <a:tailEnd/>
            </a:ln>
          </p:spPr>
          <p:txBody>
            <a:bodyPr lIns="72000" tIns="36000" rIns="72000" bIns="36000"/>
            <a:lstStyle/>
            <a:p>
              <a:pPr marL="273050" indent="-190500" defTabSz="966788" eaLnBrk="0" fontAlgn="auto" hangingPunct="0">
                <a:spcBef>
                  <a:spcPct val="20000"/>
                </a:spcBef>
                <a:spcAft>
                  <a:spcPts val="0"/>
                </a:spcAft>
                <a:buSzPct val="100000"/>
                <a:defRPr/>
              </a:pPr>
              <a:r>
                <a:rPr lang="es-ES" sz="1400" b="1" kern="0" dirty="0" smtClean="0">
                  <a:solidFill>
                    <a:srgbClr val="000000"/>
                  </a:solidFill>
                  <a:latin typeface="Arial"/>
                  <a:cs typeface="Arial"/>
                  <a:sym typeface="Arial" pitchFamily="34" charset="0"/>
                </a:rPr>
                <a:t>Nuevo presupuesto</a:t>
              </a:r>
            </a:p>
            <a:p>
              <a:pPr marL="273050" indent="-190500" defTabSz="966788" eaLnBrk="0" fontAlgn="auto" hangingPunct="0">
                <a:spcBef>
                  <a:spcPct val="20000"/>
                </a:spcBef>
                <a:spcAft>
                  <a:spcPts val="0"/>
                </a:spcAft>
                <a:buClr>
                  <a:srgbClr val="7D0900"/>
                </a:buClr>
                <a:buFontTx/>
                <a:buChar char="•"/>
                <a:defRPr/>
              </a:pPr>
              <a:r>
                <a:rPr lang="es-ES" sz="1200" kern="0" dirty="0" smtClean="0">
                  <a:solidFill>
                    <a:srgbClr val="000000"/>
                  </a:solidFill>
                  <a:latin typeface="Arial"/>
                  <a:cs typeface="Arial"/>
                  <a:sym typeface="Arial" pitchFamily="34" charset="0"/>
                </a:rPr>
                <a:t>Empezar por las buenas prácticas, </a:t>
              </a:r>
              <a:r>
                <a:rPr lang="es-ES" sz="1200" b="1" kern="0" dirty="0" smtClean="0">
                  <a:solidFill>
                    <a:srgbClr val="000000"/>
                  </a:solidFill>
                  <a:latin typeface="Arial"/>
                  <a:cs typeface="Arial"/>
                  <a:sym typeface="Arial" pitchFamily="34" charset="0"/>
                </a:rPr>
                <a:t>la identificación de umbrales </a:t>
              </a:r>
              <a:r>
                <a:rPr lang="es-ES" sz="1200" kern="0" dirty="0" smtClean="0">
                  <a:solidFill>
                    <a:srgbClr val="000000"/>
                  </a:solidFill>
                  <a:latin typeface="Arial"/>
                  <a:cs typeface="Arial"/>
                  <a:sym typeface="Arial" pitchFamily="34" charset="0"/>
                </a:rPr>
                <a:t>para recortar gastos dentro de categorías específicas.</a:t>
              </a:r>
              <a:endParaRPr lang="es-ES" sz="1200" b="1" kern="0" dirty="0">
                <a:solidFill>
                  <a:srgbClr val="000000"/>
                </a:solidFill>
                <a:latin typeface="Arial"/>
                <a:cs typeface="Arial"/>
                <a:sym typeface="Arial" pitchFamily="34" charset="0"/>
              </a:endParaRPr>
            </a:p>
            <a:p>
              <a:pPr marL="273050" indent="-190500" defTabSz="966788" eaLnBrk="0" fontAlgn="auto" hangingPunct="0">
                <a:spcBef>
                  <a:spcPct val="20000"/>
                </a:spcBef>
                <a:spcAft>
                  <a:spcPts val="0"/>
                </a:spcAft>
                <a:buClr>
                  <a:srgbClr val="7D0900"/>
                </a:buClr>
                <a:buFontTx/>
                <a:buChar char="•"/>
                <a:defRPr/>
              </a:pPr>
              <a:r>
                <a:rPr lang="es-ES" sz="1200" b="1" kern="0" dirty="0" smtClean="0">
                  <a:solidFill>
                    <a:srgbClr val="000000"/>
                  </a:solidFill>
                  <a:latin typeface="Arial"/>
                  <a:cs typeface="Arial"/>
                  <a:sym typeface="Arial" pitchFamily="34" charset="0"/>
                </a:rPr>
                <a:t>Simulación </a:t>
              </a:r>
              <a:r>
                <a:rPr lang="es-ES" sz="1200" b="1" kern="0" dirty="0">
                  <a:solidFill>
                    <a:srgbClr val="000000"/>
                  </a:solidFill>
                  <a:latin typeface="Arial"/>
                  <a:cs typeface="Arial"/>
                  <a:sym typeface="Arial" pitchFamily="34" charset="0"/>
                </a:rPr>
                <a:t>de escenarios </a:t>
              </a:r>
              <a:r>
                <a:rPr lang="es-ES" sz="1200" kern="0" dirty="0">
                  <a:solidFill>
                    <a:srgbClr val="000000"/>
                  </a:solidFill>
                  <a:latin typeface="Arial"/>
                  <a:cs typeface="Arial"/>
                  <a:sym typeface="Arial" pitchFamily="34" charset="0"/>
                </a:rPr>
                <a:t>para identificar ahorros </a:t>
              </a:r>
              <a:r>
                <a:rPr lang="es-ES" sz="1200" kern="0" dirty="0" smtClean="0">
                  <a:solidFill>
                    <a:srgbClr val="000000"/>
                  </a:solidFill>
                  <a:latin typeface="Arial"/>
                  <a:cs typeface="Arial"/>
                  <a:sym typeface="Arial" pitchFamily="34" charset="0"/>
                </a:rPr>
                <a:t>previstos.</a:t>
              </a:r>
              <a:endParaRPr lang="es-ES" sz="1200" b="1" kern="0" dirty="0">
                <a:solidFill>
                  <a:srgbClr val="000000"/>
                </a:solidFill>
                <a:latin typeface="Arial"/>
                <a:cs typeface="Arial"/>
                <a:sym typeface="Arial" pitchFamily="34" charset="0"/>
              </a:endParaRPr>
            </a:p>
            <a:p>
              <a:pPr marL="273050" indent="-190500" defTabSz="966788" eaLnBrk="0" fontAlgn="auto" hangingPunct="0">
                <a:spcBef>
                  <a:spcPct val="20000"/>
                </a:spcBef>
                <a:spcAft>
                  <a:spcPts val="0"/>
                </a:spcAft>
                <a:buClr>
                  <a:srgbClr val="7D0900"/>
                </a:buClr>
                <a:buFontTx/>
                <a:buChar char="•"/>
                <a:defRPr/>
              </a:pPr>
              <a:r>
                <a:rPr lang="es-ES" sz="1200" b="1" kern="0" dirty="0" smtClean="0">
                  <a:solidFill>
                    <a:srgbClr val="000000"/>
                  </a:solidFill>
                  <a:latin typeface="Arial"/>
                  <a:cs typeface="Arial"/>
                  <a:sym typeface="Arial" pitchFamily="34" charset="0"/>
                </a:rPr>
                <a:t>Aportaciones para potenciar la optimización de compras.</a:t>
              </a:r>
              <a:endParaRPr lang="en-US" sz="1200" b="1" kern="0" dirty="0">
                <a:solidFill>
                  <a:srgbClr val="000000"/>
                </a:solidFill>
                <a:latin typeface="Arial"/>
                <a:cs typeface="Arial"/>
                <a:sym typeface="Arial" pitchFamily="34" charset="0"/>
              </a:endParaRPr>
            </a:p>
            <a:p>
              <a:pPr marL="273050" indent="-190500" defTabSz="966788" eaLnBrk="0" fontAlgn="auto" hangingPunct="0">
                <a:spcBef>
                  <a:spcPct val="20000"/>
                </a:spcBef>
                <a:spcAft>
                  <a:spcPts val="0"/>
                </a:spcAft>
                <a:buClr>
                  <a:srgbClr val="7D0900"/>
                </a:buClr>
                <a:buFontTx/>
                <a:buChar char="•"/>
                <a:defRPr/>
              </a:pPr>
              <a:endParaRPr lang="en-US" sz="1200" kern="0" dirty="0">
                <a:solidFill>
                  <a:srgbClr val="000000"/>
                </a:solidFill>
                <a:latin typeface="Arial"/>
                <a:cs typeface="Arial"/>
                <a:sym typeface="Arial" pitchFamily="34" charset="0"/>
              </a:endParaRPr>
            </a:p>
          </p:txBody>
        </p:sp>
        <p:pic>
          <p:nvPicPr>
            <p:cNvPr id="63493" name="Picture 5" descr="https://encrypted-tbn3.google.com/images?q=tbn:ANd9GcSR36QD9U5YIm4JNuoQCrNhOtl4_TN9N9e_l8ch2dLh_UDQSA1U2A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 rotWithShape="1">
            <a:blip r:embed="rId15"/>
            <a:srcRect/>
            <a:stretch/>
          </p:blipFill>
          <p:spPr bwMode="auto">
            <a:xfrm>
              <a:off x="262956" y="5264654"/>
              <a:ext cx="2040086" cy="1151989"/>
            </a:xfrm>
            <a:prstGeom prst="rect">
              <a:avLst/>
            </a:prstGeom>
            <a:noFill/>
            <a:effectLst>
              <a:outerShdw blurRad="50800" dist="38100" dir="2700015" rotWithShape="0">
                <a:schemeClr val="tx1">
                  <a:alpha val="40000"/>
                </a:schemeClr>
              </a:outerShdw>
            </a:effectLst>
            <a:extLst/>
          </p:spPr>
        </p:pic>
        <p:sp>
          <p:nvSpPr>
            <p:cNvPr id="56" name="Oval 55"/>
            <p:cNvSpPr/>
            <p:nvPr>
              <p:custDataLst>
                <p:tags r:id="rId6"/>
              </p:custDataLst>
            </p:nvPr>
          </p:nvSpPr>
          <p:spPr>
            <a:xfrm>
              <a:off x="2447515" y="5139300"/>
              <a:ext cx="252431" cy="252294"/>
            </a:xfrm>
            <a:prstGeom prst="ellipse">
              <a:avLst/>
            </a:prstGeom>
            <a:solidFill>
              <a:schemeClr val="bg2"/>
            </a:solidFill>
            <a:ln w="12700" cap="rnd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defTabSz="914400" fontAlgn="auto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>
                  <a:srgbClr val="9B1717"/>
                </a:buClr>
                <a:defRPr/>
              </a:pPr>
              <a:r>
                <a:rPr lang="en-US" sz="1000" b="1">
                  <a:solidFill>
                    <a:srgbClr val="FFFFFF"/>
                  </a:solidFill>
                  <a:cs typeface="Arial" pitchFamily="34" charset="0"/>
                </a:rPr>
                <a:t>3</a:t>
              </a:r>
              <a:endParaRPr lang="en-US" sz="1000" b="1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sp>
        <p:nvSpPr>
          <p:cNvPr id="953356" name="Rectangle 17"/>
          <p:cNvSpPr>
            <a:spLocks noChangeArrowheads="1"/>
          </p:cNvSpPr>
          <p:nvPr/>
        </p:nvSpPr>
        <p:spPr bwMode="auto">
          <a:xfrm>
            <a:off x="5562600" y="127000"/>
            <a:ext cx="3340100" cy="1841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/>
            <a:r>
              <a:rPr lang="es-ES" sz="1200">
                <a:solidFill>
                  <a:srgbClr val="000000"/>
                </a:solidFill>
              </a:rPr>
              <a:t>Estamos utilizando plenamente nuestros bienes?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6774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9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ounded Rectangle 14"/>
          <p:cNvSpPr/>
          <p:nvPr/>
        </p:nvSpPr>
        <p:spPr bwMode="auto">
          <a:xfrm>
            <a:off x="142875" y="5599385"/>
            <a:ext cx="8742363" cy="106997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rgbClr val="7D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72000" rIns="72000" bIns="72000" anchor="ctr"/>
          <a:lstStyle/>
          <a:p>
            <a:pPr marL="268288" lvl="1" indent="-268288" defTabSz="914400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Font typeface="Wingdings" pitchFamily="2" charset="2"/>
              <a:buChar char="n"/>
              <a:defRPr/>
            </a:pPr>
            <a:r>
              <a:rPr lang="es-ES" sz="1600" kern="0" dirty="0">
                <a:solidFill>
                  <a:srgbClr val="000000"/>
                </a:solidFill>
                <a:latin typeface="Arial"/>
                <a:cs typeface="+mn-cs"/>
              </a:rPr>
              <a:t>En general, hemos experimentado </a:t>
            </a:r>
            <a:r>
              <a:rPr lang="es-ES" sz="1600" kern="0" dirty="0" smtClean="0">
                <a:solidFill>
                  <a:srgbClr val="000000"/>
                </a:solidFill>
                <a:latin typeface="Arial"/>
                <a:cs typeface="+mn-cs"/>
              </a:rPr>
              <a:t>una rápida evolución desde un estadio de comprensión hacia una actitud activa / proactiva para </a:t>
            </a:r>
            <a:r>
              <a:rPr lang="es-ES" sz="1600" kern="0" dirty="0">
                <a:solidFill>
                  <a:srgbClr val="000000"/>
                </a:solidFill>
                <a:latin typeface="Arial"/>
                <a:cs typeface="+mn-cs"/>
              </a:rPr>
              <a:t>empezar a </a:t>
            </a:r>
            <a:r>
              <a:rPr lang="es-ES" sz="1600" kern="0" dirty="0" smtClean="0">
                <a:solidFill>
                  <a:srgbClr val="000000"/>
                </a:solidFill>
                <a:latin typeface="Arial"/>
                <a:cs typeface="+mn-cs"/>
              </a:rPr>
              <a:t>trabajar de forma operativa los nuevos modelos </a:t>
            </a:r>
            <a:r>
              <a:rPr lang="es-ES" sz="1600" kern="0" dirty="0">
                <a:solidFill>
                  <a:srgbClr val="000000"/>
                </a:solidFill>
                <a:latin typeface="Arial"/>
                <a:cs typeface="+mn-cs"/>
              </a:rPr>
              <a:t>(enfoques comunes, </a:t>
            </a:r>
            <a:r>
              <a:rPr lang="es-ES" sz="1600" kern="0" dirty="0" smtClean="0">
                <a:solidFill>
                  <a:srgbClr val="000000"/>
                </a:solidFill>
                <a:latin typeface="Arial"/>
                <a:cs typeface="+mn-cs"/>
              </a:rPr>
              <a:t>compromiso proactivo en los debates regionales, </a:t>
            </a:r>
            <a:r>
              <a:rPr lang="es-ES_tradnl" sz="1600" kern="0" dirty="0" smtClean="0">
                <a:solidFill>
                  <a:srgbClr val="000000"/>
                </a:solidFill>
                <a:latin typeface="Arial"/>
                <a:cs typeface="+mn-cs"/>
              </a:rPr>
              <a:t>pasión </a:t>
            </a:r>
            <a:r>
              <a:rPr lang="es-ES_tradnl" sz="1600" kern="0" dirty="0">
                <a:solidFill>
                  <a:srgbClr val="000000"/>
                </a:solidFill>
                <a:latin typeface="Arial"/>
                <a:cs typeface="+mn-cs"/>
              </a:rPr>
              <a:t>y apertura en la exploración de </a:t>
            </a:r>
            <a:r>
              <a:rPr lang="es-ES_tradnl" sz="1600" kern="0" dirty="0" smtClean="0">
                <a:solidFill>
                  <a:srgbClr val="000000"/>
                </a:solidFill>
                <a:latin typeface="Arial"/>
                <a:cs typeface="+mn-cs"/>
              </a:rPr>
              <a:t>nuevos caminos</a:t>
            </a:r>
            <a:r>
              <a:rPr lang="es-ES" sz="1600" kern="0" dirty="0" smtClean="0">
                <a:solidFill>
                  <a:srgbClr val="000000"/>
                </a:solidFill>
                <a:latin typeface="Arial"/>
                <a:cs typeface="+mn-cs"/>
              </a:rPr>
              <a:t>).</a:t>
            </a:r>
            <a:endParaRPr lang="es-ES" sz="1600" kern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86776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4797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Entre marzo y junio, el Equipo del Proyecto ha recogido un buen número de aportaciones positivas sobre la propuest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08213" y="1517923"/>
            <a:ext cx="6791325" cy="1519237"/>
          </a:xfr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/>
          <a:p>
            <a:pPr marL="113414" indent="-113414" eaLnBrk="1" fontAlgn="auto" hangingPunct="1">
              <a:spcBef>
                <a:spcPts val="12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ES" sz="1300" dirty="0" smtClean="0"/>
              <a:t>Se enviaron tres documentos a todas las Unidades Administrativas: </a:t>
            </a:r>
          </a:p>
          <a:p>
            <a:pPr marL="251581" indent="-146268" eaLnBrk="1" fontAlgn="auto" hangingPunct="1">
              <a:spcBef>
                <a:spcPts val="12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pPr>
            <a:r>
              <a:rPr lang="es-ES" sz="1300" dirty="0" smtClean="0"/>
              <a:t>As-</a:t>
            </a:r>
            <a:r>
              <a:rPr lang="es-ES" sz="1300" dirty="0" err="1" smtClean="0"/>
              <a:t>Is</a:t>
            </a:r>
            <a:r>
              <a:rPr lang="es-ES" sz="1300" dirty="0" smtClean="0"/>
              <a:t> (diagnóstico del modelo actual), </a:t>
            </a:r>
          </a:p>
          <a:p>
            <a:pPr marL="251581" indent="-146268" eaLnBrk="1" fontAlgn="auto" hangingPunct="1">
              <a:spcBef>
                <a:spcPts val="12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pPr>
            <a:r>
              <a:rPr lang="es-ES" sz="1300" dirty="0" smtClean="0"/>
              <a:t>Nuestras personas (directrices para el diseño de los nuevos modelos centrados en nuestras personas) y </a:t>
            </a:r>
          </a:p>
          <a:p>
            <a:pPr marL="251581" indent="-146268" eaLnBrk="1" fontAlgn="auto" hangingPunct="1">
              <a:spcBef>
                <a:spcPts val="12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/>
            </a:pPr>
            <a:r>
              <a:rPr lang="es-ES" sz="1300" dirty="0" smtClean="0"/>
              <a:t>Nuestra Misión (directrices para el diseño de nuevos modelos centrados en nuestra Misión).</a:t>
            </a:r>
          </a:p>
          <a:p>
            <a:pPr marL="113414" indent="-113414" eaLnBrk="1" fontAlgn="auto" hangingPunct="1">
              <a:spcBef>
                <a:spcPts val="12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ES" sz="1300" dirty="0" smtClean="0"/>
              <a:t>También se envió un cuestionario estructurado para facilitar las aportaciones a la propuesta. Otros elementos de comunicación han sido: boletines, videos, página web…</a:t>
            </a:r>
          </a:p>
        </p:txBody>
      </p:sp>
      <p:sp>
        <p:nvSpPr>
          <p:cNvPr id="586778" name="Rectangle 3"/>
          <p:cNvSpPr>
            <a:spLocks noChangeArrowheads="1"/>
          </p:cNvSpPr>
          <p:nvPr/>
        </p:nvSpPr>
        <p:spPr bwMode="auto">
          <a:xfrm>
            <a:off x="6796088" y="139700"/>
            <a:ext cx="2097087" cy="16668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" sz="1200">
                <a:solidFill>
                  <a:srgbClr val="000000"/>
                </a:solidFill>
              </a:rPr>
              <a:t>Aportaciones de las Provincias</a:t>
            </a:r>
          </a:p>
        </p:txBody>
      </p:sp>
      <p:sp>
        <p:nvSpPr>
          <p:cNvPr id="6" name="Rectangle 5"/>
          <p:cNvSpPr/>
          <p:nvPr/>
        </p:nvSpPr>
        <p:spPr>
          <a:xfrm>
            <a:off x="101600" y="1554435"/>
            <a:ext cx="2016125" cy="1481138"/>
          </a:xfrm>
          <a:prstGeom prst="rect">
            <a:avLst/>
          </a:prstGeom>
          <a:solidFill>
            <a:schemeClr val="accent6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" sz="1600" dirty="0">
                <a:solidFill>
                  <a:srgbClr val="FFFFFF"/>
                </a:solidFill>
                <a:cs typeface="Arial" pitchFamily="34" charset="0"/>
              </a:rPr>
              <a:t>Aportaciones estructuradas de las Provincias y Distritos</a:t>
            </a:r>
          </a:p>
        </p:txBody>
      </p:sp>
      <p:sp>
        <p:nvSpPr>
          <p:cNvPr id="7" name="Rectangle 6"/>
          <p:cNvSpPr/>
          <p:nvPr/>
        </p:nvSpPr>
        <p:spPr>
          <a:xfrm>
            <a:off x="101600" y="3110185"/>
            <a:ext cx="2016125" cy="1163638"/>
          </a:xfrm>
          <a:prstGeom prst="rect">
            <a:avLst/>
          </a:prstGeom>
          <a:solidFill>
            <a:schemeClr val="accent6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" sz="1600" dirty="0">
                <a:solidFill>
                  <a:srgbClr val="FFFFFF"/>
                </a:solidFill>
                <a:cs typeface="Arial" pitchFamily="34" charset="0"/>
              </a:rPr>
              <a:t>Encuentros </a:t>
            </a:r>
            <a:r>
              <a:rPr lang="es-ES" sz="1600" dirty="0" smtClean="0">
                <a:solidFill>
                  <a:srgbClr val="FFFFFF"/>
                </a:solidFill>
                <a:cs typeface="Arial" pitchFamily="34" charset="0"/>
              </a:rPr>
              <a:t>con Regiones y </a:t>
            </a:r>
            <a:r>
              <a:rPr lang="es-ES" sz="1600" dirty="0">
                <a:solidFill>
                  <a:srgbClr val="FFFFFF"/>
                </a:solidFill>
                <a:cs typeface="Arial" pitchFamily="34" charset="0"/>
              </a:rPr>
              <a:t>u</a:t>
            </a:r>
            <a:r>
              <a:rPr lang="es-ES" sz="1600" dirty="0" smtClean="0">
                <a:solidFill>
                  <a:srgbClr val="FFFFFF"/>
                </a:solidFill>
                <a:cs typeface="Arial" pitchFamily="34" charset="0"/>
              </a:rPr>
              <a:t>nidades administrativas</a:t>
            </a:r>
            <a:endParaRPr lang="es-ES" sz="1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1600" y="4345260"/>
            <a:ext cx="2016125" cy="1046163"/>
          </a:xfrm>
          <a:prstGeom prst="rect">
            <a:avLst/>
          </a:prstGeom>
          <a:solidFill>
            <a:schemeClr val="accent6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" sz="1600" dirty="0">
                <a:solidFill>
                  <a:srgbClr val="FFFFFF"/>
                </a:solidFill>
                <a:cs typeface="Arial" pitchFamily="34" charset="0"/>
              </a:rPr>
              <a:t>Secretariados y laicos</a:t>
            </a: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2208213" y="3110185"/>
            <a:ext cx="6791325" cy="116363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txBody>
          <a:bodyPr lIns="0" tIns="0" rIns="0" bIns="0"/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3414" indent="-113414" fontAlgn="auto"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  <a:defRPr/>
            </a:pPr>
            <a:r>
              <a:rPr lang="es-ES" sz="1300" dirty="0" smtClean="0">
                <a:solidFill>
                  <a:srgbClr val="000000"/>
                </a:solidFill>
              </a:rPr>
              <a:t>Hemos participado en dos encuentros regionales (Arco Norte y Europa), un encuentro con editoriales y algunas Provincias.</a:t>
            </a:r>
          </a:p>
          <a:p>
            <a:pPr marL="113414" indent="-113414" fontAlgn="auto">
              <a:spcBef>
                <a:spcPts val="300"/>
              </a:spcBef>
              <a:spcAft>
                <a:spcPts val="0"/>
              </a:spcAft>
              <a:buClr>
                <a:srgbClr val="9B1717"/>
              </a:buClr>
              <a:buFont typeface="Arial" pitchFamily="34" charset="0"/>
              <a:buChar char="•"/>
              <a:defRPr/>
            </a:pPr>
            <a:r>
              <a:rPr lang="es-ES" sz="1300" dirty="0" smtClean="0">
                <a:solidFill>
                  <a:srgbClr val="000000"/>
                </a:solidFill>
              </a:rPr>
              <a:t>Ha sido una gran oportunidad para recibir aportaciones más directas e informales y experimentar cómo se percibe el proyecto. Por otra parte, durante estas reuniones, los Provinciales y los Consejeros han reflexionado y acordado posibles áreas iniciales de cooperación así como la prioridad en su implementación.</a:t>
            </a:r>
            <a:endParaRPr lang="es-ES" sz="1300" dirty="0">
              <a:solidFill>
                <a:srgbClr val="000000"/>
              </a:solidFill>
            </a:endParaRP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2208213" y="4345260"/>
            <a:ext cx="6791325" cy="97719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txBody>
          <a:bodyPr lIns="0" tIns="0" rIns="0" bIns="0">
            <a:spAutoFit/>
          </a:bodyPr>
          <a:lstStyle/>
          <a:p>
            <a:pPr marL="112713" indent="-112713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300" dirty="0">
                <a:solidFill>
                  <a:srgbClr val="000000"/>
                </a:solidFill>
              </a:rPr>
              <a:t>Nos hemos reunido con cuatro Secretariados (Hermanos hoy, Laicos, FMSI y CMI) para identificar áreas de </a:t>
            </a:r>
            <a:r>
              <a:rPr lang="es-ES" sz="1300" dirty="0" smtClean="0">
                <a:solidFill>
                  <a:srgbClr val="000000"/>
                </a:solidFill>
              </a:rPr>
              <a:t>superposición </a:t>
            </a:r>
            <a:r>
              <a:rPr lang="es-ES" sz="1300" dirty="0">
                <a:solidFill>
                  <a:srgbClr val="000000"/>
                </a:solidFill>
              </a:rPr>
              <a:t>y acordar una dirección común.</a:t>
            </a:r>
          </a:p>
          <a:p>
            <a:pPr marL="112713" indent="-112713" defTabSz="914400">
              <a:lnSpc>
                <a:spcPct val="90000"/>
              </a:lnSpc>
              <a:spcBef>
                <a:spcPts val="600"/>
              </a:spcBef>
              <a:buClr>
                <a:srgbClr val="9B1717"/>
              </a:buClr>
              <a:buSzPct val="100000"/>
              <a:buFont typeface="Arial" charset="0"/>
              <a:buChar char="•"/>
              <a:defRPr/>
            </a:pPr>
            <a:r>
              <a:rPr lang="es-ES" sz="1300" dirty="0">
                <a:solidFill>
                  <a:srgbClr val="000000"/>
                </a:solidFill>
              </a:rPr>
              <a:t>Laicos: tuvimos la oportunidad de </a:t>
            </a:r>
            <a:r>
              <a:rPr lang="es-ES" sz="1300" dirty="0" smtClean="0">
                <a:solidFill>
                  <a:srgbClr val="000000"/>
                </a:solidFill>
              </a:rPr>
              <a:t>presentar las directrices básicas del proyecto con ocasión del Primer </a:t>
            </a:r>
            <a:r>
              <a:rPr lang="es-ES" sz="1300" dirty="0">
                <a:solidFill>
                  <a:srgbClr val="000000"/>
                </a:solidFill>
              </a:rPr>
              <a:t>E</a:t>
            </a:r>
            <a:r>
              <a:rPr lang="es-ES" sz="1300" dirty="0" smtClean="0">
                <a:solidFill>
                  <a:srgbClr val="000000"/>
                </a:solidFill>
              </a:rPr>
              <a:t>ncuentro</a:t>
            </a:r>
            <a:r>
              <a:rPr lang="es-ES_tradnl" sz="1300" dirty="0" smtClean="0">
                <a:solidFill>
                  <a:srgbClr val="000000"/>
                </a:solidFill>
              </a:rPr>
              <a:t>, </a:t>
            </a:r>
            <a:r>
              <a:rPr lang="es-ES_tradnl" sz="1300" dirty="0">
                <a:solidFill>
                  <a:srgbClr val="000000"/>
                </a:solidFill>
              </a:rPr>
              <a:t>a nivel mundial, de formación de </a:t>
            </a:r>
            <a:r>
              <a:rPr lang="es-ES_tradnl" sz="1300" dirty="0" smtClean="0">
                <a:solidFill>
                  <a:srgbClr val="000000"/>
                </a:solidFill>
              </a:rPr>
              <a:t>laicos. Recibimos </a:t>
            </a:r>
            <a:r>
              <a:rPr lang="es-ES_tradnl" sz="1300" dirty="0">
                <a:solidFill>
                  <a:srgbClr val="000000"/>
                </a:solidFill>
              </a:rPr>
              <a:t>opiniones </a:t>
            </a:r>
            <a:r>
              <a:rPr lang="es-ES_tradnl" sz="1300" dirty="0" smtClean="0">
                <a:solidFill>
                  <a:srgbClr val="000000"/>
                </a:solidFill>
              </a:rPr>
              <a:t>interesantes de los participantes..</a:t>
            </a:r>
            <a:endParaRPr lang="es-ES" sz="1300" dirty="0">
              <a:solidFill>
                <a:srgbClr val="000000"/>
              </a:solidFill>
            </a:endParaRPr>
          </a:p>
        </p:txBody>
      </p:sp>
      <p:sp>
        <p:nvSpPr>
          <p:cNvPr id="12" name="Isosceles Triangle 11"/>
          <p:cNvSpPr/>
          <p:nvPr/>
        </p:nvSpPr>
        <p:spPr>
          <a:xfrm flipV="1">
            <a:off x="2771775" y="5393010"/>
            <a:ext cx="3563938" cy="214313"/>
          </a:xfrm>
          <a:prstGeom prst="triangl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FFFFFF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54373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56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4374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4797"/>
          </a:xfrm>
        </p:spPr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Nuestros facilitadores, están alineados con la sociedad de hoy? – Áreas clave de mejora resaltadas en la fase del diagnóstico</a:t>
            </a:r>
          </a:p>
        </p:txBody>
      </p:sp>
      <p:sp>
        <p:nvSpPr>
          <p:cNvPr id="57" name="Rectangle 56"/>
          <p:cNvSpPr/>
          <p:nvPr/>
        </p:nvSpPr>
        <p:spPr>
          <a:xfrm>
            <a:off x="3959225" y="1773238"/>
            <a:ext cx="4752975" cy="4608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 marL="97212" indent="-97212" defTabSz="914400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 smtClean="0">
                <a:solidFill>
                  <a:srgbClr val="000000"/>
                </a:solidFill>
              </a:rPr>
              <a:t>Otras congregaciones están claramente enfocadas al establecimiento de </a:t>
            </a:r>
            <a:r>
              <a:rPr lang="es-ES_tradnl" sz="1200" b="1" dirty="0" smtClean="0">
                <a:solidFill>
                  <a:srgbClr val="000000"/>
                </a:solidFill>
              </a:rPr>
              <a:t>tecnologías</a:t>
            </a:r>
            <a:r>
              <a:rPr lang="es-ES_tradnl" sz="1200" dirty="0" smtClean="0">
                <a:solidFill>
                  <a:srgbClr val="000000"/>
                </a:solidFill>
              </a:rPr>
              <a:t> (por ejemplo un secretariado dedicado junto a Comunicación)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b="1" dirty="0" smtClean="0">
                <a:solidFill>
                  <a:srgbClr val="000000"/>
                </a:solidFill>
              </a:rPr>
              <a:t>Enfoque muy fragmentado de las TIC </a:t>
            </a:r>
            <a:r>
              <a:rPr lang="es-ES_tradnl" sz="1200" dirty="0" smtClean="0">
                <a:solidFill>
                  <a:srgbClr val="000000"/>
                </a:solidFill>
              </a:rPr>
              <a:t>sin intentos de crear </a:t>
            </a:r>
            <a:r>
              <a:rPr lang="es-ES_tradnl" sz="1200" b="1" dirty="0" smtClean="0">
                <a:solidFill>
                  <a:srgbClr val="000000"/>
                </a:solidFill>
              </a:rPr>
              <a:t>sistemas e interfaces comunes. 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b="1" dirty="0" smtClean="0">
                <a:solidFill>
                  <a:srgbClr val="000000"/>
                </a:solidFill>
              </a:rPr>
              <a:t>Enfoques muy diferentes </a:t>
            </a:r>
            <a:r>
              <a:rPr lang="es-ES_tradnl" sz="1200" dirty="0" smtClean="0">
                <a:solidFill>
                  <a:srgbClr val="000000"/>
                </a:solidFill>
              </a:rPr>
              <a:t>de las UA con una falta clara de enriquecimiento mutuo y de </a:t>
            </a:r>
            <a:r>
              <a:rPr lang="es-ES_tradnl" sz="1200" b="1" dirty="0" smtClean="0">
                <a:solidFill>
                  <a:srgbClr val="000000"/>
                </a:solidFill>
              </a:rPr>
              <a:t>aprovechamiento de lecciones aprendidas</a:t>
            </a:r>
            <a:r>
              <a:rPr lang="es-ES_tradnl" sz="1200" dirty="0" smtClean="0">
                <a:solidFill>
                  <a:srgbClr val="000000"/>
                </a:solidFill>
              </a:rPr>
              <a:t>.</a:t>
            </a:r>
            <a:r>
              <a:rPr lang="es-ES_tradnl" sz="1200" b="1" dirty="0" smtClean="0">
                <a:solidFill>
                  <a:srgbClr val="000000"/>
                </a:solidFill>
              </a:rPr>
              <a:t> 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b="1" dirty="0" smtClean="0">
                <a:solidFill>
                  <a:srgbClr val="000000"/>
                </a:solidFill>
              </a:rPr>
              <a:t>Los datos no son fiables</a:t>
            </a:r>
            <a:r>
              <a:rPr lang="es-ES_tradnl" sz="1200" dirty="0" smtClean="0">
                <a:solidFill>
                  <a:srgbClr val="000000"/>
                </a:solidFill>
              </a:rPr>
              <a:t>; dificultades globales en la recogida de dato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 smtClean="0">
                <a:solidFill>
                  <a:srgbClr val="000000"/>
                </a:solidFill>
              </a:rPr>
              <a:t>Uso limitado del </a:t>
            </a:r>
            <a:r>
              <a:rPr lang="es-ES_tradnl" sz="1200" b="1" dirty="0" smtClean="0">
                <a:solidFill>
                  <a:srgbClr val="000000"/>
                </a:solidFill>
              </a:rPr>
              <a:t>modelo de cooperación virtual</a:t>
            </a:r>
            <a:r>
              <a:rPr lang="es-ES_tradnl" sz="1200" dirty="0" smtClean="0">
                <a:solidFill>
                  <a:srgbClr val="000000"/>
                </a:solidFill>
              </a:rPr>
              <a:t>. 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b="1" dirty="0" smtClean="0">
                <a:solidFill>
                  <a:srgbClr val="000000"/>
                </a:solidFill>
              </a:rPr>
              <a:t>No hay agrupación de recursos; “reinventamos la rueda”.</a:t>
            </a:r>
            <a:endParaRPr lang="es-ES_tradnl" sz="1200" dirty="0" smtClean="0">
              <a:solidFill>
                <a:srgbClr val="000000"/>
              </a:solidFill>
            </a:endParaRPr>
          </a:p>
          <a:p>
            <a:pPr marL="97212" indent="-97212" defTabSz="914400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 smtClean="0">
                <a:solidFill>
                  <a:srgbClr val="000000"/>
                </a:solidFill>
              </a:rPr>
              <a:t>El </a:t>
            </a:r>
            <a:r>
              <a:rPr lang="es-ES_tradnl" sz="1200" b="1" dirty="0" smtClean="0">
                <a:solidFill>
                  <a:srgbClr val="000000"/>
                </a:solidFill>
              </a:rPr>
              <a:t>potencial de los facilitadores </a:t>
            </a:r>
            <a:r>
              <a:rPr lang="es-ES_tradnl" sz="1200" dirty="0" smtClean="0">
                <a:solidFill>
                  <a:srgbClr val="000000"/>
                </a:solidFill>
              </a:rPr>
              <a:t>TIC y de comunicación todavía no han sido </a:t>
            </a:r>
            <a:r>
              <a:rPr lang="es-ES_tradnl" sz="1200" b="1" dirty="0" smtClean="0">
                <a:solidFill>
                  <a:srgbClr val="000000"/>
                </a:solidFill>
              </a:rPr>
              <a:t>explorados ni aprovechados</a:t>
            </a:r>
            <a:r>
              <a:rPr lang="es-ES_tradnl" sz="1200" dirty="0" smtClean="0">
                <a:solidFill>
                  <a:srgbClr val="000000"/>
                </a:solidFill>
              </a:rPr>
              <a:t>.</a:t>
            </a:r>
            <a:r>
              <a:rPr lang="es-ES_tradnl" sz="1200" b="1" dirty="0" smtClean="0">
                <a:solidFill>
                  <a:srgbClr val="000000"/>
                </a:solidFill>
              </a:rPr>
              <a:t> 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b="1" dirty="0" smtClean="0">
                <a:solidFill>
                  <a:srgbClr val="000000"/>
                </a:solidFill>
              </a:rPr>
              <a:t>Limitada definición institucional de la comunicación</a:t>
            </a:r>
            <a:r>
              <a:rPr lang="es-ES_tradnl" sz="1200" dirty="0" smtClean="0">
                <a:solidFill>
                  <a:srgbClr val="000000"/>
                </a:solidFill>
              </a:rPr>
              <a:t>; falta de directrices generales de comunicación interna y externa. 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 smtClean="0">
                <a:solidFill>
                  <a:srgbClr val="000000"/>
                </a:solidFill>
              </a:rPr>
              <a:t>Diferentes marcas y logotipos en todo el mundo, códigos de color, identidad corporativa, diferentes boletines y publicaciones. </a:t>
            </a:r>
            <a:r>
              <a:rPr lang="es-ES_tradnl" sz="1200" b="1" dirty="0" smtClean="0">
                <a:solidFill>
                  <a:srgbClr val="000000"/>
                </a:solidFill>
              </a:rPr>
              <a:t>Comunicación basada principalmente en las necesidades locales</a:t>
            </a:r>
            <a:r>
              <a:rPr lang="es-ES_tradnl" sz="1200" dirty="0" smtClean="0">
                <a:solidFill>
                  <a:srgbClr val="000000"/>
                </a:solidFill>
              </a:rPr>
              <a:t>.</a:t>
            </a:r>
            <a:endParaRPr lang="es-ES_tradnl" sz="1200" b="1" dirty="0" smtClean="0">
              <a:solidFill>
                <a:srgbClr val="000000"/>
              </a:solidFill>
            </a:endParaRPr>
          </a:p>
          <a:p>
            <a:pPr marL="97212" indent="-97212" defTabSz="914400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dirty="0" smtClean="0">
                <a:solidFill>
                  <a:srgbClr val="000000"/>
                </a:solidFill>
              </a:rPr>
              <a:t>Clara </a:t>
            </a:r>
            <a:r>
              <a:rPr lang="es-ES_tradnl" sz="1200" b="1" dirty="0" smtClean="0">
                <a:solidFill>
                  <a:srgbClr val="000000"/>
                </a:solidFill>
              </a:rPr>
              <a:t>falta de identidad de la comunicación</a:t>
            </a:r>
            <a:r>
              <a:rPr lang="es-ES_tradnl" sz="1200" dirty="0" smtClean="0">
                <a:solidFill>
                  <a:srgbClr val="000000"/>
                </a:solidFill>
              </a:rPr>
              <a:t>, también a nivel de las escuela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_tradnl" sz="1200" b="1" dirty="0" smtClean="0">
                <a:solidFill>
                  <a:srgbClr val="000000"/>
                </a:solidFill>
              </a:rPr>
              <a:t>Redes de comunicación </a:t>
            </a:r>
            <a:r>
              <a:rPr lang="es-ES_tradnl" sz="1200" dirty="0" smtClean="0">
                <a:solidFill>
                  <a:srgbClr val="000000"/>
                </a:solidFill>
              </a:rPr>
              <a:t>mejorables dentro del Instituto.</a:t>
            </a:r>
            <a:endParaRPr lang="es-ES_tradnl" sz="1200" dirty="0">
              <a:solidFill>
                <a:srgbClr val="000000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 flipV="1">
            <a:off x="2916238" y="1773239"/>
            <a:ext cx="1018290" cy="1349374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2916238" y="5032375"/>
            <a:ext cx="1042987" cy="1349375"/>
          </a:xfrm>
          <a:prstGeom prst="line">
            <a:avLst/>
          </a:prstGeom>
          <a:ln w="6350" cap="flat">
            <a:solidFill>
              <a:schemeClr val="accent3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153988" y="3122613"/>
            <a:ext cx="2773362" cy="1909762"/>
            <a:chOff x="153988" y="3119438"/>
            <a:chExt cx="2773362" cy="1909762"/>
          </a:xfrm>
        </p:grpSpPr>
        <p:sp>
          <p:nvSpPr>
            <p:cNvPr id="11" name="Rectangle 9"/>
            <p:cNvSpPr>
              <a:spLocks noChangeArrowheads="1"/>
            </p:cNvSpPr>
            <p:nvPr/>
          </p:nvSpPr>
          <p:spPr bwMode="gray">
            <a:xfrm>
              <a:off x="153988" y="3803650"/>
              <a:ext cx="2773362" cy="122555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flat">
              <a:noFill/>
              <a:miter lim="800000"/>
              <a:headEnd/>
              <a:tailEnd/>
            </a:ln>
          </p:spPr>
          <p:txBody>
            <a:bodyPr lIns="72000" tIns="18000" rIns="72000" bIns="18000" anchor="ctr"/>
            <a:lstStyle/>
            <a:p>
              <a:pPr marL="89111" indent="-89111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dirty="0" smtClean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Times New Roman" panose="02020603050405020304" pitchFamily="18" charset="0"/>
                </a:rPr>
                <a:t>Sistemas y herramientas </a:t>
              </a:r>
              <a:r>
                <a:rPr lang="es-ES_tradnl" sz="1200" b="1" dirty="0" smtClean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Times New Roman" panose="02020603050405020304" pitchFamily="18" charset="0"/>
                </a:rPr>
                <a:t>TIC</a:t>
              </a:r>
              <a:r>
                <a:rPr lang="es-ES_tradnl" sz="1200" dirty="0" smtClean="0">
                  <a:solidFill>
                    <a:srgbClr val="000000"/>
                  </a:solidFill>
                  <a:latin typeface="Arial" panose="020B0604020202020204" pitchFamily="34" charset="0"/>
                  <a:ea typeface="Arial" panose="020B0604020202020204" pitchFamily="34" charset="0"/>
                  <a:cs typeface="Times New Roman" panose="02020603050405020304" pitchFamily="18" charset="0"/>
                </a:rPr>
                <a:t>.</a:t>
              </a:r>
            </a:p>
            <a:p>
              <a:pPr marL="89111" indent="-89111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b="1" dirty="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Gestión de recursos y del conocimiento.</a:t>
              </a:r>
            </a:p>
            <a:p>
              <a:pPr marL="89111" indent="-89111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b="1" dirty="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Nuevas tecnologías en educación.</a:t>
              </a:r>
            </a:p>
            <a:p>
              <a:pPr marL="89111" indent="-89111" defTabSz="914400" eaLnBrk="0" fontAlgn="auto" hangingPunct="0">
                <a:lnSpc>
                  <a:spcPct val="90000"/>
                </a:lnSpc>
                <a:spcAft>
                  <a:spcPts val="0"/>
                </a:spcAft>
                <a:buClr>
                  <a:srgbClr val="9B1717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s-ES_tradnl" sz="1200" b="1" dirty="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Comunicación.</a:t>
              </a:r>
              <a:endParaRPr lang="es-ES_tradnl" sz="1200" dirty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53988" y="3119438"/>
              <a:ext cx="2773362" cy="668337"/>
            </a:xfrm>
            <a:prstGeom prst="rect">
              <a:avLst/>
            </a:prstGeom>
            <a:solidFill>
              <a:schemeClr val="accent1"/>
            </a:soli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914400" fontAlgn="auto">
                <a:lnSpc>
                  <a:spcPts val="1300"/>
                </a:lnSpc>
                <a:spcBef>
                  <a:spcPts val="0"/>
                </a:spcBef>
                <a:spcAft>
                  <a:spcPts val="1300"/>
                </a:spcAft>
                <a:defRPr/>
              </a:pPr>
              <a:r>
                <a:rPr lang="es-ES_tradnl" sz="1600" dirty="0" smtClean="0">
                  <a:solidFill>
                    <a:srgbClr val="FFFFFF"/>
                  </a:solidFill>
                  <a:ea typeface="Arial" panose="020B0604020202020204" pitchFamily="34" charset="0"/>
                  <a:cs typeface="Times New Roman" panose="02020603050405020304" pitchFamily="18" charset="0"/>
                </a:rPr>
                <a:t>Están nuestros facilitadores alineados con la sociedad de hoy?</a:t>
              </a:r>
              <a:endParaRPr lang="es-ES_tradnl" sz="1600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954380" name="Rectangle 17"/>
          <p:cNvSpPr>
            <a:spLocks noChangeArrowheads="1"/>
          </p:cNvSpPr>
          <p:nvPr/>
        </p:nvSpPr>
        <p:spPr bwMode="auto">
          <a:xfrm>
            <a:off x="5562600" y="127000"/>
            <a:ext cx="3340100" cy="1841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/>
            <a:r>
              <a:rPr lang="es-ES_tradnl" sz="1200" dirty="0" smtClean="0">
                <a:solidFill>
                  <a:srgbClr val="000000"/>
                </a:solidFill>
              </a:rPr>
              <a:t>Estamos utilizando plenamente nuestros bienes?</a:t>
            </a:r>
            <a:endParaRPr lang="es-ES_tradnl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55397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46219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59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5398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5162"/>
          </a:xfrm>
        </p:spPr>
        <p:txBody>
          <a:bodyPr/>
          <a:lstStyle/>
          <a:p>
            <a:pPr eaLnBrk="1" hangingPunct="1"/>
            <a:r>
              <a:rPr lang="es-ES" dirty="0" smtClean="0">
                <a:latin typeface="Arial" charset="0"/>
                <a:cs typeface="Arial" charset="0"/>
              </a:rPr>
              <a:t>Nuestros facilitadores están alineados con la sociedad de hoy? Propuestas clave (1 of 2)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79388" y="1787941"/>
            <a:ext cx="2193925" cy="2782888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" sz="1600" b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Herramientas tecnológica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473325" y="1787942"/>
            <a:ext cx="6408738" cy="2782300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Explorar soluciones para recopilar información de </a:t>
            </a:r>
            <a:r>
              <a:rPr lang="es-ES" sz="1400" b="1" dirty="0" smtClean="0">
                <a:solidFill>
                  <a:srgbClr val="000000"/>
                </a:solidFill>
                <a:cs typeface="Arial" pitchFamily="34" charset="0"/>
              </a:rPr>
              <a:t>las herramientas fragmentadas existentes en TIC 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sin entrar en un modelo integrado</a:t>
            </a: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(centrado en sistemas de planificación y control)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Evaluar la oportunidad de aprovechar soluciones </a:t>
            </a:r>
            <a:r>
              <a:rPr lang="es-ES" sz="1400" b="1" dirty="0" smtClean="0">
                <a:solidFill>
                  <a:srgbClr val="000000"/>
                </a:solidFill>
                <a:cs typeface="Arial" pitchFamily="34" charset="0"/>
              </a:rPr>
              <a:t>tecnológicas que </a:t>
            </a: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están disponibles 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a nivel </a:t>
            </a:r>
            <a:r>
              <a:rPr lang="es-ES" sz="1400" dirty="0" smtClean="0">
                <a:solidFill>
                  <a:srgbClr val="000000"/>
                </a:solidFill>
                <a:cs typeface="Arial" pitchFamily="34" charset="0"/>
              </a:rPr>
              <a:t>global (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por ejemplo, aplicaciones, gestión de procesos de recursos humanos y mapeo</a:t>
            </a:r>
            <a:r>
              <a:rPr lang="es-ES" sz="1400" dirty="0" smtClean="0">
                <a:solidFill>
                  <a:srgbClr val="000000"/>
                </a:solidFill>
                <a:cs typeface="Arial" pitchFamily="34" charset="0"/>
              </a:rPr>
              <a:t>).</a:t>
            </a:r>
            <a:endParaRPr lang="es-ES" sz="1400" dirty="0">
              <a:solidFill>
                <a:srgbClr val="000000"/>
              </a:solidFill>
              <a:cs typeface="Arial" pitchFamily="34" charset="0"/>
            </a:endParaRP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Creación de una </a:t>
            </a: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base global de datos 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de competencias tanto para hermanos como para empleado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dirty="0">
                <a:solidFill>
                  <a:schemeClr val="tx1"/>
                </a:solidFill>
                <a:cs typeface="Arial" pitchFamily="34" charset="0"/>
              </a:rPr>
              <a:t>Alineamiento en un </a:t>
            </a:r>
            <a:r>
              <a:rPr lang="es-ES" sz="1400" b="1" dirty="0">
                <a:solidFill>
                  <a:schemeClr val="tx1"/>
                </a:solidFill>
                <a:cs typeface="Arial" pitchFamily="34" charset="0"/>
              </a:rPr>
              <a:t>modelo </a:t>
            </a:r>
            <a:r>
              <a:rPr lang="es-ES" sz="1400" b="1" dirty="0" smtClean="0">
                <a:solidFill>
                  <a:schemeClr val="tx1"/>
                </a:solidFill>
                <a:cs typeface="Arial" pitchFamily="34" charset="0"/>
              </a:rPr>
              <a:t>de soluciones TIC </a:t>
            </a:r>
            <a:r>
              <a:rPr lang="es-ES" sz="1400" b="1" dirty="0">
                <a:solidFill>
                  <a:schemeClr val="tx1"/>
                </a:solidFill>
                <a:cs typeface="Arial" pitchFamily="34" charset="0"/>
              </a:rPr>
              <a:t>a largo plazo </a:t>
            </a:r>
            <a:r>
              <a:rPr lang="es-ES" sz="1400" dirty="0">
                <a:solidFill>
                  <a:schemeClr val="tx1"/>
                </a:solidFill>
                <a:cs typeface="Arial" pitchFamily="34" charset="0"/>
              </a:rPr>
              <a:t>(qué sistemas básicos se necesitan a nivel de Instituto)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Definición de un proceso en curso para la </a:t>
            </a: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optimización de la inversión en TIC 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(asegurar que las inversiones no </a:t>
            </a:r>
            <a:r>
              <a:rPr lang="es-ES" sz="1400" dirty="0" smtClean="0">
                <a:solidFill>
                  <a:srgbClr val="000000"/>
                </a:solidFill>
                <a:cs typeface="Arial" pitchFamily="34" charset="0"/>
              </a:rPr>
              <a:t>sean 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contradictorias).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79388" y="4938415"/>
            <a:ext cx="2193925" cy="1408112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" sz="1600" b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Gestión del conocimiento y recursos</a:t>
            </a:r>
            <a:endParaRPr lang="es-ES" sz="1600" dirty="0">
              <a:solidFill>
                <a:srgbClr val="FFFFFF"/>
              </a:solidFill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473325" y="4938415"/>
            <a:ext cx="6408738" cy="165893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Desarrollar una base de datos </a:t>
            </a:r>
            <a:r>
              <a:rPr lang="es-ES" sz="1400" dirty="0" smtClean="0">
                <a:solidFill>
                  <a:srgbClr val="000000"/>
                </a:solidFill>
                <a:cs typeface="Arial" pitchFamily="34" charset="0"/>
              </a:rPr>
              <a:t>compartida </a:t>
            </a:r>
            <a:r>
              <a:rPr lang="es-ES" sz="1400" b="1" dirty="0" smtClean="0">
                <a:solidFill>
                  <a:srgbClr val="000000"/>
                </a:solidFill>
                <a:cs typeface="Arial" pitchFamily="34" charset="0"/>
              </a:rPr>
              <a:t>para </a:t>
            </a: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perfiles de recursos humano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Evaluar la forma </a:t>
            </a:r>
            <a:r>
              <a:rPr lang="es-ES" sz="1400" dirty="0" smtClean="0">
                <a:solidFill>
                  <a:srgbClr val="000000"/>
                </a:solidFill>
                <a:cs typeface="Arial" pitchFamily="34" charset="0"/>
              </a:rPr>
              <a:t>de obtener </a:t>
            </a:r>
            <a:r>
              <a:rPr lang="es-ES" sz="1400" b="1" dirty="0" smtClean="0">
                <a:solidFill>
                  <a:srgbClr val="000000"/>
                </a:solidFill>
                <a:cs typeface="Arial" pitchFamily="34" charset="0"/>
              </a:rPr>
              <a:t>informes </a:t>
            </a: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estandarizados 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para los activos financieros y para los resultados económicos de las Provincias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Crear una </a:t>
            </a: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solución para la gestión centralizada de </a:t>
            </a:r>
            <a:r>
              <a:rPr lang="es-ES" sz="1400" b="1" dirty="0" smtClean="0">
                <a:solidFill>
                  <a:srgbClr val="000000"/>
                </a:solidFill>
                <a:cs typeface="Arial" pitchFamily="34" charset="0"/>
              </a:rPr>
              <a:t>conocimiento </a:t>
            </a:r>
            <a:r>
              <a:rPr lang="es-ES" sz="1400" dirty="0" smtClean="0">
                <a:solidFill>
                  <a:srgbClr val="000000"/>
                </a:solidFill>
                <a:cs typeface="Arial" pitchFamily="34" charset="0"/>
              </a:rPr>
              <a:t>para 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recoger y hacer disponible el </a:t>
            </a:r>
            <a:r>
              <a:rPr lang="es-ES" sz="1400" dirty="0" smtClean="0">
                <a:solidFill>
                  <a:srgbClr val="000000"/>
                </a:solidFill>
                <a:cs typeface="Arial" pitchFamily="34" charset="0"/>
              </a:rPr>
              <a:t>conocimiento que ya se tiene 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(mejores prácticas, proyectos en curso o finalizados…).</a:t>
            </a:r>
          </a:p>
        </p:txBody>
      </p:sp>
      <p:sp>
        <p:nvSpPr>
          <p:cNvPr id="955403" name="Rectangle 17"/>
          <p:cNvSpPr>
            <a:spLocks noChangeArrowheads="1"/>
          </p:cNvSpPr>
          <p:nvPr/>
        </p:nvSpPr>
        <p:spPr bwMode="auto">
          <a:xfrm>
            <a:off x="5562600" y="127000"/>
            <a:ext cx="3340100" cy="1841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/>
            <a:r>
              <a:rPr lang="es-ES" sz="1200">
                <a:solidFill>
                  <a:srgbClr val="000000"/>
                </a:solidFill>
              </a:rPr>
              <a:t>Estamos utilizando plenamente nuestros bienes?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56421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5377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61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6422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5162"/>
          </a:xfrm>
        </p:spPr>
        <p:txBody>
          <a:bodyPr/>
          <a:lstStyle/>
          <a:p>
            <a:pPr eaLnBrk="1" hangingPunct="1"/>
            <a:r>
              <a:rPr lang="es-ES" smtClean="0">
                <a:latin typeface="Arial" charset="0"/>
                <a:cs typeface="Arial" charset="0"/>
              </a:rPr>
              <a:t>Nuestros facilitadores, están alineados con la sociedad de hoy? Propuestas clave </a:t>
            </a:r>
            <a:r>
              <a:rPr lang="en-US" smtClean="0">
                <a:latin typeface="Arial" charset="0"/>
                <a:cs typeface="Arial" charset="0"/>
              </a:rPr>
              <a:t>(2 of 2)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79388" y="3265488"/>
            <a:ext cx="2193925" cy="2160587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ES" sz="1600" b="1" i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Comunicación</a:t>
            </a:r>
            <a:endParaRPr lang="es-ES" sz="1600" i="1" dirty="0">
              <a:solidFill>
                <a:srgbClr val="FFFFFF"/>
              </a:solidFill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473325" y="3265488"/>
            <a:ext cx="6408738" cy="2160587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Profesionalizar la comunicación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 en la Congregación a todos los niveles:</a:t>
            </a:r>
          </a:p>
          <a:p>
            <a:pPr marL="232229" indent="-135017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Comunicación entre hermanos;</a:t>
            </a:r>
          </a:p>
          <a:p>
            <a:pPr marL="232229" indent="-135017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Comunicación con los laicos;</a:t>
            </a:r>
          </a:p>
          <a:p>
            <a:pPr marL="232229" indent="-135017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Comunicación entre las Provincias;</a:t>
            </a:r>
          </a:p>
          <a:p>
            <a:pPr marL="232229" indent="-135017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Comunicaciones con la Administración General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Definir </a:t>
            </a: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estándares 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y significados compartidos (terminología)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Mejorar </a:t>
            </a:r>
            <a:r>
              <a:rPr lang="es-ES" sz="1400" b="1" dirty="0">
                <a:solidFill>
                  <a:srgbClr val="000000"/>
                </a:solidFill>
                <a:cs typeface="Arial" pitchFamily="34" charset="0"/>
              </a:rPr>
              <a:t>la  identidad de la marca 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(logotipo, direcciones de email, sitios de internet, etc.) y el </a:t>
            </a:r>
            <a:r>
              <a:rPr lang="es-ES" sz="1400" dirty="0" err="1">
                <a:solidFill>
                  <a:srgbClr val="000000"/>
                </a:solidFill>
                <a:cs typeface="Arial" pitchFamily="34" charset="0"/>
              </a:rPr>
              <a:t>merchandising</a:t>
            </a:r>
            <a:r>
              <a:rPr lang="es-ES" sz="1400" dirty="0">
                <a:solidFill>
                  <a:srgbClr val="000000"/>
                </a:solidFill>
                <a:cs typeface="Arial" pitchFamily="34" charset="0"/>
              </a:rPr>
              <a:t>.</a:t>
            </a:r>
          </a:p>
        </p:txBody>
      </p:sp>
      <p:sp>
        <p:nvSpPr>
          <p:cNvPr id="34" name="Rectangle 33"/>
          <p:cNvSpPr/>
          <p:nvPr/>
        </p:nvSpPr>
        <p:spPr>
          <a:xfrm>
            <a:off x="179388" y="1786799"/>
            <a:ext cx="2193925" cy="1210153"/>
          </a:xfrm>
          <a:prstGeom prst="rect">
            <a:avLst/>
          </a:prstGeom>
          <a:solidFill>
            <a:schemeClr val="accent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0" rIns="73152" bIns="0" anchor="ctr"/>
          <a:lstStyle/>
          <a:p>
            <a:pPr algn="ctr" defTabSz="914400" fontAlgn="auto">
              <a:spcBef>
                <a:spcPts val="0"/>
              </a:spcBef>
              <a:spcAft>
                <a:spcPts val="1300"/>
              </a:spcAft>
              <a:defRPr/>
            </a:pPr>
            <a:r>
              <a:rPr lang="es-MX" sz="1600" b="1" i="1" dirty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Nuevas tecnologías </a:t>
            </a:r>
            <a:r>
              <a:rPr lang="es-MX" sz="1600" b="1" i="1" dirty="0" smtClean="0">
                <a:solidFill>
                  <a:srgbClr val="FFFFFF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para la misión</a:t>
            </a:r>
            <a:endParaRPr lang="es-MX" sz="1600" i="1" dirty="0">
              <a:solidFill>
                <a:srgbClr val="FFFFFF"/>
              </a:solidFill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473325" y="1786799"/>
            <a:ext cx="6408738" cy="1210153"/>
          </a:xfrm>
          <a:prstGeom prst="rect">
            <a:avLst/>
          </a:prstGeom>
          <a:noFill/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>
            <a:spAutoFit/>
          </a:bodyPr>
          <a:lstStyle/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Promover </a:t>
            </a:r>
            <a:r>
              <a:rPr lang="es-MX" sz="1400" b="1" dirty="0">
                <a:solidFill>
                  <a:srgbClr val="000000"/>
                </a:solidFill>
                <a:cs typeface="Arial" pitchFamily="34" charset="0"/>
              </a:rPr>
              <a:t>nuevas tecnologías aplicadas a la Misión</a:t>
            </a: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, tanto educación como trabajo social (por ejemplo, evangelización, escuelas sin papeles, programas y materiales online…).</a:t>
            </a:r>
          </a:p>
          <a:p>
            <a:pPr marL="97212" indent="-97212" defTabSz="9144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9B1717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Aprovechar la </a:t>
            </a:r>
            <a:r>
              <a:rPr lang="es-MX" sz="1400" b="1" dirty="0">
                <a:solidFill>
                  <a:srgbClr val="000000"/>
                </a:solidFill>
                <a:cs typeface="Arial" pitchFamily="34" charset="0"/>
              </a:rPr>
              <a:t>economía de escala </a:t>
            </a:r>
            <a:r>
              <a:rPr lang="es-MX" sz="1400" dirty="0">
                <a:solidFill>
                  <a:srgbClr val="000000"/>
                </a:solidFill>
                <a:cs typeface="Arial" pitchFamily="34" charset="0"/>
              </a:rPr>
              <a:t>donde sea posible.</a:t>
            </a:r>
          </a:p>
        </p:txBody>
      </p:sp>
      <p:sp>
        <p:nvSpPr>
          <p:cNvPr id="956427" name="Rectangle 17"/>
          <p:cNvSpPr>
            <a:spLocks noChangeArrowheads="1"/>
          </p:cNvSpPr>
          <p:nvPr/>
        </p:nvSpPr>
        <p:spPr bwMode="auto">
          <a:xfrm>
            <a:off x="5562600" y="127000"/>
            <a:ext cx="3340100" cy="1841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/>
            <a:r>
              <a:rPr lang="es-ES" sz="1200">
                <a:solidFill>
                  <a:srgbClr val="000000"/>
                </a:solidFill>
              </a:rPr>
              <a:t>Estamos utilizando plenamente nuestros bienes?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5105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504238" cy="665162"/>
          </a:xfrm>
        </p:spPr>
        <p:txBody>
          <a:bodyPr/>
          <a:lstStyle/>
          <a:p>
            <a:pPr eaLnBrk="1" hangingPunct="1"/>
            <a:r>
              <a:rPr lang="es-ES_tradnl" altLang="en-US" dirty="0" smtClean="0">
                <a:latin typeface="Arial" charset="0"/>
                <a:cs typeface="Arial" charset="0"/>
              </a:rPr>
              <a:t>Buenas prácticas demuestran que facilitadores TIC pueden apoyar nuestra Misión </a:t>
            </a:r>
          </a:p>
        </p:txBody>
      </p:sp>
      <p:sp>
        <p:nvSpPr>
          <p:cNvPr id="3375106" name="TextBox 39"/>
          <p:cNvSpPr txBox="1">
            <a:spLocks noChangeArrowheads="1"/>
          </p:cNvSpPr>
          <p:nvPr/>
        </p:nvSpPr>
        <p:spPr bwMode="auto">
          <a:xfrm>
            <a:off x="0" y="5806715"/>
            <a:ext cx="9144000" cy="68262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lIns="252476" tIns="76200" rIns="252476" bIns="76200" anchor="ctr"/>
          <a:lstStyle/>
          <a:p>
            <a:pPr defTabSz="914400">
              <a:lnSpc>
                <a:spcPct val="90000"/>
              </a:lnSpc>
              <a:buClr>
                <a:srgbClr val="9B1717"/>
              </a:buClr>
            </a:pPr>
            <a:r>
              <a:rPr lang="es-ES_tradnl" altLang="en-US" b="1" dirty="0" smtClean="0">
                <a:solidFill>
                  <a:srgbClr val="FFFFFF"/>
                </a:solidFill>
              </a:rPr>
              <a:t>Velocidad de la migración hacia el mejoramiento tiene que ser equilibrada con el nivel de inversiones</a:t>
            </a:r>
            <a:endParaRPr lang="es-ES_tradnl" altLang="en-US" b="1" dirty="0">
              <a:solidFill>
                <a:srgbClr val="FFFFFF"/>
              </a:solidFill>
            </a:endParaRPr>
          </a:p>
        </p:txBody>
      </p:sp>
      <p:sp>
        <p:nvSpPr>
          <p:cNvPr id="3375107" name="Text Box 6"/>
          <p:cNvSpPr txBox="1">
            <a:spLocks noChangeArrowheads="1"/>
          </p:cNvSpPr>
          <p:nvPr/>
        </p:nvSpPr>
        <p:spPr bwMode="auto">
          <a:xfrm>
            <a:off x="611188" y="2960688"/>
            <a:ext cx="1017587" cy="6873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45720" rIns="45720"/>
          <a:lstStyle/>
          <a:p>
            <a:pPr defTabSz="914400" eaLnBrk="0" hangingPunct="0"/>
            <a:r>
              <a:rPr lang="es-ES_tradnl" altLang="en-US" sz="1600" b="1" dirty="0" smtClean="0">
                <a:solidFill>
                  <a:srgbClr val="000000"/>
                </a:solidFill>
              </a:rPr>
              <a:t>Valor</a:t>
            </a:r>
            <a:endParaRPr lang="es-ES_tradnl" altLang="en-US" sz="1600" b="1" dirty="0">
              <a:solidFill>
                <a:srgbClr val="000000"/>
              </a:solidFill>
            </a:endParaRPr>
          </a:p>
        </p:txBody>
      </p:sp>
      <p:sp>
        <p:nvSpPr>
          <p:cNvPr id="3375108" name="Text Box 8"/>
          <p:cNvSpPr txBox="1">
            <a:spLocks noChangeArrowheads="1"/>
          </p:cNvSpPr>
          <p:nvPr/>
        </p:nvSpPr>
        <p:spPr bwMode="auto">
          <a:xfrm>
            <a:off x="1800225" y="5114925"/>
            <a:ext cx="119538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/>
          <a:lstStyle/>
          <a:p>
            <a:pPr defTabSz="914400" eaLnBrk="0" hangingPunct="0"/>
            <a:r>
              <a:rPr lang="es-ES_tradnl" altLang="en-US" sz="1400" i="1" dirty="0" smtClean="0">
                <a:solidFill>
                  <a:srgbClr val="000000"/>
                </a:solidFill>
              </a:rPr>
              <a:t>Operacional &amp; Táctico </a:t>
            </a:r>
            <a:endParaRPr lang="es-ES_tradnl" altLang="en-US" sz="1400" i="1" dirty="0">
              <a:solidFill>
                <a:srgbClr val="000000"/>
              </a:solidFill>
            </a:endParaRPr>
          </a:p>
        </p:txBody>
      </p:sp>
      <p:sp>
        <p:nvSpPr>
          <p:cNvPr id="3375109" name="Text Box 10"/>
          <p:cNvSpPr txBox="1">
            <a:spLocks noChangeArrowheads="1"/>
          </p:cNvSpPr>
          <p:nvPr/>
        </p:nvSpPr>
        <p:spPr bwMode="auto">
          <a:xfrm>
            <a:off x="742950" y="4565650"/>
            <a:ext cx="1182688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/>
          <a:lstStyle/>
          <a:p>
            <a:pPr defTabSz="914400" eaLnBrk="0" hangingPunct="0"/>
            <a:r>
              <a:rPr lang="es-ES_tradnl" altLang="en-US" sz="1400" i="1" dirty="0" smtClean="0">
                <a:solidFill>
                  <a:srgbClr val="000000"/>
                </a:solidFill>
              </a:rPr>
              <a:t>Bajo valor esporádico </a:t>
            </a:r>
            <a:endParaRPr lang="es-ES_tradnl" altLang="en-US" sz="1400" i="1" dirty="0">
              <a:solidFill>
                <a:srgbClr val="000000"/>
              </a:solidFill>
            </a:endParaRPr>
          </a:p>
        </p:txBody>
      </p:sp>
      <p:sp>
        <p:nvSpPr>
          <p:cNvPr id="3375110" name="Text Box 11"/>
          <p:cNvSpPr txBox="1">
            <a:spLocks noChangeArrowheads="1"/>
          </p:cNvSpPr>
          <p:nvPr/>
        </p:nvSpPr>
        <p:spPr bwMode="auto">
          <a:xfrm>
            <a:off x="654050" y="1689100"/>
            <a:ext cx="1603375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/>
          <a:lstStyle/>
          <a:p>
            <a:pPr defTabSz="914400" eaLnBrk="0" hangingPunct="0"/>
            <a:r>
              <a:rPr lang="es-ES_tradnl" altLang="en-US" sz="1400" i="1" dirty="0" smtClean="0">
                <a:solidFill>
                  <a:srgbClr val="000000"/>
                </a:solidFill>
              </a:rPr>
              <a:t>Alto valor sustentable</a:t>
            </a:r>
            <a:endParaRPr lang="es-ES_tradnl" altLang="en-US" sz="1400" i="1" dirty="0">
              <a:solidFill>
                <a:srgbClr val="000000"/>
              </a:solidFill>
            </a:endParaRPr>
          </a:p>
        </p:txBody>
      </p:sp>
      <p:sp>
        <p:nvSpPr>
          <p:cNvPr id="3375111" name="Text Box 12"/>
          <p:cNvSpPr txBox="1">
            <a:spLocks noChangeArrowheads="1"/>
          </p:cNvSpPr>
          <p:nvPr/>
        </p:nvSpPr>
        <p:spPr bwMode="auto">
          <a:xfrm>
            <a:off x="3952875" y="5205413"/>
            <a:ext cx="3008313" cy="29686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45720" rIns="45720"/>
          <a:lstStyle/>
          <a:p>
            <a:pPr defTabSz="914400" eaLnBrk="0" hangingPunct="0"/>
            <a:r>
              <a:rPr lang="es-ES_tradnl" altLang="en-US" sz="1600" b="1" dirty="0" smtClean="0">
                <a:solidFill>
                  <a:srgbClr val="000000"/>
                </a:solidFill>
              </a:rPr>
              <a:t>Influencia TIC  en la Misión </a:t>
            </a:r>
            <a:endParaRPr lang="es-ES_tradnl" altLang="en-US" sz="1600" b="1" dirty="0">
              <a:solidFill>
                <a:srgbClr val="000000"/>
              </a:solidFill>
            </a:endParaRPr>
          </a:p>
        </p:txBody>
      </p:sp>
      <p:sp>
        <p:nvSpPr>
          <p:cNvPr id="3375112" name="Text Box 8"/>
          <p:cNvSpPr txBox="1">
            <a:spLocks noChangeArrowheads="1"/>
          </p:cNvSpPr>
          <p:nvPr/>
        </p:nvSpPr>
        <p:spPr bwMode="auto">
          <a:xfrm>
            <a:off x="7912100" y="5141913"/>
            <a:ext cx="1196975" cy="519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/>
          <a:lstStyle/>
          <a:p>
            <a:pPr defTabSz="914400" eaLnBrk="0" hangingPunct="0"/>
            <a:r>
              <a:rPr lang="es-ES_tradnl" altLang="en-US" sz="1400" i="1" dirty="0" smtClean="0">
                <a:solidFill>
                  <a:srgbClr val="000000"/>
                </a:solidFill>
              </a:rPr>
              <a:t>Habilitador de estrategia </a:t>
            </a:r>
            <a:endParaRPr lang="es-ES_tradnl" altLang="en-US" sz="1400" i="1" dirty="0">
              <a:solidFill>
                <a:srgbClr val="000000"/>
              </a:solidFill>
            </a:endParaRPr>
          </a:p>
        </p:txBody>
      </p:sp>
      <p:sp>
        <p:nvSpPr>
          <p:cNvPr id="3375113" name="Line 7"/>
          <p:cNvSpPr>
            <a:spLocks noChangeShapeType="1"/>
          </p:cNvSpPr>
          <p:nvPr/>
        </p:nvSpPr>
        <p:spPr bwMode="auto">
          <a:xfrm>
            <a:off x="1763713" y="5100638"/>
            <a:ext cx="7119937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45720" rIns="45720"/>
          <a:lstStyle/>
          <a:p>
            <a:endParaRPr lang="es-ES_tradnl" dirty="0"/>
          </a:p>
        </p:txBody>
      </p:sp>
      <p:sp>
        <p:nvSpPr>
          <p:cNvPr id="3375114" name="Line 14"/>
          <p:cNvSpPr>
            <a:spLocks noChangeShapeType="1"/>
          </p:cNvSpPr>
          <p:nvPr/>
        </p:nvSpPr>
        <p:spPr bwMode="auto">
          <a:xfrm flipH="1" flipV="1">
            <a:off x="1763713" y="1822450"/>
            <a:ext cx="23812" cy="3262313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none" w="sm" len="sm"/>
            <a:tailEnd type="triangle" w="sm" len="sm"/>
          </a:ln>
        </p:spPr>
        <p:txBody>
          <a:bodyPr/>
          <a:lstStyle/>
          <a:p>
            <a:endParaRPr lang="es-ES_tradnl" dirty="0"/>
          </a:p>
        </p:txBody>
      </p:sp>
      <p:sp>
        <p:nvSpPr>
          <p:cNvPr id="3375115" name="TextBox 6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4475" y="6369050"/>
            <a:ext cx="6399213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136525" indent="-136525" defTabSz="914400">
              <a:lnSpc>
                <a:spcPct val="90000"/>
              </a:lnSpc>
              <a:buClr>
                <a:srgbClr val="9B1717"/>
              </a:buClr>
            </a:pPr>
            <a:r>
              <a:rPr lang="es-ES_tradnl" altLang="en-US" sz="800" dirty="0" err="1" smtClean="0">
                <a:solidFill>
                  <a:srgbClr val="000000"/>
                </a:solidFill>
              </a:rPr>
              <a:t>Source</a:t>
            </a:r>
            <a:r>
              <a:rPr lang="es-ES_tradnl" altLang="en-US" sz="800" dirty="0" smtClean="0">
                <a:solidFill>
                  <a:srgbClr val="000000"/>
                </a:solidFill>
              </a:rPr>
              <a:t>: A.T. Kearney</a:t>
            </a:r>
            <a:endParaRPr lang="es-ES_tradnl" altLang="en-US" sz="800" dirty="0">
              <a:solidFill>
                <a:srgbClr val="000000"/>
              </a:solidFill>
            </a:endParaRPr>
          </a:p>
        </p:txBody>
      </p:sp>
      <p:sp>
        <p:nvSpPr>
          <p:cNvPr id="43" name="Freeform 42"/>
          <p:cNvSpPr/>
          <p:nvPr>
            <p:custDataLst>
              <p:tags r:id="rId2"/>
            </p:custDataLst>
          </p:nvPr>
        </p:nvSpPr>
        <p:spPr bwMode="gray">
          <a:xfrm rot="21195114">
            <a:off x="2444750" y="2633663"/>
            <a:ext cx="1238250" cy="1339850"/>
          </a:xfrm>
          <a:custGeom>
            <a:avLst/>
            <a:gdLst>
              <a:gd name="connsiteX0" fmla="*/ 0 w 1637968"/>
              <a:gd name="connsiteY0" fmla="*/ 667909 h 667909"/>
              <a:gd name="connsiteX1" fmla="*/ 1637968 w 1637968"/>
              <a:gd name="connsiteY1" fmla="*/ 0 h 667909"/>
              <a:gd name="connsiteX0" fmla="*/ 0 w 1637968"/>
              <a:gd name="connsiteY0" fmla="*/ 676035 h 676035"/>
              <a:gd name="connsiteX1" fmla="*/ 1637968 w 1637968"/>
              <a:gd name="connsiteY1" fmla="*/ 8126 h 676035"/>
              <a:gd name="connsiteX0" fmla="*/ 0 w 1637968"/>
              <a:gd name="connsiteY0" fmla="*/ 683968 h 683968"/>
              <a:gd name="connsiteX1" fmla="*/ 1637968 w 1637968"/>
              <a:gd name="connsiteY1" fmla="*/ 16059 h 683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637968" h="683968">
                <a:moveTo>
                  <a:pt x="0" y="683968"/>
                </a:moveTo>
                <a:cubicBezTo>
                  <a:pt x="466476" y="151231"/>
                  <a:pt x="1115833" y="-63454"/>
                  <a:pt x="1637968" y="16059"/>
                </a:cubicBezTo>
              </a:path>
            </a:pathLst>
          </a:custGeom>
          <a:noFill/>
          <a:ln w="76200" cap="flat">
            <a:solidFill>
              <a:schemeClr val="accent1"/>
            </a:solidFill>
            <a:miter lim="800000"/>
            <a:headEnd type="none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s-ES_tradnl" dirty="0">
              <a:solidFill>
                <a:srgbClr val="FFFFFF"/>
              </a:solidFill>
            </a:endParaRPr>
          </a:p>
        </p:txBody>
      </p:sp>
      <p:sp>
        <p:nvSpPr>
          <p:cNvPr id="44" name="Rectangle 43"/>
          <p:cNvSpPr>
            <a:spLocks noChangeArrowheads="1"/>
          </p:cNvSpPr>
          <p:nvPr/>
        </p:nvSpPr>
        <p:spPr bwMode="gray">
          <a:xfrm>
            <a:off x="3327627" y="3173411"/>
            <a:ext cx="2393950" cy="1892300"/>
          </a:xfrm>
          <a:prstGeom prst="rect">
            <a:avLst/>
          </a:prstGeom>
          <a:solidFill>
            <a:schemeClr val="accent2"/>
          </a:solidFill>
          <a:ln w="6350" algn="ctr">
            <a:solidFill>
              <a:schemeClr val="tx1"/>
            </a:solidFill>
            <a:miter lim="800000"/>
            <a:headEnd/>
            <a:tailEnd/>
          </a:ln>
        </p:spPr>
        <p:txBody>
          <a:bodyPr lIns="72009" tIns="72009" rIns="72009" bIns="72009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-10795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Font typeface="Arial"/>
              <a:buChar char="•"/>
              <a:defRPr/>
            </a:pPr>
            <a:r>
              <a:rPr lang="es-ES_tradnl" sz="1050" dirty="0" smtClean="0">
                <a:solidFill>
                  <a:srgbClr val="000000"/>
                </a:solidFill>
              </a:rPr>
              <a:t>Organización IT rentable con procesos alineados y optimizados.</a:t>
            </a:r>
          </a:p>
          <a:p>
            <a:pPr marL="107950" indent="-10795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Font typeface="Arial"/>
              <a:buChar char="•"/>
              <a:defRPr/>
            </a:pPr>
            <a:r>
              <a:rPr lang="es-ES_tradnl" sz="1050" dirty="0" smtClean="0">
                <a:solidFill>
                  <a:srgbClr val="000000"/>
                </a:solidFill>
              </a:rPr>
              <a:t>TIC es considerado "confiable" y cumple con las necesidades de la Misión.</a:t>
            </a:r>
          </a:p>
          <a:p>
            <a:pPr marL="107950" indent="-10795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Font typeface="Arial"/>
              <a:buChar char="•"/>
              <a:defRPr/>
            </a:pPr>
            <a:r>
              <a:rPr lang="es-ES_tradnl" sz="1050" dirty="0" smtClean="0">
                <a:solidFill>
                  <a:srgbClr val="000000"/>
                </a:solidFill>
              </a:rPr>
              <a:t>Buen conocimiento de las necesidades de la Misión y las implicaciones de TIC</a:t>
            </a:r>
          </a:p>
          <a:p>
            <a:pPr marL="107950" indent="-10795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Font typeface="Arial"/>
              <a:buChar char="•"/>
              <a:defRPr/>
            </a:pPr>
            <a:r>
              <a:rPr lang="es-ES_tradnl" sz="1050" dirty="0" smtClean="0">
                <a:solidFill>
                  <a:srgbClr val="000000"/>
                </a:solidFill>
              </a:rPr>
              <a:t>Escalable, sistemas flexibles y arquitectura que puede satisfacer las necesidades actuales, así como adaptarse a las necesidades futuras.</a:t>
            </a:r>
          </a:p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defRPr/>
            </a:pPr>
            <a:endParaRPr lang="es-ES_tradnl" sz="1050" dirty="0" smtClean="0">
              <a:solidFill>
                <a:srgbClr val="000000"/>
              </a:solidFill>
            </a:endParaRPr>
          </a:p>
        </p:txBody>
      </p:sp>
      <p:sp>
        <p:nvSpPr>
          <p:cNvPr id="51" name="AutoShape 28"/>
          <p:cNvSpPr>
            <a:spLocks noChangeArrowheads="1"/>
          </p:cNvSpPr>
          <p:nvPr/>
        </p:nvSpPr>
        <p:spPr bwMode="auto">
          <a:xfrm>
            <a:off x="3327625" y="2718251"/>
            <a:ext cx="2393950" cy="468313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xtLst/>
        </p:spPr>
        <p:txBody>
          <a:bodyPr wrap="none" lIns="90488" tIns="44450" rIns="90488" bIns="44450" anchor="ctr" anchorCtr="1"/>
          <a:lstStyle/>
          <a:p>
            <a:pPr algn="ctr" defTabSz="914400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400" b="1" dirty="0" smtClean="0">
                <a:solidFill>
                  <a:srgbClr val="FFFFFF"/>
                </a:solidFill>
                <a:latin typeface="Arial"/>
                <a:cs typeface="+mn-cs"/>
              </a:rPr>
              <a:t>“Fijar los elementos básicos”</a:t>
            </a:r>
            <a:endParaRPr lang="es-ES_tradnl" sz="1400" b="1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53" name="Rectangle 52"/>
          <p:cNvSpPr>
            <a:spLocks noChangeArrowheads="1"/>
          </p:cNvSpPr>
          <p:nvPr/>
        </p:nvSpPr>
        <p:spPr bwMode="gray">
          <a:xfrm>
            <a:off x="6065838" y="2636838"/>
            <a:ext cx="2393950" cy="2406650"/>
          </a:xfrm>
          <a:prstGeom prst="rect">
            <a:avLst/>
          </a:prstGeom>
          <a:solidFill>
            <a:schemeClr val="accent2"/>
          </a:solidFill>
          <a:ln w="6350" algn="ctr">
            <a:solidFill>
              <a:schemeClr val="tx1"/>
            </a:solidFill>
            <a:miter lim="800000"/>
            <a:headEnd/>
            <a:tailEnd/>
          </a:ln>
        </p:spPr>
        <p:txBody>
          <a:bodyPr lIns="72009" tIns="72009" rIns="72009" bIns="72009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950" indent="-10795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Font typeface="Arial"/>
              <a:buChar char="•"/>
              <a:defRPr/>
            </a:pPr>
            <a:r>
              <a:rPr lang="es-ES_tradnl" sz="1050" dirty="0" smtClean="0">
                <a:solidFill>
                  <a:srgbClr val="000000"/>
                </a:solidFill>
              </a:rPr>
              <a:t>TIC es un elemento de valor y elemento indispensable en la consecución de los objetivos de una actividad.</a:t>
            </a:r>
          </a:p>
          <a:p>
            <a:pPr marL="107950" indent="-10795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Font typeface="Arial"/>
              <a:buChar char="•"/>
              <a:defRPr/>
            </a:pPr>
            <a:r>
              <a:rPr lang="es-ES_tradnl" sz="1050" dirty="0" smtClean="0">
                <a:solidFill>
                  <a:srgbClr val="000000"/>
                </a:solidFill>
              </a:rPr>
              <a:t>Papel activo y participante  en el desarrollo de la estrategia de la Misión.</a:t>
            </a:r>
          </a:p>
          <a:p>
            <a:pPr marL="107950" indent="-10795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Font typeface="Arial"/>
              <a:buChar char="•"/>
              <a:defRPr/>
            </a:pPr>
            <a:r>
              <a:rPr lang="es-ES_tradnl" sz="1050" dirty="0" smtClean="0">
                <a:solidFill>
                  <a:srgbClr val="000000"/>
                </a:solidFill>
              </a:rPr>
              <a:t>Compartir los riesgos de las actividades con las unidades administrativas.</a:t>
            </a:r>
          </a:p>
          <a:p>
            <a:pPr marL="107950" indent="-10795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Font typeface="Arial"/>
              <a:buChar char="•"/>
              <a:defRPr/>
            </a:pPr>
            <a:r>
              <a:rPr lang="es-ES_tradnl" sz="1050" dirty="0" smtClean="0">
                <a:solidFill>
                  <a:srgbClr val="000000"/>
                </a:solidFill>
              </a:rPr>
              <a:t>Responsabilidades en los ingresos y costos</a:t>
            </a:r>
          </a:p>
          <a:p>
            <a:pPr marL="107950" indent="-10795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Font typeface="Arial"/>
              <a:buChar char="•"/>
              <a:defRPr/>
            </a:pPr>
            <a:r>
              <a:rPr lang="es-ES_tradnl" sz="1050" dirty="0" smtClean="0">
                <a:solidFill>
                  <a:srgbClr val="000000"/>
                </a:solidFill>
              </a:rPr>
              <a:t>Contribución proactiva en el mejoramiento de la Misión.</a:t>
            </a:r>
          </a:p>
          <a:p>
            <a:pPr marL="107950" indent="-10795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B1717"/>
              </a:buClr>
              <a:buFont typeface="Arial"/>
              <a:buChar char="•"/>
              <a:defRPr/>
            </a:pPr>
            <a:r>
              <a:rPr lang="es-ES_tradnl" sz="1050" dirty="0" smtClean="0">
                <a:solidFill>
                  <a:srgbClr val="000000"/>
                </a:solidFill>
              </a:rPr>
              <a:t>Respuesta a las necesidades de la Misión</a:t>
            </a:r>
            <a:endParaRPr lang="es-ES_tradnl" sz="1050" dirty="0">
              <a:solidFill>
                <a:srgbClr val="000000"/>
              </a:solidFill>
            </a:endParaRPr>
          </a:p>
        </p:txBody>
      </p:sp>
      <p:sp>
        <p:nvSpPr>
          <p:cNvPr id="60" name="AutoShape 25"/>
          <p:cNvSpPr>
            <a:spLocks noChangeArrowheads="1"/>
          </p:cNvSpPr>
          <p:nvPr/>
        </p:nvSpPr>
        <p:spPr bwMode="auto">
          <a:xfrm>
            <a:off x="6065838" y="2205038"/>
            <a:ext cx="2393950" cy="466725"/>
          </a:xfrm>
          <a:prstGeom prst="rect">
            <a:avLst/>
          </a:prstGeom>
          <a:solidFill>
            <a:schemeClr val="bg1">
              <a:lumMod val="50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xtLst/>
        </p:spPr>
        <p:txBody>
          <a:bodyPr wrap="none" lIns="90488" tIns="44450" rIns="90488" bIns="44450" anchor="ctr" anchorCtr="1"/>
          <a:lstStyle/>
          <a:p>
            <a:pPr algn="ctr" defTabSz="914400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400" b="1" dirty="0" smtClean="0">
                <a:solidFill>
                  <a:srgbClr val="FFFFFF"/>
                </a:solidFill>
                <a:latin typeface="Arial"/>
                <a:cs typeface="+mn-cs"/>
              </a:rPr>
              <a:t>“TIC apoyando la Misión”</a:t>
            </a:r>
            <a:endParaRPr lang="es-ES_tradnl" sz="1400" b="1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3375121" name="Freeform 44"/>
          <p:cNvSpPr>
            <a:spLocks/>
          </p:cNvSpPr>
          <p:nvPr/>
        </p:nvSpPr>
        <p:spPr bwMode="gray">
          <a:xfrm>
            <a:off x="3971925" y="2133600"/>
            <a:ext cx="887413" cy="561975"/>
          </a:xfrm>
          <a:custGeom>
            <a:avLst/>
            <a:gdLst>
              <a:gd name="T0" fmla="*/ 2147483647 w 531"/>
              <a:gd name="T1" fmla="*/ 2147483647 h 472"/>
              <a:gd name="T2" fmla="*/ 2147483647 w 531"/>
              <a:gd name="T3" fmla="*/ 0 h 472"/>
              <a:gd name="T4" fmla="*/ 2147483647 w 531"/>
              <a:gd name="T5" fmla="*/ 2147483647 h 472"/>
              <a:gd name="T6" fmla="*/ 2147483647 w 531"/>
              <a:gd name="T7" fmla="*/ 2147483647 h 472"/>
              <a:gd name="T8" fmla="*/ 2147483647 w 531"/>
              <a:gd name="T9" fmla="*/ 2147483647 h 472"/>
              <a:gd name="T10" fmla="*/ 2147483647 w 531"/>
              <a:gd name="T11" fmla="*/ 2147483647 h 472"/>
              <a:gd name="T12" fmla="*/ 2147483647 w 531"/>
              <a:gd name="T13" fmla="*/ 2147483647 h 472"/>
              <a:gd name="T14" fmla="*/ 2147483647 w 531"/>
              <a:gd name="T15" fmla="*/ 2147483647 h 472"/>
              <a:gd name="T16" fmla="*/ 2147483647 w 531"/>
              <a:gd name="T17" fmla="*/ 2147483647 h 472"/>
              <a:gd name="T18" fmla="*/ 2147483647 w 531"/>
              <a:gd name="T19" fmla="*/ 2147483647 h 472"/>
              <a:gd name="T20" fmla="*/ 2147483647 w 531"/>
              <a:gd name="T21" fmla="*/ 2147483647 h 472"/>
              <a:gd name="T22" fmla="*/ 2147483647 w 531"/>
              <a:gd name="T23" fmla="*/ 2147483647 h 472"/>
              <a:gd name="T24" fmla="*/ 2147483647 w 531"/>
              <a:gd name="T25" fmla="*/ 2147483647 h 472"/>
              <a:gd name="T26" fmla="*/ 2147483647 w 531"/>
              <a:gd name="T27" fmla="*/ 2147483647 h 472"/>
              <a:gd name="T28" fmla="*/ 2147483647 w 531"/>
              <a:gd name="T29" fmla="*/ 2147483647 h 472"/>
              <a:gd name="T30" fmla="*/ 2147483647 w 531"/>
              <a:gd name="T31" fmla="*/ 2147483647 h 472"/>
              <a:gd name="T32" fmla="*/ 2147483647 w 531"/>
              <a:gd name="T33" fmla="*/ 2147483647 h 472"/>
              <a:gd name="T34" fmla="*/ 2147483647 w 531"/>
              <a:gd name="T35" fmla="*/ 2147483647 h 472"/>
              <a:gd name="T36" fmla="*/ 2147483647 w 531"/>
              <a:gd name="T37" fmla="*/ 2147483647 h 472"/>
              <a:gd name="T38" fmla="*/ 2147483647 w 531"/>
              <a:gd name="T39" fmla="*/ 2147483647 h 472"/>
              <a:gd name="T40" fmla="*/ 2147483647 w 531"/>
              <a:gd name="T41" fmla="*/ 2147483647 h 472"/>
              <a:gd name="T42" fmla="*/ 0 w 531"/>
              <a:gd name="T43" fmla="*/ 2147483647 h 472"/>
              <a:gd name="T44" fmla="*/ 2147483647 w 531"/>
              <a:gd name="T45" fmla="*/ 2147483647 h 472"/>
              <a:gd name="T46" fmla="*/ 2147483647 w 531"/>
              <a:gd name="T47" fmla="*/ 2147483647 h 472"/>
              <a:gd name="T48" fmla="*/ 2147483647 w 531"/>
              <a:gd name="T49" fmla="*/ 2147483647 h 472"/>
              <a:gd name="T50" fmla="*/ 2147483647 w 531"/>
              <a:gd name="T51" fmla="*/ 2147483647 h 472"/>
              <a:gd name="T52" fmla="*/ 2147483647 w 531"/>
              <a:gd name="T53" fmla="*/ 2147483647 h 472"/>
              <a:gd name="T54" fmla="*/ 2147483647 w 531"/>
              <a:gd name="T55" fmla="*/ 2147483647 h 472"/>
              <a:gd name="T56" fmla="*/ 2147483647 w 531"/>
              <a:gd name="T57" fmla="*/ 2147483647 h 472"/>
              <a:gd name="T58" fmla="*/ 2147483647 w 531"/>
              <a:gd name="T59" fmla="*/ 2147483647 h 472"/>
              <a:gd name="T60" fmla="*/ 2147483647 w 531"/>
              <a:gd name="T61" fmla="*/ 2147483647 h 47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531"/>
              <a:gd name="T94" fmla="*/ 0 h 472"/>
              <a:gd name="T95" fmla="*/ 531 w 531"/>
              <a:gd name="T96" fmla="*/ 472 h 472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531" h="472">
                <a:moveTo>
                  <a:pt x="241" y="122"/>
                </a:moveTo>
                <a:lnTo>
                  <a:pt x="267" y="0"/>
                </a:lnTo>
                <a:lnTo>
                  <a:pt x="300" y="122"/>
                </a:lnTo>
                <a:lnTo>
                  <a:pt x="384" y="46"/>
                </a:lnTo>
                <a:lnTo>
                  <a:pt x="377" y="151"/>
                </a:lnTo>
                <a:lnTo>
                  <a:pt x="449" y="144"/>
                </a:lnTo>
                <a:lnTo>
                  <a:pt x="420" y="201"/>
                </a:lnTo>
                <a:lnTo>
                  <a:pt x="530" y="230"/>
                </a:lnTo>
                <a:lnTo>
                  <a:pt x="425" y="266"/>
                </a:lnTo>
                <a:lnTo>
                  <a:pt x="488" y="345"/>
                </a:lnTo>
                <a:lnTo>
                  <a:pt x="401" y="309"/>
                </a:lnTo>
                <a:lnTo>
                  <a:pt x="431" y="417"/>
                </a:lnTo>
                <a:lnTo>
                  <a:pt x="330" y="349"/>
                </a:lnTo>
                <a:lnTo>
                  <a:pt x="309" y="428"/>
                </a:lnTo>
                <a:lnTo>
                  <a:pt x="265" y="360"/>
                </a:lnTo>
                <a:lnTo>
                  <a:pt x="206" y="471"/>
                </a:lnTo>
                <a:lnTo>
                  <a:pt x="210" y="353"/>
                </a:lnTo>
                <a:lnTo>
                  <a:pt x="142" y="395"/>
                </a:lnTo>
                <a:lnTo>
                  <a:pt x="146" y="320"/>
                </a:lnTo>
                <a:lnTo>
                  <a:pt x="85" y="334"/>
                </a:lnTo>
                <a:lnTo>
                  <a:pt x="113" y="284"/>
                </a:lnTo>
                <a:lnTo>
                  <a:pt x="0" y="248"/>
                </a:lnTo>
                <a:lnTo>
                  <a:pt x="107" y="216"/>
                </a:lnTo>
                <a:lnTo>
                  <a:pt x="81" y="140"/>
                </a:lnTo>
                <a:lnTo>
                  <a:pt x="145" y="162"/>
                </a:lnTo>
                <a:lnTo>
                  <a:pt x="122" y="61"/>
                </a:lnTo>
                <a:lnTo>
                  <a:pt x="194" y="133"/>
                </a:lnTo>
                <a:lnTo>
                  <a:pt x="203" y="79"/>
                </a:lnTo>
                <a:lnTo>
                  <a:pt x="221" y="100"/>
                </a:lnTo>
                <a:lnTo>
                  <a:pt x="234" y="115"/>
                </a:lnTo>
                <a:lnTo>
                  <a:pt x="241" y="122"/>
                </a:lnTo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s-ES_tradnl" dirty="0"/>
          </a:p>
        </p:txBody>
      </p:sp>
      <p:sp>
        <p:nvSpPr>
          <p:cNvPr id="3375122" name="Line 31"/>
          <p:cNvSpPr>
            <a:spLocks noChangeShapeType="1"/>
          </p:cNvSpPr>
          <p:nvPr>
            <p:custDataLst>
              <p:tags r:id="rId3"/>
            </p:custDataLst>
          </p:nvPr>
        </p:nvSpPr>
        <p:spPr bwMode="gray">
          <a:xfrm flipV="1">
            <a:off x="4972050" y="1943100"/>
            <a:ext cx="1706563" cy="349250"/>
          </a:xfrm>
          <a:prstGeom prst="line">
            <a:avLst/>
          </a:prstGeom>
          <a:noFill/>
          <a:ln w="76200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es-ES_tradnl" dirty="0"/>
          </a:p>
        </p:txBody>
      </p:sp>
      <p:sp>
        <p:nvSpPr>
          <p:cNvPr id="3375123" name="Freeform 44"/>
          <p:cNvSpPr>
            <a:spLocks/>
          </p:cNvSpPr>
          <p:nvPr/>
        </p:nvSpPr>
        <p:spPr bwMode="gray">
          <a:xfrm>
            <a:off x="6961188" y="1547813"/>
            <a:ext cx="887412" cy="563562"/>
          </a:xfrm>
          <a:custGeom>
            <a:avLst/>
            <a:gdLst>
              <a:gd name="T0" fmla="*/ 2147483647 w 531"/>
              <a:gd name="T1" fmla="*/ 2147483647 h 472"/>
              <a:gd name="T2" fmla="*/ 2147483647 w 531"/>
              <a:gd name="T3" fmla="*/ 0 h 472"/>
              <a:gd name="T4" fmla="*/ 2147483647 w 531"/>
              <a:gd name="T5" fmla="*/ 2147483647 h 472"/>
              <a:gd name="T6" fmla="*/ 2147483647 w 531"/>
              <a:gd name="T7" fmla="*/ 2147483647 h 472"/>
              <a:gd name="T8" fmla="*/ 2147483647 w 531"/>
              <a:gd name="T9" fmla="*/ 2147483647 h 472"/>
              <a:gd name="T10" fmla="*/ 2147483647 w 531"/>
              <a:gd name="T11" fmla="*/ 2147483647 h 472"/>
              <a:gd name="T12" fmla="*/ 2147483647 w 531"/>
              <a:gd name="T13" fmla="*/ 2147483647 h 472"/>
              <a:gd name="T14" fmla="*/ 2147483647 w 531"/>
              <a:gd name="T15" fmla="*/ 2147483647 h 472"/>
              <a:gd name="T16" fmla="*/ 2147483647 w 531"/>
              <a:gd name="T17" fmla="*/ 2147483647 h 472"/>
              <a:gd name="T18" fmla="*/ 2147483647 w 531"/>
              <a:gd name="T19" fmla="*/ 2147483647 h 472"/>
              <a:gd name="T20" fmla="*/ 2147483647 w 531"/>
              <a:gd name="T21" fmla="*/ 2147483647 h 472"/>
              <a:gd name="T22" fmla="*/ 2147483647 w 531"/>
              <a:gd name="T23" fmla="*/ 2147483647 h 472"/>
              <a:gd name="T24" fmla="*/ 2147483647 w 531"/>
              <a:gd name="T25" fmla="*/ 2147483647 h 472"/>
              <a:gd name="T26" fmla="*/ 2147483647 w 531"/>
              <a:gd name="T27" fmla="*/ 2147483647 h 472"/>
              <a:gd name="T28" fmla="*/ 2147483647 w 531"/>
              <a:gd name="T29" fmla="*/ 2147483647 h 472"/>
              <a:gd name="T30" fmla="*/ 2147483647 w 531"/>
              <a:gd name="T31" fmla="*/ 2147483647 h 472"/>
              <a:gd name="T32" fmla="*/ 2147483647 w 531"/>
              <a:gd name="T33" fmla="*/ 2147483647 h 472"/>
              <a:gd name="T34" fmla="*/ 2147483647 w 531"/>
              <a:gd name="T35" fmla="*/ 2147483647 h 472"/>
              <a:gd name="T36" fmla="*/ 2147483647 w 531"/>
              <a:gd name="T37" fmla="*/ 2147483647 h 472"/>
              <a:gd name="T38" fmla="*/ 2147483647 w 531"/>
              <a:gd name="T39" fmla="*/ 2147483647 h 472"/>
              <a:gd name="T40" fmla="*/ 2147483647 w 531"/>
              <a:gd name="T41" fmla="*/ 2147483647 h 472"/>
              <a:gd name="T42" fmla="*/ 0 w 531"/>
              <a:gd name="T43" fmla="*/ 2147483647 h 472"/>
              <a:gd name="T44" fmla="*/ 2147483647 w 531"/>
              <a:gd name="T45" fmla="*/ 2147483647 h 472"/>
              <a:gd name="T46" fmla="*/ 2147483647 w 531"/>
              <a:gd name="T47" fmla="*/ 2147483647 h 472"/>
              <a:gd name="T48" fmla="*/ 2147483647 w 531"/>
              <a:gd name="T49" fmla="*/ 2147483647 h 472"/>
              <a:gd name="T50" fmla="*/ 2147483647 w 531"/>
              <a:gd name="T51" fmla="*/ 2147483647 h 472"/>
              <a:gd name="T52" fmla="*/ 2147483647 w 531"/>
              <a:gd name="T53" fmla="*/ 2147483647 h 472"/>
              <a:gd name="T54" fmla="*/ 2147483647 w 531"/>
              <a:gd name="T55" fmla="*/ 2147483647 h 472"/>
              <a:gd name="T56" fmla="*/ 2147483647 w 531"/>
              <a:gd name="T57" fmla="*/ 2147483647 h 472"/>
              <a:gd name="T58" fmla="*/ 2147483647 w 531"/>
              <a:gd name="T59" fmla="*/ 2147483647 h 472"/>
              <a:gd name="T60" fmla="*/ 2147483647 w 531"/>
              <a:gd name="T61" fmla="*/ 2147483647 h 47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531"/>
              <a:gd name="T94" fmla="*/ 0 h 472"/>
              <a:gd name="T95" fmla="*/ 531 w 531"/>
              <a:gd name="T96" fmla="*/ 472 h 472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531" h="472">
                <a:moveTo>
                  <a:pt x="241" y="122"/>
                </a:moveTo>
                <a:lnTo>
                  <a:pt x="267" y="0"/>
                </a:lnTo>
                <a:lnTo>
                  <a:pt x="300" y="122"/>
                </a:lnTo>
                <a:lnTo>
                  <a:pt x="384" y="46"/>
                </a:lnTo>
                <a:lnTo>
                  <a:pt x="377" y="151"/>
                </a:lnTo>
                <a:lnTo>
                  <a:pt x="449" y="144"/>
                </a:lnTo>
                <a:lnTo>
                  <a:pt x="420" y="201"/>
                </a:lnTo>
                <a:lnTo>
                  <a:pt x="530" y="230"/>
                </a:lnTo>
                <a:lnTo>
                  <a:pt x="425" y="266"/>
                </a:lnTo>
                <a:lnTo>
                  <a:pt x="488" y="345"/>
                </a:lnTo>
                <a:lnTo>
                  <a:pt x="401" y="309"/>
                </a:lnTo>
                <a:lnTo>
                  <a:pt x="431" y="417"/>
                </a:lnTo>
                <a:lnTo>
                  <a:pt x="330" y="349"/>
                </a:lnTo>
                <a:lnTo>
                  <a:pt x="309" y="428"/>
                </a:lnTo>
                <a:lnTo>
                  <a:pt x="265" y="360"/>
                </a:lnTo>
                <a:lnTo>
                  <a:pt x="206" y="471"/>
                </a:lnTo>
                <a:lnTo>
                  <a:pt x="210" y="353"/>
                </a:lnTo>
                <a:lnTo>
                  <a:pt x="142" y="395"/>
                </a:lnTo>
                <a:lnTo>
                  <a:pt x="146" y="320"/>
                </a:lnTo>
                <a:lnTo>
                  <a:pt x="85" y="334"/>
                </a:lnTo>
                <a:lnTo>
                  <a:pt x="113" y="284"/>
                </a:lnTo>
                <a:lnTo>
                  <a:pt x="0" y="248"/>
                </a:lnTo>
                <a:lnTo>
                  <a:pt x="107" y="216"/>
                </a:lnTo>
                <a:lnTo>
                  <a:pt x="81" y="140"/>
                </a:lnTo>
                <a:lnTo>
                  <a:pt x="145" y="162"/>
                </a:lnTo>
                <a:lnTo>
                  <a:pt x="122" y="61"/>
                </a:lnTo>
                <a:lnTo>
                  <a:pt x="194" y="133"/>
                </a:lnTo>
                <a:lnTo>
                  <a:pt x="203" y="79"/>
                </a:lnTo>
                <a:lnTo>
                  <a:pt x="221" y="100"/>
                </a:lnTo>
                <a:lnTo>
                  <a:pt x="234" y="115"/>
                </a:lnTo>
                <a:lnTo>
                  <a:pt x="241" y="122"/>
                </a:lnTo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s-ES_tradnl" dirty="0"/>
          </a:p>
        </p:txBody>
      </p:sp>
      <p:sp>
        <p:nvSpPr>
          <p:cNvPr id="3375124" name="TextBox 26"/>
          <p:cNvSpPr txBox="1">
            <a:spLocks noChangeArrowheads="1"/>
          </p:cNvSpPr>
          <p:nvPr/>
        </p:nvSpPr>
        <p:spPr bwMode="auto">
          <a:xfrm>
            <a:off x="7907215" y="1265238"/>
            <a:ext cx="984373" cy="302968"/>
          </a:xfrm>
          <a:prstGeom prst="rect">
            <a:avLst/>
          </a:prstGeom>
          <a:solidFill>
            <a:schemeClr val="accent2"/>
          </a:solidFill>
          <a:ln w="6350">
            <a:noFill/>
            <a:miter lim="800000"/>
            <a:headEnd/>
            <a:tailEnd/>
          </a:ln>
        </p:spPr>
        <p:txBody>
          <a:bodyPr wrap="none" lIns="108014" tIns="54007" rIns="108014" bIns="54007">
            <a:spAutoFit/>
          </a:bodyPr>
          <a:lstStyle/>
          <a:p>
            <a:pPr algn="r" defTabSz="914400">
              <a:lnSpc>
                <a:spcPct val="90000"/>
              </a:lnSpc>
              <a:buClr>
                <a:srgbClr val="9B1717"/>
              </a:buClr>
            </a:pPr>
            <a:r>
              <a:rPr lang="es-ES_tradnl" sz="1400" dirty="0" smtClean="0">
                <a:solidFill>
                  <a:srgbClr val="858274"/>
                </a:solidFill>
              </a:rPr>
              <a:t>Ilustrativa</a:t>
            </a:r>
            <a:endParaRPr lang="es-ES_tradnl" sz="1400" dirty="0">
              <a:solidFill>
                <a:srgbClr val="858274"/>
              </a:solidFill>
            </a:endParaRPr>
          </a:p>
        </p:txBody>
      </p:sp>
      <p:sp>
        <p:nvSpPr>
          <p:cNvPr id="2" name="Oval 1"/>
          <p:cNvSpPr/>
          <p:nvPr/>
        </p:nvSpPr>
        <p:spPr>
          <a:xfrm>
            <a:off x="1925638" y="4149725"/>
            <a:ext cx="954087" cy="781050"/>
          </a:xfrm>
          <a:prstGeom prst="ellipse">
            <a:avLst/>
          </a:prstGeom>
          <a:solidFill>
            <a:schemeClr val="bg2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r>
              <a:rPr lang="es-ES_tradnl" sz="1400" b="1" dirty="0" smtClean="0">
                <a:solidFill>
                  <a:srgbClr val="FFFFFF"/>
                </a:solidFill>
                <a:cs typeface="Arial" pitchFamily="34" charset="0"/>
              </a:rPr>
              <a:t>NOW</a:t>
            </a:r>
            <a:endParaRPr lang="es-ES_tradnl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375126" name="Rectangle 17"/>
          <p:cNvSpPr>
            <a:spLocks noChangeArrowheads="1"/>
          </p:cNvSpPr>
          <p:nvPr/>
        </p:nvSpPr>
        <p:spPr bwMode="auto">
          <a:xfrm>
            <a:off x="5562600" y="127000"/>
            <a:ext cx="3340100" cy="1841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4400"/>
            <a:r>
              <a:rPr lang="es-ES_tradnl" sz="1200" dirty="0" smtClean="0">
                <a:solidFill>
                  <a:srgbClr val="000000"/>
                </a:solidFill>
              </a:rPr>
              <a:t>Estamos utilizando plenamente nuestros bienes?</a:t>
            </a:r>
            <a:endParaRPr lang="es-ES_tradnl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6129" name="Text Placeholder 8"/>
          <p:cNvSpPr>
            <a:spLocks noGrp="1"/>
          </p:cNvSpPr>
          <p:nvPr>
            <p:ph type="body" sz="quarter" idx="10"/>
            <p:custDataLst>
              <p:tags r:id="rId1"/>
            </p:custDataLst>
          </p:nvPr>
        </p:nvSpPr>
        <p:spPr>
          <a:xfrm>
            <a:off x="244475" y="2157413"/>
            <a:ext cx="8647113" cy="3473450"/>
          </a:xfrm>
        </p:spPr>
        <p:txBody>
          <a:bodyPr/>
          <a:lstStyle/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Descripción del proyecto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Principios y directrices clave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s person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 Misión – estructur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Estatus canónico y civil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 Misión – procesos y herramient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b="1" dirty="0" smtClean="0">
                <a:latin typeface="Arial" charset="0"/>
                <a:cs typeface="Arial" charset="0"/>
              </a:rPr>
              <a:t>Modelo de financiación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Hoja de Ruta</a:t>
            </a:r>
          </a:p>
        </p:txBody>
      </p:sp>
      <p:sp>
        <p:nvSpPr>
          <p:cNvPr id="3376130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44475" y="1627188"/>
            <a:ext cx="8647113" cy="338137"/>
          </a:xfrm>
        </p:spPr>
        <p:txBody>
          <a:bodyPr/>
          <a:lstStyle/>
          <a:p>
            <a:pPr eaLnBrk="1" hangingPunct="1"/>
            <a:r>
              <a:rPr lang="es-ES_tradnl" smtClean="0">
                <a:latin typeface="Arial" charset="0"/>
                <a:cs typeface="Arial" charset="0"/>
              </a:rPr>
              <a:t>Índice</a:t>
            </a:r>
            <a:endParaRPr lang="en-US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8177" name="Title 1"/>
          <p:cNvSpPr>
            <a:spLocks noGrp="1"/>
          </p:cNvSpPr>
          <p:nvPr>
            <p:ph type="title"/>
          </p:nvPr>
        </p:nvSpPr>
        <p:spPr>
          <a:xfrm>
            <a:off x="244475" y="692150"/>
            <a:ext cx="8640763" cy="997196"/>
          </a:xfrm>
        </p:spPr>
        <p:txBody>
          <a:bodyPr/>
          <a:lstStyle/>
          <a:p>
            <a:pPr eaLnBrk="1" hangingPunct="1"/>
            <a:r>
              <a:rPr lang="es-ES" dirty="0">
                <a:latin typeface="Arial" charset="0"/>
                <a:cs typeface="Arial" charset="0"/>
              </a:rPr>
              <a:t>El modelo de financiación actual tiene la lógica de la sostenibilidad local mezclado con un enfoque solidario proactivo vs </a:t>
            </a:r>
            <a:r>
              <a:rPr lang="es-ES" dirty="0" smtClean="0">
                <a:latin typeface="Arial" charset="0"/>
                <a:cs typeface="Arial" charset="0"/>
              </a:rPr>
              <a:t>centralizado …</a:t>
            </a:r>
          </a:p>
        </p:txBody>
      </p:sp>
      <p:sp>
        <p:nvSpPr>
          <p:cNvPr id="3378178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4475" y="2065118"/>
            <a:ext cx="1489075" cy="1387756"/>
          </a:xfrm>
          <a:prstGeom prst="homePlate">
            <a:avLst>
              <a:gd name="adj" fmla="val 19177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 dirty="0">
                <a:solidFill>
                  <a:srgbClr val="FFFFFF"/>
                </a:solidFill>
              </a:rPr>
              <a:t>Provincias, Regiones y </a:t>
            </a:r>
            <a:r>
              <a:rPr lang="es-ES" sz="1600" b="1" dirty="0" smtClean="0">
                <a:solidFill>
                  <a:srgbClr val="FFFFFF"/>
                </a:solidFill>
              </a:rPr>
              <a:t>AG</a:t>
            </a:r>
            <a:endParaRPr lang="es-ES" sz="1600" b="1" dirty="0">
              <a:solidFill>
                <a:srgbClr val="FFFFFF"/>
              </a:solidFill>
            </a:endParaRPr>
          </a:p>
        </p:txBody>
      </p:sp>
      <p:sp>
        <p:nvSpPr>
          <p:cNvPr id="3378179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831975" y="2065118"/>
            <a:ext cx="6864350" cy="1399886"/>
          </a:xfrm>
          <a:prstGeom prst="rect">
            <a:avLst/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28588" indent="-128588" defTabSz="914400" eaLnBrk="0" hangingPunct="0">
              <a:spcBef>
                <a:spcPts val="0"/>
              </a:spcBef>
              <a:buClr>
                <a:srgbClr val="9B1717"/>
              </a:buClr>
              <a:buFontTx/>
              <a:buChar char="•"/>
            </a:pPr>
            <a:r>
              <a:rPr lang="es-ES" sz="1300" dirty="0">
                <a:solidFill>
                  <a:srgbClr val="000000"/>
                </a:solidFill>
              </a:rPr>
              <a:t>Se supone que las </a:t>
            </a:r>
            <a:r>
              <a:rPr lang="es-ES" sz="1300" b="1" dirty="0">
                <a:solidFill>
                  <a:srgbClr val="000000"/>
                </a:solidFill>
              </a:rPr>
              <a:t>Provincias </a:t>
            </a:r>
            <a:r>
              <a:rPr lang="es-ES" sz="1300" dirty="0">
                <a:solidFill>
                  <a:srgbClr val="000000"/>
                </a:solidFill>
              </a:rPr>
              <a:t>deben ser auto sostenibles.</a:t>
            </a:r>
          </a:p>
          <a:p>
            <a:pPr marL="128588" indent="-128588" defTabSz="914400" eaLnBrk="0" hangingPunct="0">
              <a:spcBef>
                <a:spcPts val="0"/>
              </a:spcBef>
              <a:buClr>
                <a:srgbClr val="9B1717"/>
              </a:buClr>
              <a:buFontTx/>
              <a:buChar char="•"/>
            </a:pPr>
            <a:r>
              <a:rPr lang="es-ES" sz="1300" dirty="0">
                <a:solidFill>
                  <a:srgbClr val="000000"/>
                </a:solidFill>
              </a:rPr>
              <a:t>Las Provincias determinan entre ellas los costos de la sostenibilidad de las estructuras regionales.</a:t>
            </a:r>
          </a:p>
          <a:p>
            <a:pPr marL="128588" indent="-128588" defTabSz="914400" eaLnBrk="0" hangingPunct="0">
              <a:spcBef>
                <a:spcPts val="0"/>
              </a:spcBef>
              <a:buClr>
                <a:srgbClr val="9B1717"/>
              </a:buClr>
              <a:buFontTx/>
              <a:buChar char="•"/>
            </a:pPr>
            <a:r>
              <a:rPr lang="es-ES" sz="1300" dirty="0">
                <a:solidFill>
                  <a:srgbClr val="000000"/>
                </a:solidFill>
              </a:rPr>
              <a:t>La</a:t>
            </a:r>
            <a:r>
              <a:rPr lang="es-ES" sz="1300" b="1" dirty="0">
                <a:solidFill>
                  <a:srgbClr val="000000"/>
                </a:solidFill>
              </a:rPr>
              <a:t> Administración General </a:t>
            </a:r>
            <a:r>
              <a:rPr lang="es-ES" sz="1300" dirty="0" smtClean="0">
                <a:solidFill>
                  <a:srgbClr val="000000"/>
                </a:solidFill>
              </a:rPr>
              <a:t>auto determina </a:t>
            </a:r>
            <a:r>
              <a:rPr lang="es-ES" sz="1300" dirty="0">
                <a:solidFill>
                  <a:srgbClr val="000000"/>
                </a:solidFill>
              </a:rPr>
              <a:t>su necesidad de presupuesto y lo asigna a las </a:t>
            </a:r>
            <a:r>
              <a:rPr lang="es-ES" sz="1300" dirty="0" smtClean="0">
                <a:solidFill>
                  <a:srgbClr val="000000"/>
                </a:solidFill>
              </a:rPr>
              <a:t>Provincias de arriba a abajo.</a:t>
            </a:r>
            <a:endParaRPr lang="es-ES" sz="1300" dirty="0">
              <a:solidFill>
                <a:srgbClr val="000000"/>
              </a:solidFill>
            </a:endParaRPr>
          </a:p>
          <a:p>
            <a:pPr marL="128588" indent="-128588" defTabSz="914400" eaLnBrk="0" hangingPunct="0">
              <a:spcBef>
                <a:spcPts val="0"/>
              </a:spcBef>
              <a:buClr>
                <a:srgbClr val="9B1717"/>
              </a:buClr>
              <a:buFontTx/>
              <a:buChar char="•"/>
            </a:pPr>
            <a:r>
              <a:rPr lang="es-ES" sz="1300" dirty="0">
                <a:solidFill>
                  <a:srgbClr val="000000"/>
                </a:solidFill>
              </a:rPr>
              <a:t>La</a:t>
            </a:r>
            <a:r>
              <a:rPr lang="es-ES" sz="1300" b="1" dirty="0">
                <a:solidFill>
                  <a:srgbClr val="000000"/>
                </a:solidFill>
              </a:rPr>
              <a:t> solidaridad </a:t>
            </a:r>
            <a:r>
              <a:rPr lang="es-ES" sz="1300" dirty="0">
                <a:solidFill>
                  <a:srgbClr val="000000"/>
                </a:solidFill>
              </a:rPr>
              <a:t>se realiza ya sea por la contribución</a:t>
            </a:r>
            <a:r>
              <a:rPr lang="es-ES_tradnl" sz="1300" dirty="0">
                <a:solidFill>
                  <a:srgbClr val="000000"/>
                </a:solidFill>
              </a:rPr>
              <a:t> anual a la Administración General </a:t>
            </a:r>
            <a:r>
              <a:rPr lang="es-ES" sz="1300" dirty="0">
                <a:solidFill>
                  <a:srgbClr val="000000"/>
                </a:solidFill>
              </a:rPr>
              <a:t>(por ejemplo, Ad Gentes, </a:t>
            </a:r>
            <a:r>
              <a:rPr lang="es-ES" sz="1300" dirty="0" err="1">
                <a:solidFill>
                  <a:srgbClr val="000000"/>
                </a:solidFill>
              </a:rPr>
              <a:t>Hermitage</a:t>
            </a:r>
            <a:r>
              <a:rPr lang="es-ES" sz="1300" dirty="0">
                <a:solidFill>
                  <a:srgbClr val="000000"/>
                </a:solidFill>
              </a:rPr>
              <a:t>, etc.) o directamente entre Provincias.</a:t>
            </a:r>
          </a:p>
        </p:txBody>
      </p:sp>
      <p:sp>
        <p:nvSpPr>
          <p:cNvPr id="3378180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4475" y="3704048"/>
            <a:ext cx="1489075" cy="3109328"/>
          </a:xfrm>
          <a:prstGeom prst="homePlate">
            <a:avLst>
              <a:gd name="adj" fmla="val 19167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n-US" sz="1600" b="1">
                <a:solidFill>
                  <a:srgbClr val="FFFFFF"/>
                </a:solidFill>
              </a:rPr>
              <a:t>Modelo de financiaci</a:t>
            </a:r>
            <a:r>
              <a:rPr lang="es-ES_tradnl" sz="1600" b="1">
                <a:solidFill>
                  <a:srgbClr val="FFFFFF"/>
                </a:solidFill>
              </a:rPr>
              <a:t>ón</a:t>
            </a:r>
            <a:endParaRPr lang="en-US" sz="1600" b="1">
              <a:solidFill>
                <a:srgbClr val="FFFFFF"/>
              </a:solidFill>
            </a:endParaRPr>
          </a:p>
        </p:txBody>
      </p:sp>
      <p:sp>
        <p:nvSpPr>
          <p:cNvPr id="3378181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831975" y="3704048"/>
            <a:ext cx="6864350" cy="3109328"/>
          </a:xfrm>
          <a:prstGeom prst="rect">
            <a:avLst/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28588" indent="-128588" defTabSz="914400" eaLnBrk="0" hangingPunct="0">
              <a:spcBef>
                <a:spcPts val="0"/>
              </a:spcBef>
              <a:buClr>
                <a:srgbClr val="9B1717"/>
              </a:buClr>
              <a:buFontTx/>
              <a:buChar char="•"/>
            </a:pPr>
            <a:r>
              <a:rPr lang="es-ES" sz="1300" dirty="0"/>
              <a:t>Para </a:t>
            </a:r>
            <a:r>
              <a:rPr lang="es-ES" sz="1300" dirty="0" smtClean="0"/>
              <a:t>las </a:t>
            </a:r>
            <a:r>
              <a:rPr lang="es-ES" sz="1300" b="1" dirty="0" smtClean="0"/>
              <a:t>estructuras </a:t>
            </a:r>
            <a:r>
              <a:rPr lang="es-ES" sz="1300" b="1" dirty="0"/>
              <a:t>regionales </a:t>
            </a:r>
            <a:r>
              <a:rPr lang="es-ES" sz="1300" b="1" dirty="0" smtClean="0"/>
              <a:t>compart</a:t>
            </a:r>
            <a:r>
              <a:rPr lang="es-ES" sz="1300" dirty="0" smtClean="0"/>
              <a:t>idas el costo </a:t>
            </a:r>
            <a:r>
              <a:rPr lang="es-ES" sz="1300" dirty="0"/>
              <a:t>normalmente se asigna </a:t>
            </a:r>
            <a:r>
              <a:rPr lang="es-ES" sz="1300" dirty="0" smtClean="0"/>
              <a:t>de modo igual a los </a:t>
            </a:r>
            <a:r>
              <a:rPr lang="es-ES" sz="1300" dirty="0"/>
              <a:t>miembros </a:t>
            </a:r>
            <a:r>
              <a:rPr lang="es-ES" sz="1300" dirty="0" smtClean="0"/>
              <a:t>de las Provincias </a:t>
            </a:r>
            <a:r>
              <a:rPr lang="es-ES" sz="1300" dirty="0"/>
              <a:t>independientemente </a:t>
            </a:r>
            <a:r>
              <a:rPr lang="es-ES" sz="1300" dirty="0" smtClean="0"/>
              <a:t>del nivel </a:t>
            </a:r>
            <a:r>
              <a:rPr lang="es-ES" sz="1300" dirty="0"/>
              <a:t>de uso y de la situación financiera de la provincia</a:t>
            </a:r>
          </a:p>
          <a:p>
            <a:pPr marL="128588" indent="-128588" defTabSz="914400" eaLnBrk="0" hangingPunct="0">
              <a:spcBef>
                <a:spcPts val="0"/>
              </a:spcBef>
              <a:buClr>
                <a:srgbClr val="9B1717"/>
              </a:buClr>
              <a:buFontTx/>
              <a:buChar char="•"/>
            </a:pPr>
            <a:r>
              <a:rPr lang="es-ES" sz="1300" dirty="0" smtClean="0"/>
              <a:t>El </a:t>
            </a:r>
            <a:r>
              <a:rPr lang="es-ES" sz="1300" b="1" dirty="0" smtClean="0"/>
              <a:t>modelo de financiación de la AG </a:t>
            </a:r>
            <a:r>
              <a:rPr lang="es-ES" sz="1300" dirty="0"/>
              <a:t>recientemente evolucionó de </a:t>
            </a:r>
            <a:r>
              <a:rPr lang="es-ES" sz="1300" dirty="0" smtClean="0"/>
              <a:t>un modelo </a:t>
            </a:r>
            <a:r>
              <a:rPr lang="es-ES" sz="1300" dirty="0"/>
              <a:t>"per cápita" </a:t>
            </a:r>
            <a:r>
              <a:rPr lang="es-ES" sz="1300" dirty="0" smtClean="0"/>
              <a:t>a un modelo de </a:t>
            </a:r>
            <a:r>
              <a:rPr lang="es-ES" sz="1300" dirty="0"/>
              <a:t>un algoritmo en el que se tienen en cuenta 3 dimensiones:</a:t>
            </a:r>
          </a:p>
          <a:p>
            <a:pPr marL="270934" indent="-157520" eaLnBrk="0" hangingPunct="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s-ES" sz="1300" b="1" dirty="0" smtClean="0">
                <a:cs typeface="Arial" pitchFamily="34" charset="0"/>
              </a:rPr>
              <a:t>Capacidad económica de la Provincia, </a:t>
            </a:r>
            <a:r>
              <a:rPr lang="es-ES" sz="1300" dirty="0" smtClean="0">
                <a:cs typeface="Arial" pitchFamily="34" charset="0"/>
              </a:rPr>
              <a:t>en función de: ingresos, beneficios, patrimonio. Cuanto mayor es la capacidad económica y financiera de la Provincia mayor será la contribución. Peso variable: 60%. </a:t>
            </a:r>
          </a:p>
          <a:p>
            <a:pPr marL="270934" indent="-157520" eaLnBrk="0" hangingPunct="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s-ES" sz="1300" b="1" dirty="0" smtClean="0">
                <a:cs typeface="Arial" pitchFamily="34" charset="0"/>
              </a:rPr>
              <a:t>Nivel de la actividad apostólica de la Provincia</a:t>
            </a:r>
            <a:r>
              <a:rPr lang="es-ES" sz="1300" dirty="0" smtClean="0">
                <a:cs typeface="Arial" pitchFamily="34" charset="0"/>
              </a:rPr>
              <a:t>, en función de: destinatarios atendidos, número de hermanos, número de laicos, % solidaridad en los ingresos. Peso variable: 20%. Cuanto mayor es el volumen de la actividad apostólica menor será la contribución económica. </a:t>
            </a:r>
          </a:p>
          <a:p>
            <a:pPr marL="270934" indent="-157520" eaLnBrk="0" hangingPunct="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–"/>
            </a:pPr>
            <a:r>
              <a:rPr lang="es-ES" sz="1300" b="1" dirty="0" smtClean="0">
                <a:cs typeface="Arial" pitchFamily="34" charset="0"/>
              </a:rPr>
              <a:t>Responsabilidad con los hermanos de la Provincia, </a:t>
            </a:r>
            <a:r>
              <a:rPr lang="es-ES" sz="1300" dirty="0" smtClean="0">
                <a:cs typeface="Arial" pitchFamily="34" charset="0"/>
              </a:rPr>
              <a:t>en función de: % de hermanos jóvenes, % de hermanos ancianos. Peso variable: 20%. Cuanto más alta sea la responsabilidad de la Provincia con un número amplio de hermanos jóvenes y nuevas vocaciones (novicios) y hermanos mayores menor será la contribución económica.</a:t>
            </a:r>
            <a:endParaRPr lang="es-ES" sz="1300" dirty="0"/>
          </a:p>
        </p:txBody>
      </p:sp>
      <p:sp>
        <p:nvSpPr>
          <p:cNvPr id="3378182" name="TextBox 8"/>
          <p:cNvSpPr txBox="1">
            <a:spLocks noChangeArrowheads="1"/>
          </p:cNvSpPr>
          <p:nvPr/>
        </p:nvSpPr>
        <p:spPr bwMode="gray">
          <a:xfrm>
            <a:off x="190045" y="1787341"/>
            <a:ext cx="6842125" cy="2492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4400">
              <a:lnSpc>
                <a:spcPct val="90000"/>
              </a:lnSpc>
            </a:pPr>
            <a:r>
              <a:rPr lang="es-ES" b="1" dirty="0">
                <a:solidFill>
                  <a:srgbClr val="000000"/>
                </a:solidFill>
              </a:rPr>
              <a:t>Modelo actual de financiación</a:t>
            </a:r>
          </a:p>
        </p:txBody>
      </p:sp>
      <p:sp>
        <p:nvSpPr>
          <p:cNvPr id="3378183" name="AutoShape 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0800000">
            <a:off x="4111625" y="3519329"/>
            <a:ext cx="2305050" cy="150812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defTabSz="914400"/>
            <a:endParaRPr lang="en-US">
              <a:solidFill>
                <a:srgbClr val="000000"/>
              </a:solidFill>
            </a:endParaRPr>
          </a:p>
        </p:txBody>
      </p:sp>
      <p:sp>
        <p:nvSpPr>
          <p:cNvPr id="3378184" name="Rectangle 10"/>
          <p:cNvSpPr>
            <a:spLocks noChangeArrowheads="1"/>
          </p:cNvSpPr>
          <p:nvPr/>
        </p:nvSpPr>
        <p:spPr bwMode="auto">
          <a:xfrm>
            <a:off x="7683500" y="139700"/>
            <a:ext cx="1209675" cy="16668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" sz="1200">
                <a:solidFill>
                  <a:srgbClr val="000000"/>
                </a:solidFill>
              </a:rPr>
              <a:t>Modelo financiero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201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665162"/>
          </a:xfrm>
        </p:spPr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…contribuyendo a generar / fortalecer varias de las cuestiones pendientes</a:t>
            </a:r>
          </a:p>
        </p:txBody>
      </p:sp>
      <p:sp>
        <p:nvSpPr>
          <p:cNvPr id="3379202" name="Content Placeholder 2"/>
          <p:cNvSpPr>
            <a:spLocks noGrp="1"/>
          </p:cNvSpPr>
          <p:nvPr>
            <p:ph idx="1"/>
          </p:nvPr>
        </p:nvSpPr>
        <p:spPr>
          <a:xfrm>
            <a:off x="244475" y="1795718"/>
            <a:ext cx="8640763" cy="4873642"/>
          </a:xfrm>
        </p:spPr>
        <p:txBody>
          <a:bodyPr/>
          <a:lstStyle/>
          <a:p>
            <a:pPr eaLnBrk="1" hangingPunct="1"/>
            <a:r>
              <a:rPr lang="es-ES_tradnl" b="1" dirty="0" smtClean="0">
                <a:latin typeface="Arial" charset="0"/>
                <a:cs typeface="Arial" charset="0"/>
              </a:rPr>
              <a:t>Poca gobernanza centralizada:</a:t>
            </a:r>
            <a:r>
              <a:rPr lang="es-ES_tradnl" dirty="0" smtClean="0">
                <a:latin typeface="Arial" charset="0"/>
                <a:cs typeface="Arial" charset="0"/>
              </a:rPr>
              <a:t> altamente afectada por el volumen limitado de los recursos disponibles y falta de transparencia en las iniciativas de solidaridad entre Provincias. Fuerte dificultad en el seguimiento y gestión del uso ineficaz de los recursos a nivel local. Varios casos de superposición en la recogida y gestión de recursos.</a:t>
            </a:r>
            <a:br>
              <a:rPr lang="es-ES_tradnl" dirty="0" smtClean="0">
                <a:latin typeface="Arial" charset="0"/>
                <a:cs typeface="Arial" charset="0"/>
              </a:rPr>
            </a:br>
            <a:endParaRPr lang="es-ES_tradnl" b="1" dirty="0" smtClean="0">
              <a:latin typeface="Arial" charset="0"/>
              <a:cs typeface="Arial" charset="0"/>
            </a:endParaRPr>
          </a:p>
          <a:p>
            <a:pPr eaLnBrk="1" hangingPunct="1"/>
            <a:r>
              <a:rPr lang="es-ES_tradnl" b="1" dirty="0" smtClean="0">
                <a:latin typeface="Arial" charset="0"/>
                <a:cs typeface="Arial" charset="0"/>
              </a:rPr>
              <a:t>Priorización mejorable:</a:t>
            </a:r>
            <a:r>
              <a:rPr lang="es-ES_tradnl" dirty="0" smtClean="0">
                <a:latin typeface="Arial" charset="0"/>
                <a:cs typeface="Arial" charset="0"/>
              </a:rPr>
              <a:t> la decisión sobre la distribución de loa recursos se hace a nivel local o con limitada perspectiva y/o priorización de las necesidades globales de la Misión.</a:t>
            </a:r>
            <a:br>
              <a:rPr lang="es-ES_tradnl" dirty="0" smtClean="0">
                <a:latin typeface="Arial" charset="0"/>
                <a:cs typeface="Arial" charset="0"/>
              </a:rPr>
            </a:br>
            <a:endParaRPr lang="es-ES_tradnl" b="1" dirty="0" smtClean="0">
              <a:latin typeface="Arial" charset="0"/>
              <a:cs typeface="Arial" charset="0"/>
            </a:endParaRPr>
          </a:p>
          <a:p>
            <a:pPr eaLnBrk="1" hangingPunct="1"/>
            <a:r>
              <a:rPr lang="es-ES_tradnl" b="1" dirty="0" smtClean="0">
                <a:latin typeface="Arial" charset="0"/>
                <a:cs typeface="Arial" charset="0"/>
              </a:rPr>
              <a:t>Estructuras Regionales</a:t>
            </a:r>
            <a:r>
              <a:rPr lang="es-ES_tradnl" dirty="0" smtClean="0">
                <a:latin typeface="Arial" charset="0"/>
                <a:cs typeface="Arial" charset="0"/>
              </a:rPr>
              <a:t>: Concretamente limitada en su desarrollo a cusa de una políticas conservadora de delegación de autoridad por parte de las Provincias. Ejemplo, solicitud a la AG para cubrir faltantes de recursos (ejemplo Formación).</a:t>
            </a:r>
            <a:br>
              <a:rPr lang="es-ES_tradnl" dirty="0" smtClean="0">
                <a:latin typeface="Arial" charset="0"/>
                <a:cs typeface="Arial" charset="0"/>
              </a:rPr>
            </a:br>
            <a:endParaRPr lang="es-ES_tradnl" b="1" dirty="0" smtClean="0">
              <a:latin typeface="Arial" charset="0"/>
              <a:cs typeface="Arial" charset="0"/>
            </a:endParaRPr>
          </a:p>
          <a:p>
            <a:pPr eaLnBrk="1" hangingPunct="1"/>
            <a:r>
              <a:rPr lang="es-ES_tradnl" b="1" dirty="0" smtClean="0">
                <a:latin typeface="Arial" charset="0"/>
                <a:cs typeface="Arial" charset="0"/>
              </a:rPr>
              <a:t>Negativa retroalimentación de las Provincias</a:t>
            </a:r>
            <a:r>
              <a:rPr lang="es-ES_tradnl" dirty="0" smtClean="0">
                <a:latin typeface="Arial" charset="0"/>
                <a:cs typeface="Arial" charset="0"/>
              </a:rPr>
              <a:t>:</a:t>
            </a:r>
          </a:p>
          <a:p>
            <a:pPr lvl="1" eaLnBrk="1" hangingPunct="1"/>
            <a:r>
              <a:rPr lang="es-ES_tradnl" dirty="0" smtClean="0">
                <a:latin typeface="Arial" charset="0"/>
                <a:cs typeface="Arial" charset="0"/>
              </a:rPr>
              <a:t>La percepción de las Provincias es que el algoritmo no es balanceado y/o igualitario.</a:t>
            </a:r>
          </a:p>
          <a:p>
            <a:pPr lvl="1" eaLnBrk="1" hangingPunct="1"/>
            <a:r>
              <a:rPr lang="es-ES_tradnl" dirty="0" smtClean="0">
                <a:latin typeface="Arial" charset="0"/>
                <a:cs typeface="Arial" charset="0"/>
              </a:rPr>
              <a:t>Debido a la falta de transparencia, las Provincias encuentran el desafío de centralizar sus recursos.</a:t>
            </a:r>
          </a:p>
          <a:p>
            <a:pPr lvl="1" eaLnBrk="1" hangingPunct="1"/>
            <a:r>
              <a:rPr lang="es-ES_tradnl" dirty="0" smtClean="0">
                <a:latin typeface="Arial" charset="0"/>
                <a:cs typeface="Arial" charset="0"/>
              </a:rPr>
              <a:t>Al día de hoy hay poca evidencia de beneficios tangibles para las Provincias en reducción de gastos (ejemplo servicios de valor añadido).</a:t>
            </a:r>
          </a:p>
        </p:txBody>
      </p:sp>
      <p:sp>
        <p:nvSpPr>
          <p:cNvPr id="3379203" name="Rectangle 10"/>
          <p:cNvSpPr>
            <a:spLocks noChangeArrowheads="1"/>
          </p:cNvSpPr>
          <p:nvPr/>
        </p:nvSpPr>
        <p:spPr bwMode="auto">
          <a:xfrm>
            <a:off x="7683500" y="139700"/>
            <a:ext cx="1209675" cy="16668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 dirty="0" smtClean="0">
                <a:solidFill>
                  <a:srgbClr val="000000"/>
                </a:solidFill>
              </a:rPr>
              <a:t>Modelo financiero</a:t>
            </a:r>
            <a:endParaRPr lang="es-ES_tradnl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0225" name="Title 1"/>
          <p:cNvSpPr>
            <a:spLocks noGrp="1"/>
          </p:cNvSpPr>
          <p:nvPr>
            <p:ph type="title"/>
          </p:nvPr>
        </p:nvSpPr>
        <p:spPr>
          <a:xfrm>
            <a:off x="244475" y="796964"/>
            <a:ext cx="8640763" cy="664797"/>
          </a:xfrm>
        </p:spPr>
        <p:txBody>
          <a:bodyPr/>
          <a:lstStyle/>
          <a:p>
            <a:pPr eaLnBrk="1" hangingPunct="1"/>
            <a:r>
              <a:rPr lang="es-ES" dirty="0" smtClean="0"/>
              <a:t>Para el futuro la lógica debería seguir un enfoque de servicios compartidos que favorezca y estructure la solidaridad </a:t>
            </a:r>
            <a:endParaRPr lang="es-ES" dirty="0" smtClean="0">
              <a:latin typeface="Arial" charset="0"/>
              <a:cs typeface="Arial" charset="0"/>
            </a:endParaRPr>
          </a:p>
        </p:txBody>
      </p:sp>
      <p:sp>
        <p:nvSpPr>
          <p:cNvPr id="3380226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50825" y="2094123"/>
            <a:ext cx="2159000" cy="2760662"/>
          </a:xfrm>
          <a:prstGeom prst="homePlate">
            <a:avLst>
              <a:gd name="adj" fmla="val 19167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 dirty="0" smtClean="0">
                <a:solidFill>
                  <a:srgbClr val="FFFFFF"/>
                </a:solidFill>
              </a:rPr>
              <a:t>Provincia, Regiones  y AG</a:t>
            </a:r>
            <a:endParaRPr lang="es-ES" sz="1600" b="1" dirty="0">
              <a:solidFill>
                <a:srgbClr val="FFFFFF"/>
              </a:solidFill>
            </a:endParaRPr>
          </a:p>
        </p:txBody>
      </p:sp>
      <p:sp>
        <p:nvSpPr>
          <p:cNvPr id="3380227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546350" y="2094123"/>
            <a:ext cx="6346825" cy="2760662"/>
          </a:xfrm>
          <a:prstGeom prst="rect">
            <a:avLst/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300" dirty="0" smtClean="0">
                <a:solidFill>
                  <a:srgbClr val="000000"/>
                </a:solidFill>
              </a:rPr>
              <a:t>Las Provincias </a:t>
            </a:r>
            <a:r>
              <a:rPr lang="es-ES" sz="1300" dirty="0">
                <a:solidFill>
                  <a:srgbClr val="000000"/>
                </a:solidFill>
              </a:rPr>
              <a:t>tendrán que </a:t>
            </a:r>
            <a:r>
              <a:rPr lang="es-ES" sz="1300" dirty="0" smtClean="0">
                <a:solidFill>
                  <a:srgbClr val="000000"/>
                </a:solidFill>
              </a:rPr>
              <a:t>ser </a:t>
            </a:r>
            <a:r>
              <a:rPr lang="es-ES" sz="1300" dirty="0" err="1" smtClean="0">
                <a:solidFill>
                  <a:srgbClr val="000000"/>
                </a:solidFill>
              </a:rPr>
              <a:t>autosostenibles</a:t>
            </a:r>
            <a:r>
              <a:rPr lang="es-ES" sz="1300" dirty="0" smtClean="0">
                <a:solidFill>
                  <a:srgbClr val="000000"/>
                </a:solidFill>
              </a:rPr>
              <a:t> </a:t>
            </a:r>
            <a:r>
              <a:rPr lang="es-ES" sz="1300" dirty="0">
                <a:solidFill>
                  <a:srgbClr val="000000"/>
                </a:solidFill>
              </a:rPr>
              <a:t>totalmente (optimización de la eficiencia </a:t>
            </a:r>
            <a:r>
              <a:rPr lang="es-ES" sz="1300" dirty="0" smtClean="0">
                <a:solidFill>
                  <a:srgbClr val="000000"/>
                </a:solidFill>
              </a:rPr>
              <a:t>y sostenibilidad de las obras con rentabilidad y aquellas sociales; cierre </a:t>
            </a:r>
            <a:r>
              <a:rPr lang="es-ES" sz="1300" dirty="0">
                <a:solidFill>
                  <a:srgbClr val="000000"/>
                </a:solidFill>
              </a:rPr>
              <a:t>de las actividades básicas </a:t>
            </a:r>
            <a:r>
              <a:rPr lang="es-ES" sz="1300" dirty="0" smtClean="0">
                <a:solidFill>
                  <a:srgbClr val="000000"/>
                </a:solidFill>
              </a:rPr>
              <a:t>que no sean sostenibles)</a:t>
            </a:r>
            <a:endParaRPr lang="es-ES" sz="1300" dirty="0">
              <a:solidFill>
                <a:srgbClr val="000000"/>
              </a:solidFill>
            </a:endParaRPr>
          </a:p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300" dirty="0">
                <a:solidFill>
                  <a:srgbClr val="000000"/>
                </a:solidFill>
              </a:rPr>
              <a:t>Se pedirá a las provincias </a:t>
            </a:r>
            <a:r>
              <a:rPr lang="es-ES" sz="1300" dirty="0" smtClean="0">
                <a:solidFill>
                  <a:srgbClr val="000000"/>
                </a:solidFill>
              </a:rPr>
              <a:t>financiar </a:t>
            </a:r>
            <a:r>
              <a:rPr lang="es-ES" sz="1300" dirty="0">
                <a:solidFill>
                  <a:srgbClr val="000000"/>
                </a:solidFill>
              </a:rPr>
              <a:t>las estructuras regionales, eliminando los costes </a:t>
            </a:r>
            <a:r>
              <a:rPr lang="es-ES" sz="1300" dirty="0" smtClean="0">
                <a:solidFill>
                  <a:srgbClr val="000000"/>
                </a:solidFill>
              </a:rPr>
              <a:t>de las actividades que se entregan a nivel </a:t>
            </a:r>
            <a:r>
              <a:rPr lang="es-ES" sz="1300" dirty="0">
                <a:solidFill>
                  <a:srgbClr val="000000"/>
                </a:solidFill>
              </a:rPr>
              <a:t>regional</a:t>
            </a:r>
          </a:p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300" dirty="0" smtClean="0">
                <a:solidFill>
                  <a:srgbClr val="000000"/>
                </a:solidFill>
              </a:rPr>
              <a:t>Las Regiones </a:t>
            </a:r>
            <a:r>
              <a:rPr lang="es-ES" sz="1300" dirty="0">
                <a:solidFill>
                  <a:srgbClr val="000000"/>
                </a:solidFill>
              </a:rPr>
              <a:t>funcionarán como un </a:t>
            </a:r>
            <a:r>
              <a:rPr lang="es-ES" sz="1300" dirty="0" smtClean="0">
                <a:solidFill>
                  <a:srgbClr val="000000"/>
                </a:solidFill>
              </a:rPr>
              <a:t>centro de </a:t>
            </a:r>
            <a:r>
              <a:rPr lang="es-ES" sz="1300" dirty="0">
                <a:solidFill>
                  <a:srgbClr val="000000"/>
                </a:solidFill>
              </a:rPr>
              <a:t>servicios compartidos </a:t>
            </a:r>
            <a:r>
              <a:rPr lang="es-ES" sz="1300" dirty="0" smtClean="0">
                <a:solidFill>
                  <a:srgbClr val="000000"/>
                </a:solidFill>
              </a:rPr>
              <a:t>con </a:t>
            </a:r>
            <a:r>
              <a:rPr lang="es-ES" sz="1300" dirty="0">
                <a:solidFill>
                  <a:srgbClr val="000000"/>
                </a:solidFill>
              </a:rPr>
              <a:t>el fin de aportar un valor añadido a las </a:t>
            </a:r>
            <a:r>
              <a:rPr lang="es-ES" sz="1300" dirty="0" smtClean="0">
                <a:solidFill>
                  <a:srgbClr val="000000"/>
                </a:solidFill>
              </a:rPr>
              <a:t>Provincias. Determinarán si desarrollan sus servicios con personal propia o buscarán terceros.</a:t>
            </a:r>
            <a:endParaRPr lang="es-ES" sz="1300" dirty="0">
              <a:solidFill>
                <a:srgbClr val="000000"/>
              </a:solidFill>
            </a:endParaRPr>
          </a:p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300" dirty="0" smtClean="0">
                <a:solidFill>
                  <a:srgbClr val="000000"/>
                </a:solidFill>
              </a:rPr>
              <a:t>AG gestionará </a:t>
            </a:r>
            <a:r>
              <a:rPr lang="es-ES" sz="1300" dirty="0">
                <a:solidFill>
                  <a:srgbClr val="000000"/>
                </a:solidFill>
              </a:rPr>
              <a:t>las prioridades mundiales y algunas </a:t>
            </a:r>
            <a:r>
              <a:rPr lang="es-ES" sz="1300" dirty="0" smtClean="0">
                <a:solidFill>
                  <a:srgbClr val="000000"/>
                </a:solidFill>
              </a:rPr>
              <a:t>otras actividades </a:t>
            </a:r>
            <a:r>
              <a:rPr lang="es-ES" sz="1300" dirty="0">
                <a:solidFill>
                  <a:srgbClr val="000000"/>
                </a:solidFill>
              </a:rPr>
              <a:t>y servicios (por ejemplo, la planificación estratégica, la economía y la gestión de activos, etc.) </a:t>
            </a:r>
            <a:r>
              <a:rPr lang="es-ES" sz="1300" dirty="0" smtClean="0">
                <a:solidFill>
                  <a:srgbClr val="000000"/>
                </a:solidFill>
              </a:rPr>
              <a:t>demostrando </a:t>
            </a:r>
            <a:r>
              <a:rPr lang="es-ES" sz="1300" dirty="0">
                <a:solidFill>
                  <a:srgbClr val="000000"/>
                </a:solidFill>
              </a:rPr>
              <a:t>el valor añadido a las Regiones. </a:t>
            </a:r>
            <a:r>
              <a:rPr lang="es-ES" sz="1300" dirty="0" smtClean="0">
                <a:solidFill>
                  <a:srgbClr val="000000"/>
                </a:solidFill>
              </a:rPr>
              <a:t>AG </a:t>
            </a:r>
            <a:r>
              <a:rPr lang="es-ES" sz="1300" dirty="0">
                <a:solidFill>
                  <a:srgbClr val="000000"/>
                </a:solidFill>
              </a:rPr>
              <a:t>podría </a:t>
            </a:r>
            <a:r>
              <a:rPr lang="es-ES" sz="1300" dirty="0" smtClean="0">
                <a:solidFill>
                  <a:srgbClr val="000000"/>
                </a:solidFill>
              </a:rPr>
              <a:t>encargarse de </a:t>
            </a:r>
            <a:r>
              <a:rPr lang="es-ES" sz="1300" dirty="0">
                <a:solidFill>
                  <a:srgbClr val="000000"/>
                </a:solidFill>
              </a:rPr>
              <a:t>proyectos </a:t>
            </a:r>
            <a:r>
              <a:rPr lang="es-ES" sz="1300" dirty="0" smtClean="0">
                <a:solidFill>
                  <a:srgbClr val="000000"/>
                </a:solidFill>
              </a:rPr>
              <a:t>especiales.</a:t>
            </a:r>
            <a:endParaRPr lang="en-US" sz="1300" dirty="0">
              <a:solidFill>
                <a:srgbClr val="000000"/>
              </a:solidFill>
            </a:endParaRPr>
          </a:p>
        </p:txBody>
      </p:sp>
      <p:sp>
        <p:nvSpPr>
          <p:cNvPr id="3380228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50825" y="5038936"/>
            <a:ext cx="2160588" cy="1512887"/>
          </a:xfrm>
          <a:prstGeom prst="homePlate">
            <a:avLst>
              <a:gd name="adj" fmla="val 19167"/>
            </a:avLst>
          </a:prstGeom>
          <a:solidFill>
            <a:schemeClr val="bg2"/>
          </a:solidFill>
          <a:ln w="6350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defTabSz="914400" eaLnBrk="0" hangingPunct="0">
              <a:lnSpc>
                <a:spcPct val="90000"/>
              </a:lnSpc>
            </a:pPr>
            <a:r>
              <a:rPr lang="es-ES" sz="1600" b="1" dirty="0" smtClean="0">
                <a:solidFill>
                  <a:srgbClr val="FFFFFF"/>
                </a:solidFill>
              </a:rPr>
              <a:t>Solidaridad y subsidiariedad</a:t>
            </a:r>
            <a:endParaRPr lang="es-ES" sz="1600" b="1" dirty="0">
              <a:solidFill>
                <a:srgbClr val="FFFFFF"/>
              </a:solidFill>
            </a:endParaRPr>
          </a:p>
        </p:txBody>
      </p:sp>
      <p:sp>
        <p:nvSpPr>
          <p:cNvPr id="3380229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546350" y="5048461"/>
            <a:ext cx="6346825" cy="1512887"/>
          </a:xfrm>
          <a:prstGeom prst="rect">
            <a:avLst/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endParaRPr lang="es-ES" sz="1400" dirty="0" smtClean="0">
              <a:solidFill>
                <a:srgbClr val="000000"/>
              </a:solidFill>
            </a:endParaRPr>
          </a:p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300" dirty="0" smtClean="0">
                <a:solidFill>
                  <a:srgbClr val="000000"/>
                </a:solidFill>
              </a:rPr>
              <a:t>Las necesidades deben </a:t>
            </a:r>
            <a:r>
              <a:rPr lang="es-ES" sz="1300" dirty="0">
                <a:solidFill>
                  <a:srgbClr val="000000"/>
                </a:solidFill>
              </a:rPr>
              <a:t>ser </a:t>
            </a:r>
            <a:r>
              <a:rPr lang="es-ES" sz="1300" dirty="0" smtClean="0">
                <a:solidFill>
                  <a:srgbClr val="000000"/>
                </a:solidFill>
              </a:rPr>
              <a:t>centralizadas </a:t>
            </a:r>
            <a:r>
              <a:rPr lang="es-ES" sz="1300" dirty="0">
                <a:solidFill>
                  <a:srgbClr val="000000"/>
                </a:solidFill>
              </a:rPr>
              <a:t>para permitir el </a:t>
            </a:r>
            <a:r>
              <a:rPr lang="es-ES" sz="1300" dirty="0" smtClean="0">
                <a:solidFill>
                  <a:srgbClr val="000000"/>
                </a:solidFill>
              </a:rPr>
              <a:t>establecimiento </a:t>
            </a:r>
            <a:r>
              <a:rPr lang="es-ES" sz="1300" dirty="0">
                <a:solidFill>
                  <a:srgbClr val="000000"/>
                </a:solidFill>
              </a:rPr>
              <a:t>de prioridades </a:t>
            </a:r>
            <a:r>
              <a:rPr lang="es-ES" sz="1300" dirty="0" smtClean="0">
                <a:solidFill>
                  <a:srgbClr val="000000"/>
                </a:solidFill>
              </a:rPr>
              <a:t>mundiales.</a:t>
            </a:r>
            <a:endParaRPr lang="es-ES" sz="1300" dirty="0">
              <a:solidFill>
                <a:srgbClr val="000000"/>
              </a:solidFill>
            </a:endParaRPr>
          </a:p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300" dirty="0">
                <a:solidFill>
                  <a:srgbClr val="000000"/>
                </a:solidFill>
              </a:rPr>
              <a:t>Una vez que las </a:t>
            </a:r>
            <a:r>
              <a:rPr lang="es-ES" sz="1300" dirty="0" smtClean="0">
                <a:solidFill>
                  <a:srgbClr val="000000"/>
                </a:solidFill>
              </a:rPr>
              <a:t>iniciativas fueron priorizadas </a:t>
            </a:r>
            <a:r>
              <a:rPr lang="es-ES" sz="1300" dirty="0">
                <a:solidFill>
                  <a:srgbClr val="000000"/>
                </a:solidFill>
              </a:rPr>
              <a:t>deben tener la gestión local y la </a:t>
            </a:r>
            <a:r>
              <a:rPr lang="es-ES" sz="1300" dirty="0" smtClean="0">
                <a:solidFill>
                  <a:srgbClr val="000000"/>
                </a:solidFill>
              </a:rPr>
              <a:t>prestación de </a:t>
            </a:r>
            <a:r>
              <a:rPr lang="es-ES" sz="1300" dirty="0">
                <a:solidFill>
                  <a:srgbClr val="000000"/>
                </a:solidFill>
              </a:rPr>
              <a:t>cuentas </a:t>
            </a:r>
            <a:r>
              <a:rPr lang="es-ES" sz="1300" dirty="0" smtClean="0">
                <a:solidFill>
                  <a:srgbClr val="000000"/>
                </a:solidFill>
              </a:rPr>
              <a:t>bajo un modelo global de gobierno / modelo de  control.</a:t>
            </a:r>
            <a:endParaRPr lang="es-ES" sz="1300" dirty="0">
              <a:solidFill>
                <a:srgbClr val="000000"/>
              </a:solidFill>
            </a:endParaRPr>
          </a:p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r>
              <a:rPr lang="es-ES" sz="1300" dirty="0">
                <a:solidFill>
                  <a:srgbClr val="000000"/>
                </a:solidFill>
              </a:rPr>
              <a:t>Todos los casos </a:t>
            </a:r>
            <a:r>
              <a:rPr lang="es-ES" sz="1300" dirty="0" smtClean="0">
                <a:solidFill>
                  <a:srgbClr val="000000"/>
                </a:solidFill>
              </a:rPr>
              <a:t>de apoyo de Provincia </a:t>
            </a:r>
            <a:r>
              <a:rPr lang="es-ES" sz="1300" dirty="0">
                <a:solidFill>
                  <a:srgbClr val="000000"/>
                </a:solidFill>
              </a:rPr>
              <a:t>a </a:t>
            </a:r>
            <a:r>
              <a:rPr lang="es-ES" sz="1300" dirty="0" smtClean="0">
                <a:solidFill>
                  <a:srgbClr val="000000"/>
                </a:solidFill>
              </a:rPr>
              <a:t>Provincia </a:t>
            </a:r>
            <a:r>
              <a:rPr lang="es-ES" sz="1300" dirty="0">
                <a:solidFill>
                  <a:srgbClr val="000000"/>
                </a:solidFill>
              </a:rPr>
              <a:t>deben ser parte del nuevo </a:t>
            </a:r>
            <a:r>
              <a:rPr lang="es-ES" sz="1300" dirty="0" smtClean="0">
                <a:solidFill>
                  <a:srgbClr val="000000"/>
                </a:solidFill>
              </a:rPr>
              <a:t>modelo.</a:t>
            </a:r>
            <a:endParaRPr lang="es-ES" sz="1300" dirty="0">
              <a:solidFill>
                <a:srgbClr val="000000"/>
              </a:solidFill>
            </a:endParaRPr>
          </a:p>
          <a:p>
            <a:pPr marL="128588" indent="-128588" defTabSz="914400" eaLnBrk="0" hangingPunct="0">
              <a:lnSpc>
                <a:spcPct val="90000"/>
              </a:lnSpc>
              <a:spcBef>
                <a:spcPts val="900"/>
              </a:spcBef>
              <a:buClr>
                <a:srgbClr val="9B1717"/>
              </a:buClr>
              <a:buFontTx/>
              <a:buChar char="•"/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380230" name="TextBox 8"/>
          <p:cNvSpPr txBox="1">
            <a:spLocks noChangeArrowheads="1"/>
          </p:cNvSpPr>
          <p:nvPr/>
        </p:nvSpPr>
        <p:spPr bwMode="gray">
          <a:xfrm>
            <a:off x="244475" y="1628140"/>
            <a:ext cx="6842760" cy="24929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144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s-ES" b="1" dirty="0" smtClean="0">
                <a:latin typeface="Arial" panose="020B0604020202020204" pitchFamily="34" charset="0"/>
              </a:rPr>
              <a:t>Una propuesta para un modelo de financiación</a:t>
            </a:r>
            <a:endParaRPr lang="es-ES" b="1" dirty="0">
              <a:latin typeface="Arial" panose="020B0604020202020204" pitchFamily="34" charset="0"/>
            </a:endParaRPr>
          </a:p>
        </p:txBody>
      </p:sp>
      <p:sp>
        <p:nvSpPr>
          <p:cNvPr id="3380231" name="Rectangle 10"/>
          <p:cNvSpPr>
            <a:spLocks noChangeArrowheads="1"/>
          </p:cNvSpPr>
          <p:nvPr/>
        </p:nvSpPr>
        <p:spPr bwMode="auto">
          <a:xfrm>
            <a:off x="7683500" y="139700"/>
            <a:ext cx="1209675" cy="16668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n-US" sz="1200">
                <a:solidFill>
                  <a:srgbClr val="000000"/>
                </a:solidFill>
              </a:rPr>
              <a:t>Modelo financiero</a:t>
            </a: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6129" name="Text Placeholder 8"/>
          <p:cNvSpPr>
            <a:spLocks noGrp="1"/>
          </p:cNvSpPr>
          <p:nvPr>
            <p:ph type="body" sz="quarter" idx="10"/>
            <p:custDataLst>
              <p:tags r:id="rId1"/>
            </p:custDataLst>
          </p:nvPr>
        </p:nvSpPr>
        <p:spPr>
          <a:xfrm>
            <a:off x="244475" y="2157413"/>
            <a:ext cx="8647113" cy="3473450"/>
          </a:xfrm>
        </p:spPr>
        <p:txBody>
          <a:bodyPr/>
          <a:lstStyle/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Descripción del proyecto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Principios y directrices clave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s person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 Misión – estructur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Estatus canónico y civil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Nuestra Misión – procesos y herramientas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dirty="0" smtClean="0">
                <a:latin typeface="Arial" charset="0"/>
                <a:cs typeface="Arial" charset="0"/>
              </a:rPr>
              <a:t>Modelo de financiación</a:t>
            </a:r>
          </a:p>
          <a:p>
            <a:pPr marL="161925" indent="-161925" eaLnBrk="1" hangingPunct="1">
              <a:buFont typeface="Arial" charset="0"/>
              <a:buChar char="•"/>
            </a:pPr>
            <a:r>
              <a:rPr lang="es-ES" b="1" dirty="0" smtClean="0">
                <a:latin typeface="Arial" charset="0"/>
                <a:cs typeface="Arial" charset="0"/>
              </a:rPr>
              <a:t>Hoja de Ruta</a:t>
            </a:r>
          </a:p>
        </p:txBody>
      </p:sp>
      <p:sp>
        <p:nvSpPr>
          <p:cNvPr id="3376130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44475" y="1627188"/>
            <a:ext cx="8647113" cy="338137"/>
          </a:xfrm>
        </p:spPr>
        <p:txBody>
          <a:bodyPr/>
          <a:lstStyle/>
          <a:p>
            <a:pPr eaLnBrk="1" hangingPunct="1"/>
            <a:r>
              <a:rPr lang="es-ES_tradnl" smtClean="0">
                <a:latin typeface="Arial" charset="0"/>
                <a:cs typeface="Arial" charset="0"/>
              </a:rPr>
              <a:t>Índice</a:t>
            </a:r>
            <a:endParaRPr lang="en-US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952147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57445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1064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7642" name="think-cell Slide" r:id="rId83" imgW="360" imgH="360" progId="TCLayout.ActiveDocument.1">
                  <p:embed/>
                </p:oleObj>
              </mc:Choice>
              <mc:Fallback>
                <p:oleObj name="think-cell Slide" r:id="rId83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14400" fontAlgn="auto">
              <a:defRPr/>
            </a:pPr>
            <a:endParaRPr lang="en-US" sz="1200" dirty="0" err="1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57447" name="Title 1"/>
          <p:cNvSpPr>
            <a:spLocks noGrp="1"/>
          </p:cNvSpPr>
          <p:nvPr>
            <p:ph type="title"/>
          </p:nvPr>
        </p:nvSpPr>
        <p:spPr>
          <a:xfrm>
            <a:off x="244475" y="804863"/>
            <a:ext cx="8640763" cy="331787"/>
          </a:xfrm>
        </p:spPr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>Hoja de Ruta: plan de implementación</a:t>
            </a:r>
          </a:p>
        </p:txBody>
      </p:sp>
      <p:sp>
        <p:nvSpPr>
          <p:cNvPr id="39" name="Rectangle 38"/>
          <p:cNvSpPr/>
          <p:nvPr>
            <p:custDataLst>
              <p:tags r:id="rId4"/>
            </p:custDataLst>
          </p:nvPr>
        </p:nvSpPr>
        <p:spPr bwMode="auto">
          <a:xfrm>
            <a:off x="265113" y="2117725"/>
            <a:ext cx="8550275" cy="3830638"/>
          </a:xfrm>
          <a:prstGeom prst="rect">
            <a:avLst/>
          </a:prstGeom>
          <a:solidFill>
            <a:srgbClr val="EFEEEC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2" name="Rectangle 31"/>
          <p:cNvSpPr/>
          <p:nvPr>
            <p:custDataLst>
              <p:tags r:id="rId5"/>
            </p:custDataLst>
          </p:nvPr>
        </p:nvSpPr>
        <p:spPr bwMode="auto">
          <a:xfrm>
            <a:off x="265113" y="1606550"/>
            <a:ext cx="2511425" cy="511175"/>
          </a:xfrm>
          <a:prstGeom prst="rect">
            <a:avLst/>
          </a:prstGeom>
          <a:solidFill>
            <a:srgbClr val="858274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 defTabSz="914400" fontAlgn="auto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defRPr/>
            </a:pPr>
            <a:endParaRPr lang="es-ES_tradnl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57450" name="Text Placeholder 3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776538" y="1606550"/>
            <a:ext cx="1516062" cy="255588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3" rIns="73025" bIns="36513" anchor="ctr"/>
          <a:lstStyle/>
          <a:p>
            <a:pPr defTabSz="914400">
              <a:buClr>
                <a:srgbClr val="9B1717"/>
              </a:buClr>
              <a:buSzPct val="100000"/>
              <a:buFont typeface="Arial" charset="0"/>
              <a:buNone/>
            </a:pPr>
            <a:fld id="{5DE060B4-A6BA-4D51-BF85-9C26A58F02CB}" type="datetime'''''''201''''''''''''''''5'''''''''''''''''''''''''''''''">
              <a:rPr lang="es-ES_tradnl" sz="1200" b="1" smtClean="0">
                <a:solidFill>
                  <a:srgbClr val="FFFFFF"/>
                </a:solidFill>
                <a:sym typeface="+mn-lt"/>
              </a:rPr>
              <a:pPr defTabSz="914400">
                <a:buClr>
                  <a:srgbClr val="9B1717"/>
                </a:buClr>
                <a:buSzPct val="100000"/>
                <a:buFont typeface="Arial" charset="0"/>
                <a:buNone/>
              </a:pPr>
              <a:t>2015</a:t>
            </a:fld>
            <a:endParaRPr lang="es-ES_tradnl" sz="1200" b="1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957451" name="Text Placeholder 3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292600" y="1606550"/>
            <a:ext cx="2263775" cy="255588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3" rIns="73025" bIns="36513" anchor="ctr"/>
          <a:lstStyle/>
          <a:p>
            <a:pPr defTabSz="914400">
              <a:buClr>
                <a:srgbClr val="9B1717"/>
              </a:buClr>
              <a:buSzPct val="100000"/>
              <a:buFont typeface="Arial" charset="0"/>
              <a:buNone/>
            </a:pPr>
            <a:fld id="{2AF9AA83-4BCA-4AE7-9947-A682CCF0EE5B}" type="datetime'2''''0''''''''''''''16'''''''''''''''''''''">
              <a:rPr lang="es-ES_tradnl" sz="1200" b="1" smtClean="0">
                <a:solidFill>
                  <a:srgbClr val="FFFFFF"/>
                </a:solidFill>
                <a:sym typeface="+mn-lt"/>
              </a:rPr>
              <a:pPr defTabSz="914400">
                <a:buClr>
                  <a:srgbClr val="9B1717"/>
                </a:buClr>
                <a:buSzPct val="100000"/>
                <a:buFont typeface="Arial" charset="0"/>
                <a:buNone/>
              </a:pPr>
              <a:t>2016</a:t>
            </a:fld>
            <a:endParaRPr lang="es-ES_tradnl" sz="1200" b="1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957452" name="Text Placeholder 3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556375" y="1606550"/>
            <a:ext cx="2259013" cy="255588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3" rIns="73025" bIns="36513" anchor="ctr"/>
          <a:lstStyle/>
          <a:p>
            <a:pPr defTabSz="914400">
              <a:buClr>
                <a:srgbClr val="9B1717"/>
              </a:buClr>
              <a:buSzPct val="100000"/>
              <a:buFont typeface="Arial" charset="0"/>
              <a:buNone/>
            </a:pPr>
            <a:fld id="{F923B178-6460-457A-AE91-7C9EF8F660C4}" type="datetime'''''''''''''''''''''''''2''''''''''''''''''''0''''''17'">
              <a:rPr lang="es-ES_tradnl" sz="1200" b="1" smtClean="0">
                <a:solidFill>
                  <a:srgbClr val="FFFFFF"/>
                </a:solidFill>
                <a:sym typeface="Arial" charset="0"/>
              </a:rPr>
              <a:pPr defTabSz="914400">
                <a:buClr>
                  <a:srgbClr val="9B1717"/>
                </a:buClr>
                <a:buSzPct val="100000"/>
                <a:buFont typeface="Arial" charset="0"/>
                <a:buNone/>
              </a:pPr>
              <a:t>2017</a:t>
            </a:fld>
            <a:endParaRPr lang="es-ES_tradnl" sz="1200" b="1" dirty="0">
              <a:solidFill>
                <a:srgbClr val="FFFFFF"/>
              </a:solidFill>
              <a:sym typeface="Arial" charset="0"/>
            </a:endParaRPr>
          </a:p>
        </p:txBody>
      </p:sp>
      <p:sp>
        <p:nvSpPr>
          <p:cNvPr id="957453" name="Text Placeholder 3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776538" y="1862138"/>
            <a:ext cx="377825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3" rIns="73025" bIns="36513" anchor="ctr"/>
          <a:lstStyle/>
          <a:p>
            <a:pPr defTabSz="914400"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FFFFFF"/>
                </a:solidFill>
                <a:sym typeface="Arial" charset="0"/>
              </a:rPr>
              <a:t>2T</a:t>
            </a:r>
            <a:endParaRPr lang="es-ES_tradnl" sz="1200" dirty="0">
              <a:solidFill>
                <a:srgbClr val="FFFFFF"/>
              </a:solidFill>
              <a:sym typeface="Arial" charset="0"/>
            </a:endParaRPr>
          </a:p>
        </p:txBody>
      </p:sp>
      <p:sp>
        <p:nvSpPr>
          <p:cNvPr id="957454" name="Text Placeholder 3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154363" y="1862138"/>
            <a:ext cx="568325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3" rIns="73025" bIns="36513" anchor="ctr"/>
          <a:lstStyle/>
          <a:p>
            <a:pPr defTabSz="914400"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FFFFFF"/>
                </a:solidFill>
                <a:sym typeface="+mn-lt"/>
              </a:rPr>
              <a:t>3T</a:t>
            </a:r>
            <a:endParaRPr lang="es-ES_tradnl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957455" name="Text Placeholder 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722688" y="1862138"/>
            <a:ext cx="569912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3" rIns="73025" bIns="36513" anchor="ctr"/>
          <a:lstStyle/>
          <a:p>
            <a:pPr defTabSz="914400"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FFFFFF"/>
                </a:solidFill>
                <a:sym typeface="+mn-lt"/>
              </a:rPr>
              <a:t>4T</a:t>
            </a:r>
            <a:endParaRPr lang="es-ES_tradnl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957456" name="Text Placeholder 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292600" y="1862138"/>
            <a:ext cx="563563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3" rIns="73025" bIns="36513" anchor="ctr"/>
          <a:lstStyle/>
          <a:p>
            <a:pPr defTabSz="914400"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FFFFFF"/>
                </a:solidFill>
                <a:sym typeface="+mn-lt"/>
              </a:rPr>
              <a:t>1T</a:t>
            </a:r>
            <a:endParaRPr lang="es-ES_tradnl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957457" name="Text Placeholder 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56163" y="1862138"/>
            <a:ext cx="561975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3" rIns="73025" bIns="36513" anchor="ctr"/>
          <a:lstStyle/>
          <a:p>
            <a:pPr defTabSz="914400"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FFFFFF"/>
                </a:solidFill>
                <a:sym typeface="+mn-lt"/>
              </a:rPr>
              <a:t>2T</a:t>
            </a:r>
            <a:endParaRPr lang="es-ES_tradnl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957458" name="Text Placeholder 3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418138" y="1862138"/>
            <a:ext cx="569912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3" rIns="73025" bIns="36513" anchor="ctr"/>
          <a:lstStyle/>
          <a:p>
            <a:pPr defTabSz="914400"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FFFFFF"/>
                </a:solidFill>
                <a:sym typeface="+mn-lt"/>
              </a:rPr>
              <a:t>3T</a:t>
            </a:r>
            <a:endParaRPr lang="es-ES_tradnl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957459" name="Text Placeholder 3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988050" y="1862138"/>
            <a:ext cx="568325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3" rIns="73025" bIns="36513" anchor="ctr"/>
          <a:lstStyle/>
          <a:p>
            <a:pPr defTabSz="914400"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FFFFFF"/>
                </a:solidFill>
                <a:sym typeface="+mn-lt"/>
              </a:rPr>
              <a:t>4T</a:t>
            </a:r>
            <a:endParaRPr lang="es-ES_tradnl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957460" name="Text Placeholder 3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556375" y="1862138"/>
            <a:ext cx="557213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3" rIns="73025" bIns="36513" anchor="ctr"/>
          <a:lstStyle/>
          <a:p>
            <a:pPr defTabSz="914400"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FFFFFF"/>
                </a:solidFill>
                <a:sym typeface="+mn-lt"/>
              </a:rPr>
              <a:t>1T</a:t>
            </a:r>
            <a:endParaRPr lang="es-ES_tradnl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957461" name="Text Placeholder 3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113588" y="1862138"/>
            <a:ext cx="563562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3" rIns="73025" bIns="36513" anchor="ctr"/>
          <a:lstStyle/>
          <a:p>
            <a:pPr defTabSz="914400"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FFFFFF"/>
                </a:solidFill>
                <a:sym typeface="+mn-lt"/>
              </a:rPr>
              <a:t>2T</a:t>
            </a:r>
            <a:endParaRPr lang="es-ES_tradnl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957462" name="Text Placeholder 3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677150" y="1862138"/>
            <a:ext cx="568325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3" rIns="73025" bIns="36513" anchor="ctr"/>
          <a:lstStyle/>
          <a:p>
            <a:pPr defTabSz="914400"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FFFFFF"/>
                </a:solidFill>
                <a:sym typeface="+mn-lt"/>
              </a:rPr>
              <a:t>3T</a:t>
            </a:r>
            <a:endParaRPr lang="es-ES_tradnl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957463" name="Text Placeholder 3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245475" y="1862138"/>
            <a:ext cx="569913" cy="255587"/>
          </a:xfrm>
          <a:prstGeom prst="rect">
            <a:avLst/>
          </a:prstGeom>
          <a:solidFill>
            <a:srgbClr val="858274"/>
          </a:solidFill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wrap="none" lIns="73025" tIns="36513" rIns="73025" bIns="36513" anchor="ctr"/>
          <a:lstStyle/>
          <a:p>
            <a:pPr defTabSz="914400"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FFFFFF"/>
                </a:solidFill>
                <a:sym typeface="+mn-lt"/>
              </a:rPr>
              <a:t>4T</a:t>
            </a:r>
            <a:endParaRPr lang="es-ES_tradnl" sz="1200" dirty="0">
              <a:solidFill>
                <a:srgbClr val="FFFFFF"/>
              </a:solidFill>
              <a:sym typeface="+mn-lt"/>
            </a:endParaRPr>
          </a:p>
        </p:txBody>
      </p:sp>
      <p:cxnSp>
        <p:nvCxnSpPr>
          <p:cNvPr id="55" name="Straight Connector 54"/>
          <p:cNvCxnSpPr/>
          <p:nvPr>
            <p:custDataLst>
              <p:tags r:id="rId20"/>
            </p:custDataLst>
          </p:nvPr>
        </p:nvCxnSpPr>
        <p:spPr bwMode="grayWhite">
          <a:xfrm>
            <a:off x="265113" y="1606550"/>
            <a:ext cx="0" cy="4341813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21"/>
            </p:custDataLst>
          </p:nvPr>
        </p:nvCxnSpPr>
        <p:spPr bwMode="grayWhite">
          <a:xfrm>
            <a:off x="265113" y="1606550"/>
            <a:ext cx="8550275" cy="0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>
            <p:custDataLst>
              <p:tags r:id="rId22"/>
            </p:custDataLst>
          </p:nvPr>
        </p:nvCxnSpPr>
        <p:spPr bwMode="gray">
          <a:xfrm>
            <a:off x="265113" y="3465513"/>
            <a:ext cx="8550275" cy="0"/>
          </a:xfrm>
          <a:prstGeom prst="line">
            <a:avLst/>
          </a:prstGeom>
          <a:ln w="6350" cap="flat">
            <a:solidFill>
              <a:srgbClr val="ADABA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>
            <p:custDataLst>
              <p:tags r:id="rId23"/>
            </p:custDataLst>
          </p:nvPr>
        </p:nvCxnSpPr>
        <p:spPr bwMode="gray">
          <a:xfrm>
            <a:off x="265113" y="4221163"/>
            <a:ext cx="8550275" cy="0"/>
          </a:xfrm>
          <a:prstGeom prst="line">
            <a:avLst/>
          </a:prstGeom>
          <a:ln w="6350" cap="flat">
            <a:solidFill>
              <a:srgbClr val="ADABA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Straight Connector 286"/>
          <p:cNvCxnSpPr/>
          <p:nvPr>
            <p:custDataLst>
              <p:tags r:id="rId24"/>
            </p:custDataLst>
          </p:nvPr>
        </p:nvCxnSpPr>
        <p:spPr bwMode="gray">
          <a:xfrm>
            <a:off x="265113" y="5735638"/>
            <a:ext cx="8550275" cy="0"/>
          </a:xfrm>
          <a:prstGeom prst="line">
            <a:avLst/>
          </a:prstGeom>
          <a:ln w="6350" cap="flat">
            <a:solidFill>
              <a:srgbClr val="ADABA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Straight Connector 285"/>
          <p:cNvCxnSpPr/>
          <p:nvPr>
            <p:custDataLst>
              <p:tags r:id="rId25"/>
            </p:custDataLst>
          </p:nvPr>
        </p:nvCxnSpPr>
        <p:spPr bwMode="gray">
          <a:xfrm>
            <a:off x="265113" y="5356225"/>
            <a:ext cx="8550275" cy="0"/>
          </a:xfrm>
          <a:prstGeom prst="line">
            <a:avLst/>
          </a:prstGeom>
          <a:ln w="6350" cap="flat">
            <a:solidFill>
              <a:srgbClr val="ADABA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Connector 277"/>
          <p:cNvCxnSpPr/>
          <p:nvPr>
            <p:custDataLst>
              <p:tags r:id="rId26"/>
            </p:custDataLst>
          </p:nvPr>
        </p:nvCxnSpPr>
        <p:spPr bwMode="gray">
          <a:xfrm>
            <a:off x="265113" y="4978400"/>
            <a:ext cx="8550275" cy="0"/>
          </a:xfrm>
          <a:prstGeom prst="line">
            <a:avLst/>
          </a:prstGeom>
          <a:ln w="6350" cap="flat">
            <a:solidFill>
              <a:srgbClr val="ADABA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27"/>
            </p:custDataLst>
          </p:nvPr>
        </p:nvCxnSpPr>
        <p:spPr bwMode="gray">
          <a:xfrm>
            <a:off x="265113" y="2330450"/>
            <a:ext cx="8550275" cy="0"/>
          </a:xfrm>
          <a:prstGeom prst="line">
            <a:avLst/>
          </a:prstGeom>
          <a:ln w="6350" cap="flat">
            <a:solidFill>
              <a:srgbClr val="ADABA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28"/>
            </p:custDataLst>
          </p:nvPr>
        </p:nvCxnSpPr>
        <p:spPr bwMode="grayWhite">
          <a:xfrm>
            <a:off x="265113" y="5948363"/>
            <a:ext cx="8550275" cy="0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29"/>
            </p:custDataLst>
          </p:nvPr>
        </p:nvCxnSpPr>
        <p:spPr bwMode="gray">
          <a:xfrm>
            <a:off x="265113" y="2708275"/>
            <a:ext cx="8550275" cy="0"/>
          </a:xfrm>
          <a:prstGeom prst="line">
            <a:avLst/>
          </a:prstGeom>
          <a:ln w="6350" cap="flat">
            <a:solidFill>
              <a:srgbClr val="ADABA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30"/>
            </p:custDataLst>
          </p:nvPr>
        </p:nvCxnSpPr>
        <p:spPr bwMode="grayWhite">
          <a:xfrm>
            <a:off x="265113" y="2117725"/>
            <a:ext cx="8550275" cy="0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7510" name="Text Placeholder 1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41313" y="5381625"/>
            <a:ext cx="1890712" cy="3302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000000"/>
                </a:solidFill>
                <a:sym typeface="+mn-lt"/>
              </a:rPr>
              <a:t>Aportación para el Capítulo General </a:t>
            </a:r>
            <a:br>
              <a:rPr lang="es-ES_tradnl" sz="1200" dirty="0" smtClean="0">
                <a:solidFill>
                  <a:srgbClr val="000000"/>
                </a:solidFill>
                <a:sym typeface="+mn-lt"/>
              </a:rPr>
            </a:br>
            <a:r>
              <a:rPr lang="es-ES_tradnl" sz="1200" dirty="0" smtClean="0">
                <a:solidFill>
                  <a:srgbClr val="000000"/>
                </a:solidFill>
                <a:sym typeface="+mn-lt"/>
              </a:rPr>
              <a:t>/ Revisión de las Constituciones</a:t>
            </a:r>
            <a:endParaRPr lang="es-ES_tradnl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57511" name="Text Placeholder 1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41313" y="2141538"/>
            <a:ext cx="1412875" cy="1651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000000"/>
                </a:solidFill>
                <a:sym typeface="+mn-lt"/>
              </a:rPr>
              <a:t>Puesta en marcha del Project </a:t>
            </a:r>
            <a:r>
              <a:rPr lang="es-ES_tradnl" sz="1200" dirty="0" err="1" smtClean="0">
                <a:solidFill>
                  <a:srgbClr val="000000"/>
                </a:solidFill>
                <a:sym typeface="+mn-lt"/>
              </a:rPr>
              <a:t>Team</a:t>
            </a:r>
            <a:endParaRPr lang="es-ES_tradnl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57512" name="Text Placeholder 1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41313" y="4789488"/>
            <a:ext cx="1257300" cy="1651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130175" lvl="1" defTabSz="914400">
              <a:lnSpc>
                <a:spcPct val="90000"/>
              </a:lnSpc>
              <a:buClr>
                <a:srgbClr val="9B1717"/>
              </a:buClr>
              <a:buFont typeface="Arial" charset="0"/>
              <a:buNone/>
            </a:pPr>
            <a:r>
              <a:rPr lang="es-ES_tradnl" sz="1200" dirty="0" smtClean="0">
                <a:solidFill>
                  <a:srgbClr val="000000"/>
                </a:solidFill>
                <a:sym typeface="Arial" charset="0"/>
              </a:rPr>
              <a:t>Implementación</a:t>
            </a:r>
            <a:endParaRPr lang="es-ES_tradnl" sz="12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957513" name="Text Placeholder 1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41313" y="4608513"/>
            <a:ext cx="1273175" cy="1651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130175" lvl="1" defTabSz="914400">
              <a:lnSpc>
                <a:spcPct val="90000"/>
              </a:lnSpc>
              <a:buClr>
                <a:srgbClr val="9B1717"/>
              </a:buClr>
              <a:buFont typeface="Arial" charset="0"/>
              <a:buNone/>
            </a:pPr>
            <a:r>
              <a:rPr lang="es-ES_tradnl" sz="1200" dirty="0" smtClean="0">
                <a:solidFill>
                  <a:srgbClr val="000000"/>
                </a:solidFill>
                <a:sym typeface="Arial" charset="0"/>
              </a:rPr>
              <a:t>Diseño de la estrategia</a:t>
            </a:r>
            <a:endParaRPr lang="es-ES_tradnl" sz="12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957514" name="Text Placeholder 1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41313" y="4427538"/>
            <a:ext cx="604837" cy="1651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130175" lvl="1" defTabSz="914400">
              <a:lnSpc>
                <a:spcPct val="90000"/>
              </a:lnSpc>
              <a:buClr>
                <a:srgbClr val="9B1717"/>
              </a:buClr>
              <a:buFont typeface="Arial" charset="0"/>
              <a:buNone/>
            </a:pPr>
            <a:r>
              <a:rPr lang="es-ES_tradnl" sz="1200" dirty="0" smtClean="0">
                <a:solidFill>
                  <a:srgbClr val="000000"/>
                </a:solidFill>
                <a:sym typeface="Arial" charset="0"/>
              </a:rPr>
              <a:t>Puesta en marcha</a:t>
            </a:r>
            <a:endParaRPr lang="es-ES_tradnl" sz="12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957515" name="Text Placeholder 1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41313" y="4246563"/>
            <a:ext cx="727075" cy="1651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000000"/>
                </a:solidFill>
                <a:sym typeface="+mn-lt"/>
              </a:rPr>
              <a:t>Provincias</a:t>
            </a:r>
            <a:endParaRPr lang="es-ES_tradnl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57516" name="Text Placeholder 1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41313" y="4032250"/>
            <a:ext cx="1257300" cy="1651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130175" lvl="1" defTabSz="914400">
              <a:lnSpc>
                <a:spcPct val="90000"/>
              </a:lnSpc>
              <a:buClr>
                <a:srgbClr val="9B1717"/>
              </a:buClr>
              <a:buFont typeface="Arial" charset="0"/>
              <a:buNone/>
            </a:pPr>
            <a:r>
              <a:rPr lang="es-ES_tradnl" sz="1200" dirty="0" smtClean="0">
                <a:solidFill>
                  <a:srgbClr val="000000"/>
                </a:solidFill>
                <a:sym typeface="+mn-lt"/>
              </a:rPr>
              <a:t>Implementación</a:t>
            </a:r>
            <a:endParaRPr lang="es-ES_tradnl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57517" name="Text Placeholder 1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41313" y="3851275"/>
            <a:ext cx="1273175" cy="1651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130175" lvl="1" defTabSz="914400">
              <a:lnSpc>
                <a:spcPct val="90000"/>
              </a:lnSpc>
              <a:buClr>
                <a:srgbClr val="9B1717"/>
              </a:buClr>
              <a:buFont typeface="Arial" charset="0"/>
              <a:buNone/>
            </a:pPr>
            <a:r>
              <a:rPr lang="es-ES_tradnl" sz="1200" dirty="0" smtClean="0">
                <a:solidFill>
                  <a:srgbClr val="000000"/>
                </a:solidFill>
                <a:sym typeface="Arial" charset="0"/>
              </a:rPr>
              <a:t>Diseño de la estrategia</a:t>
            </a:r>
            <a:endParaRPr lang="es-ES_tradnl" sz="12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957519" name="Text Placeholder 1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341313" y="3489325"/>
            <a:ext cx="601662" cy="1651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000000"/>
                </a:solidFill>
                <a:sym typeface="+mn-lt"/>
              </a:rPr>
              <a:t>Regiones</a:t>
            </a:r>
            <a:endParaRPr lang="es-ES_tradnl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57520" name="Text Placeholder 1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341313" y="3276600"/>
            <a:ext cx="1300162" cy="1651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130175" lvl="1" defTabSz="914400">
              <a:lnSpc>
                <a:spcPct val="90000"/>
              </a:lnSpc>
              <a:buClr>
                <a:srgbClr val="9B1717"/>
              </a:buClr>
              <a:buFont typeface="Arial" charset="0"/>
              <a:buNone/>
            </a:pPr>
            <a:r>
              <a:rPr lang="es-ES_tradnl" sz="1200" dirty="0" smtClean="0">
                <a:solidFill>
                  <a:srgbClr val="000000"/>
                </a:solidFill>
                <a:sym typeface="+mn-lt"/>
              </a:rPr>
              <a:t>Implementación</a:t>
            </a:r>
            <a:endParaRPr lang="es-ES_tradnl" sz="12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57521" name="Text Placeholder 1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341313" y="3095625"/>
            <a:ext cx="1273175" cy="1651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130175" lvl="1" defTabSz="914400">
              <a:lnSpc>
                <a:spcPct val="90000"/>
              </a:lnSpc>
              <a:buClr>
                <a:srgbClr val="9B1717"/>
              </a:buClr>
              <a:buFont typeface="Arial" charset="0"/>
              <a:buNone/>
            </a:pPr>
            <a:r>
              <a:rPr lang="es-ES_tradnl" sz="1200" dirty="0" smtClean="0">
                <a:solidFill>
                  <a:srgbClr val="000000"/>
                </a:solidFill>
                <a:sym typeface="Arial" charset="0"/>
              </a:rPr>
              <a:t>Diseño de la estrategia</a:t>
            </a:r>
            <a:endParaRPr lang="es-ES_tradnl" sz="12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957522" name="Text Placeholder 1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341313" y="2354263"/>
            <a:ext cx="1581150" cy="3302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000000"/>
                </a:solidFill>
                <a:sym typeface="Arial" charset="0"/>
              </a:rPr>
              <a:t>Definición de modelos </a:t>
            </a:r>
          </a:p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000000"/>
                </a:solidFill>
                <a:sym typeface="Arial" charset="0"/>
              </a:rPr>
              <a:t>y diseño de procesos clave</a:t>
            </a:r>
            <a:endParaRPr lang="es-ES_tradnl" sz="12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957523" name="Text Placeholder 1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341313" y="2914650"/>
            <a:ext cx="869950" cy="1651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130175" lvl="1" defTabSz="914400">
              <a:lnSpc>
                <a:spcPct val="90000"/>
              </a:lnSpc>
              <a:buClr>
                <a:srgbClr val="9B1717"/>
              </a:buClr>
              <a:buFont typeface="Arial" charset="0"/>
              <a:buNone/>
            </a:pPr>
            <a:r>
              <a:rPr lang="es-ES_tradnl" sz="1200" dirty="0" smtClean="0">
                <a:solidFill>
                  <a:srgbClr val="000000"/>
                </a:solidFill>
                <a:sym typeface="Arial" charset="0"/>
              </a:rPr>
              <a:t>Puesta en marcha en la AG</a:t>
            </a:r>
            <a:endParaRPr lang="es-ES_tradnl" sz="12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957524" name="Text Placeholder 1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341313" y="2733675"/>
            <a:ext cx="593725" cy="1651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000000"/>
                </a:solidFill>
                <a:sym typeface="Arial" charset="0"/>
              </a:rPr>
              <a:t>Instituto</a:t>
            </a:r>
            <a:endParaRPr lang="es-ES_tradnl" sz="12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957525" name="Text Placeholder 1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341313" y="5002213"/>
            <a:ext cx="1820862" cy="3302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000000"/>
                </a:solidFill>
                <a:sym typeface="Arial" charset="0"/>
              </a:rPr>
              <a:t>Comunicación y </a:t>
            </a:r>
          </a:p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000000"/>
                </a:solidFill>
                <a:sym typeface="Arial" charset="0"/>
              </a:rPr>
              <a:t>gestión del cambio</a:t>
            </a:r>
            <a:endParaRPr lang="es-ES_tradnl" sz="12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957526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341313" y="1916113"/>
            <a:ext cx="549275" cy="1651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FFFFFF"/>
                </a:solidFill>
                <a:sym typeface="+mn-lt"/>
              </a:rPr>
              <a:t>Acciones</a:t>
            </a:r>
            <a:endParaRPr lang="es-ES_tradnl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957527" name="Text Placeholder 1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341313" y="5759450"/>
            <a:ext cx="2359025" cy="1651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4400">
              <a:lnSpc>
                <a:spcPct val="90000"/>
              </a:lnSpc>
              <a:buClr>
                <a:srgbClr val="9B1717"/>
              </a:buClr>
              <a:buSzPct val="100000"/>
              <a:buFont typeface="Arial" charset="0"/>
              <a:buNone/>
            </a:pPr>
            <a:r>
              <a:rPr lang="es-ES_tradnl" sz="1200" dirty="0" smtClean="0">
                <a:solidFill>
                  <a:srgbClr val="000000"/>
                </a:solidFill>
                <a:sym typeface="Arial" charset="0"/>
              </a:rPr>
              <a:t>Coordinación con otros proyectos</a:t>
            </a:r>
            <a:endParaRPr lang="es-ES_tradnl" sz="12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957528" name="Text Placeholder 1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341313" y="3670300"/>
            <a:ext cx="604837" cy="1651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130175" lvl="1" defTabSz="914400">
              <a:lnSpc>
                <a:spcPct val="90000"/>
              </a:lnSpc>
              <a:buClr>
                <a:srgbClr val="9B1717"/>
              </a:buClr>
              <a:buFont typeface="Arial" charset="0"/>
              <a:buNone/>
            </a:pPr>
            <a:r>
              <a:rPr lang="es-ES_tradnl" sz="1200" dirty="0" smtClean="0">
                <a:solidFill>
                  <a:srgbClr val="000000"/>
                </a:solidFill>
                <a:sym typeface="Arial" charset="0"/>
              </a:rPr>
              <a:t>Puesta en marcha</a:t>
            </a:r>
            <a:endParaRPr lang="es-ES_tradnl" sz="12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957544" name="Rectangle 101"/>
          <p:cNvSpPr>
            <a:spLocks noChangeArrowheads="1"/>
          </p:cNvSpPr>
          <p:nvPr/>
        </p:nvSpPr>
        <p:spPr bwMode="auto">
          <a:xfrm>
            <a:off x="7258112" y="139700"/>
            <a:ext cx="1635063" cy="16619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14400">
              <a:lnSpc>
                <a:spcPct val="90000"/>
              </a:lnSpc>
            </a:pPr>
            <a:r>
              <a:rPr lang="es-ES_tradnl" sz="1200" dirty="0" smtClean="0">
                <a:solidFill>
                  <a:srgbClr val="000000"/>
                </a:solidFill>
              </a:rPr>
              <a:t>Plan de implementación</a:t>
            </a:r>
            <a:endParaRPr lang="es-ES_tradnl" sz="1200" dirty="0">
              <a:solidFill>
                <a:srgbClr val="000000"/>
              </a:solidFill>
            </a:endParaRPr>
          </a:p>
        </p:txBody>
      </p:sp>
      <p:sp>
        <p:nvSpPr>
          <p:cNvPr id="151" name="Isosceles Triangle 32"/>
          <p:cNvSpPr/>
          <p:nvPr>
            <p:custDataLst>
              <p:tags r:id="rId49"/>
            </p:custDataLst>
          </p:nvPr>
        </p:nvSpPr>
        <p:spPr bwMode="gray">
          <a:xfrm>
            <a:off x="3095625" y="6034088"/>
            <a:ext cx="179388" cy="155575"/>
          </a:xfrm>
          <a:prstGeom prst="triangle">
            <a:avLst/>
          </a:prstGeom>
          <a:solidFill>
            <a:srgbClr val="9B1717"/>
          </a:solidFill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52" name="Text Placeholder 5"/>
          <p:cNvSpPr>
            <a:spLocks noGrp="1"/>
          </p:cNvSpPr>
          <p:nvPr/>
        </p:nvSpPr>
        <p:spPr bwMode="auto">
          <a:xfrm>
            <a:off x="2889250" y="6288236"/>
            <a:ext cx="792000" cy="1651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s-ES_tradnl" sz="1200" dirty="0" smtClean="0">
                <a:latin typeface="+mn-lt"/>
                <a:sym typeface="+mn-lt"/>
              </a:rPr>
              <a:t>14/7/2015</a:t>
            </a:r>
            <a:endParaRPr lang="es-ES_tradnl" sz="1200" dirty="0">
              <a:latin typeface="+mn-lt"/>
              <a:sym typeface="+mn-lt"/>
            </a:endParaRPr>
          </a:p>
        </p:txBody>
      </p:sp>
      <p:sp>
        <p:nvSpPr>
          <p:cNvPr id="153" name="Isosceles Triangle 90"/>
          <p:cNvSpPr/>
          <p:nvPr/>
        </p:nvSpPr>
        <p:spPr bwMode="gray">
          <a:xfrm>
            <a:off x="7802711" y="6033666"/>
            <a:ext cx="179388" cy="155575"/>
          </a:xfrm>
          <a:prstGeom prst="triangle">
            <a:avLst/>
          </a:prstGeom>
          <a:solidFill>
            <a:srgbClr val="9B1717"/>
          </a:solidFill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s-ES_tradnl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54" name="Text Placeholder 5"/>
          <p:cNvSpPr>
            <a:spLocks noGrp="1"/>
          </p:cNvSpPr>
          <p:nvPr/>
        </p:nvSpPr>
        <p:spPr bwMode="auto">
          <a:xfrm>
            <a:off x="7596336" y="6287814"/>
            <a:ext cx="576000" cy="1651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s-ES_tradnl" sz="1200" dirty="0" smtClean="0">
                <a:sym typeface="+mn-lt"/>
              </a:rPr>
              <a:t>Capítulo General</a:t>
            </a:r>
            <a:endParaRPr lang="es-ES_tradnl" sz="1200" dirty="0">
              <a:latin typeface="+mn-lt"/>
              <a:sym typeface="+mn-lt"/>
            </a:endParaRPr>
          </a:p>
        </p:txBody>
      </p:sp>
      <p:sp>
        <p:nvSpPr>
          <p:cNvPr id="156" name="Isosceles Triangle 93"/>
          <p:cNvSpPr/>
          <p:nvPr/>
        </p:nvSpPr>
        <p:spPr bwMode="gray">
          <a:xfrm>
            <a:off x="4392612" y="6045733"/>
            <a:ext cx="179388" cy="155575"/>
          </a:xfrm>
          <a:prstGeom prst="triangle">
            <a:avLst/>
          </a:prstGeom>
          <a:solidFill>
            <a:srgbClr val="9B1717"/>
          </a:solidFill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s-ES_tradnl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 useBgFill="1">
        <p:nvSpPr>
          <p:cNvPr id="157" name="Text Placeholder 5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5097574" y="6287814"/>
            <a:ext cx="590550" cy="1651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03238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480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920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ES_tradnl" sz="1200" dirty="0" smtClean="0">
                <a:sym typeface="+mn-lt"/>
              </a:rPr>
              <a:t>Consejo General Ampliado Regional</a:t>
            </a:r>
            <a:endParaRPr lang="es-ES_tradnl" sz="1200" dirty="0">
              <a:latin typeface="+mn-lt"/>
              <a:sym typeface="+mn-lt"/>
            </a:endParaRPr>
          </a:p>
        </p:txBody>
      </p:sp>
      <p:sp>
        <p:nvSpPr>
          <p:cNvPr id="158" name="Isosceles Triangle 95"/>
          <p:cNvSpPr/>
          <p:nvPr/>
        </p:nvSpPr>
        <p:spPr bwMode="gray">
          <a:xfrm>
            <a:off x="4788024" y="6057292"/>
            <a:ext cx="179388" cy="155575"/>
          </a:xfrm>
          <a:prstGeom prst="triangle">
            <a:avLst/>
          </a:prstGeom>
          <a:solidFill>
            <a:srgbClr val="9B1717"/>
          </a:solidFill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s-ES_tradnl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9" name="Isosceles Triangle 97"/>
          <p:cNvSpPr/>
          <p:nvPr/>
        </p:nvSpPr>
        <p:spPr bwMode="gray">
          <a:xfrm>
            <a:off x="5436728" y="6057292"/>
            <a:ext cx="179388" cy="155575"/>
          </a:xfrm>
          <a:prstGeom prst="triangle">
            <a:avLst/>
          </a:prstGeom>
          <a:solidFill>
            <a:srgbClr val="9B1717"/>
          </a:solidFill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s-ES_tradnl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0" name="Isosceles Triangle 98"/>
          <p:cNvSpPr/>
          <p:nvPr/>
        </p:nvSpPr>
        <p:spPr bwMode="gray">
          <a:xfrm>
            <a:off x="5589128" y="6057292"/>
            <a:ext cx="179388" cy="155575"/>
          </a:xfrm>
          <a:prstGeom prst="triangle">
            <a:avLst/>
          </a:prstGeom>
          <a:solidFill>
            <a:srgbClr val="9B1717"/>
          </a:solidFill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s-ES_tradnl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1" name="Isosceles Triangle 99"/>
          <p:cNvSpPr/>
          <p:nvPr/>
        </p:nvSpPr>
        <p:spPr bwMode="gray">
          <a:xfrm>
            <a:off x="5741528" y="6057292"/>
            <a:ext cx="179388" cy="155575"/>
          </a:xfrm>
          <a:prstGeom prst="triangle">
            <a:avLst/>
          </a:prstGeom>
          <a:solidFill>
            <a:srgbClr val="9B1717"/>
          </a:solidFill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s-ES_tradnl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2" name="Isosceles Triangle 100"/>
          <p:cNvSpPr/>
          <p:nvPr/>
        </p:nvSpPr>
        <p:spPr bwMode="gray">
          <a:xfrm>
            <a:off x="6336828" y="6057292"/>
            <a:ext cx="179388" cy="155575"/>
          </a:xfrm>
          <a:prstGeom prst="triangle">
            <a:avLst/>
          </a:prstGeom>
          <a:solidFill>
            <a:srgbClr val="9B1717"/>
          </a:solidFill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s-ES_tradnl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64" name="Straight Connector 255"/>
          <p:cNvCxnSpPr/>
          <p:nvPr>
            <p:custDataLst>
              <p:tags r:id="rId51"/>
            </p:custDataLst>
          </p:nvPr>
        </p:nvCxnSpPr>
        <p:spPr bwMode="grayWhite">
          <a:xfrm>
            <a:off x="3722688" y="2117724"/>
            <a:ext cx="0" cy="383063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254"/>
          <p:cNvCxnSpPr/>
          <p:nvPr>
            <p:custDataLst>
              <p:tags r:id="rId52"/>
            </p:custDataLst>
          </p:nvPr>
        </p:nvCxnSpPr>
        <p:spPr bwMode="grayWhite">
          <a:xfrm>
            <a:off x="3154363" y="2117724"/>
            <a:ext cx="0" cy="383063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263"/>
          <p:cNvCxnSpPr/>
          <p:nvPr>
            <p:custDataLst>
              <p:tags r:id="rId53"/>
            </p:custDataLst>
          </p:nvPr>
        </p:nvCxnSpPr>
        <p:spPr bwMode="grayWhite">
          <a:xfrm>
            <a:off x="8245475" y="2117724"/>
            <a:ext cx="0" cy="383063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262"/>
          <p:cNvCxnSpPr/>
          <p:nvPr>
            <p:custDataLst>
              <p:tags r:id="rId54"/>
            </p:custDataLst>
          </p:nvPr>
        </p:nvCxnSpPr>
        <p:spPr bwMode="grayWhite">
          <a:xfrm>
            <a:off x="7677150" y="2117724"/>
            <a:ext cx="0" cy="383063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260"/>
          <p:cNvCxnSpPr/>
          <p:nvPr>
            <p:custDataLst>
              <p:tags r:id="rId55"/>
            </p:custDataLst>
          </p:nvPr>
        </p:nvCxnSpPr>
        <p:spPr bwMode="grayWhite">
          <a:xfrm>
            <a:off x="6556375" y="2117724"/>
            <a:ext cx="0" cy="383063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261"/>
          <p:cNvCxnSpPr/>
          <p:nvPr>
            <p:custDataLst>
              <p:tags r:id="rId56"/>
            </p:custDataLst>
          </p:nvPr>
        </p:nvCxnSpPr>
        <p:spPr bwMode="grayWhite">
          <a:xfrm>
            <a:off x="7113588" y="2117724"/>
            <a:ext cx="0" cy="383063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257"/>
          <p:cNvCxnSpPr/>
          <p:nvPr>
            <p:custDataLst>
              <p:tags r:id="rId57"/>
            </p:custDataLst>
          </p:nvPr>
        </p:nvCxnSpPr>
        <p:spPr bwMode="grayWhite">
          <a:xfrm>
            <a:off x="4856163" y="2117724"/>
            <a:ext cx="0" cy="383063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256"/>
          <p:cNvCxnSpPr/>
          <p:nvPr>
            <p:custDataLst>
              <p:tags r:id="rId58"/>
            </p:custDataLst>
          </p:nvPr>
        </p:nvCxnSpPr>
        <p:spPr bwMode="grayWhite">
          <a:xfrm>
            <a:off x="4292600" y="2117724"/>
            <a:ext cx="0" cy="383063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259"/>
          <p:cNvCxnSpPr/>
          <p:nvPr>
            <p:custDataLst>
              <p:tags r:id="rId59"/>
            </p:custDataLst>
          </p:nvPr>
        </p:nvCxnSpPr>
        <p:spPr bwMode="grayWhite">
          <a:xfrm>
            <a:off x="5988050" y="2117724"/>
            <a:ext cx="0" cy="383063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258"/>
          <p:cNvCxnSpPr/>
          <p:nvPr>
            <p:custDataLst>
              <p:tags r:id="rId60"/>
            </p:custDataLst>
          </p:nvPr>
        </p:nvCxnSpPr>
        <p:spPr bwMode="grayWhite">
          <a:xfrm>
            <a:off x="5418138" y="2117724"/>
            <a:ext cx="0" cy="383063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52"/>
          <p:cNvCxnSpPr/>
          <p:nvPr>
            <p:custDataLst>
              <p:tags r:id="rId61"/>
            </p:custDataLst>
          </p:nvPr>
        </p:nvCxnSpPr>
        <p:spPr bwMode="grayWhite">
          <a:xfrm>
            <a:off x="2776538" y="2117724"/>
            <a:ext cx="0" cy="383063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53"/>
          <p:cNvCxnSpPr/>
          <p:nvPr>
            <p:custDataLst>
              <p:tags r:id="rId62"/>
            </p:custDataLst>
          </p:nvPr>
        </p:nvCxnSpPr>
        <p:spPr bwMode="grayWhite">
          <a:xfrm>
            <a:off x="8815388" y="2117724"/>
            <a:ext cx="0" cy="3830638"/>
          </a:xfrm>
          <a:prstGeom prst="line">
            <a:avLst/>
          </a:prstGeom>
          <a:ln w="635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33"/>
          <p:cNvCxnSpPr/>
          <p:nvPr>
            <p:custDataLst>
              <p:tags r:id="rId63"/>
            </p:custDataLst>
          </p:nvPr>
        </p:nvCxnSpPr>
        <p:spPr bwMode="gray">
          <a:xfrm>
            <a:off x="3184525" y="2117725"/>
            <a:ext cx="0" cy="3994150"/>
          </a:xfrm>
          <a:prstGeom prst="line">
            <a:avLst/>
          </a:prstGeom>
          <a:ln w="19050" cap="flat">
            <a:solidFill>
              <a:srgbClr val="9B1717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Rectangle 289"/>
          <p:cNvSpPr/>
          <p:nvPr>
            <p:custDataLst>
              <p:tags r:id="rId64"/>
            </p:custDataLst>
          </p:nvPr>
        </p:nvSpPr>
        <p:spPr bwMode="gray">
          <a:xfrm>
            <a:off x="5760132" y="3124200"/>
            <a:ext cx="2088000" cy="107950"/>
          </a:xfrm>
          <a:prstGeom prst="rect">
            <a:avLst/>
          </a:prstGeom>
          <a:solidFill>
            <a:srgbClr val="9B1717"/>
          </a:solidFill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8" name="Right Arrow 303"/>
          <p:cNvSpPr/>
          <p:nvPr>
            <p:custDataLst>
              <p:tags r:id="rId65"/>
            </p:custDataLst>
          </p:nvPr>
        </p:nvSpPr>
        <p:spPr bwMode="gray">
          <a:xfrm>
            <a:off x="2838450" y="4978400"/>
            <a:ext cx="5976000" cy="215900"/>
          </a:xfrm>
          <a:prstGeom prst="rightArrow">
            <a:avLst>
              <a:gd name="adj1" fmla="val 50000"/>
              <a:gd name="adj2" fmla="val 40657"/>
            </a:avLst>
          </a:prstGeom>
          <a:solidFill>
            <a:srgbClr val="364086"/>
          </a:solidFill>
          <a:ln w="19050" cap="flat">
            <a:solidFill>
              <a:srgbClr val="36408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9" name="Rectangle 288"/>
          <p:cNvSpPr/>
          <p:nvPr>
            <p:custDataLst>
              <p:tags r:id="rId66"/>
            </p:custDataLst>
          </p:nvPr>
        </p:nvSpPr>
        <p:spPr bwMode="gray">
          <a:xfrm>
            <a:off x="4283968" y="2943225"/>
            <a:ext cx="1476000" cy="107950"/>
          </a:xfrm>
          <a:prstGeom prst="rect">
            <a:avLst/>
          </a:prstGeom>
          <a:solidFill>
            <a:srgbClr val="9B1717"/>
          </a:solidFill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0" name="Rectangle 298"/>
          <p:cNvSpPr/>
          <p:nvPr>
            <p:custDataLst>
              <p:tags r:id="rId67"/>
            </p:custDataLst>
          </p:nvPr>
        </p:nvSpPr>
        <p:spPr bwMode="auto">
          <a:xfrm>
            <a:off x="4337470" y="4637088"/>
            <a:ext cx="3946525" cy="107950"/>
          </a:xfrm>
          <a:prstGeom prst="rect">
            <a:avLst/>
          </a:prstGeom>
          <a:solidFill>
            <a:srgbClr val="EFEEEC"/>
          </a:solidFill>
          <a:ln w="19050" cap="flat">
            <a:solidFill>
              <a:srgbClr val="9B1717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1" name="Rectangle 300"/>
          <p:cNvSpPr/>
          <p:nvPr>
            <p:custDataLst>
              <p:tags r:id="rId68"/>
            </p:custDataLst>
          </p:nvPr>
        </p:nvSpPr>
        <p:spPr bwMode="gray">
          <a:xfrm>
            <a:off x="4283968" y="2762250"/>
            <a:ext cx="4536000" cy="107950"/>
          </a:xfrm>
          <a:prstGeom prst="rect">
            <a:avLst/>
          </a:prstGeom>
          <a:solidFill>
            <a:srgbClr val="364086"/>
          </a:solidFill>
          <a:ln w="19050" cap="flat">
            <a:solidFill>
              <a:srgbClr val="36408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2" name="Right Arrow 304"/>
          <p:cNvSpPr/>
          <p:nvPr>
            <p:custDataLst>
              <p:tags r:id="rId69"/>
            </p:custDataLst>
          </p:nvPr>
        </p:nvSpPr>
        <p:spPr bwMode="gray">
          <a:xfrm>
            <a:off x="2838450" y="5357813"/>
            <a:ext cx="5076000" cy="215900"/>
          </a:xfrm>
          <a:prstGeom prst="rightArrow">
            <a:avLst>
              <a:gd name="adj1" fmla="val 50000"/>
              <a:gd name="adj2" fmla="val 40657"/>
            </a:avLst>
          </a:prstGeom>
          <a:solidFill>
            <a:srgbClr val="364086"/>
          </a:solidFill>
          <a:ln w="19050" cap="flat">
            <a:solidFill>
              <a:srgbClr val="36408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3" name="Right Arrow 299"/>
          <p:cNvSpPr/>
          <p:nvPr>
            <p:custDataLst>
              <p:tags r:id="rId70"/>
            </p:custDataLst>
          </p:nvPr>
        </p:nvSpPr>
        <p:spPr bwMode="auto">
          <a:xfrm>
            <a:off x="4572420" y="4764088"/>
            <a:ext cx="4212000" cy="215900"/>
          </a:xfrm>
          <a:prstGeom prst="rightArrow">
            <a:avLst>
              <a:gd name="adj1" fmla="val 50000"/>
              <a:gd name="adj2" fmla="val 40657"/>
            </a:avLst>
          </a:prstGeom>
          <a:solidFill>
            <a:srgbClr val="EFEEEC"/>
          </a:solidFill>
          <a:ln w="19050" cap="flat">
            <a:solidFill>
              <a:srgbClr val="9B1717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4" name="Rectangle 12"/>
          <p:cNvSpPr/>
          <p:nvPr>
            <p:custDataLst>
              <p:tags r:id="rId71"/>
            </p:custDataLst>
          </p:nvPr>
        </p:nvSpPr>
        <p:spPr bwMode="gray">
          <a:xfrm>
            <a:off x="3379725" y="2384425"/>
            <a:ext cx="1084263" cy="107950"/>
          </a:xfrm>
          <a:prstGeom prst="rect">
            <a:avLst/>
          </a:prstGeom>
          <a:solidFill>
            <a:srgbClr val="9B1717"/>
          </a:solidFill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5" name="Rectangle 290"/>
          <p:cNvSpPr/>
          <p:nvPr>
            <p:custDataLst>
              <p:tags r:id="rId72"/>
            </p:custDataLst>
          </p:nvPr>
        </p:nvSpPr>
        <p:spPr bwMode="gray">
          <a:xfrm>
            <a:off x="2789238" y="2170113"/>
            <a:ext cx="1001713" cy="107950"/>
          </a:xfrm>
          <a:prstGeom prst="rect">
            <a:avLst/>
          </a:prstGeom>
          <a:solidFill>
            <a:srgbClr val="9B1717"/>
          </a:solidFill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6" name="Rectangle 293"/>
          <p:cNvSpPr/>
          <p:nvPr>
            <p:custDataLst>
              <p:tags r:id="rId73"/>
            </p:custDataLst>
          </p:nvPr>
        </p:nvSpPr>
        <p:spPr bwMode="gray">
          <a:xfrm>
            <a:off x="3455876" y="3717032"/>
            <a:ext cx="1733550" cy="107950"/>
          </a:xfrm>
          <a:prstGeom prst="rect">
            <a:avLst/>
          </a:prstGeom>
          <a:solidFill>
            <a:srgbClr val="9B1717"/>
          </a:solidFill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7" name="Rectangle 294"/>
          <p:cNvSpPr/>
          <p:nvPr>
            <p:custDataLst>
              <p:tags r:id="rId74"/>
            </p:custDataLst>
          </p:nvPr>
        </p:nvSpPr>
        <p:spPr bwMode="gray">
          <a:xfrm>
            <a:off x="3748088" y="3879850"/>
            <a:ext cx="2728913" cy="107950"/>
          </a:xfrm>
          <a:prstGeom prst="rect">
            <a:avLst/>
          </a:prstGeom>
          <a:solidFill>
            <a:srgbClr val="9B1717"/>
          </a:solidFill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8" name="Rectangle 297"/>
          <p:cNvSpPr/>
          <p:nvPr>
            <p:custDataLst>
              <p:tags r:id="rId75"/>
            </p:custDataLst>
          </p:nvPr>
        </p:nvSpPr>
        <p:spPr bwMode="auto">
          <a:xfrm>
            <a:off x="3773907" y="4456113"/>
            <a:ext cx="3959225" cy="107950"/>
          </a:xfrm>
          <a:prstGeom prst="rect">
            <a:avLst/>
          </a:prstGeom>
          <a:solidFill>
            <a:srgbClr val="EFEEEC"/>
          </a:solidFill>
          <a:ln w="19050" cap="flat">
            <a:solidFill>
              <a:srgbClr val="9B1717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9" name="Rectangle 292"/>
          <p:cNvSpPr/>
          <p:nvPr>
            <p:custDataLst>
              <p:tags r:id="rId76"/>
            </p:custDataLst>
          </p:nvPr>
        </p:nvSpPr>
        <p:spPr bwMode="gray">
          <a:xfrm>
            <a:off x="6566618" y="3305175"/>
            <a:ext cx="2268000" cy="107950"/>
          </a:xfrm>
          <a:prstGeom prst="rect">
            <a:avLst/>
          </a:prstGeom>
          <a:solidFill>
            <a:srgbClr val="9B1717"/>
          </a:solidFill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0" name="Rectangle 295"/>
          <p:cNvSpPr/>
          <p:nvPr>
            <p:custDataLst>
              <p:tags r:id="rId77"/>
            </p:custDataLst>
          </p:nvPr>
        </p:nvSpPr>
        <p:spPr bwMode="gray">
          <a:xfrm>
            <a:off x="4224338" y="4060825"/>
            <a:ext cx="4460875" cy="107950"/>
          </a:xfrm>
          <a:prstGeom prst="rect">
            <a:avLst/>
          </a:prstGeom>
          <a:solidFill>
            <a:srgbClr val="9B1717"/>
          </a:solidFill>
          <a:ln w="19050" cap="flat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1" name="Right Arrow 302"/>
          <p:cNvSpPr/>
          <p:nvPr>
            <p:custDataLst>
              <p:tags r:id="rId78"/>
            </p:custDataLst>
          </p:nvPr>
        </p:nvSpPr>
        <p:spPr bwMode="gray">
          <a:xfrm>
            <a:off x="3748507" y="4221163"/>
            <a:ext cx="5076000" cy="215900"/>
          </a:xfrm>
          <a:prstGeom prst="rightArrow">
            <a:avLst>
              <a:gd name="adj1" fmla="val 50000"/>
              <a:gd name="adj2" fmla="val 40657"/>
            </a:avLst>
          </a:prstGeom>
          <a:solidFill>
            <a:srgbClr val="364086"/>
          </a:solidFill>
          <a:ln w="19050" cap="flat">
            <a:solidFill>
              <a:srgbClr val="36408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2" name="Right Arrow 305"/>
          <p:cNvSpPr/>
          <p:nvPr>
            <p:custDataLst>
              <p:tags r:id="rId79"/>
            </p:custDataLst>
          </p:nvPr>
        </p:nvSpPr>
        <p:spPr bwMode="gray">
          <a:xfrm>
            <a:off x="2838450" y="5734050"/>
            <a:ext cx="5976000" cy="215900"/>
          </a:xfrm>
          <a:prstGeom prst="rightArrow">
            <a:avLst>
              <a:gd name="adj1" fmla="val 50000"/>
              <a:gd name="adj2" fmla="val 40657"/>
            </a:avLst>
          </a:prstGeom>
          <a:solidFill>
            <a:srgbClr val="364086"/>
          </a:solidFill>
          <a:ln w="19050" cap="flat">
            <a:solidFill>
              <a:srgbClr val="36408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3" name="Rectangle 291"/>
          <p:cNvSpPr/>
          <p:nvPr>
            <p:custDataLst>
              <p:tags r:id="rId80"/>
            </p:custDataLst>
          </p:nvPr>
        </p:nvSpPr>
        <p:spPr bwMode="auto">
          <a:xfrm>
            <a:off x="7891350" y="3124200"/>
            <a:ext cx="173038" cy="107950"/>
          </a:xfrm>
          <a:prstGeom prst="rect">
            <a:avLst/>
          </a:prstGeom>
          <a:solidFill>
            <a:srgbClr val="EFEEEC"/>
          </a:solidFill>
          <a:ln w="19050" cap="flat">
            <a:solidFill>
              <a:srgbClr val="9B1717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4" name="Rectangle 301"/>
          <p:cNvSpPr/>
          <p:nvPr>
            <p:custDataLst>
              <p:tags r:id="rId81"/>
            </p:custDataLst>
          </p:nvPr>
        </p:nvSpPr>
        <p:spPr bwMode="gray">
          <a:xfrm>
            <a:off x="3383866" y="3517900"/>
            <a:ext cx="5292000" cy="107950"/>
          </a:xfrm>
          <a:prstGeom prst="rect">
            <a:avLst/>
          </a:prstGeom>
          <a:solidFill>
            <a:srgbClr val="364086"/>
          </a:solidFill>
          <a:ln w="19050" cap="flat">
            <a:solidFill>
              <a:srgbClr val="36408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5" name="Rectangle 96"/>
          <p:cNvSpPr/>
          <p:nvPr/>
        </p:nvSpPr>
        <p:spPr bwMode="auto">
          <a:xfrm>
            <a:off x="5328084" y="3141030"/>
            <a:ext cx="396000" cy="107950"/>
          </a:xfrm>
          <a:prstGeom prst="rect">
            <a:avLst/>
          </a:prstGeom>
          <a:solidFill>
            <a:srgbClr val="EFEEEC"/>
          </a:solidFill>
          <a:ln w="19050" cap="flat">
            <a:solidFill>
              <a:srgbClr val="9B1717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s-ES_tradnl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0&quot;/&gt;&lt;CPresentation id=&quot;1&quot;&gt;&lt;m_precDefaultNumber/&gt;&lt;m_precDefaultPercent/&gt;&lt;m_precDefaultDate/&gt;&lt;m_precDefaultYear/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zzZXyodkSOHAOck6yymw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i2gq4wEUSHspnJoHt3.w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MaCXEqgkiCMVfuaz49lg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.SzrK8sESr3o9LyYhPEA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dVwpdaSUC7M.VYCxhnog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aHBDUbOE.O4e4VBtC2Pw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AZCqZO_ECygq3e2JmS_Q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V9vm_MJkao4wmbsbPDM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MGZHrgh0mZQ6tYzXqoSg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EbQNAXNk2krF79oy.vLQ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Gtij6rg0Gb0.j2Tf_Udg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4zTZ_.00udwXriBLhbBQ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YTlo9rgUqg3mXztrSKHw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SPZOJsWEmLbI_PCAfnrw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Scu.0HBkCjQnoPqwSWFw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7W4kgLu0qeSvX4VCUtAQ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8v4VmtgkO6KaI58DB92Q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nXiEw5N0.ciHoSEQqIo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35OLRcK0igp8ZwDWDCyA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EwNK7A1Uq915MMyMl6.w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aae5SSx0yyDILydtaMHA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bLJLmPKU21YAMXx7AtMQ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7.BxdIv0i425uUJzuQyw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0S4_iZz0uXljk.T3egOQ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zWHeMAEEqsa9jS4hI63w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ORVyP6LUyb2CstmBDUAA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3shTN1D0KDaHNmRjsj_Q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vVyt9KQ0aM7B9anPEd0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PgAkRvJUWJyEJJRvqJXA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lD6226ekKMyJO6r84IhA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lNi4bei0CM8dJ9FQj76g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1T0WJJJUm.Q5tYgtCV3A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yGNA80d068fQrXSVxwkw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lD6226ekKMyJO6r84IhA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lNi4bei0CM8dJ9FQj76g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lD6226ekKMyJO6r84IhA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lNi4bei0CM8dJ9FQj76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lD6226ekKMyJO6r84IhA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lNi4bei0CM8dJ9FQj76g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lD6226ekKMyJO6r84IhA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lNi4bei0CM8dJ9FQj76g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lD6226ekKMyJO6r84IhA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lNi4bei0CM8dJ9FQj76g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LqklL5YUu1oMZtVXyj5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7nulF2A0itAMHPUWpG8Q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XMKHJf9Ues8IWymrnZag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AxUYJjbkGGBIeSRSTzgQ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DrZiRHL02ltHYx53Mi0A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92uUoTRME62hq1OMDeDAw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r2y5tQwEiWzWoadm.dxA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CQQQ51ck.BrNuTIwu7QA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m1ke0lUUWHzvEZF7bvYw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P4IG_Nf0a4kjgFnKIhrQ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KTxZZ3ak6OmU39adH_d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Ig9z21AkCmPG581vJUeg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2FkhsFSES1_Y8nMQGMeA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wrLBaBvUGh27NPERP_Wg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IMZ1yQyUG3wDCxFl3Dag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Y0TjjjLE60QwxTO6vuXA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rQYRSkpECbPhZOjcLBGA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HrYIw7cEaxzEZs3fx.QA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eUN96qG0Od2eB4lP98mw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.BbIShuEOOqNLCh7l0Kw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4SqXP9DkWudA8uhil7Fw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bucI1pzEiLmSwKD0IBhw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NpBTnoxU.SnsjRtIKFQ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vUhSU7sUKrHorVJlKOtw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R7nlcyD06Qd0Zt50koJQ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_KjY60hUCjT1vr12vOvQ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oayZv_TkCNUoaMEI1pog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p6GgjHka3zWykgLuqrg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lciHMGvUa08AuRQ2daYw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itotmhbk6IMwrn_SpGMg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DLyAcaCk.5_e8krQJ9jA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J1LLAZTEKxoKr7XV.6jg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JtfFKHdEOw9OvaTXH2L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oebYHDiUGoKBNm3YF8Aw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SWZZpGI0GazmL6ymGBFA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Q8Regt60.Dofh51K1ZLw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fegV0y4kKNoPuv96Y2og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4U2r.3cUWOIqgYyFI1qQ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S42mnQqEueiYEb9tuWMw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R4Yd24RkaQXJlW1XRd_A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eUN96qG0Od2eB4lP98mw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7PiHH9T0mLSQlDN7qoYQ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oONDIrNUOBAj9eWyOm5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cIntkTD0Kiq8zO6PQOEw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FOsjJrhkOz7FDIUENiXA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RKkT7egkSNufqLMilBmA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SKWPIA9Uuqyu950RiALQ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tlsQpIZ0GI4UhPneebIA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2bCS9TGkyaNLCU.saTiQ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.8VpsX_E.GYdXjZVg2hA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WHnbILnUSF0dI8cPmQ2w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1.HnG6IkKMpTM9_qdnzA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Aps5KPekCvc6L2V4h1K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DbCCXUoE.9_28MDhuTqQ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zXzc5y70C8H.bkgwZHgQ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Juldq2KUayD24WpQwSnA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2IeBKGRU.EZ737uakNWw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hVpBAHL06tfY3AfEs91A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eUN96qG0Od2eB4lP98mw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Dz7jAXh0KFucpCdXDTfQ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HNEhV1KEWETQmwAak1Ag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g3tI_KMUue7HVqT9N06w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H02.SM7k.O_2TWTO5nG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Z79M.w3EOOy840A721rw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g3tI_KMUue7HVqT9N06w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eUN96qG0Od2eB4lP98mw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C0aNWUE0O.39biosJKQw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GfPtp5cUmobUF9dewXsw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upGJEfX0ezBlxKNdO.Eg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yfVgl5AUe1Rut6q6eCMg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tYbfRf.U2AWk7jt2OPIw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CRsegaUEyXl9i5i_40Ag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QF5RVgGkO0LN4Hh1HLW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g.Wu4Nnk21c9kC8ng6.w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Te4_5KE06gsHptAJ1Y_A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W1X9TXcUuo29RxQJEhFw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mNUKUXTkuAxXZoiDOjMw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SRePbm1Eq7S1KmwZuhgg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UWVJ7Y_E.QXN1w71U5sQ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ZMulXWz0GIS5mzdIIW7g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THaqm4kWmrZ9W90xJ.A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KQVZ6UukSNUJjWPjPEFg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iSQACLtEu4QnvsT9s_3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Sx.HEgGE6FUg16fBHdKg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w.jAuskEGq3nPG3o4VMg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jSQdY5JkqoUnDquMpQKQ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OpmXlgOU.5nA_tvQqQMQ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72d1x8x0GlwYCCAanDmA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gCsXfQ3EmpbeCzeMKO7w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yCJkt90UOQzIKG15kUkQ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J8HFZ2TUqu.ozQAFGEXA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hCxLj_A0WohBQeYDYq6Q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Ei5InMC0._OCi9XqVlb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6T_yiz5kCdjOporIS7_g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G1xQF10OtiQg5KZOhSA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MyQzngpUOmwNNZveBpYg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kuJY1xGk2JFUi38msnww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IuE9t2M0mmnevjirLyWQ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fzlAKykUKxquTDCijgwQ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hzH57h.kesM_rsuQnosQ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Ryi76bzUy6HX9RbNuzVA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2F8FIJbUCM7CWgHIvTlQ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2xM5tUaUivBLtzyhtgm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7pd1ROp0CIZ6NcPEIpwQ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DPrlEVSUykvzw0xoOykg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rO9_GoYEOltkhpysuPpw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jI9bBiEuyYtU7LoJ0Pw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VgF.MJD0KuJc98z9z_cw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8yebLYOESNI3FEgg0J5w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fHmxfztk.6Zs8sa7EG5A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dEliMVP0mdDnrJ2GByIA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.VUlw4vkSvOkgE8tikjw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1fIBcVJkmVXHOgfhQGx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zphcDKyrk6XZGOfr9cmvw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yRG9nPdEeb4RpjBKBftg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cUYSIfBUicBkYhj2MspA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FSSUKh.EGHnt7G8sMILg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91QwcpU0WfSCawfE8BZg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VgF.MJD0KuJc98z9z_cw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zPvgeBfEiheS066r1B8Q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4Ka3ZPc0iEoZHuurrttg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qn7Khq4UGMLWriZTHWuA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6ec1XkpEuYn_lYTaM_Z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kqryxCTEm2hjH04M8Ucw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KQVZ6UukSNUJjWPjPEFg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itRVLZ9kWfNZKJWtkGQQ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R4Yd24RkaQXJlW1XRd_A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njlRa6UEavTdP7vqovoA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BypVQ2Emud_pwEaRU0g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SkpPG40W27KBvn.9H.Q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S6WYPgpUy9IFZMbqXnUw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yfUanqM0C36RWacT5olQ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7CI89C5UKFSCP_YdeGV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HymxEIuESN1HIULSau9Q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QF5RVgGkO0LN4Hh1HLWQ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HsQJ.a30qjs5r54G62qA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AaeSrHQkuPbuu552z9Iw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iA6QPG5Uq_xXfx0W_6wg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cIntkTD0Kiq8zO6PQOEw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CQLfJyuEGEyUVM.5NAFg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kZhmDkJ0C6Fd3DzCvCcg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VgF.MJD0KuJc98z9z_cw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4juzCbdUyjvevV5PVi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BI3mo8AkSfBBs6UTeEyQ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b5IDOPDEOdKfrzZ1a8sw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z85HLUiEWFoJ6fNS_H.A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K4Ra530E2lz1NzQULxag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gHBsv5nEKw7znZnK5OOw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zF6KWRhUKlAas.lhtxMg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UaXmFGpEmlyeDkN3XdKQ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kfWKL1IEm.hJQs2BMnEg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BZxYwux06zBEIU28kTow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g3tI_KMUue7HVqT9N06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4lu.i9HkCj.g91mt9beQ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wDfYnrMUOQMW3TkXtSpg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spzGKc602LS6MJqZVPRw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DDricFJkirRirNNx.8HA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Qi4E2IiE2sh_qgWHfoyw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DYt95paE6PaWygkMFY4w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0rLhKEub06T1IDiEQXNbA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BB6vBQQUq3.Eis9v8ffw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S4tNMcKUyvTOvdDkKBVw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4b6CToC0minBMl6VXCG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ZARa7IF0CsKtkD2tKmAg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XMKHJf9Ues8IWymrnZag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AxUYJjbkGGBIeSRSTzgQ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DrZiRHL02ltHYx53Mi0A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92uUoTRME62hq1OMDeDAw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r2y5tQwEiWzWoadm.dxA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CQQQ51ck.BrNuTIwu7QA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m1ke0lUUWHzvEZF7bvYw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P4IG_Nf0a4kjgFnKIhrQ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KTxZZ3ak6OmU39adH_d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Ig9z21AkCmPG581vJUeg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2FkhsFSES1_Y8nMQGMeA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wrLBaBvUGh27NPERP_Wg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IMZ1yQyUG3wDCxFl3Dag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LqklL5YUu1oMZtVXyj5g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7nulF2A0itAMHPUWpG8Q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LqklL5YUu1oMZtVXyj5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7nulF2A0itAMHPUWpG8Q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Q6CVCWUUmlpwMiUlYK5Q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SoCN7X70mRdI5WPFH7Fw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Q6CVCWUUmlpwMiUlYK5Q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SoCN7X70mRdI5WPFH7Fw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MIeFhVJk2tlDN_fi6DDQ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L3NJvm6U62F9qm1_XT6w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wtj8Xilkiv6f_nQTblcg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KijcV1hkeBfr1mEC5a2A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dagv7AR0igXza4vXoyhg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0K96SE60i4p8ZHmWkFbQ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YUpo6b9UCNy2aqG9nyPg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05wam4fE.yJXk2XSpzQw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k65Tnt6EGqNOod0m64Ew"/>
</p:tagLst>
</file>

<file path=ppt/tags/tag1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cuXRdYUqKBtacY8gV8g"/>
</p:tagLst>
</file>

<file path=ppt/tags/tag1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LqklL5YUu1oMZtVXyj5g"/>
</p:tagLst>
</file>

<file path=ppt/tags/tag1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7nulF2A0itAMHPUWpG8Q"/>
</p:tagLst>
</file>

<file path=ppt/tags/tag1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lD6226ekKMyJO6r84IhA"/>
</p:tagLst>
</file>

<file path=ppt/tags/tag1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lNi4bei0CM8dJ9FQj76g"/>
</p:tagLst>
</file>

<file path=ppt/tags/tag1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1T0WJJJUm.Q5tYgtCV3A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yGNA80d068fQrXSVxwk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UGm18mwE6eXQC0xr_UdQ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lD6226ekKMyJO6r84IhA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lNi4bei0CM8dJ9FQj76g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1T0WJJJUm.Q5tYgtCV3A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yGNA80d068fQrXSVxwkw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LqklL5YUu1oMZtVXyj5g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7nulF2A0itAMHPUWpG8Q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dIJZgUH0ejuxesoct7ng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ZUTraq7Ue8nlKSGuGBr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o4j1UUIECkkSEJ6PhWDg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UwxGBry0.ivuT5xlJUrg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rIReJxaUSKThUYqOyPlA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N5uOzOa0qEkyWlnjFu3Q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iZ7XGKyEy4mDnkYF0EFw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oT1KFhuUKdnYGqvk96Tw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1ksLfPN0e2bRpxP7rr5Q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r5jsVp0U.Lyjm5VLu4sw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cEAvIiNEWYsPVK9S6sYQ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CuD7j5EU2RIenIGdm2L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qM1JoK60mXQrGKOmaRIQ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Ysrs.p4k.ubZGqcL2wWQ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Zv7pfS3E6oFHFmMLUyQw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StIUwqfkCQ6aZYgMQPrw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X1X83EFEWZyUofUlOVtg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yCxFaBLUOU_XeUKSABFg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OHSpzAM0mdCxsbF5Mgvg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rLIOyvgUyiV_wzqFYbbw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GUemII_06TJsIbZikqSQ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Yl5bh1b02yMWasqJP7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h4ZjTUckyBl8pB144plA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YnrPScbkCuyj.t0Gn7wg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4iYOiyN20ux8BT4GhqZVg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70s3egaEudTgVZ7qZYrw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gjprcYYEWCE5h5qgi6qA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dq5XiTakONneJv0i6EUA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jxMarZCEunc.LKeTppTw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gG73PjSE2Cpj7Bz7yi7A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L8ydCUXES75am7uaO4Qg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ii7SJWuU.dpnlkDKrR4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uApJ669UeMHYxNThQsqA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nII4hqV0W5JQ44d67Pyg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ydCPrpvk2reKSwL2mBag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d6fcCbG0mmD2V2cW_rgQ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FlsBn9SkWhX_eaYAz0Yw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KhRRReZ0W7p8wZJcZpdg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pq9Ki00UyIYn8LGj97mQ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_mmeeErUy7wl7va9vBPg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Mj24zdpUyQRq0EJn5fug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qclH78rkSpCTy_Jlu72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djb7SsZE.sbH_1FRpw5g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CERyZjeUyHamyDcTKojQ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NCs6qrT0OHsf0CNQfVOw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o.FH9__0W1rvObNUHf_g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7YiRsdOEK24uO95RpI4w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KTPQ0MR0.Aa6Ks9Yt6MA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lz7XJgbkOm4tTeBb8Kig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6Uu2d6rku_fKmi_58pyA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PjliMkw0us3AbJQLK.vA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J6Kr7DHUGgM6CZlMyMd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SK3gqDZEOTiek.zz2IhQ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2jUC8_SUOZdf2Oxqom7w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zMlQMcWESHl.O2AROGpg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FlMsNZnEqSGZ0ipJOeaA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r6cqOMpE6tEEj34.BR2A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aTxxtvQ06VYG7DWr1ayg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IF89iGPU.rcVqmpSg3IQ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_rF_3XnE.bLdjj3VyHBw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H2X3YwcEi.XfnHcyzJSQ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649tKbeUuU5rhQLZBzX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6BO1X80EuRFD4rUVodsA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pXgKmPdkqPwITBlTQPxA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MJcWHy0k.WZbp58qUZMw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G.wTgrMUCCuE0xIzfcOg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Unmhf_aUqTPqCDUYGKvw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RqSGOjhkaapdtoOYS4bw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ZGAfQveEWV50g71U8slQ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PTx20cxkWx1kksgHC6tQ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aWmR2cJ0KwNokfif0VaQ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BfkC39OkO3bJWzrvwTY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5WPz1hFEqiFR0lFxIEIA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qhupT.uUuTQBdTzYN4Ow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VSfqXRBUu9EmrrNxl2cw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nHeIVcpEK1D8O7EVcNqA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jVe4VBFEq7csOnMnPWnw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nuA71NXUOktkMMmsZOaw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EbO7a7T0qhIH3Sqz9yDQ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rQCuo.A0qw4vOq2gRViQ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eTBVLWkylw43A3bdDug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URh.VZI0uJfzr9.8SDw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ozNQXSykWhrlUj5Rbn_g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8gmspTS0WPejcXm6keUg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_QKo.tGUGhHSjvPlapOQ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heme/theme1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10.xml><?xml version="1.0" encoding="utf-8"?>
<a:theme xmlns:a="http://schemas.openxmlformats.org/drawingml/2006/main" name="9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11.xml><?xml version="1.0" encoding="utf-8"?>
<a:theme xmlns:a="http://schemas.openxmlformats.org/drawingml/2006/main" name="10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12.xml><?xml version="1.0" encoding="utf-8"?>
<a:theme xmlns:a="http://schemas.openxmlformats.org/drawingml/2006/main" name="11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13.xml><?xml version="1.0" encoding="utf-8"?>
<a:theme xmlns:a="http://schemas.openxmlformats.org/drawingml/2006/main" name="12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14.xml><?xml version="1.0" encoding="utf-8"?>
<a:theme xmlns:a="http://schemas.openxmlformats.org/drawingml/2006/main" name="13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15.xml><?xml version="1.0" encoding="utf-8"?>
<a:theme xmlns:a="http://schemas.openxmlformats.org/drawingml/2006/main" name="14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16.xml><?xml version="1.0" encoding="utf-8"?>
<a:theme xmlns:a="http://schemas.openxmlformats.org/drawingml/2006/main" name="15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17.xml><?xml version="1.0" encoding="utf-8"?>
<a:theme xmlns:a="http://schemas.openxmlformats.org/drawingml/2006/main" name="16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18.xml><?xml version="1.0" encoding="utf-8"?>
<a:theme xmlns:a="http://schemas.openxmlformats.org/drawingml/2006/main" name="17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19.xml><?xml version="1.0" encoding="utf-8"?>
<a:theme xmlns:a="http://schemas.openxmlformats.org/drawingml/2006/main" name="18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1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0.xml><?xml version="1.0" encoding="utf-8"?>
<a:theme xmlns:a="http://schemas.openxmlformats.org/drawingml/2006/main" name="19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1.xml><?xml version="1.0" encoding="utf-8"?>
<a:theme xmlns:a="http://schemas.openxmlformats.org/drawingml/2006/main" name="20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2.xml><?xml version="1.0" encoding="utf-8"?>
<a:theme xmlns:a="http://schemas.openxmlformats.org/drawingml/2006/main" name="21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3.xml><?xml version="1.0" encoding="utf-8"?>
<a:theme xmlns:a="http://schemas.openxmlformats.org/drawingml/2006/main" name="22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4.xml><?xml version="1.0" encoding="utf-8"?>
<a:theme xmlns:a="http://schemas.openxmlformats.org/drawingml/2006/main" name="23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5.xml><?xml version="1.0" encoding="utf-8"?>
<a:theme xmlns:a="http://schemas.openxmlformats.org/drawingml/2006/main" name="24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6.xml><?xml version="1.0" encoding="utf-8"?>
<a:theme xmlns:a="http://schemas.openxmlformats.org/drawingml/2006/main" name="25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7.xml><?xml version="1.0" encoding="utf-8"?>
<a:theme xmlns:a="http://schemas.openxmlformats.org/drawingml/2006/main" name="26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8.xml><?xml version="1.0" encoding="utf-8"?>
<a:theme xmlns:a="http://schemas.openxmlformats.org/drawingml/2006/main" name="27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9.xml><?xml version="1.0" encoding="utf-8"?>
<a:theme xmlns:a="http://schemas.openxmlformats.org/drawingml/2006/main" name="28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3.xml><?xml version="1.0" encoding="utf-8"?>
<a:theme xmlns:a="http://schemas.openxmlformats.org/drawingml/2006/main" name="2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30.xml><?xml version="1.0" encoding="utf-8"?>
<a:theme xmlns:a="http://schemas.openxmlformats.org/drawingml/2006/main" name="29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31.xml><?xml version="1.0" encoding="utf-8"?>
<a:theme xmlns:a="http://schemas.openxmlformats.org/drawingml/2006/main" name="30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32.xml><?xml version="1.0" encoding="utf-8"?>
<a:theme xmlns:a="http://schemas.openxmlformats.org/drawingml/2006/main" name="31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33.xml><?xml version="1.0" encoding="utf-8"?>
<a:theme xmlns:a="http://schemas.openxmlformats.org/drawingml/2006/main" name="32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34.xml><?xml version="1.0" encoding="utf-8"?>
<a:theme xmlns:a="http://schemas.openxmlformats.org/drawingml/2006/main" name="33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35.xml><?xml version="1.0" encoding="utf-8"?>
<a:theme xmlns:a="http://schemas.openxmlformats.org/drawingml/2006/main" name="34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36.xml><?xml version="1.0" encoding="utf-8"?>
<a:theme xmlns:a="http://schemas.openxmlformats.org/drawingml/2006/main" name="35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37.xml><?xml version="1.0" encoding="utf-8"?>
<a:theme xmlns:a="http://schemas.openxmlformats.org/drawingml/2006/main" name="36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38.xml><?xml version="1.0" encoding="utf-8"?>
<a:theme xmlns:a="http://schemas.openxmlformats.org/drawingml/2006/main" name="37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39.xml><?xml version="1.0" encoding="utf-8"?>
<a:theme xmlns:a="http://schemas.openxmlformats.org/drawingml/2006/main" name="38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4.xml><?xml version="1.0" encoding="utf-8"?>
<a:theme xmlns:a="http://schemas.openxmlformats.org/drawingml/2006/main" name="3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40.xml><?xml version="1.0" encoding="utf-8"?>
<a:theme xmlns:a="http://schemas.openxmlformats.org/drawingml/2006/main" name="39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41.xml><?xml version="1.0" encoding="utf-8"?>
<a:theme xmlns:a="http://schemas.openxmlformats.org/drawingml/2006/main" name="40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42.xml><?xml version="1.0" encoding="utf-8"?>
<a:theme xmlns:a="http://schemas.openxmlformats.org/drawingml/2006/main" name="41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43.xml><?xml version="1.0" encoding="utf-8"?>
<a:theme xmlns:a="http://schemas.openxmlformats.org/drawingml/2006/main" name="42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44.xml><?xml version="1.0" encoding="utf-8"?>
<a:theme xmlns:a="http://schemas.openxmlformats.org/drawingml/2006/main" name="43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45.xml><?xml version="1.0" encoding="utf-8"?>
<a:theme xmlns:a="http://schemas.openxmlformats.org/drawingml/2006/main" name="44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46.xml><?xml version="1.0" encoding="utf-8"?>
<a:theme xmlns:a="http://schemas.openxmlformats.org/drawingml/2006/main" name="45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47.xml><?xml version="1.0" encoding="utf-8"?>
<a:theme xmlns:a="http://schemas.openxmlformats.org/drawingml/2006/main" name="46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48.xml><?xml version="1.0" encoding="utf-8"?>
<a:theme xmlns:a="http://schemas.openxmlformats.org/drawingml/2006/main" name="47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49.xml><?xml version="1.0" encoding="utf-8"?>
<a:theme xmlns:a="http://schemas.openxmlformats.org/drawingml/2006/main" name="48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5.xml><?xml version="1.0" encoding="utf-8"?>
<a:theme xmlns:a="http://schemas.openxmlformats.org/drawingml/2006/main" name="4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50.xml><?xml version="1.0" encoding="utf-8"?>
<a:theme xmlns:a="http://schemas.openxmlformats.org/drawingml/2006/main" name="49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51.xml><?xml version="1.0" encoding="utf-8"?>
<a:theme xmlns:a="http://schemas.openxmlformats.org/drawingml/2006/main" name="50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52.xml><?xml version="1.0" encoding="utf-8"?>
<a:theme xmlns:a="http://schemas.openxmlformats.org/drawingml/2006/main" name="51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53.xml><?xml version="1.0" encoding="utf-8"?>
<a:theme xmlns:a="http://schemas.openxmlformats.org/drawingml/2006/main" name="52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54.xml><?xml version="1.0" encoding="utf-8"?>
<a:theme xmlns:a="http://schemas.openxmlformats.org/drawingml/2006/main" name="53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55.xml><?xml version="1.0" encoding="utf-8"?>
<a:theme xmlns:a="http://schemas.openxmlformats.org/drawingml/2006/main" name="54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56.xml><?xml version="1.0" encoding="utf-8"?>
<a:theme xmlns:a="http://schemas.openxmlformats.org/drawingml/2006/main" name="55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57.xml><?xml version="1.0" encoding="utf-8"?>
<a:theme xmlns:a="http://schemas.openxmlformats.org/drawingml/2006/main" name="56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58.xml><?xml version="1.0" encoding="utf-8"?>
<a:theme xmlns:a="http://schemas.openxmlformats.org/drawingml/2006/main" name="57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59.xml><?xml version="1.0" encoding="utf-8"?>
<a:theme xmlns:a="http://schemas.openxmlformats.org/drawingml/2006/main" name="58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6.xml><?xml version="1.0" encoding="utf-8"?>
<a:theme xmlns:a="http://schemas.openxmlformats.org/drawingml/2006/main" name="5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60.xml><?xml version="1.0" encoding="utf-8"?>
<a:theme xmlns:a="http://schemas.openxmlformats.org/drawingml/2006/main" name="59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61.xml><?xml version="1.0" encoding="utf-8"?>
<a:theme xmlns:a="http://schemas.openxmlformats.org/drawingml/2006/main" name="60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62.xml><?xml version="1.0" encoding="utf-8"?>
<a:theme xmlns:a="http://schemas.openxmlformats.org/drawingml/2006/main" name="61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63.xml><?xml version="1.0" encoding="utf-8"?>
<a:theme xmlns:a="http://schemas.openxmlformats.org/drawingml/2006/main" name="62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64.xml><?xml version="1.0" encoding="utf-8"?>
<a:theme xmlns:a="http://schemas.openxmlformats.org/drawingml/2006/main" name="63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65.xml><?xml version="1.0" encoding="utf-8"?>
<a:theme xmlns:a="http://schemas.openxmlformats.org/drawingml/2006/main" name="64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66.xml><?xml version="1.0" encoding="utf-8"?>
<a:theme xmlns:a="http://schemas.openxmlformats.org/drawingml/2006/main" name="65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67.xml><?xml version="1.0" encoding="utf-8"?>
<a:theme xmlns:a="http://schemas.openxmlformats.org/drawingml/2006/main" name="66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68.xml><?xml version="1.0" encoding="utf-8"?>
<a:theme xmlns:a="http://schemas.openxmlformats.org/drawingml/2006/main" name="67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69.xml><?xml version="1.0" encoding="utf-8"?>
<a:theme xmlns:a="http://schemas.openxmlformats.org/drawingml/2006/main" name="68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7.xml><?xml version="1.0" encoding="utf-8"?>
<a:theme xmlns:a="http://schemas.openxmlformats.org/drawingml/2006/main" name="6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70.xml><?xml version="1.0" encoding="utf-8"?>
<a:theme xmlns:a="http://schemas.openxmlformats.org/drawingml/2006/main" name="69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71.xml><?xml version="1.0" encoding="utf-8"?>
<a:theme xmlns:a="http://schemas.openxmlformats.org/drawingml/2006/main" name="70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72.xml><?xml version="1.0" encoding="utf-8"?>
<a:theme xmlns:a="http://schemas.openxmlformats.org/drawingml/2006/main" name="71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73.xml><?xml version="1.0" encoding="utf-8"?>
<a:theme xmlns:a="http://schemas.openxmlformats.org/drawingml/2006/main" name="72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74.xml><?xml version="1.0" encoding="utf-8"?>
<a:theme xmlns:a="http://schemas.openxmlformats.org/drawingml/2006/main" name="73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75.xml><?xml version="1.0" encoding="utf-8"?>
<a:theme xmlns:a="http://schemas.openxmlformats.org/drawingml/2006/main" name="74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76.xml><?xml version="1.0" encoding="utf-8"?>
<a:theme xmlns:a="http://schemas.openxmlformats.org/drawingml/2006/main" name="75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77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7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9.xml><?xml version="1.0" encoding="utf-8"?>
<a:theme xmlns:a="http://schemas.openxmlformats.org/drawingml/2006/main" name="8_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83</TotalTime>
  <Words>17604</Words>
  <Application>Microsoft Macintosh PowerPoint</Application>
  <PresentationFormat>Presentación en pantalla (4:3)</PresentationFormat>
  <Paragraphs>1779</Paragraphs>
  <Slides>104</Slides>
  <Notes>37</Notes>
  <HiddenSlides>0</HiddenSlides>
  <MMClips>0</MMClips>
  <ScaleCrop>false</ScaleCrop>
  <HeadingPairs>
    <vt:vector size="6" baseType="variant">
      <vt:variant>
        <vt:lpstr>Tema</vt:lpstr>
      </vt:variant>
      <vt:variant>
        <vt:i4>7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4</vt:i4>
      </vt:variant>
    </vt:vector>
  </HeadingPairs>
  <TitlesOfParts>
    <vt:vector size="181" baseType="lpstr">
      <vt:lpstr>Blank</vt:lpstr>
      <vt:lpstr>1_Blank</vt:lpstr>
      <vt:lpstr>2_Blank</vt:lpstr>
      <vt:lpstr>3_Blank</vt:lpstr>
      <vt:lpstr>4_Blank</vt:lpstr>
      <vt:lpstr>5_Blank</vt:lpstr>
      <vt:lpstr>6_Blank</vt:lpstr>
      <vt:lpstr>7_Blank</vt:lpstr>
      <vt:lpstr>8_Blank</vt:lpstr>
      <vt:lpstr>9_Blank</vt:lpstr>
      <vt:lpstr>10_Blank</vt:lpstr>
      <vt:lpstr>11_Blank</vt:lpstr>
      <vt:lpstr>12_Blank</vt:lpstr>
      <vt:lpstr>13_Blank</vt:lpstr>
      <vt:lpstr>14_Blank</vt:lpstr>
      <vt:lpstr>15_Blank</vt:lpstr>
      <vt:lpstr>16_Blank</vt:lpstr>
      <vt:lpstr>17_Blank</vt:lpstr>
      <vt:lpstr>18_Blank</vt:lpstr>
      <vt:lpstr>19_Blank</vt:lpstr>
      <vt:lpstr>20_Blank</vt:lpstr>
      <vt:lpstr>21_Blank</vt:lpstr>
      <vt:lpstr>22_Blank</vt:lpstr>
      <vt:lpstr>23_Blank</vt:lpstr>
      <vt:lpstr>24_Blank</vt:lpstr>
      <vt:lpstr>25_Blank</vt:lpstr>
      <vt:lpstr>26_Blank</vt:lpstr>
      <vt:lpstr>27_Blank</vt:lpstr>
      <vt:lpstr>28_Blank</vt:lpstr>
      <vt:lpstr>29_Blank</vt:lpstr>
      <vt:lpstr>30_Blank</vt:lpstr>
      <vt:lpstr>31_Blank</vt:lpstr>
      <vt:lpstr>32_Blank</vt:lpstr>
      <vt:lpstr>33_Blank</vt:lpstr>
      <vt:lpstr>34_Blank</vt:lpstr>
      <vt:lpstr>35_Blank</vt:lpstr>
      <vt:lpstr>36_Blank</vt:lpstr>
      <vt:lpstr>37_Blank</vt:lpstr>
      <vt:lpstr>38_Blank</vt:lpstr>
      <vt:lpstr>39_Blank</vt:lpstr>
      <vt:lpstr>40_Blank</vt:lpstr>
      <vt:lpstr>41_Blank</vt:lpstr>
      <vt:lpstr>42_Blank</vt:lpstr>
      <vt:lpstr>43_Blank</vt:lpstr>
      <vt:lpstr>44_Blank</vt:lpstr>
      <vt:lpstr>45_Blank</vt:lpstr>
      <vt:lpstr>46_Blank</vt:lpstr>
      <vt:lpstr>47_Blank</vt:lpstr>
      <vt:lpstr>48_Blank</vt:lpstr>
      <vt:lpstr>49_Blank</vt:lpstr>
      <vt:lpstr>50_Blank</vt:lpstr>
      <vt:lpstr>51_Blank</vt:lpstr>
      <vt:lpstr>52_Blank</vt:lpstr>
      <vt:lpstr>53_Blank</vt:lpstr>
      <vt:lpstr>54_Blank</vt:lpstr>
      <vt:lpstr>55_Blank</vt:lpstr>
      <vt:lpstr>56_Blank</vt:lpstr>
      <vt:lpstr>57_Blank</vt:lpstr>
      <vt:lpstr>58_Blank</vt:lpstr>
      <vt:lpstr>59_Blank</vt:lpstr>
      <vt:lpstr>60_Blank</vt:lpstr>
      <vt:lpstr>61_Blank</vt:lpstr>
      <vt:lpstr>62_Blank</vt:lpstr>
      <vt:lpstr>63_Blank</vt:lpstr>
      <vt:lpstr>64_Blank</vt:lpstr>
      <vt:lpstr>65_Blank</vt:lpstr>
      <vt:lpstr>66_Blank</vt:lpstr>
      <vt:lpstr>67_Blank</vt:lpstr>
      <vt:lpstr>68_Blank</vt:lpstr>
      <vt:lpstr>69_Blank</vt:lpstr>
      <vt:lpstr>70_Blank</vt:lpstr>
      <vt:lpstr>71_Blank</vt:lpstr>
      <vt:lpstr>72_Blank</vt:lpstr>
      <vt:lpstr>73_Blank</vt:lpstr>
      <vt:lpstr>74_Blank</vt:lpstr>
      <vt:lpstr>75_Blank</vt:lpstr>
      <vt:lpstr>think-cell Slide</vt:lpstr>
      <vt:lpstr>Nuevos Modelos de Animación, Gobernanza y Gestión </vt:lpstr>
      <vt:lpstr>Presentación de PowerPoint</vt:lpstr>
      <vt:lpstr>Índice</vt:lpstr>
      <vt:lpstr>Presentación de PowerPoint</vt:lpstr>
      <vt:lpstr>Presentación de PowerPoint</vt:lpstr>
      <vt:lpstr>Preguntas por responder </vt:lpstr>
      <vt:lpstr>Presentación de PowerPoint</vt:lpstr>
      <vt:lpstr>Proyecto del Plan</vt:lpstr>
      <vt:lpstr>Entre marzo y junio, el Equipo del Proyecto ha recogido un buen número de aportaciones positivas sobre la propuesta</vt:lpstr>
      <vt:lpstr>Concretamente, las aportaciones recibidas muestran un alto compromiso con las propuestas de Nuevos Modelos…</vt:lpstr>
      <vt:lpstr>…con sugerencias importantes.</vt:lpstr>
      <vt:lpstr>En el contexto europeo se ha realizado una primera aproximación a las prioridades comunes.</vt:lpstr>
      <vt:lpstr>En Arco Norte la reflexión se centró en las Finanzas y se coincidió en la necesidad de compartir conocimientos</vt:lpstr>
      <vt:lpstr>Paralelamente nos estamos coordinando con otros proyectos que se desarrollan a nivel de Instituto</vt:lpstr>
      <vt:lpstr>Índice</vt:lpstr>
      <vt:lpstr>Nuestros principios maristas…</vt:lpstr>
      <vt:lpstr>…han inspirado algunos principios de los Nuevos Modelos</vt:lpstr>
      <vt:lpstr>Directrices </vt:lpstr>
      <vt:lpstr>Índice</vt:lpstr>
      <vt:lpstr>Nuestro nuevo comienzo empieza desde nuestra Visión y necesita involucrar a nuestras personas y nuestra Misión</vt:lpstr>
      <vt:lpstr>Nuestras personas: Hermanos y Laicos felices, apasionados y comprometidos con el carisma Marista.</vt:lpstr>
      <vt:lpstr>¿Cómo podemos mejorar nuestra respuesta vocacional?  Áreas clave de mejora subrayadas en la fase de evaluación del diagnóstico</vt:lpstr>
      <vt:lpstr>¿Cómo podemos mejorar nuestra respuesta vocacional?  Propuestas clave (1 de 2)</vt:lpstr>
      <vt:lpstr>¿Cómo podemos mejorar nuestra respuesta vocacional?  Propuestas clave (2 de 2)</vt:lpstr>
      <vt:lpstr>¿Estamos desarrollando adecuadamente a nuestras personas?  Áreas clave de mejora subrayadas en la fase de evaluación del diagnóstico.</vt:lpstr>
      <vt:lpstr>¿Estamos desarrollando adecuadamente a nuestras personas?  Propuestas clave</vt:lpstr>
      <vt:lpstr>¿Cómo podemos favorecer el compromiso de los laicos? Principales áreas de mejora resaltadas en la fase de diagnóstico.</vt:lpstr>
      <vt:lpstr>¿Cómo podemos favorecer el compromiso de los laicos? Propuestas clave</vt:lpstr>
      <vt:lpstr>Dependiendo de los diferentes segmentos de laicos implicados en la Misión, el Instituto desarrollará distintas actividades de animación</vt:lpstr>
      <vt:lpstr>¿Cómo pueden nuestros procesos internos facilitar un nuevo comienzo? Áreas clave de mejora subrayadas en la fase de evaluación del diagnóstico.</vt:lpstr>
      <vt:lpstr>¿Cómo pueden nuestros procesos internos facilitar un nuevo comienzo? Propuestas clave (1 de 2)</vt:lpstr>
      <vt:lpstr>¿Cómo pueden nuestros procesos internos facilitar un nuevo comienzo? Propuestas clave (2 de 2)</vt:lpstr>
      <vt:lpstr>Horizontes de futuro (1 de 3)</vt:lpstr>
      <vt:lpstr>Horizontes de futuro (2 de 3)</vt:lpstr>
      <vt:lpstr>Horizontes de futuro (3 de 3)</vt:lpstr>
      <vt:lpstr>Índice</vt:lpstr>
      <vt:lpstr>Nuestro nuevo comienzo empieza desde nuestra Visión y necesita involucrar a nuestras personas y nuestra Misión</vt:lpstr>
      <vt:lpstr>Mejorar la efectividad y garantizar a medio-largo plazo la sostenibilidad de nuestra misión</vt:lpstr>
      <vt:lpstr>¿Estamos definiendo adecuadamente nuestros objetivos? – Áreas clave de mejora subrayadas en la fase de evaluación del diagnóstico.</vt:lpstr>
      <vt:lpstr>¿Estamos definiendo adecuadamente nuestros objetivos?– Propuestas clave</vt:lpstr>
      <vt:lpstr>¿Estamos definiendo adecuadamente nuestros objetivos? – Responsabilidades, competencias necesarias y procesos</vt:lpstr>
      <vt:lpstr>¿Estamos bien organizados? – Áreas clave de mejora subrayadas en la fase de evaluación del diagnóstico.</vt:lpstr>
      <vt:lpstr>¿Estamos bien organizados?– Propuestas clave (1 de 3)</vt:lpstr>
      <vt:lpstr>¿Estamos bien organizados?– Propuestas clave (2 de 3)</vt:lpstr>
      <vt:lpstr>¿Estamos bien organizados?– Propuestas clave (3 de 3)</vt:lpstr>
      <vt:lpstr>La organización del Instituto Marista incluye las dimensiones típicas de una “organización familiar”</vt:lpstr>
      <vt:lpstr>Maristas es un mundo complejo que requiere un conjunto diversificado de enfoques y de competencias adecuadas …</vt:lpstr>
      <vt:lpstr>…que se destinarán a diferentes estructuras…</vt:lpstr>
      <vt:lpstr>… replicadas coherentemente a todos los niveles del Instituto para garantizar una organización global muy bien conectada.</vt:lpstr>
      <vt:lpstr>… replicadas coherentemente a todos los niveles del Instituto para garantizar una organización global muy bien conectada.</vt:lpstr>
      <vt:lpstr>La nueva estructura propuesta para la AG definirá la distribución de responsabilidades en las diferentes áreas</vt:lpstr>
      <vt:lpstr>Diferentes órganos de gobierno desempeñando roles de gestión y de responsabilidad clave</vt:lpstr>
      <vt:lpstr>La nueva Asamblea de Misión estará a cargo de implicar a diferentes agentes de la Misión para definir directrices… </vt:lpstr>
      <vt:lpstr>… el Consejo General mantendrá la toma de decisiones final y se enfocará en el liderazgo de la “Familia”…</vt:lpstr>
      <vt:lpstr>… el Consejo de Misión se centrará en la gestión diaria de la Misión, de acuerdo con su autoridad delegada… </vt:lpstr>
      <vt:lpstr>… y el Economato estará a cargo de controlar la asignación adecuada de recursos y de preservar la sostenibilidad del Instituto a largo plazo</vt:lpstr>
      <vt:lpstr>El Comité de Riesgos establecerá pautas globales para las inversiones</vt:lpstr>
      <vt:lpstr>Los Proyectos especiales deben ser guiados por un Comité de Implementación para evaluar las oportunidades y su implementación</vt:lpstr>
      <vt:lpstr>La nueva estructura propuesta para las Provincias coincidirá con la de la Administración General ...</vt:lpstr>
      <vt:lpstr>… donde el Hermano Provincial con su Consejo tienen la última responsabilidad en línea con una gestión “familiar”… </vt:lpstr>
      <vt:lpstr>… el Consejo de Misión se centra en la gestión diaria de la Misión, de acuerdo con su autoridad delegada…</vt:lpstr>
      <vt:lpstr>… y el Economato Provincial estará a cargo de la distribución y el control de los recursos así como de preservar la sostenibilidad del Instituto a largo plazo.</vt:lpstr>
      <vt:lpstr>La Regionalización es un proceso evolutivo</vt:lpstr>
      <vt:lpstr>Finalmente, la estructura Regional tendrá el nivel de complejidad que le deleguen las Provincias en cada Región…</vt:lpstr>
      <vt:lpstr>… con un modelo de Gobernanza Regional que involucra a la AG y a las Provincias</vt:lpstr>
      <vt:lpstr>Las estructuras Regionales consistirán por una parte en las ya previstas en las Constituciones…</vt:lpstr>
      <vt:lpstr>… con sus actividades propias …</vt:lpstr>
      <vt:lpstr>… y por otra en estructuras de apoyo a la Misión …</vt:lpstr>
      <vt:lpstr>… con actividades enfocadas a generar economías de escala y otras tareas especializadas</vt:lpstr>
      <vt:lpstr>Para evitar las duplicaciones, las actividades serán asignadas a nivel provincial o regional</vt:lpstr>
      <vt:lpstr>Para que los procesos de gobernanza de la Misión funcionen de forma más integrada y ‘global’, tendremos una planificación coordinada…</vt:lpstr>
      <vt:lpstr>…que se aplique a todos los niveles…</vt:lpstr>
      <vt:lpstr>… y apoyada por procesos de gobernanza horizontal para facilitar la cooperación entre las regiones</vt:lpstr>
      <vt:lpstr>Índice</vt:lpstr>
      <vt:lpstr>La corresponsabilidad con los laicos y su vinculación carismática con la Misión va más allá de los límites del Instituto</vt:lpstr>
      <vt:lpstr>Las entidades jurídicas (canónicas y civiles) garantizarán la participación tanto de hermanos como de laicos…</vt:lpstr>
      <vt:lpstr>…con roles potencialmente diferentes en cuanto a la propiedad, gobernanza y gestión en las obras de las entidades.</vt:lpstr>
      <vt:lpstr>Los nuevos modelos surgen de una visión inspirada y adaptada a la realidad local…</vt:lpstr>
      <vt:lpstr>…y detallan la cobertura de las actividades clave</vt:lpstr>
      <vt:lpstr>Prevemos cuatro estereotipos que serán detallados durante la implementación</vt:lpstr>
      <vt:lpstr>Índice</vt:lpstr>
      <vt:lpstr>¿Estamos utilizando plenamente nuestros bienes? – Principales áreas de mejora señaladas en la fase de diagnóstico</vt:lpstr>
      <vt:lpstr>¿Estamos utilizando plenamente nuestros bienes? Propuestas clave (1 de 3)</vt:lpstr>
      <vt:lpstr>¿Estamos utilizando plenamente nuestros bienes? Propuestas clave (2 de 3)</vt:lpstr>
      <vt:lpstr>¿Estamos utilizando plenamente nuestros bienes? Propuestas clave (3 de 3)</vt:lpstr>
      <vt:lpstr>El presupuesto y su monitorización deben ser rediseñados y estandarizados de acuerdo con las prácticas globales, según la Misión del Instituto.</vt:lpstr>
      <vt:lpstr>La gestión de las inversiones debe ser profesionalizada</vt:lpstr>
      <vt:lpstr>El control consiste en 3 actividades clave centradas principalmente en el establecimiento de estándares, medición y acciones correctivas</vt:lpstr>
      <vt:lpstr>El análisis de control proporcionan aportaciones clave para un uso más apropiado de nuestros bienes</vt:lpstr>
      <vt:lpstr>Nuestros facilitadores, están alineados con la sociedad de hoy? – Áreas clave de mejora resaltadas en la fase del diagnóstico</vt:lpstr>
      <vt:lpstr>Nuestros facilitadores están alineados con la sociedad de hoy? Propuestas clave (1 of 2)</vt:lpstr>
      <vt:lpstr>Nuestros facilitadores, están alineados con la sociedad de hoy? Propuestas clave (2 of 2) </vt:lpstr>
      <vt:lpstr>Buenas prácticas demuestran que facilitadores TIC pueden apoyar nuestra Misión </vt:lpstr>
      <vt:lpstr>Índice</vt:lpstr>
      <vt:lpstr>El modelo de financiación actual tiene la lógica de la sostenibilidad local mezclado con un enfoque solidario proactivo vs centralizado …</vt:lpstr>
      <vt:lpstr>…contribuyendo a generar / fortalecer varias de las cuestiones pendientes</vt:lpstr>
      <vt:lpstr>Para el futuro la lógica debería seguir un enfoque de servicios compartidos que favorezca y estructure la solidaridad </vt:lpstr>
      <vt:lpstr>Índice</vt:lpstr>
      <vt:lpstr>Hoja de Ruta: plan de implementación</vt:lpstr>
      <vt:lpstr>Implementación de la Hoja de Ruta: Diseño de procesos clave</vt:lpstr>
      <vt:lpstr>Próximos pasos – Diseño de procesos clave</vt:lpstr>
      <vt:lpstr>Implementación de Nuevos Modelos: fases clave a nivel de la AG, de las regiones y de las UA.</vt:lpstr>
      <vt:lpstr>Próximos pasos – Configuración de las Regiones y desarrollo de la estrategia</vt:lpstr>
      <vt:lpstr>Presentación de PowerPoint</vt:lpstr>
    </vt:vector>
  </TitlesOfParts>
  <Company>HH MARIST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IGUEL ÁNGEL ESPINOSA BARRERA</dc:creator>
  <cp:lastModifiedBy>MIGUEL ÁNGEL ESPINOSA BARRERA</cp:lastModifiedBy>
  <cp:revision>330</cp:revision>
  <cp:lastPrinted>2015-07-09T07:54:06Z</cp:lastPrinted>
  <dcterms:created xsi:type="dcterms:W3CDTF">2015-06-30T09:29:48Z</dcterms:created>
  <dcterms:modified xsi:type="dcterms:W3CDTF">2015-07-09T08:48:33Z</dcterms:modified>
</cp:coreProperties>
</file>